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338" r:id="rId5"/>
  </p:sldIdLst>
  <p:sldSz cx="9906000" cy="6858000" type="A4"/>
  <p:notesSz cx="6858000" cy="9144000"/>
  <p:custDataLst>
    <p:tags r:id="rId8"/>
  </p:custDataLst>
  <p:defaultTextStyle>
    <a:defPPr>
      <a:defRPr lang="en-US"/>
    </a:defPPr>
    <a:lvl1pPr marL="0" indent="0" algn="l" defTabSz="742950" rtl="0" eaLnBrk="1" latinLnBrk="0" hangingPunct="1">
      <a:lnSpc>
        <a:spcPct val="90000"/>
      </a:lnSpc>
      <a:spcBef>
        <a:spcPts val="0"/>
      </a:spcBef>
      <a:spcAft>
        <a:spcPts val="600"/>
      </a:spcAft>
      <a:buFont typeface="Arial" panose="020B0604020202020204" pitchFamily="34" charset="0"/>
      <a:buChar char="​"/>
      <a:defRPr sz="1000" kern="1200">
        <a:solidFill>
          <a:srgbClr val="1F2023"/>
        </a:solidFill>
        <a:latin typeface="+mn-lt"/>
        <a:ea typeface="+mn-ea"/>
        <a:cs typeface="+mn-cs"/>
      </a:defRPr>
    </a:lvl1pPr>
    <a:lvl2pPr marL="144000" indent="-144000" algn="l" defTabSz="742950" rtl="0" eaLnBrk="1" latinLnBrk="0" hangingPunct="1">
      <a:lnSpc>
        <a:spcPct val="90000"/>
      </a:lnSpc>
      <a:spcBef>
        <a:spcPts val="0"/>
      </a:spcBef>
      <a:spcAft>
        <a:spcPts val="600"/>
      </a:spcAft>
      <a:buFont typeface="Arial" panose="020B0604020202020204" pitchFamily="34" charset="0"/>
      <a:buChar char="•"/>
      <a:defRPr sz="1000" kern="1200">
        <a:solidFill>
          <a:srgbClr val="1F2023"/>
        </a:solidFill>
        <a:latin typeface="+mn-lt"/>
        <a:ea typeface="+mn-ea"/>
        <a:cs typeface="+mn-cs"/>
      </a:defRPr>
    </a:lvl2pPr>
    <a:lvl3pPr marL="288000" indent="-144000" algn="l" defTabSz="742950" rtl="0" eaLnBrk="1" latinLnBrk="0" hangingPunct="1">
      <a:lnSpc>
        <a:spcPct val="90000"/>
      </a:lnSpc>
      <a:spcBef>
        <a:spcPts val="0"/>
      </a:spcBef>
      <a:spcAft>
        <a:spcPts val="600"/>
      </a:spcAft>
      <a:buFont typeface="Arial" panose="020B0604020202020204" pitchFamily="34" charset="0"/>
      <a:buChar char="•"/>
      <a:defRPr sz="1000" kern="1200">
        <a:solidFill>
          <a:srgbClr val="1F2023"/>
        </a:solidFill>
        <a:latin typeface="+mn-lt"/>
        <a:ea typeface="+mn-ea"/>
        <a:cs typeface="+mn-cs"/>
      </a:defRPr>
    </a:lvl3pPr>
    <a:lvl4pPr marL="432000" indent="-144000" algn="l" defTabSz="742950" rtl="0" eaLnBrk="1" latinLnBrk="0" hangingPunct="1">
      <a:lnSpc>
        <a:spcPct val="90000"/>
      </a:lnSpc>
      <a:spcBef>
        <a:spcPts val="0"/>
      </a:spcBef>
      <a:spcAft>
        <a:spcPts val="600"/>
      </a:spcAft>
      <a:buFont typeface="Arial" panose="020B0604020202020204" pitchFamily="34" charset="0"/>
      <a:buChar char="•"/>
      <a:defRPr sz="1000" b="0" kern="1200">
        <a:solidFill>
          <a:srgbClr val="1F2023"/>
        </a:solidFill>
        <a:latin typeface="+mn-lt"/>
        <a:ea typeface="+mn-ea"/>
        <a:cs typeface="+mn-cs"/>
      </a:defRPr>
    </a:lvl4pPr>
    <a:lvl5pPr marL="0" indent="0" algn="l" defTabSz="742950" rtl="0" eaLnBrk="1" latinLnBrk="0" hangingPunct="1">
      <a:lnSpc>
        <a:spcPct val="90000"/>
      </a:lnSpc>
      <a:spcBef>
        <a:spcPts val="0"/>
      </a:spcBef>
      <a:spcAft>
        <a:spcPts val="600"/>
      </a:spcAft>
      <a:buFont typeface="Arial" panose="020B0604020202020204" pitchFamily="34" charset="0"/>
      <a:buChar char="​"/>
      <a:defRPr sz="1000" b="1" kern="1200" cap="none" baseline="0">
        <a:solidFill>
          <a:srgbClr val="1F2023"/>
        </a:solidFill>
        <a:latin typeface="+mn-lt"/>
        <a:ea typeface="+mn-ea"/>
        <a:cs typeface="+mn-cs"/>
      </a:defRPr>
    </a:lvl5pPr>
    <a:lvl6pPr marL="0" indent="0" algn="l" defTabSz="742950" rtl="0" eaLnBrk="1" latinLnBrk="0" hangingPunct="1">
      <a:lnSpc>
        <a:spcPct val="90000"/>
      </a:lnSpc>
      <a:spcBef>
        <a:spcPts val="0"/>
      </a:spcBef>
      <a:spcAft>
        <a:spcPts val="600"/>
      </a:spcAft>
      <a:buFont typeface="Arial" panose="020B0604020202020204" pitchFamily="34" charset="0"/>
      <a:buChar char="​"/>
      <a:defRPr sz="1000" b="1" kern="1200" cap="all" baseline="0">
        <a:solidFill>
          <a:srgbClr val="1F2023"/>
        </a:solidFill>
        <a:latin typeface="+mj-lt"/>
        <a:ea typeface="+mn-ea"/>
        <a:cs typeface="+mn-cs"/>
      </a:defRPr>
    </a:lvl6pPr>
    <a:lvl7pPr marL="144000" indent="-144000" algn="l" defTabSz="742950" rtl="0" eaLnBrk="1" latinLnBrk="0" hangingPunct="1">
      <a:lnSpc>
        <a:spcPct val="90000"/>
      </a:lnSpc>
      <a:spcBef>
        <a:spcPts val="0"/>
      </a:spcBef>
      <a:spcAft>
        <a:spcPts val="600"/>
      </a:spcAft>
      <a:buFont typeface="+mj-lt"/>
      <a:buAutoNum type="arabicPeriod"/>
      <a:defRPr sz="1000" kern="1200" baseline="0">
        <a:solidFill>
          <a:srgbClr val="1F2023"/>
        </a:solidFill>
        <a:latin typeface="+mn-lt"/>
        <a:ea typeface="+mn-ea"/>
        <a:cs typeface="+mn-cs"/>
      </a:defRPr>
    </a:lvl7pPr>
    <a:lvl8pPr marL="144000" indent="-144000" algn="l" defTabSz="742950" rtl="0" eaLnBrk="1" latinLnBrk="0" hangingPunct="1">
      <a:lnSpc>
        <a:spcPct val="90000"/>
      </a:lnSpc>
      <a:spcBef>
        <a:spcPts val="0"/>
      </a:spcBef>
      <a:spcAft>
        <a:spcPts val="600"/>
      </a:spcAft>
      <a:buFont typeface="+mj-lt"/>
      <a:buAutoNum type="alphaUcPeriod"/>
      <a:defRPr sz="1000" kern="1200">
        <a:solidFill>
          <a:srgbClr val="1F2023"/>
        </a:solidFill>
        <a:latin typeface="+mn-lt"/>
        <a:ea typeface="+mn-ea"/>
        <a:cs typeface="+mn-cs"/>
      </a:defRPr>
    </a:lvl8pPr>
    <a:lvl9pPr marL="0" indent="0" algn="l" defTabSz="742950" rtl="0" eaLnBrk="1" latinLnBrk="0" hangingPunct="1">
      <a:lnSpc>
        <a:spcPct val="83000"/>
      </a:lnSpc>
      <a:spcBef>
        <a:spcPts val="0"/>
      </a:spcBef>
      <a:spcAft>
        <a:spcPts val="600"/>
      </a:spcAft>
      <a:buFont typeface="Arial" panose="020B0604020202020204" pitchFamily="34" charset="0"/>
      <a:buChar char="​"/>
      <a:defRPr sz="4800" kern="1200" cap="all" baseline="0">
        <a:solidFill>
          <a:srgbClr val="1F2023"/>
        </a:solidFill>
        <a:latin typeface="Impact" panose="020B080603090205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F2F0"/>
    <a:srgbClr val="E8E6D9"/>
    <a:srgbClr val="3037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CA2B3F7-93EF-4772-A496-D89B59A14DD1}" v="2" dt="2022-02-19T13:49:21.178"/>
  </p1510:revLst>
</p1510:revInfo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6955" autoAdjust="0"/>
  </p:normalViewPr>
  <p:slideViewPr>
    <p:cSldViewPr snapToGrid="0" showGuides="1">
      <p:cViewPr varScale="1">
        <p:scale>
          <a:sx n="114" d="100"/>
          <a:sy n="114" d="100"/>
        </p:scale>
        <p:origin x="606" y="10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21" d="100"/>
          <a:sy n="121" d="100"/>
        </p:scale>
        <p:origin x="4938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8382C0-1D05-4229-918E-CDD7B7E48B4A}" type="slidenum">
              <a:rPr lang="en-GB" smtClean="0"/>
              <a:t>‹#›</a:t>
            </a:fld>
            <a:endParaRPr lang="en-GB"/>
          </a:p>
        </p:txBody>
      </p:sp>
      <p:sp>
        <p:nvSpPr>
          <p:cNvPr id="8" name="Date Placeholder 7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F6AEEE-E778-402E-8B8F-9A98AED26EB8}" type="datetimeFigureOut">
              <a:rPr lang="en-GB" smtClean="0"/>
              <a:t>25/02/2022</a:t>
            </a:fld>
            <a:endParaRPr lang="en-GB"/>
          </a:p>
        </p:txBody>
      </p:sp>
      <p:sp>
        <p:nvSpPr>
          <p:cNvPr id="9" name="Header Placeholder 8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479971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Notes Placeholder 7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Date Placeholder 8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/>
            </a:lvl1pPr>
          </a:lstStyle>
          <a:p>
            <a:fld id="{1386E511-D742-4EFE-90B5-C9FC42762E0F}" type="datetimeFigureOut">
              <a:rPr lang="en-GB" smtClean="0"/>
              <a:pPr/>
              <a:t>25/02/2022</a:t>
            </a:fld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/>
            </a:lvl1pPr>
          </a:lstStyle>
          <a:p>
            <a:fld id="{A16CFAD1-D197-4A88-B173-A6412E995EE5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/>
            </a:lvl1pPr>
          </a:lstStyle>
          <a:p>
            <a:endParaRPr lang="en-GB"/>
          </a:p>
        </p:txBody>
      </p:sp>
      <p:sp>
        <p:nvSpPr>
          <p:cNvPr id="12" name="Slide Image Placeholder 11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11430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13" name="Header Placeholder 1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0601147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 rtlCol="0"/>
          <a:lstStyle/>
          <a:p>
            <a:pPr rtl="0"/>
            <a:fld id="{A16CFAD1-D197-4A88-B173-A6412E995EE5}" type="slidenum">
              <a:rPr lang="en-GB" smtClean="0"/>
              <a:pPr rtl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222785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44.xml"/><Relationship Id="rId7" Type="http://schemas.openxmlformats.org/officeDocument/2006/relationships/image" Target="../media/image5.emf"/><Relationship Id="rId2" Type="http://schemas.openxmlformats.org/officeDocument/2006/relationships/tags" Target="../tags/tag4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7" Type="http://schemas.openxmlformats.org/officeDocument/2006/relationships/image" Target="../media/image4.emf"/><Relationship Id="rId2" Type="http://schemas.openxmlformats.org/officeDocument/2006/relationships/tags" Target="../tags/tag45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7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image" Target="../media/image4.emf"/><Relationship Id="rId2" Type="http://schemas.openxmlformats.org/officeDocument/2006/relationships/tags" Target="../tags/tag48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0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7" Type="http://schemas.openxmlformats.org/officeDocument/2006/relationships/image" Target="../media/image4.emf"/><Relationship Id="rId2" Type="http://schemas.openxmlformats.org/officeDocument/2006/relationships/tags" Target="../tags/tag51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4.emf"/><Relationship Id="rId2" Type="http://schemas.openxmlformats.org/officeDocument/2006/relationships/tags" Target="../tags/tag54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2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6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7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7" Type="http://schemas.openxmlformats.org/officeDocument/2006/relationships/image" Target="../media/image4.emf"/><Relationship Id="rId2" Type="http://schemas.openxmlformats.org/officeDocument/2006/relationships/tags" Target="../tags/tag58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2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0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2" Type="http://schemas.openxmlformats.org/officeDocument/2006/relationships/tags" Target="../tags/tag61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DC3CD84-12E8-47C6-8B3B-D26083F1F4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85133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408" imgH="408" progId="TCLayout.ActiveDocument.1">
                  <p:embed/>
                </p:oleObj>
              </mc:Choice>
              <mc:Fallback>
                <p:oleObj name="think-cell Slide" r:id="rId5" imgW="408" imgH="40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DC3CD84-12E8-47C6-8B3B-D26083F1F4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object 2">
            <a:extLst>
              <a:ext uri="{FF2B5EF4-FFF2-40B4-BE49-F238E27FC236}">
                <a16:creationId xmlns:a16="http://schemas.microsoft.com/office/drawing/2014/main" id="{A81EE220-AC53-4153-A0FE-1F2219FBF428}"/>
              </a:ext>
            </a:extLst>
          </p:cNvPr>
          <p:cNvSpPr/>
          <p:nvPr userDrawn="1"/>
        </p:nvSpPr>
        <p:spPr>
          <a:xfrm>
            <a:off x="-11401" y="0"/>
            <a:ext cx="9917401" cy="6858000"/>
          </a:xfrm>
          <a:custGeom>
            <a:avLst/>
            <a:gdLst/>
            <a:ahLst/>
            <a:cxnLst/>
            <a:rect l="l" t="t" r="r" b="b"/>
            <a:pathLst>
              <a:path w="20104100" h="11308715">
                <a:moveTo>
                  <a:pt x="0" y="11308556"/>
                </a:moveTo>
                <a:lnTo>
                  <a:pt x="20104099" y="11308556"/>
                </a:lnTo>
                <a:lnTo>
                  <a:pt x="20104099" y="0"/>
                </a:lnTo>
                <a:lnTo>
                  <a:pt x="0" y="0"/>
                </a:lnTo>
                <a:lnTo>
                  <a:pt x="0" y="11308556"/>
                </a:lnTo>
                <a:close/>
              </a:path>
            </a:pathLst>
          </a:custGeom>
          <a:solidFill>
            <a:srgbClr val="8AA299"/>
          </a:solidFill>
          <a:ln>
            <a:noFill/>
          </a:ln>
        </p:spPr>
        <p:txBody>
          <a:bodyPr wrap="square" lIns="0" tIns="0" rIns="0" bIns="0" rtlCol="0"/>
          <a:lstStyle/>
          <a:p>
            <a:pPr marL="0" marR="0" lvl="0" indent="0" defTabSz="4505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87" b="0" i="0" u="none" strike="noStrike" kern="0" cap="none" spc="0" normalizeH="0" baseline="0" noProof="0" dirty="0">
              <a:ln>
                <a:noFill/>
              </a:ln>
              <a:solidFill>
                <a:srgbClr val="2F363B"/>
              </a:solidFill>
              <a:effectLst/>
              <a:uLnTx/>
              <a:uFillTx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68EEBBF-213D-4D68-A9CE-7CE68854BF37}"/>
              </a:ext>
            </a:extLst>
          </p:cNvPr>
          <p:cNvSpPr/>
          <p:nvPr userDrawn="1"/>
        </p:nvSpPr>
        <p:spPr>
          <a:xfrm>
            <a:off x="-11401" y="0"/>
            <a:ext cx="7182932" cy="6858000"/>
          </a:xfrm>
          <a:prstGeom prst="rect">
            <a:avLst/>
          </a:prstGeom>
          <a:solidFill>
            <a:srgbClr val="E2DED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05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87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object 3">
            <a:extLst>
              <a:ext uri="{FF2B5EF4-FFF2-40B4-BE49-F238E27FC236}">
                <a16:creationId xmlns:a16="http://schemas.microsoft.com/office/drawing/2014/main" id="{2F8E5E3C-C8FF-4ABE-B0BE-21762DA69433}"/>
              </a:ext>
            </a:extLst>
          </p:cNvPr>
          <p:cNvSpPr/>
          <p:nvPr userDrawn="1"/>
        </p:nvSpPr>
        <p:spPr>
          <a:xfrm>
            <a:off x="-11400" y="1192713"/>
            <a:ext cx="8566312" cy="5665287"/>
          </a:xfrm>
          <a:custGeom>
            <a:avLst/>
            <a:gdLst/>
            <a:ahLst/>
            <a:cxnLst/>
            <a:rect l="l" t="t" r="r" b="b"/>
            <a:pathLst>
              <a:path w="16670019" h="10303510">
                <a:moveTo>
                  <a:pt x="0" y="10303351"/>
                </a:moveTo>
                <a:lnTo>
                  <a:pt x="16669649" y="10303351"/>
                </a:lnTo>
                <a:lnTo>
                  <a:pt x="16669649" y="0"/>
                </a:lnTo>
                <a:lnTo>
                  <a:pt x="0" y="0"/>
                </a:lnTo>
                <a:lnTo>
                  <a:pt x="0" y="10303351"/>
                </a:lnTo>
                <a:close/>
              </a:path>
            </a:pathLst>
          </a:custGeom>
          <a:solidFill>
            <a:srgbClr val="30373B"/>
          </a:solidFill>
          <a:ln>
            <a:noFill/>
          </a:ln>
        </p:spPr>
        <p:txBody>
          <a:bodyPr wrap="square" lIns="0" tIns="0" rIns="0" bIns="0" rtlCol="0"/>
          <a:lstStyle/>
          <a:p>
            <a:pPr marL="0" marR="0" lvl="0" indent="0" defTabSz="4505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87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9999" y="5463127"/>
            <a:ext cx="5842800" cy="863537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900">
                <a:solidFill>
                  <a:srgbClr val="F8F5E7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894">
                <a:solidFill>
                  <a:schemeClr val="accent2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2255" y="2138963"/>
            <a:ext cx="5842800" cy="2224886"/>
          </a:xfrm>
        </p:spPr>
        <p:txBody>
          <a:bodyPr vert="horz" anchor="t" anchorCtr="0">
            <a:noAutofit/>
          </a:bodyPr>
          <a:lstStyle>
            <a:lvl1pPr algn="l">
              <a:lnSpc>
                <a:spcPct val="83000"/>
              </a:lnSpc>
              <a:defRPr sz="6500" cap="all" baseline="0">
                <a:solidFill>
                  <a:srgbClr val="F8F5E7"/>
                </a:solidFill>
                <a:latin typeface="Impact" panose="020B080603090205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4B46EDD-CF3B-49AB-826E-68B63D5E117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999" y="6387016"/>
            <a:ext cx="5842800" cy="210634"/>
          </a:xfrm>
        </p:spPr>
        <p:txBody>
          <a:bodyPr rIns="0" anchor="b" anchorCtr="0"/>
          <a:lstStyle>
            <a:lvl1pPr>
              <a:defRPr sz="900">
                <a:solidFill>
                  <a:srgbClr val="F8F5E7"/>
                </a:solidFill>
              </a:defRPr>
            </a:lvl1pPr>
            <a:lvl5pPr>
              <a:defRPr/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FB0748D9-B4B7-46FB-99B6-A4449CF9F500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 rot="5400000">
            <a:off x="8861146" y="788544"/>
            <a:ext cx="1258889" cy="287891"/>
          </a:xfrm>
          <a:custGeom>
            <a:avLst/>
            <a:gdLst>
              <a:gd name="connsiteX0" fmla="*/ 6778122 w 9905999"/>
              <a:gd name="connsiteY0" fmla="*/ 2222531 h 2265361"/>
              <a:gd name="connsiteX1" fmla="*/ 7135812 w 9905999"/>
              <a:gd name="connsiteY1" fmla="*/ 2222531 h 2265361"/>
              <a:gd name="connsiteX2" fmla="*/ 7135812 w 9905999"/>
              <a:gd name="connsiteY2" fmla="*/ 2265361 h 2265361"/>
              <a:gd name="connsiteX3" fmla="*/ 6778122 w 9905999"/>
              <a:gd name="connsiteY3" fmla="*/ 2265361 h 2265361"/>
              <a:gd name="connsiteX4" fmla="*/ 6778122 w 9905999"/>
              <a:gd name="connsiteY4" fmla="*/ 2222531 h 2265361"/>
              <a:gd name="connsiteX5" fmla="*/ 6449676 w 9905999"/>
              <a:gd name="connsiteY5" fmla="*/ 1769427 h 2265361"/>
              <a:gd name="connsiteX6" fmla="*/ 6449676 w 9905999"/>
              <a:gd name="connsiteY6" fmla="*/ 1965546 h 2265361"/>
              <a:gd name="connsiteX7" fmla="*/ 6575655 w 9905999"/>
              <a:gd name="connsiteY7" fmla="*/ 1965546 h 2265361"/>
              <a:gd name="connsiteX8" fmla="*/ 6679138 w 9905999"/>
              <a:gd name="connsiteY8" fmla="*/ 1864105 h 2265361"/>
              <a:gd name="connsiteX9" fmla="*/ 6575655 w 9905999"/>
              <a:gd name="connsiteY9" fmla="*/ 1769427 h 2265361"/>
              <a:gd name="connsiteX10" fmla="*/ 6449676 w 9905999"/>
              <a:gd name="connsiteY10" fmla="*/ 1769427 h 2265361"/>
              <a:gd name="connsiteX11" fmla="*/ 5021164 w 9905999"/>
              <a:gd name="connsiteY11" fmla="*/ 1769427 h 2265361"/>
              <a:gd name="connsiteX12" fmla="*/ 5021164 w 9905999"/>
              <a:gd name="connsiteY12" fmla="*/ 1949767 h 2265361"/>
              <a:gd name="connsiteX13" fmla="*/ 5158391 w 9905999"/>
              <a:gd name="connsiteY13" fmla="*/ 1949767 h 2265361"/>
              <a:gd name="connsiteX14" fmla="*/ 5261874 w 9905999"/>
              <a:gd name="connsiteY14" fmla="*/ 1859597 h 2265361"/>
              <a:gd name="connsiteX15" fmla="*/ 5158391 w 9905999"/>
              <a:gd name="connsiteY15" fmla="*/ 1769427 h 2265361"/>
              <a:gd name="connsiteX16" fmla="*/ 5021164 w 9905999"/>
              <a:gd name="connsiteY16" fmla="*/ 1769427 h 2265361"/>
              <a:gd name="connsiteX17" fmla="*/ 5597068 w 9905999"/>
              <a:gd name="connsiteY17" fmla="*/ 1762664 h 2265361"/>
              <a:gd name="connsiteX18" fmla="*/ 5504834 w 9905999"/>
              <a:gd name="connsiteY18" fmla="*/ 1800986 h 2265361"/>
              <a:gd name="connsiteX19" fmla="*/ 5459841 w 9905999"/>
              <a:gd name="connsiteY19" fmla="*/ 1967800 h 2265361"/>
              <a:gd name="connsiteX20" fmla="*/ 5504834 w 9905999"/>
              <a:gd name="connsiteY20" fmla="*/ 2132361 h 2265361"/>
              <a:gd name="connsiteX21" fmla="*/ 5597068 w 9905999"/>
              <a:gd name="connsiteY21" fmla="*/ 2170683 h 2265361"/>
              <a:gd name="connsiteX22" fmla="*/ 5691552 w 9905999"/>
              <a:gd name="connsiteY22" fmla="*/ 2132361 h 2265361"/>
              <a:gd name="connsiteX23" fmla="*/ 5734295 w 9905999"/>
              <a:gd name="connsiteY23" fmla="*/ 1967800 h 2265361"/>
              <a:gd name="connsiteX24" fmla="*/ 5691552 w 9905999"/>
              <a:gd name="connsiteY24" fmla="*/ 1800986 h 2265361"/>
              <a:gd name="connsiteX25" fmla="*/ 5597068 w 9905999"/>
              <a:gd name="connsiteY25" fmla="*/ 1762664 h 2265361"/>
              <a:gd name="connsiteX26" fmla="*/ 654642 w 9905999"/>
              <a:gd name="connsiteY26" fmla="*/ 1762664 h 2265361"/>
              <a:gd name="connsiteX27" fmla="*/ 560157 w 9905999"/>
              <a:gd name="connsiteY27" fmla="*/ 1800986 h 2265361"/>
              <a:gd name="connsiteX28" fmla="*/ 517414 w 9905999"/>
              <a:gd name="connsiteY28" fmla="*/ 1967800 h 2265361"/>
              <a:gd name="connsiteX29" fmla="*/ 560157 w 9905999"/>
              <a:gd name="connsiteY29" fmla="*/ 2132361 h 2265361"/>
              <a:gd name="connsiteX30" fmla="*/ 654642 w 9905999"/>
              <a:gd name="connsiteY30" fmla="*/ 2170683 h 2265361"/>
              <a:gd name="connsiteX31" fmla="*/ 746876 w 9905999"/>
              <a:gd name="connsiteY31" fmla="*/ 2132361 h 2265361"/>
              <a:gd name="connsiteX32" fmla="*/ 791868 w 9905999"/>
              <a:gd name="connsiteY32" fmla="*/ 1967800 h 2265361"/>
              <a:gd name="connsiteX33" fmla="*/ 746876 w 9905999"/>
              <a:gd name="connsiteY33" fmla="*/ 1800986 h 2265361"/>
              <a:gd name="connsiteX34" fmla="*/ 654642 w 9905999"/>
              <a:gd name="connsiteY34" fmla="*/ 1762664 h 2265361"/>
              <a:gd name="connsiteX35" fmla="*/ 6386687 w 9905999"/>
              <a:gd name="connsiteY35" fmla="*/ 1710816 h 2265361"/>
              <a:gd name="connsiteX36" fmla="*/ 6575655 w 9905999"/>
              <a:gd name="connsiteY36" fmla="*/ 1710816 h 2265361"/>
              <a:gd name="connsiteX37" fmla="*/ 6706134 w 9905999"/>
              <a:gd name="connsiteY37" fmla="*/ 1755901 h 2265361"/>
              <a:gd name="connsiteX38" fmla="*/ 6744377 w 9905999"/>
              <a:gd name="connsiteY38" fmla="*/ 1864105 h 2265361"/>
              <a:gd name="connsiteX39" fmla="*/ 6701634 w 9905999"/>
              <a:gd name="connsiteY39" fmla="*/ 1981326 h 2265361"/>
              <a:gd name="connsiteX40" fmla="*/ 6577905 w 9905999"/>
              <a:gd name="connsiteY40" fmla="*/ 2024157 h 2265361"/>
              <a:gd name="connsiteX41" fmla="*/ 6449676 w 9905999"/>
              <a:gd name="connsiteY41" fmla="*/ 2024157 h 2265361"/>
              <a:gd name="connsiteX42" fmla="*/ 6449676 w 9905999"/>
              <a:gd name="connsiteY42" fmla="*/ 2222531 h 2265361"/>
              <a:gd name="connsiteX43" fmla="*/ 6386687 w 9905999"/>
              <a:gd name="connsiteY43" fmla="*/ 2222531 h 2265361"/>
              <a:gd name="connsiteX44" fmla="*/ 6386687 w 9905999"/>
              <a:gd name="connsiteY44" fmla="*/ 1710816 h 2265361"/>
              <a:gd name="connsiteX45" fmla="*/ 5889520 w 9905999"/>
              <a:gd name="connsiteY45" fmla="*/ 1710816 h 2265361"/>
              <a:gd name="connsiteX46" fmla="*/ 5954759 w 9905999"/>
              <a:gd name="connsiteY46" fmla="*/ 1710816 h 2265361"/>
              <a:gd name="connsiteX47" fmla="*/ 5954759 w 9905999"/>
              <a:gd name="connsiteY47" fmla="*/ 2035428 h 2265361"/>
              <a:gd name="connsiteX48" fmla="*/ 6076239 w 9905999"/>
              <a:gd name="connsiteY48" fmla="*/ 2172937 h 2265361"/>
              <a:gd name="connsiteX49" fmla="*/ 6199968 w 9905999"/>
              <a:gd name="connsiteY49" fmla="*/ 2035428 h 2265361"/>
              <a:gd name="connsiteX50" fmla="*/ 6199968 w 9905999"/>
              <a:gd name="connsiteY50" fmla="*/ 1710816 h 2265361"/>
              <a:gd name="connsiteX51" fmla="*/ 6262957 w 9905999"/>
              <a:gd name="connsiteY51" fmla="*/ 1710816 h 2265361"/>
              <a:gd name="connsiteX52" fmla="*/ 6262957 w 9905999"/>
              <a:gd name="connsiteY52" fmla="*/ 2035428 h 2265361"/>
              <a:gd name="connsiteX53" fmla="*/ 6076239 w 9905999"/>
              <a:gd name="connsiteY53" fmla="*/ 2231547 h 2265361"/>
              <a:gd name="connsiteX54" fmla="*/ 5889520 w 9905999"/>
              <a:gd name="connsiteY54" fmla="*/ 2035428 h 2265361"/>
              <a:gd name="connsiteX55" fmla="*/ 5889520 w 9905999"/>
              <a:gd name="connsiteY55" fmla="*/ 1710816 h 2265361"/>
              <a:gd name="connsiteX56" fmla="*/ 4958174 w 9905999"/>
              <a:gd name="connsiteY56" fmla="*/ 1710816 h 2265361"/>
              <a:gd name="connsiteX57" fmla="*/ 5158391 w 9905999"/>
              <a:gd name="connsiteY57" fmla="*/ 1710816 h 2265361"/>
              <a:gd name="connsiteX58" fmla="*/ 5288869 w 9905999"/>
              <a:gd name="connsiteY58" fmla="*/ 1755901 h 2265361"/>
              <a:gd name="connsiteX59" fmla="*/ 5329363 w 9905999"/>
              <a:gd name="connsiteY59" fmla="*/ 1859597 h 2265361"/>
              <a:gd name="connsiteX60" fmla="*/ 5288869 w 9905999"/>
              <a:gd name="connsiteY60" fmla="*/ 1961038 h 2265361"/>
              <a:gd name="connsiteX61" fmla="*/ 5228130 w 9905999"/>
              <a:gd name="connsiteY61" fmla="*/ 1997106 h 2265361"/>
              <a:gd name="connsiteX62" fmla="*/ 5331612 w 9905999"/>
              <a:gd name="connsiteY62" fmla="*/ 2222531 h 2265361"/>
              <a:gd name="connsiteX63" fmla="*/ 5259624 w 9905999"/>
              <a:gd name="connsiteY63" fmla="*/ 2222531 h 2265361"/>
              <a:gd name="connsiteX64" fmla="*/ 5162890 w 9905999"/>
              <a:gd name="connsiteY64" fmla="*/ 2010631 h 2265361"/>
              <a:gd name="connsiteX65" fmla="*/ 5021164 w 9905999"/>
              <a:gd name="connsiteY65" fmla="*/ 2010631 h 2265361"/>
              <a:gd name="connsiteX66" fmla="*/ 5021164 w 9905999"/>
              <a:gd name="connsiteY66" fmla="*/ 2222531 h 2265361"/>
              <a:gd name="connsiteX67" fmla="*/ 4958174 w 9905999"/>
              <a:gd name="connsiteY67" fmla="*/ 2222531 h 2265361"/>
              <a:gd name="connsiteX68" fmla="*/ 4958174 w 9905999"/>
              <a:gd name="connsiteY68" fmla="*/ 1710816 h 2265361"/>
              <a:gd name="connsiteX69" fmla="*/ 3309199 w 9905999"/>
              <a:gd name="connsiteY69" fmla="*/ 1710816 h 2265361"/>
              <a:gd name="connsiteX70" fmla="*/ 3381187 w 9905999"/>
              <a:gd name="connsiteY70" fmla="*/ 1710816 h 2265361"/>
              <a:gd name="connsiteX71" fmla="*/ 3633145 w 9905999"/>
              <a:gd name="connsiteY71" fmla="*/ 2123344 h 2265361"/>
              <a:gd name="connsiteX72" fmla="*/ 3633145 w 9905999"/>
              <a:gd name="connsiteY72" fmla="*/ 1710816 h 2265361"/>
              <a:gd name="connsiteX73" fmla="*/ 3693885 w 9905999"/>
              <a:gd name="connsiteY73" fmla="*/ 1710816 h 2265361"/>
              <a:gd name="connsiteX74" fmla="*/ 3693885 w 9905999"/>
              <a:gd name="connsiteY74" fmla="*/ 2222531 h 2265361"/>
              <a:gd name="connsiteX75" fmla="*/ 3621897 w 9905999"/>
              <a:gd name="connsiteY75" fmla="*/ 2222531 h 2265361"/>
              <a:gd name="connsiteX76" fmla="*/ 3372188 w 9905999"/>
              <a:gd name="connsiteY76" fmla="*/ 1810003 h 2265361"/>
              <a:gd name="connsiteX77" fmla="*/ 3372188 w 9905999"/>
              <a:gd name="connsiteY77" fmla="*/ 2222531 h 2265361"/>
              <a:gd name="connsiteX78" fmla="*/ 3309199 w 9905999"/>
              <a:gd name="connsiteY78" fmla="*/ 2222531 h 2265361"/>
              <a:gd name="connsiteX79" fmla="*/ 3309199 w 9905999"/>
              <a:gd name="connsiteY79" fmla="*/ 1710816 h 2265361"/>
              <a:gd name="connsiteX80" fmla="*/ 3106732 w 9905999"/>
              <a:gd name="connsiteY80" fmla="*/ 1710816 h 2265361"/>
              <a:gd name="connsiteX81" fmla="*/ 3171971 w 9905999"/>
              <a:gd name="connsiteY81" fmla="*/ 1710816 h 2265361"/>
              <a:gd name="connsiteX82" fmla="*/ 3171971 w 9905999"/>
              <a:gd name="connsiteY82" fmla="*/ 2222531 h 2265361"/>
              <a:gd name="connsiteX83" fmla="*/ 3106732 w 9905999"/>
              <a:gd name="connsiteY83" fmla="*/ 2222531 h 2265361"/>
              <a:gd name="connsiteX84" fmla="*/ 3106732 w 9905999"/>
              <a:gd name="connsiteY84" fmla="*/ 1710816 h 2265361"/>
              <a:gd name="connsiteX85" fmla="*/ 2663557 w 9905999"/>
              <a:gd name="connsiteY85" fmla="*/ 1710816 h 2265361"/>
              <a:gd name="connsiteX86" fmla="*/ 3032495 w 9905999"/>
              <a:gd name="connsiteY86" fmla="*/ 1710816 h 2265361"/>
              <a:gd name="connsiteX87" fmla="*/ 3032495 w 9905999"/>
              <a:gd name="connsiteY87" fmla="*/ 1769427 h 2265361"/>
              <a:gd name="connsiteX88" fmla="*/ 2879521 w 9905999"/>
              <a:gd name="connsiteY88" fmla="*/ 1769427 h 2265361"/>
              <a:gd name="connsiteX89" fmla="*/ 2879521 w 9905999"/>
              <a:gd name="connsiteY89" fmla="*/ 2222531 h 2265361"/>
              <a:gd name="connsiteX90" fmla="*/ 2814282 w 9905999"/>
              <a:gd name="connsiteY90" fmla="*/ 2222531 h 2265361"/>
              <a:gd name="connsiteX91" fmla="*/ 2814282 w 9905999"/>
              <a:gd name="connsiteY91" fmla="*/ 1769427 h 2265361"/>
              <a:gd name="connsiteX92" fmla="*/ 2663557 w 9905999"/>
              <a:gd name="connsiteY92" fmla="*/ 1769427 h 2265361"/>
              <a:gd name="connsiteX93" fmla="*/ 2663557 w 9905999"/>
              <a:gd name="connsiteY93" fmla="*/ 1710816 h 2265361"/>
              <a:gd name="connsiteX94" fmla="*/ 2416099 w 9905999"/>
              <a:gd name="connsiteY94" fmla="*/ 1710816 h 2265361"/>
              <a:gd name="connsiteX95" fmla="*/ 2481338 w 9905999"/>
              <a:gd name="connsiteY95" fmla="*/ 1710816 h 2265361"/>
              <a:gd name="connsiteX96" fmla="*/ 2481338 w 9905999"/>
              <a:gd name="connsiteY96" fmla="*/ 2163920 h 2265361"/>
              <a:gd name="connsiteX97" fmla="*/ 2726547 w 9905999"/>
              <a:gd name="connsiteY97" fmla="*/ 2163920 h 2265361"/>
              <a:gd name="connsiteX98" fmla="*/ 2726547 w 9905999"/>
              <a:gd name="connsiteY98" fmla="*/ 2222531 h 2265361"/>
              <a:gd name="connsiteX99" fmla="*/ 2416099 w 9905999"/>
              <a:gd name="connsiteY99" fmla="*/ 2222531 h 2265361"/>
              <a:gd name="connsiteX100" fmla="*/ 2416099 w 9905999"/>
              <a:gd name="connsiteY100" fmla="*/ 1710816 h 2265361"/>
              <a:gd name="connsiteX101" fmla="*/ 1918931 w 9905999"/>
              <a:gd name="connsiteY101" fmla="*/ 1710816 h 2265361"/>
              <a:gd name="connsiteX102" fmla="*/ 1984171 w 9905999"/>
              <a:gd name="connsiteY102" fmla="*/ 1710816 h 2265361"/>
              <a:gd name="connsiteX103" fmla="*/ 1984171 w 9905999"/>
              <a:gd name="connsiteY103" fmla="*/ 2035428 h 2265361"/>
              <a:gd name="connsiteX104" fmla="*/ 2105651 w 9905999"/>
              <a:gd name="connsiteY104" fmla="*/ 2172937 h 2265361"/>
              <a:gd name="connsiteX105" fmla="*/ 2229380 w 9905999"/>
              <a:gd name="connsiteY105" fmla="*/ 2035428 h 2265361"/>
              <a:gd name="connsiteX106" fmla="*/ 2229380 w 9905999"/>
              <a:gd name="connsiteY106" fmla="*/ 1710816 h 2265361"/>
              <a:gd name="connsiteX107" fmla="*/ 2292369 w 9905999"/>
              <a:gd name="connsiteY107" fmla="*/ 1710816 h 2265361"/>
              <a:gd name="connsiteX108" fmla="*/ 2292369 w 9905999"/>
              <a:gd name="connsiteY108" fmla="*/ 2035428 h 2265361"/>
              <a:gd name="connsiteX109" fmla="*/ 2105651 w 9905999"/>
              <a:gd name="connsiteY109" fmla="*/ 2231547 h 2265361"/>
              <a:gd name="connsiteX110" fmla="*/ 1918931 w 9905999"/>
              <a:gd name="connsiteY110" fmla="*/ 2035428 h 2265361"/>
              <a:gd name="connsiteX111" fmla="*/ 1918931 w 9905999"/>
              <a:gd name="connsiteY111" fmla="*/ 1710816 h 2265361"/>
              <a:gd name="connsiteX112" fmla="*/ 960591 w 9905999"/>
              <a:gd name="connsiteY112" fmla="*/ 1710816 h 2265361"/>
              <a:gd name="connsiteX113" fmla="*/ 1032578 w 9905999"/>
              <a:gd name="connsiteY113" fmla="*/ 1710816 h 2265361"/>
              <a:gd name="connsiteX114" fmla="*/ 1284537 w 9905999"/>
              <a:gd name="connsiteY114" fmla="*/ 2123344 h 2265361"/>
              <a:gd name="connsiteX115" fmla="*/ 1284537 w 9905999"/>
              <a:gd name="connsiteY115" fmla="*/ 1710816 h 2265361"/>
              <a:gd name="connsiteX116" fmla="*/ 1345276 w 9905999"/>
              <a:gd name="connsiteY116" fmla="*/ 1710816 h 2265361"/>
              <a:gd name="connsiteX117" fmla="*/ 1345276 w 9905999"/>
              <a:gd name="connsiteY117" fmla="*/ 2222531 h 2265361"/>
              <a:gd name="connsiteX118" fmla="*/ 1273289 w 9905999"/>
              <a:gd name="connsiteY118" fmla="*/ 2222531 h 2265361"/>
              <a:gd name="connsiteX119" fmla="*/ 1023580 w 9905999"/>
              <a:gd name="connsiteY119" fmla="*/ 1810003 h 2265361"/>
              <a:gd name="connsiteX120" fmla="*/ 1023580 w 9905999"/>
              <a:gd name="connsiteY120" fmla="*/ 2222531 h 2265361"/>
              <a:gd name="connsiteX121" fmla="*/ 960591 w 9905999"/>
              <a:gd name="connsiteY121" fmla="*/ 2222531 h 2265361"/>
              <a:gd name="connsiteX122" fmla="*/ 960591 w 9905999"/>
              <a:gd name="connsiteY122" fmla="*/ 1710816 h 2265361"/>
              <a:gd name="connsiteX123" fmla="*/ 5597068 w 9905999"/>
              <a:gd name="connsiteY123" fmla="*/ 1701799 h 2265361"/>
              <a:gd name="connsiteX124" fmla="*/ 5736545 w 9905999"/>
              <a:gd name="connsiteY124" fmla="*/ 1755901 h 2265361"/>
              <a:gd name="connsiteX125" fmla="*/ 5801784 w 9905999"/>
              <a:gd name="connsiteY125" fmla="*/ 1967800 h 2265361"/>
              <a:gd name="connsiteX126" fmla="*/ 5736545 w 9905999"/>
              <a:gd name="connsiteY126" fmla="*/ 2177446 h 2265361"/>
              <a:gd name="connsiteX127" fmla="*/ 5597068 w 9905999"/>
              <a:gd name="connsiteY127" fmla="*/ 2233802 h 2265361"/>
              <a:gd name="connsiteX128" fmla="*/ 5459841 w 9905999"/>
              <a:gd name="connsiteY128" fmla="*/ 2177446 h 2265361"/>
              <a:gd name="connsiteX129" fmla="*/ 5394602 w 9905999"/>
              <a:gd name="connsiteY129" fmla="*/ 1967800 h 2265361"/>
              <a:gd name="connsiteX130" fmla="*/ 5459841 w 9905999"/>
              <a:gd name="connsiteY130" fmla="*/ 1755901 h 2265361"/>
              <a:gd name="connsiteX131" fmla="*/ 5597068 w 9905999"/>
              <a:gd name="connsiteY131" fmla="*/ 1701799 h 2265361"/>
              <a:gd name="connsiteX132" fmla="*/ 4645477 w 9905999"/>
              <a:gd name="connsiteY132" fmla="*/ 1701799 h 2265361"/>
              <a:gd name="connsiteX133" fmla="*/ 4791702 w 9905999"/>
              <a:gd name="connsiteY133" fmla="*/ 1758155 h 2265361"/>
              <a:gd name="connsiteX134" fmla="*/ 4834445 w 9905999"/>
              <a:gd name="connsiteY134" fmla="*/ 1859597 h 2265361"/>
              <a:gd name="connsiteX135" fmla="*/ 4766956 w 9905999"/>
              <a:gd name="connsiteY135" fmla="*/ 1859597 h 2265361"/>
              <a:gd name="connsiteX136" fmla="*/ 4744460 w 9905999"/>
              <a:gd name="connsiteY136" fmla="*/ 1803240 h 2265361"/>
              <a:gd name="connsiteX137" fmla="*/ 4645477 w 9905999"/>
              <a:gd name="connsiteY137" fmla="*/ 1762664 h 2265361"/>
              <a:gd name="connsiteX138" fmla="*/ 4550992 w 9905999"/>
              <a:gd name="connsiteY138" fmla="*/ 1800986 h 2265361"/>
              <a:gd name="connsiteX139" fmla="*/ 4506000 w 9905999"/>
              <a:gd name="connsiteY139" fmla="*/ 1967800 h 2265361"/>
              <a:gd name="connsiteX140" fmla="*/ 4553242 w 9905999"/>
              <a:gd name="connsiteY140" fmla="*/ 2134615 h 2265361"/>
              <a:gd name="connsiteX141" fmla="*/ 4645477 w 9905999"/>
              <a:gd name="connsiteY141" fmla="*/ 2172937 h 2265361"/>
              <a:gd name="connsiteX142" fmla="*/ 4737711 w 9905999"/>
              <a:gd name="connsiteY142" fmla="*/ 2136869 h 2265361"/>
              <a:gd name="connsiteX143" fmla="*/ 4780454 w 9905999"/>
              <a:gd name="connsiteY143" fmla="*/ 2006123 h 2265361"/>
              <a:gd name="connsiteX144" fmla="*/ 4645477 w 9905999"/>
              <a:gd name="connsiteY144" fmla="*/ 2006123 h 2265361"/>
              <a:gd name="connsiteX145" fmla="*/ 4645477 w 9905999"/>
              <a:gd name="connsiteY145" fmla="*/ 1947512 h 2265361"/>
              <a:gd name="connsiteX146" fmla="*/ 4838944 w 9905999"/>
              <a:gd name="connsiteY146" fmla="*/ 1947512 h 2265361"/>
              <a:gd name="connsiteX147" fmla="*/ 4838944 w 9905999"/>
              <a:gd name="connsiteY147" fmla="*/ 2222531 h 2265361"/>
              <a:gd name="connsiteX148" fmla="*/ 4793952 w 9905999"/>
              <a:gd name="connsiteY148" fmla="*/ 2222531 h 2265361"/>
              <a:gd name="connsiteX149" fmla="*/ 4782704 w 9905999"/>
              <a:gd name="connsiteY149" fmla="*/ 2161666 h 2265361"/>
              <a:gd name="connsiteX150" fmla="*/ 4645477 w 9905999"/>
              <a:gd name="connsiteY150" fmla="*/ 2233802 h 2265361"/>
              <a:gd name="connsiteX151" fmla="*/ 4506000 w 9905999"/>
              <a:gd name="connsiteY151" fmla="*/ 2179700 h 2265361"/>
              <a:gd name="connsiteX152" fmla="*/ 4440761 w 9905999"/>
              <a:gd name="connsiteY152" fmla="*/ 1967800 h 2265361"/>
              <a:gd name="connsiteX153" fmla="*/ 4506000 w 9905999"/>
              <a:gd name="connsiteY153" fmla="*/ 1755901 h 2265361"/>
              <a:gd name="connsiteX154" fmla="*/ 4645477 w 9905999"/>
              <a:gd name="connsiteY154" fmla="*/ 1701799 h 2265361"/>
              <a:gd name="connsiteX155" fmla="*/ 4002083 w 9905999"/>
              <a:gd name="connsiteY155" fmla="*/ 1701799 h 2265361"/>
              <a:gd name="connsiteX156" fmla="*/ 4148309 w 9905999"/>
              <a:gd name="connsiteY156" fmla="*/ 1758155 h 2265361"/>
              <a:gd name="connsiteX157" fmla="*/ 4193302 w 9905999"/>
              <a:gd name="connsiteY157" fmla="*/ 1859597 h 2265361"/>
              <a:gd name="connsiteX158" fmla="*/ 4125813 w 9905999"/>
              <a:gd name="connsiteY158" fmla="*/ 1859597 h 2265361"/>
              <a:gd name="connsiteX159" fmla="*/ 4103317 w 9905999"/>
              <a:gd name="connsiteY159" fmla="*/ 1803240 h 2265361"/>
              <a:gd name="connsiteX160" fmla="*/ 4002083 w 9905999"/>
              <a:gd name="connsiteY160" fmla="*/ 1762664 h 2265361"/>
              <a:gd name="connsiteX161" fmla="*/ 3909849 w 9905999"/>
              <a:gd name="connsiteY161" fmla="*/ 1800986 h 2265361"/>
              <a:gd name="connsiteX162" fmla="*/ 3864856 w 9905999"/>
              <a:gd name="connsiteY162" fmla="*/ 1967800 h 2265361"/>
              <a:gd name="connsiteX163" fmla="*/ 3909849 w 9905999"/>
              <a:gd name="connsiteY163" fmla="*/ 2134615 h 2265361"/>
              <a:gd name="connsiteX164" fmla="*/ 4002083 w 9905999"/>
              <a:gd name="connsiteY164" fmla="*/ 2172937 h 2265361"/>
              <a:gd name="connsiteX165" fmla="*/ 4094318 w 9905999"/>
              <a:gd name="connsiteY165" fmla="*/ 2136869 h 2265361"/>
              <a:gd name="connsiteX166" fmla="*/ 4139311 w 9905999"/>
              <a:gd name="connsiteY166" fmla="*/ 2006123 h 2265361"/>
              <a:gd name="connsiteX167" fmla="*/ 4002083 w 9905999"/>
              <a:gd name="connsiteY167" fmla="*/ 2006123 h 2265361"/>
              <a:gd name="connsiteX168" fmla="*/ 4002083 w 9905999"/>
              <a:gd name="connsiteY168" fmla="*/ 1947512 h 2265361"/>
              <a:gd name="connsiteX169" fmla="*/ 4197801 w 9905999"/>
              <a:gd name="connsiteY169" fmla="*/ 1947512 h 2265361"/>
              <a:gd name="connsiteX170" fmla="*/ 4197801 w 9905999"/>
              <a:gd name="connsiteY170" fmla="*/ 2222531 h 2265361"/>
              <a:gd name="connsiteX171" fmla="*/ 4152808 w 9905999"/>
              <a:gd name="connsiteY171" fmla="*/ 2222531 h 2265361"/>
              <a:gd name="connsiteX172" fmla="*/ 4141560 w 9905999"/>
              <a:gd name="connsiteY172" fmla="*/ 2161666 h 2265361"/>
              <a:gd name="connsiteX173" fmla="*/ 4002083 w 9905999"/>
              <a:gd name="connsiteY173" fmla="*/ 2233802 h 2265361"/>
              <a:gd name="connsiteX174" fmla="*/ 3864856 w 9905999"/>
              <a:gd name="connsiteY174" fmla="*/ 2179700 h 2265361"/>
              <a:gd name="connsiteX175" fmla="*/ 3797367 w 9905999"/>
              <a:gd name="connsiteY175" fmla="*/ 1967800 h 2265361"/>
              <a:gd name="connsiteX176" fmla="*/ 3864856 w 9905999"/>
              <a:gd name="connsiteY176" fmla="*/ 1755901 h 2265361"/>
              <a:gd name="connsiteX177" fmla="*/ 4002083 w 9905999"/>
              <a:gd name="connsiteY177" fmla="*/ 1701799 h 2265361"/>
              <a:gd name="connsiteX178" fmla="*/ 1642228 w 9905999"/>
              <a:gd name="connsiteY178" fmla="*/ 1701799 h 2265361"/>
              <a:gd name="connsiteX179" fmla="*/ 1774955 w 9905999"/>
              <a:gd name="connsiteY179" fmla="*/ 1749138 h 2265361"/>
              <a:gd name="connsiteX180" fmla="*/ 1824447 w 9905999"/>
              <a:gd name="connsiteY180" fmla="*/ 1859597 h 2265361"/>
              <a:gd name="connsiteX181" fmla="*/ 1756958 w 9905999"/>
              <a:gd name="connsiteY181" fmla="*/ 1859597 h 2265361"/>
              <a:gd name="connsiteX182" fmla="*/ 1732212 w 9905999"/>
              <a:gd name="connsiteY182" fmla="*/ 1796478 h 2265361"/>
              <a:gd name="connsiteX183" fmla="*/ 1639978 w 9905999"/>
              <a:gd name="connsiteY183" fmla="*/ 1760410 h 2265361"/>
              <a:gd name="connsiteX184" fmla="*/ 1549993 w 9905999"/>
              <a:gd name="connsiteY184" fmla="*/ 1796478 h 2265361"/>
              <a:gd name="connsiteX185" fmla="*/ 1529746 w 9905999"/>
              <a:gd name="connsiteY185" fmla="*/ 1850580 h 2265361"/>
              <a:gd name="connsiteX186" fmla="*/ 1606234 w 9905999"/>
              <a:gd name="connsiteY186" fmla="*/ 1922716 h 2265361"/>
              <a:gd name="connsiteX187" fmla="*/ 1691719 w 9905999"/>
              <a:gd name="connsiteY187" fmla="*/ 1936241 h 2265361"/>
              <a:gd name="connsiteX188" fmla="*/ 1833445 w 9905999"/>
              <a:gd name="connsiteY188" fmla="*/ 2082767 h 2265361"/>
              <a:gd name="connsiteX189" fmla="*/ 1790703 w 9905999"/>
              <a:gd name="connsiteY189" fmla="*/ 2181954 h 2265361"/>
              <a:gd name="connsiteX190" fmla="*/ 1644477 w 9905999"/>
              <a:gd name="connsiteY190" fmla="*/ 2231547 h 2265361"/>
              <a:gd name="connsiteX191" fmla="*/ 1498251 w 9905999"/>
              <a:gd name="connsiteY191" fmla="*/ 2184208 h 2265361"/>
              <a:gd name="connsiteX192" fmla="*/ 1444260 w 9905999"/>
              <a:gd name="connsiteY192" fmla="*/ 2060225 h 2265361"/>
              <a:gd name="connsiteX193" fmla="*/ 1509499 w 9905999"/>
              <a:gd name="connsiteY193" fmla="*/ 2060225 h 2265361"/>
              <a:gd name="connsiteX194" fmla="*/ 1545494 w 9905999"/>
              <a:gd name="connsiteY194" fmla="*/ 2141378 h 2265361"/>
              <a:gd name="connsiteX195" fmla="*/ 1644477 w 9905999"/>
              <a:gd name="connsiteY195" fmla="*/ 2172937 h 2265361"/>
              <a:gd name="connsiteX196" fmla="*/ 1738962 w 9905999"/>
              <a:gd name="connsiteY196" fmla="*/ 2143632 h 2265361"/>
              <a:gd name="connsiteX197" fmla="*/ 1765956 w 9905999"/>
              <a:gd name="connsiteY197" fmla="*/ 2082767 h 2265361"/>
              <a:gd name="connsiteX198" fmla="*/ 1680471 w 9905999"/>
              <a:gd name="connsiteY198" fmla="*/ 2001614 h 2265361"/>
              <a:gd name="connsiteX199" fmla="*/ 1599484 w 9905999"/>
              <a:gd name="connsiteY199" fmla="*/ 1988089 h 2265361"/>
              <a:gd name="connsiteX200" fmla="*/ 1462257 w 9905999"/>
              <a:gd name="connsiteY200" fmla="*/ 1852834 h 2265361"/>
              <a:gd name="connsiteX201" fmla="*/ 1507249 w 9905999"/>
              <a:gd name="connsiteY201" fmla="*/ 1751393 h 2265361"/>
              <a:gd name="connsiteX202" fmla="*/ 1642228 w 9905999"/>
              <a:gd name="connsiteY202" fmla="*/ 1701799 h 2265361"/>
              <a:gd name="connsiteX203" fmla="*/ 654642 w 9905999"/>
              <a:gd name="connsiteY203" fmla="*/ 1701799 h 2265361"/>
              <a:gd name="connsiteX204" fmla="*/ 791868 w 9905999"/>
              <a:gd name="connsiteY204" fmla="*/ 1755901 h 2265361"/>
              <a:gd name="connsiteX205" fmla="*/ 857108 w 9905999"/>
              <a:gd name="connsiteY205" fmla="*/ 1967800 h 2265361"/>
              <a:gd name="connsiteX206" fmla="*/ 791868 w 9905999"/>
              <a:gd name="connsiteY206" fmla="*/ 2177446 h 2265361"/>
              <a:gd name="connsiteX207" fmla="*/ 654642 w 9905999"/>
              <a:gd name="connsiteY207" fmla="*/ 2233802 h 2265361"/>
              <a:gd name="connsiteX208" fmla="*/ 515164 w 9905999"/>
              <a:gd name="connsiteY208" fmla="*/ 2177446 h 2265361"/>
              <a:gd name="connsiteX209" fmla="*/ 449925 w 9905999"/>
              <a:gd name="connsiteY209" fmla="*/ 1967800 h 2265361"/>
              <a:gd name="connsiteX210" fmla="*/ 515164 w 9905999"/>
              <a:gd name="connsiteY210" fmla="*/ 1755901 h 2265361"/>
              <a:gd name="connsiteX211" fmla="*/ 654642 w 9905999"/>
              <a:gd name="connsiteY211" fmla="*/ 1701799 h 2265361"/>
              <a:gd name="connsiteX212" fmla="*/ 202466 w 9905999"/>
              <a:gd name="connsiteY212" fmla="*/ 1701799 h 2265361"/>
              <a:gd name="connsiteX213" fmla="*/ 339693 w 9905999"/>
              <a:gd name="connsiteY213" fmla="*/ 1753647 h 2265361"/>
              <a:gd name="connsiteX214" fmla="*/ 389185 w 9905999"/>
              <a:gd name="connsiteY214" fmla="*/ 1870868 h 2265361"/>
              <a:gd name="connsiteX215" fmla="*/ 323946 w 9905999"/>
              <a:gd name="connsiteY215" fmla="*/ 1870868 h 2265361"/>
              <a:gd name="connsiteX216" fmla="*/ 294701 w 9905999"/>
              <a:gd name="connsiteY216" fmla="*/ 1798732 h 2265361"/>
              <a:gd name="connsiteX217" fmla="*/ 202466 w 9905999"/>
              <a:gd name="connsiteY217" fmla="*/ 1762664 h 2265361"/>
              <a:gd name="connsiteX218" fmla="*/ 110232 w 9905999"/>
              <a:gd name="connsiteY218" fmla="*/ 1800986 h 2265361"/>
              <a:gd name="connsiteX219" fmla="*/ 67489 w 9905999"/>
              <a:gd name="connsiteY219" fmla="*/ 1967800 h 2265361"/>
              <a:gd name="connsiteX220" fmla="*/ 110232 w 9905999"/>
              <a:gd name="connsiteY220" fmla="*/ 2132361 h 2265361"/>
              <a:gd name="connsiteX221" fmla="*/ 202466 w 9905999"/>
              <a:gd name="connsiteY221" fmla="*/ 2172937 h 2265361"/>
              <a:gd name="connsiteX222" fmla="*/ 296951 w 9905999"/>
              <a:gd name="connsiteY222" fmla="*/ 2132361 h 2265361"/>
              <a:gd name="connsiteX223" fmla="*/ 323946 w 9905999"/>
              <a:gd name="connsiteY223" fmla="*/ 2060225 h 2265361"/>
              <a:gd name="connsiteX224" fmla="*/ 391435 w 9905999"/>
              <a:gd name="connsiteY224" fmla="*/ 2060225 h 2265361"/>
              <a:gd name="connsiteX225" fmla="*/ 339693 w 9905999"/>
              <a:gd name="connsiteY225" fmla="*/ 2177446 h 2265361"/>
              <a:gd name="connsiteX226" fmla="*/ 202466 w 9905999"/>
              <a:gd name="connsiteY226" fmla="*/ 2233802 h 2265361"/>
              <a:gd name="connsiteX227" fmla="*/ 65239 w 9905999"/>
              <a:gd name="connsiteY227" fmla="*/ 2177446 h 2265361"/>
              <a:gd name="connsiteX228" fmla="*/ 0 w 9905999"/>
              <a:gd name="connsiteY228" fmla="*/ 1967800 h 2265361"/>
              <a:gd name="connsiteX229" fmla="*/ 65239 w 9905999"/>
              <a:gd name="connsiteY229" fmla="*/ 1755901 h 2265361"/>
              <a:gd name="connsiteX230" fmla="*/ 202466 w 9905999"/>
              <a:gd name="connsiteY230" fmla="*/ 1701799 h 2265361"/>
              <a:gd name="connsiteX231" fmla="*/ 2227389 w 9905999"/>
              <a:gd name="connsiteY231" fmla="*/ 214047 h 2265361"/>
              <a:gd name="connsiteX232" fmla="*/ 2227389 w 9905999"/>
              <a:gd name="connsiteY232" fmla="*/ 574548 h 2265361"/>
              <a:gd name="connsiteX233" fmla="*/ 2456649 w 9905999"/>
              <a:gd name="connsiteY233" fmla="*/ 574548 h 2265361"/>
              <a:gd name="connsiteX234" fmla="*/ 2654442 w 9905999"/>
              <a:gd name="connsiteY234" fmla="*/ 394298 h 2265361"/>
              <a:gd name="connsiteX235" fmla="*/ 2456649 w 9905999"/>
              <a:gd name="connsiteY235" fmla="*/ 214047 h 2265361"/>
              <a:gd name="connsiteX236" fmla="*/ 2227389 w 9905999"/>
              <a:gd name="connsiteY236" fmla="*/ 214047 h 2265361"/>
              <a:gd name="connsiteX237" fmla="*/ 8961436 w 9905999"/>
              <a:gd name="connsiteY237" fmla="*/ 0 h 2265361"/>
              <a:gd name="connsiteX238" fmla="*/ 9905999 w 9905999"/>
              <a:gd name="connsiteY238" fmla="*/ 0 h 2265361"/>
              <a:gd name="connsiteX239" fmla="*/ 9905999 w 9905999"/>
              <a:gd name="connsiteY239" fmla="*/ 225425 h 2265361"/>
              <a:gd name="connsiteX240" fmla="*/ 9555161 w 9905999"/>
              <a:gd name="connsiteY240" fmla="*/ 225425 h 2265361"/>
              <a:gd name="connsiteX241" fmla="*/ 9555161 w 9905999"/>
              <a:gd name="connsiteY241" fmla="*/ 1214437 h 2265361"/>
              <a:gd name="connsiteX242" fmla="*/ 9315449 w 9905999"/>
              <a:gd name="connsiteY242" fmla="*/ 1214437 h 2265361"/>
              <a:gd name="connsiteX243" fmla="*/ 9315449 w 9905999"/>
              <a:gd name="connsiteY243" fmla="*/ 225425 h 2265361"/>
              <a:gd name="connsiteX244" fmla="*/ 8961436 w 9905999"/>
              <a:gd name="connsiteY244" fmla="*/ 225425 h 2265361"/>
              <a:gd name="connsiteX245" fmla="*/ 7785099 w 9905999"/>
              <a:gd name="connsiteY245" fmla="*/ 0 h 2265361"/>
              <a:gd name="connsiteX246" fmla="*/ 8035924 w 9905999"/>
              <a:gd name="connsiteY246" fmla="*/ 0 h 2265361"/>
              <a:gd name="connsiteX247" fmla="*/ 8037512 w 9905999"/>
              <a:gd name="connsiteY247" fmla="*/ 3175 h 2265361"/>
              <a:gd name="connsiteX248" fmla="*/ 8523286 w 9905999"/>
              <a:gd name="connsiteY248" fmla="*/ 774700 h 2265361"/>
              <a:gd name="connsiteX249" fmla="*/ 8523286 w 9905999"/>
              <a:gd name="connsiteY249" fmla="*/ 0 h 2265361"/>
              <a:gd name="connsiteX250" fmla="*/ 8759824 w 9905999"/>
              <a:gd name="connsiteY250" fmla="*/ 0 h 2265361"/>
              <a:gd name="connsiteX251" fmla="*/ 8759824 w 9905999"/>
              <a:gd name="connsiteY251" fmla="*/ 1214437 h 2265361"/>
              <a:gd name="connsiteX252" fmla="*/ 8518524 w 9905999"/>
              <a:gd name="connsiteY252" fmla="*/ 1214437 h 2265361"/>
              <a:gd name="connsiteX253" fmla="*/ 8024812 w 9905999"/>
              <a:gd name="connsiteY253" fmla="*/ 425450 h 2265361"/>
              <a:gd name="connsiteX254" fmla="*/ 8024812 w 9905999"/>
              <a:gd name="connsiteY254" fmla="*/ 1214437 h 2265361"/>
              <a:gd name="connsiteX255" fmla="*/ 7785099 w 9905999"/>
              <a:gd name="connsiteY255" fmla="*/ 1214437 h 2265361"/>
              <a:gd name="connsiteX256" fmla="*/ 6665911 w 9905999"/>
              <a:gd name="connsiteY256" fmla="*/ 0 h 2265361"/>
              <a:gd name="connsiteX257" fmla="*/ 7535861 w 9905999"/>
              <a:gd name="connsiteY257" fmla="*/ 0 h 2265361"/>
              <a:gd name="connsiteX258" fmla="*/ 7535861 w 9905999"/>
              <a:gd name="connsiteY258" fmla="*/ 220663 h 2265361"/>
              <a:gd name="connsiteX259" fmla="*/ 6905624 w 9905999"/>
              <a:gd name="connsiteY259" fmla="*/ 220663 h 2265361"/>
              <a:gd name="connsiteX260" fmla="*/ 6905624 w 9905999"/>
              <a:gd name="connsiteY260" fmla="*/ 473075 h 2265361"/>
              <a:gd name="connsiteX261" fmla="*/ 7459661 w 9905999"/>
              <a:gd name="connsiteY261" fmla="*/ 473075 h 2265361"/>
              <a:gd name="connsiteX262" fmla="*/ 7459661 w 9905999"/>
              <a:gd name="connsiteY262" fmla="*/ 690562 h 2265361"/>
              <a:gd name="connsiteX263" fmla="*/ 6905624 w 9905999"/>
              <a:gd name="connsiteY263" fmla="*/ 690562 h 2265361"/>
              <a:gd name="connsiteX264" fmla="*/ 6905624 w 9905999"/>
              <a:gd name="connsiteY264" fmla="*/ 993775 h 2265361"/>
              <a:gd name="connsiteX265" fmla="*/ 7535861 w 9905999"/>
              <a:gd name="connsiteY265" fmla="*/ 993775 h 2265361"/>
              <a:gd name="connsiteX266" fmla="*/ 7535861 w 9905999"/>
              <a:gd name="connsiteY266" fmla="*/ 1214437 h 2265361"/>
              <a:gd name="connsiteX267" fmla="*/ 6665911 w 9905999"/>
              <a:gd name="connsiteY267" fmla="*/ 1214437 h 2265361"/>
              <a:gd name="connsiteX268" fmla="*/ 5221286 w 9905999"/>
              <a:gd name="connsiteY268" fmla="*/ 0 h 2265361"/>
              <a:gd name="connsiteX269" fmla="*/ 5534024 w 9905999"/>
              <a:gd name="connsiteY269" fmla="*/ 0 h 2265361"/>
              <a:gd name="connsiteX270" fmla="*/ 5835649 w 9905999"/>
              <a:gd name="connsiteY270" fmla="*/ 823912 h 2265361"/>
              <a:gd name="connsiteX271" fmla="*/ 6142037 w 9905999"/>
              <a:gd name="connsiteY271" fmla="*/ 0 h 2265361"/>
              <a:gd name="connsiteX272" fmla="*/ 6438899 w 9905999"/>
              <a:gd name="connsiteY272" fmla="*/ 0 h 2265361"/>
              <a:gd name="connsiteX273" fmla="*/ 6438899 w 9905999"/>
              <a:gd name="connsiteY273" fmla="*/ 1214437 h 2265361"/>
              <a:gd name="connsiteX274" fmla="*/ 6203949 w 9905999"/>
              <a:gd name="connsiteY274" fmla="*/ 1214437 h 2265361"/>
              <a:gd name="connsiteX275" fmla="*/ 6203949 w 9905999"/>
              <a:gd name="connsiteY275" fmla="*/ 419100 h 2265361"/>
              <a:gd name="connsiteX276" fmla="*/ 5916612 w 9905999"/>
              <a:gd name="connsiteY276" fmla="*/ 1196975 h 2265361"/>
              <a:gd name="connsiteX277" fmla="*/ 5740399 w 9905999"/>
              <a:gd name="connsiteY277" fmla="*/ 1196975 h 2265361"/>
              <a:gd name="connsiteX278" fmla="*/ 5454649 w 9905999"/>
              <a:gd name="connsiteY278" fmla="*/ 409575 h 2265361"/>
              <a:gd name="connsiteX279" fmla="*/ 5454649 w 9905999"/>
              <a:gd name="connsiteY279" fmla="*/ 1214437 h 2265361"/>
              <a:gd name="connsiteX280" fmla="*/ 5221286 w 9905999"/>
              <a:gd name="connsiteY280" fmla="*/ 1214437 h 2265361"/>
              <a:gd name="connsiteX281" fmla="*/ 4098924 w 9905999"/>
              <a:gd name="connsiteY281" fmla="*/ 0 h 2265361"/>
              <a:gd name="connsiteX282" fmla="*/ 4968874 w 9905999"/>
              <a:gd name="connsiteY282" fmla="*/ 0 h 2265361"/>
              <a:gd name="connsiteX283" fmla="*/ 4968874 w 9905999"/>
              <a:gd name="connsiteY283" fmla="*/ 220663 h 2265361"/>
              <a:gd name="connsiteX284" fmla="*/ 4340224 w 9905999"/>
              <a:gd name="connsiteY284" fmla="*/ 220663 h 2265361"/>
              <a:gd name="connsiteX285" fmla="*/ 4340224 w 9905999"/>
              <a:gd name="connsiteY285" fmla="*/ 473075 h 2265361"/>
              <a:gd name="connsiteX286" fmla="*/ 4895849 w 9905999"/>
              <a:gd name="connsiteY286" fmla="*/ 473075 h 2265361"/>
              <a:gd name="connsiteX287" fmla="*/ 4895849 w 9905999"/>
              <a:gd name="connsiteY287" fmla="*/ 690562 h 2265361"/>
              <a:gd name="connsiteX288" fmla="*/ 4340224 w 9905999"/>
              <a:gd name="connsiteY288" fmla="*/ 690562 h 2265361"/>
              <a:gd name="connsiteX289" fmla="*/ 4340224 w 9905999"/>
              <a:gd name="connsiteY289" fmla="*/ 993775 h 2265361"/>
              <a:gd name="connsiteX290" fmla="*/ 4968874 w 9905999"/>
              <a:gd name="connsiteY290" fmla="*/ 993775 h 2265361"/>
              <a:gd name="connsiteX291" fmla="*/ 4968874 w 9905999"/>
              <a:gd name="connsiteY291" fmla="*/ 1214437 h 2265361"/>
              <a:gd name="connsiteX292" fmla="*/ 4098924 w 9905999"/>
              <a:gd name="connsiteY292" fmla="*/ 1214437 h 2265361"/>
              <a:gd name="connsiteX293" fmla="*/ 3079749 w 9905999"/>
              <a:gd name="connsiteY293" fmla="*/ 0 h 2265361"/>
              <a:gd name="connsiteX294" fmla="*/ 3321049 w 9905999"/>
              <a:gd name="connsiteY294" fmla="*/ 0 h 2265361"/>
              <a:gd name="connsiteX295" fmla="*/ 3321049 w 9905999"/>
              <a:gd name="connsiteY295" fmla="*/ 984250 h 2265361"/>
              <a:gd name="connsiteX296" fmla="*/ 3871912 w 9905999"/>
              <a:gd name="connsiteY296" fmla="*/ 984250 h 2265361"/>
              <a:gd name="connsiteX297" fmla="*/ 3871912 w 9905999"/>
              <a:gd name="connsiteY297" fmla="*/ 1214437 h 2265361"/>
              <a:gd name="connsiteX298" fmla="*/ 3079749 w 9905999"/>
              <a:gd name="connsiteY298" fmla="*/ 1214437 h 2265361"/>
              <a:gd name="connsiteX299" fmla="*/ 1989138 w 9905999"/>
              <a:gd name="connsiteY299" fmla="*/ 0 h 2265361"/>
              <a:gd name="connsiteX300" fmla="*/ 2465639 w 9905999"/>
              <a:gd name="connsiteY300" fmla="*/ 0 h 2265361"/>
              <a:gd name="connsiteX301" fmla="*/ 2897188 w 9905999"/>
              <a:gd name="connsiteY301" fmla="*/ 392045 h 2265361"/>
              <a:gd name="connsiteX302" fmla="*/ 2465639 w 9905999"/>
              <a:gd name="connsiteY302" fmla="*/ 786342 h 2265361"/>
              <a:gd name="connsiteX303" fmla="*/ 2227389 w 9905999"/>
              <a:gd name="connsiteY303" fmla="*/ 786342 h 2265361"/>
              <a:gd name="connsiteX304" fmla="*/ 2227389 w 9905999"/>
              <a:gd name="connsiteY304" fmla="*/ 1214437 h 2265361"/>
              <a:gd name="connsiteX305" fmla="*/ 1989138 w 9905999"/>
              <a:gd name="connsiteY305" fmla="*/ 1214437 h 2265361"/>
              <a:gd name="connsiteX306" fmla="*/ 1989138 w 9905999"/>
              <a:gd name="connsiteY306" fmla="*/ 0 h 2265361"/>
              <a:gd name="connsiteX307" fmla="*/ 520699 w 9905999"/>
              <a:gd name="connsiteY307" fmla="*/ 0 h 2265361"/>
              <a:gd name="connsiteX308" fmla="*/ 833436 w 9905999"/>
              <a:gd name="connsiteY308" fmla="*/ 0 h 2265361"/>
              <a:gd name="connsiteX309" fmla="*/ 1135061 w 9905999"/>
              <a:gd name="connsiteY309" fmla="*/ 823912 h 2265361"/>
              <a:gd name="connsiteX310" fmla="*/ 1439862 w 9905999"/>
              <a:gd name="connsiteY310" fmla="*/ 0 h 2265361"/>
              <a:gd name="connsiteX311" fmla="*/ 1736724 w 9905999"/>
              <a:gd name="connsiteY311" fmla="*/ 0 h 2265361"/>
              <a:gd name="connsiteX312" fmla="*/ 1736724 w 9905999"/>
              <a:gd name="connsiteY312" fmla="*/ 1214437 h 2265361"/>
              <a:gd name="connsiteX313" fmla="*/ 1503362 w 9905999"/>
              <a:gd name="connsiteY313" fmla="*/ 1214437 h 2265361"/>
              <a:gd name="connsiteX314" fmla="*/ 1503362 w 9905999"/>
              <a:gd name="connsiteY314" fmla="*/ 419100 h 2265361"/>
              <a:gd name="connsiteX315" fmla="*/ 1216024 w 9905999"/>
              <a:gd name="connsiteY315" fmla="*/ 1196975 h 2265361"/>
              <a:gd name="connsiteX316" fmla="*/ 1039812 w 9905999"/>
              <a:gd name="connsiteY316" fmla="*/ 1196975 h 2265361"/>
              <a:gd name="connsiteX317" fmla="*/ 754062 w 9905999"/>
              <a:gd name="connsiteY317" fmla="*/ 409575 h 2265361"/>
              <a:gd name="connsiteX318" fmla="*/ 754062 w 9905999"/>
              <a:gd name="connsiteY318" fmla="*/ 1214437 h 2265361"/>
              <a:gd name="connsiteX319" fmla="*/ 520699 w 9905999"/>
              <a:gd name="connsiteY319" fmla="*/ 1214437 h 2265361"/>
              <a:gd name="connsiteX320" fmla="*/ 25400 w 9905999"/>
              <a:gd name="connsiteY320" fmla="*/ 0 h 2265361"/>
              <a:gd name="connsiteX321" fmla="*/ 268288 w 9905999"/>
              <a:gd name="connsiteY321" fmla="*/ 0 h 2265361"/>
              <a:gd name="connsiteX322" fmla="*/ 268288 w 9905999"/>
              <a:gd name="connsiteY322" fmla="*/ 1214437 h 2265361"/>
              <a:gd name="connsiteX323" fmla="*/ 25400 w 9905999"/>
              <a:gd name="connsiteY323" fmla="*/ 1214437 h 22653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</a:cxnLst>
            <a:rect l="l" t="t" r="r" b="b"/>
            <a:pathLst>
              <a:path w="9905999" h="2265361">
                <a:moveTo>
                  <a:pt x="6778122" y="2222531"/>
                </a:moveTo>
                <a:cubicBezTo>
                  <a:pt x="6778122" y="2222531"/>
                  <a:pt x="6778122" y="2222531"/>
                  <a:pt x="7135812" y="2222531"/>
                </a:cubicBezTo>
                <a:lnTo>
                  <a:pt x="7135812" y="2265361"/>
                </a:lnTo>
                <a:cubicBezTo>
                  <a:pt x="7135812" y="2265361"/>
                  <a:pt x="7135812" y="2265361"/>
                  <a:pt x="6778122" y="2265361"/>
                </a:cubicBezTo>
                <a:cubicBezTo>
                  <a:pt x="6778122" y="2265361"/>
                  <a:pt x="6778122" y="2265361"/>
                  <a:pt x="6778122" y="2222531"/>
                </a:cubicBezTo>
                <a:close/>
                <a:moveTo>
                  <a:pt x="6449676" y="1769427"/>
                </a:moveTo>
                <a:cubicBezTo>
                  <a:pt x="6449676" y="1769427"/>
                  <a:pt x="6449676" y="1769427"/>
                  <a:pt x="6449676" y="1965546"/>
                </a:cubicBezTo>
                <a:cubicBezTo>
                  <a:pt x="6449676" y="1965546"/>
                  <a:pt x="6449676" y="1965546"/>
                  <a:pt x="6575655" y="1965546"/>
                </a:cubicBezTo>
                <a:cubicBezTo>
                  <a:pt x="6643144" y="1965546"/>
                  <a:pt x="6679138" y="1933987"/>
                  <a:pt x="6679138" y="1864105"/>
                </a:cubicBezTo>
                <a:cubicBezTo>
                  <a:pt x="6679138" y="1800986"/>
                  <a:pt x="6638645" y="1769427"/>
                  <a:pt x="6575655" y="1769427"/>
                </a:cubicBezTo>
                <a:cubicBezTo>
                  <a:pt x="6575655" y="1769427"/>
                  <a:pt x="6575655" y="1769427"/>
                  <a:pt x="6449676" y="1769427"/>
                </a:cubicBezTo>
                <a:close/>
                <a:moveTo>
                  <a:pt x="5021164" y="1769427"/>
                </a:moveTo>
                <a:cubicBezTo>
                  <a:pt x="5021164" y="1769427"/>
                  <a:pt x="5021164" y="1769427"/>
                  <a:pt x="5021164" y="1949767"/>
                </a:cubicBezTo>
                <a:cubicBezTo>
                  <a:pt x="5021164" y="1949767"/>
                  <a:pt x="5021164" y="1949767"/>
                  <a:pt x="5158391" y="1949767"/>
                </a:cubicBezTo>
                <a:cubicBezTo>
                  <a:pt x="5219131" y="1949767"/>
                  <a:pt x="5261874" y="1924970"/>
                  <a:pt x="5261874" y="1859597"/>
                </a:cubicBezTo>
                <a:cubicBezTo>
                  <a:pt x="5261874" y="1794223"/>
                  <a:pt x="5219131" y="1769427"/>
                  <a:pt x="5158391" y="1769427"/>
                </a:cubicBezTo>
                <a:cubicBezTo>
                  <a:pt x="5158391" y="1769427"/>
                  <a:pt x="5158391" y="1769427"/>
                  <a:pt x="5021164" y="1769427"/>
                </a:cubicBezTo>
                <a:close/>
                <a:moveTo>
                  <a:pt x="5597068" y="1762664"/>
                </a:moveTo>
                <a:cubicBezTo>
                  <a:pt x="5563324" y="1762664"/>
                  <a:pt x="5529579" y="1776189"/>
                  <a:pt x="5504834" y="1800986"/>
                </a:cubicBezTo>
                <a:cubicBezTo>
                  <a:pt x="5462091" y="1843817"/>
                  <a:pt x="5459841" y="1913699"/>
                  <a:pt x="5459841" y="1967800"/>
                </a:cubicBezTo>
                <a:cubicBezTo>
                  <a:pt x="5459841" y="2019648"/>
                  <a:pt x="5462091" y="2089530"/>
                  <a:pt x="5504834" y="2132361"/>
                </a:cubicBezTo>
                <a:cubicBezTo>
                  <a:pt x="5529579" y="2159412"/>
                  <a:pt x="5563324" y="2170683"/>
                  <a:pt x="5597068" y="2170683"/>
                </a:cubicBezTo>
                <a:cubicBezTo>
                  <a:pt x="5633062" y="2170683"/>
                  <a:pt x="5666807" y="2159412"/>
                  <a:pt x="5691552" y="2132361"/>
                </a:cubicBezTo>
                <a:cubicBezTo>
                  <a:pt x="5732046" y="2089530"/>
                  <a:pt x="5734295" y="2019648"/>
                  <a:pt x="5734295" y="1967800"/>
                </a:cubicBezTo>
                <a:cubicBezTo>
                  <a:pt x="5734295" y="1913699"/>
                  <a:pt x="5732046" y="1843817"/>
                  <a:pt x="5691552" y="1800986"/>
                </a:cubicBezTo>
                <a:cubicBezTo>
                  <a:pt x="5666807" y="1776189"/>
                  <a:pt x="5633062" y="1762664"/>
                  <a:pt x="5597068" y="1762664"/>
                </a:cubicBezTo>
                <a:close/>
                <a:moveTo>
                  <a:pt x="654642" y="1762664"/>
                </a:moveTo>
                <a:cubicBezTo>
                  <a:pt x="618647" y="1762664"/>
                  <a:pt x="584903" y="1776189"/>
                  <a:pt x="560157" y="1800986"/>
                </a:cubicBezTo>
                <a:cubicBezTo>
                  <a:pt x="519664" y="1843817"/>
                  <a:pt x="517414" y="1913699"/>
                  <a:pt x="517414" y="1967800"/>
                </a:cubicBezTo>
                <a:cubicBezTo>
                  <a:pt x="517414" y="2019648"/>
                  <a:pt x="519664" y="2089530"/>
                  <a:pt x="560157" y="2132361"/>
                </a:cubicBezTo>
                <a:cubicBezTo>
                  <a:pt x="584903" y="2159412"/>
                  <a:pt x="618647" y="2170683"/>
                  <a:pt x="654642" y="2170683"/>
                </a:cubicBezTo>
                <a:cubicBezTo>
                  <a:pt x="688386" y="2170683"/>
                  <a:pt x="722130" y="2159412"/>
                  <a:pt x="746876" y="2132361"/>
                </a:cubicBezTo>
                <a:cubicBezTo>
                  <a:pt x="789619" y="2089530"/>
                  <a:pt x="791868" y="2019648"/>
                  <a:pt x="791868" y="1967800"/>
                </a:cubicBezTo>
                <a:cubicBezTo>
                  <a:pt x="791868" y="1913699"/>
                  <a:pt x="789619" y="1843817"/>
                  <a:pt x="746876" y="1800986"/>
                </a:cubicBezTo>
                <a:cubicBezTo>
                  <a:pt x="722130" y="1776189"/>
                  <a:pt x="688386" y="1762664"/>
                  <a:pt x="654642" y="1762664"/>
                </a:cubicBezTo>
                <a:close/>
                <a:moveTo>
                  <a:pt x="6386687" y="1710816"/>
                </a:moveTo>
                <a:cubicBezTo>
                  <a:pt x="6386687" y="1710816"/>
                  <a:pt x="6386687" y="1710816"/>
                  <a:pt x="6575655" y="1710816"/>
                </a:cubicBezTo>
                <a:cubicBezTo>
                  <a:pt x="6636395" y="1710816"/>
                  <a:pt x="6679138" y="1726596"/>
                  <a:pt x="6706134" y="1755901"/>
                </a:cubicBezTo>
                <a:cubicBezTo>
                  <a:pt x="6730880" y="1782952"/>
                  <a:pt x="6744377" y="1821274"/>
                  <a:pt x="6744377" y="1864105"/>
                </a:cubicBezTo>
                <a:cubicBezTo>
                  <a:pt x="6744377" y="1915953"/>
                  <a:pt x="6730880" y="1954275"/>
                  <a:pt x="6701634" y="1981326"/>
                </a:cubicBezTo>
                <a:cubicBezTo>
                  <a:pt x="6674639" y="2008377"/>
                  <a:pt x="6634146" y="2024157"/>
                  <a:pt x="6577905" y="2024157"/>
                </a:cubicBezTo>
                <a:cubicBezTo>
                  <a:pt x="6577905" y="2024157"/>
                  <a:pt x="6577905" y="2024157"/>
                  <a:pt x="6449676" y="2024157"/>
                </a:cubicBezTo>
                <a:cubicBezTo>
                  <a:pt x="6449676" y="2024157"/>
                  <a:pt x="6449676" y="2024157"/>
                  <a:pt x="6449676" y="2222531"/>
                </a:cubicBezTo>
                <a:cubicBezTo>
                  <a:pt x="6449676" y="2222531"/>
                  <a:pt x="6449676" y="2222531"/>
                  <a:pt x="6386687" y="2222531"/>
                </a:cubicBezTo>
                <a:cubicBezTo>
                  <a:pt x="6386687" y="2222531"/>
                  <a:pt x="6386687" y="2222531"/>
                  <a:pt x="6386687" y="1710816"/>
                </a:cubicBezTo>
                <a:close/>
                <a:moveTo>
                  <a:pt x="5889520" y="1710816"/>
                </a:moveTo>
                <a:cubicBezTo>
                  <a:pt x="5889520" y="1710816"/>
                  <a:pt x="5889520" y="1710816"/>
                  <a:pt x="5954759" y="1710816"/>
                </a:cubicBezTo>
                <a:cubicBezTo>
                  <a:pt x="5954759" y="1710816"/>
                  <a:pt x="5954759" y="1710816"/>
                  <a:pt x="5954759" y="2035428"/>
                </a:cubicBezTo>
                <a:cubicBezTo>
                  <a:pt x="5954759" y="2118835"/>
                  <a:pt x="5988503" y="2172937"/>
                  <a:pt x="6076239" y="2172937"/>
                </a:cubicBezTo>
                <a:cubicBezTo>
                  <a:pt x="6166224" y="2172937"/>
                  <a:pt x="6199968" y="2118835"/>
                  <a:pt x="6199968" y="2035428"/>
                </a:cubicBezTo>
                <a:cubicBezTo>
                  <a:pt x="6199968" y="2035428"/>
                  <a:pt x="6199968" y="2035428"/>
                  <a:pt x="6199968" y="1710816"/>
                </a:cubicBezTo>
                <a:cubicBezTo>
                  <a:pt x="6199968" y="1710816"/>
                  <a:pt x="6199968" y="1710816"/>
                  <a:pt x="6262957" y="1710816"/>
                </a:cubicBezTo>
                <a:cubicBezTo>
                  <a:pt x="6262957" y="1710816"/>
                  <a:pt x="6262957" y="1710816"/>
                  <a:pt x="6262957" y="2035428"/>
                </a:cubicBezTo>
                <a:cubicBezTo>
                  <a:pt x="6262957" y="2163920"/>
                  <a:pt x="6190969" y="2231547"/>
                  <a:pt x="6076239" y="2231547"/>
                </a:cubicBezTo>
                <a:cubicBezTo>
                  <a:pt x="5961508" y="2231547"/>
                  <a:pt x="5889520" y="2163920"/>
                  <a:pt x="5889520" y="2035428"/>
                </a:cubicBezTo>
                <a:cubicBezTo>
                  <a:pt x="5889520" y="2035428"/>
                  <a:pt x="5889520" y="2035428"/>
                  <a:pt x="5889520" y="1710816"/>
                </a:cubicBezTo>
                <a:close/>
                <a:moveTo>
                  <a:pt x="4958174" y="1710816"/>
                </a:moveTo>
                <a:cubicBezTo>
                  <a:pt x="4958174" y="1710816"/>
                  <a:pt x="4958174" y="1710816"/>
                  <a:pt x="5158391" y="1710816"/>
                </a:cubicBezTo>
                <a:cubicBezTo>
                  <a:pt x="5219131" y="1710816"/>
                  <a:pt x="5259624" y="1726596"/>
                  <a:pt x="5288869" y="1755901"/>
                </a:cubicBezTo>
                <a:cubicBezTo>
                  <a:pt x="5313615" y="1782952"/>
                  <a:pt x="5329363" y="1814512"/>
                  <a:pt x="5329363" y="1859597"/>
                </a:cubicBezTo>
                <a:cubicBezTo>
                  <a:pt x="5329363" y="1904682"/>
                  <a:pt x="5313615" y="1936241"/>
                  <a:pt x="5288869" y="1961038"/>
                </a:cubicBezTo>
                <a:cubicBezTo>
                  <a:pt x="5275372" y="1976817"/>
                  <a:pt x="5252875" y="1990343"/>
                  <a:pt x="5228130" y="1997106"/>
                </a:cubicBezTo>
                <a:cubicBezTo>
                  <a:pt x="5228130" y="1997106"/>
                  <a:pt x="5228130" y="1997106"/>
                  <a:pt x="5331612" y="2222531"/>
                </a:cubicBezTo>
                <a:lnTo>
                  <a:pt x="5259624" y="2222531"/>
                </a:lnTo>
                <a:cubicBezTo>
                  <a:pt x="5259624" y="2222531"/>
                  <a:pt x="5259624" y="2222531"/>
                  <a:pt x="5162890" y="2010631"/>
                </a:cubicBezTo>
                <a:cubicBezTo>
                  <a:pt x="5162890" y="2010631"/>
                  <a:pt x="5162890" y="2010631"/>
                  <a:pt x="5021164" y="2010631"/>
                </a:cubicBezTo>
                <a:cubicBezTo>
                  <a:pt x="5021164" y="2010631"/>
                  <a:pt x="5021164" y="2010631"/>
                  <a:pt x="5021164" y="2222531"/>
                </a:cubicBezTo>
                <a:cubicBezTo>
                  <a:pt x="5021164" y="2222531"/>
                  <a:pt x="5021164" y="2222531"/>
                  <a:pt x="4958174" y="2222531"/>
                </a:cubicBezTo>
                <a:cubicBezTo>
                  <a:pt x="4958174" y="2222531"/>
                  <a:pt x="4958174" y="2222531"/>
                  <a:pt x="4958174" y="1710816"/>
                </a:cubicBezTo>
                <a:close/>
                <a:moveTo>
                  <a:pt x="3309199" y="1710816"/>
                </a:moveTo>
                <a:cubicBezTo>
                  <a:pt x="3309199" y="1710816"/>
                  <a:pt x="3309199" y="1710816"/>
                  <a:pt x="3381187" y="1710816"/>
                </a:cubicBezTo>
                <a:cubicBezTo>
                  <a:pt x="3381187" y="1710816"/>
                  <a:pt x="3381187" y="1710816"/>
                  <a:pt x="3633145" y="2123344"/>
                </a:cubicBezTo>
                <a:cubicBezTo>
                  <a:pt x="3633145" y="2123344"/>
                  <a:pt x="3633145" y="2123344"/>
                  <a:pt x="3633145" y="1710816"/>
                </a:cubicBezTo>
                <a:cubicBezTo>
                  <a:pt x="3633145" y="1710816"/>
                  <a:pt x="3633145" y="1710816"/>
                  <a:pt x="3693885" y="1710816"/>
                </a:cubicBezTo>
                <a:cubicBezTo>
                  <a:pt x="3693885" y="1710816"/>
                  <a:pt x="3693885" y="1710816"/>
                  <a:pt x="3693885" y="2222531"/>
                </a:cubicBezTo>
                <a:lnTo>
                  <a:pt x="3621897" y="2222531"/>
                </a:lnTo>
                <a:cubicBezTo>
                  <a:pt x="3621897" y="2222531"/>
                  <a:pt x="3621897" y="2222531"/>
                  <a:pt x="3372188" y="1810003"/>
                </a:cubicBezTo>
                <a:cubicBezTo>
                  <a:pt x="3372188" y="1810003"/>
                  <a:pt x="3372188" y="1810003"/>
                  <a:pt x="3372188" y="2222531"/>
                </a:cubicBezTo>
                <a:cubicBezTo>
                  <a:pt x="3372188" y="2222531"/>
                  <a:pt x="3372188" y="2222531"/>
                  <a:pt x="3309199" y="2222531"/>
                </a:cubicBezTo>
                <a:cubicBezTo>
                  <a:pt x="3309199" y="2222531"/>
                  <a:pt x="3309199" y="2222531"/>
                  <a:pt x="3309199" y="1710816"/>
                </a:cubicBezTo>
                <a:close/>
                <a:moveTo>
                  <a:pt x="3106732" y="1710816"/>
                </a:moveTo>
                <a:cubicBezTo>
                  <a:pt x="3106732" y="1710816"/>
                  <a:pt x="3106732" y="1710816"/>
                  <a:pt x="3171971" y="1710816"/>
                </a:cubicBezTo>
                <a:lnTo>
                  <a:pt x="3171971" y="2222531"/>
                </a:lnTo>
                <a:cubicBezTo>
                  <a:pt x="3171971" y="2222531"/>
                  <a:pt x="3171971" y="2222531"/>
                  <a:pt x="3106732" y="2222531"/>
                </a:cubicBezTo>
                <a:cubicBezTo>
                  <a:pt x="3106732" y="2222531"/>
                  <a:pt x="3106732" y="2222531"/>
                  <a:pt x="3106732" y="1710816"/>
                </a:cubicBezTo>
                <a:close/>
                <a:moveTo>
                  <a:pt x="2663557" y="1710816"/>
                </a:moveTo>
                <a:cubicBezTo>
                  <a:pt x="2663557" y="1710816"/>
                  <a:pt x="2663557" y="1710816"/>
                  <a:pt x="3032495" y="1710816"/>
                </a:cubicBezTo>
                <a:cubicBezTo>
                  <a:pt x="3032495" y="1710816"/>
                  <a:pt x="3032495" y="1710816"/>
                  <a:pt x="3032495" y="1769427"/>
                </a:cubicBezTo>
                <a:lnTo>
                  <a:pt x="2879521" y="1769427"/>
                </a:lnTo>
                <a:cubicBezTo>
                  <a:pt x="2879521" y="1769427"/>
                  <a:pt x="2879521" y="1769427"/>
                  <a:pt x="2879521" y="2222531"/>
                </a:cubicBezTo>
                <a:cubicBezTo>
                  <a:pt x="2879521" y="2222531"/>
                  <a:pt x="2879521" y="2222531"/>
                  <a:pt x="2814282" y="2222531"/>
                </a:cubicBezTo>
                <a:cubicBezTo>
                  <a:pt x="2814282" y="2222531"/>
                  <a:pt x="2814282" y="2222531"/>
                  <a:pt x="2814282" y="1769427"/>
                </a:cubicBezTo>
                <a:cubicBezTo>
                  <a:pt x="2814282" y="1769427"/>
                  <a:pt x="2814282" y="1769427"/>
                  <a:pt x="2663557" y="1769427"/>
                </a:cubicBezTo>
                <a:cubicBezTo>
                  <a:pt x="2663557" y="1769427"/>
                  <a:pt x="2663557" y="1769427"/>
                  <a:pt x="2663557" y="1710816"/>
                </a:cubicBezTo>
                <a:close/>
                <a:moveTo>
                  <a:pt x="2416099" y="1710816"/>
                </a:moveTo>
                <a:cubicBezTo>
                  <a:pt x="2416099" y="1710816"/>
                  <a:pt x="2416099" y="1710816"/>
                  <a:pt x="2481338" y="1710816"/>
                </a:cubicBezTo>
                <a:cubicBezTo>
                  <a:pt x="2481338" y="1710816"/>
                  <a:pt x="2481338" y="1710816"/>
                  <a:pt x="2481338" y="2163920"/>
                </a:cubicBezTo>
                <a:cubicBezTo>
                  <a:pt x="2481338" y="2163920"/>
                  <a:pt x="2481338" y="2163920"/>
                  <a:pt x="2726547" y="2163920"/>
                </a:cubicBezTo>
                <a:cubicBezTo>
                  <a:pt x="2726547" y="2163920"/>
                  <a:pt x="2726547" y="2163920"/>
                  <a:pt x="2726547" y="2222531"/>
                </a:cubicBezTo>
                <a:lnTo>
                  <a:pt x="2416099" y="2222531"/>
                </a:lnTo>
                <a:cubicBezTo>
                  <a:pt x="2416099" y="2222531"/>
                  <a:pt x="2416099" y="2222531"/>
                  <a:pt x="2416099" y="1710816"/>
                </a:cubicBezTo>
                <a:close/>
                <a:moveTo>
                  <a:pt x="1918931" y="1710816"/>
                </a:moveTo>
                <a:cubicBezTo>
                  <a:pt x="1918931" y="1710816"/>
                  <a:pt x="1918931" y="1710816"/>
                  <a:pt x="1984171" y="1710816"/>
                </a:cubicBezTo>
                <a:cubicBezTo>
                  <a:pt x="1984171" y="1710816"/>
                  <a:pt x="1984171" y="1710816"/>
                  <a:pt x="1984171" y="2035428"/>
                </a:cubicBezTo>
                <a:cubicBezTo>
                  <a:pt x="1984171" y="2118835"/>
                  <a:pt x="2017916" y="2172937"/>
                  <a:pt x="2105651" y="2172937"/>
                </a:cubicBezTo>
                <a:cubicBezTo>
                  <a:pt x="2195636" y="2172937"/>
                  <a:pt x="2229380" y="2118835"/>
                  <a:pt x="2229380" y="2035428"/>
                </a:cubicBezTo>
                <a:cubicBezTo>
                  <a:pt x="2229380" y="2035428"/>
                  <a:pt x="2229380" y="2035428"/>
                  <a:pt x="2229380" y="1710816"/>
                </a:cubicBezTo>
                <a:cubicBezTo>
                  <a:pt x="2229380" y="1710816"/>
                  <a:pt x="2229380" y="1710816"/>
                  <a:pt x="2292369" y="1710816"/>
                </a:cubicBezTo>
                <a:cubicBezTo>
                  <a:pt x="2292369" y="1710816"/>
                  <a:pt x="2292369" y="1710816"/>
                  <a:pt x="2292369" y="2035428"/>
                </a:cubicBezTo>
                <a:cubicBezTo>
                  <a:pt x="2292369" y="2163920"/>
                  <a:pt x="2220382" y="2231547"/>
                  <a:pt x="2105651" y="2231547"/>
                </a:cubicBezTo>
                <a:cubicBezTo>
                  <a:pt x="1990920" y="2231547"/>
                  <a:pt x="1918931" y="2163920"/>
                  <a:pt x="1918931" y="2035428"/>
                </a:cubicBezTo>
                <a:cubicBezTo>
                  <a:pt x="1918931" y="2035428"/>
                  <a:pt x="1918931" y="2035428"/>
                  <a:pt x="1918931" y="1710816"/>
                </a:cubicBezTo>
                <a:close/>
                <a:moveTo>
                  <a:pt x="960591" y="1710816"/>
                </a:moveTo>
                <a:cubicBezTo>
                  <a:pt x="960591" y="1710816"/>
                  <a:pt x="960591" y="1710816"/>
                  <a:pt x="1032578" y="1710816"/>
                </a:cubicBezTo>
                <a:cubicBezTo>
                  <a:pt x="1032578" y="1710816"/>
                  <a:pt x="1032578" y="1710816"/>
                  <a:pt x="1284537" y="2123344"/>
                </a:cubicBezTo>
                <a:cubicBezTo>
                  <a:pt x="1284537" y="2123344"/>
                  <a:pt x="1284537" y="2123344"/>
                  <a:pt x="1284537" y="1710816"/>
                </a:cubicBezTo>
                <a:cubicBezTo>
                  <a:pt x="1284537" y="1710816"/>
                  <a:pt x="1284537" y="1710816"/>
                  <a:pt x="1345276" y="1710816"/>
                </a:cubicBezTo>
                <a:cubicBezTo>
                  <a:pt x="1345276" y="1710816"/>
                  <a:pt x="1345276" y="1710816"/>
                  <a:pt x="1345276" y="2222531"/>
                </a:cubicBezTo>
                <a:lnTo>
                  <a:pt x="1273289" y="2222531"/>
                </a:lnTo>
                <a:cubicBezTo>
                  <a:pt x="1273289" y="2222531"/>
                  <a:pt x="1273289" y="2222531"/>
                  <a:pt x="1023580" y="1810003"/>
                </a:cubicBezTo>
                <a:cubicBezTo>
                  <a:pt x="1023580" y="1810003"/>
                  <a:pt x="1023580" y="1810003"/>
                  <a:pt x="1023580" y="2222531"/>
                </a:cubicBezTo>
                <a:cubicBezTo>
                  <a:pt x="1023580" y="2222531"/>
                  <a:pt x="1023580" y="2222531"/>
                  <a:pt x="960591" y="2222531"/>
                </a:cubicBezTo>
                <a:cubicBezTo>
                  <a:pt x="960591" y="2222531"/>
                  <a:pt x="960591" y="2222531"/>
                  <a:pt x="960591" y="1710816"/>
                </a:cubicBezTo>
                <a:close/>
                <a:moveTo>
                  <a:pt x="5597068" y="1701799"/>
                </a:moveTo>
                <a:cubicBezTo>
                  <a:pt x="5648810" y="1701799"/>
                  <a:pt x="5698301" y="1719833"/>
                  <a:pt x="5736545" y="1755901"/>
                </a:cubicBezTo>
                <a:cubicBezTo>
                  <a:pt x="5790536" y="1810003"/>
                  <a:pt x="5801784" y="1884393"/>
                  <a:pt x="5801784" y="1967800"/>
                </a:cubicBezTo>
                <a:cubicBezTo>
                  <a:pt x="5801784" y="2048953"/>
                  <a:pt x="5790536" y="2123344"/>
                  <a:pt x="5736545" y="2177446"/>
                </a:cubicBezTo>
                <a:cubicBezTo>
                  <a:pt x="5698301" y="2213514"/>
                  <a:pt x="5648810" y="2233802"/>
                  <a:pt x="5597068" y="2233802"/>
                </a:cubicBezTo>
                <a:cubicBezTo>
                  <a:pt x="5547576" y="2233802"/>
                  <a:pt x="5495835" y="2213514"/>
                  <a:pt x="5459841" y="2177446"/>
                </a:cubicBezTo>
                <a:cubicBezTo>
                  <a:pt x="5403600" y="2123344"/>
                  <a:pt x="5394602" y="2048953"/>
                  <a:pt x="5394602" y="1967800"/>
                </a:cubicBezTo>
                <a:cubicBezTo>
                  <a:pt x="5394602" y="1884393"/>
                  <a:pt x="5403600" y="1810003"/>
                  <a:pt x="5459841" y="1755901"/>
                </a:cubicBezTo>
                <a:cubicBezTo>
                  <a:pt x="5495835" y="1719833"/>
                  <a:pt x="5547576" y="1701799"/>
                  <a:pt x="5597068" y="1701799"/>
                </a:cubicBezTo>
                <a:close/>
                <a:moveTo>
                  <a:pt x="4645477" y="1701799"/>
                </a:moveTo>
                <a:cubicBezTo>
                  <a:pt x="4701717" y="1701799"/>
                  <a:pt x="4755708" y="1722087"/>
                  <a:pt x="4791702" y="1758155"/>
                </a:cubicBezTo>
                <a:cubicBezTo>
                  <a:pt x="4816448" y="1785206"/>
                  <a:pt x="4832195" y="1816766"/>
                  <a:pt x="4834445" y="1859597"/>
                </a:cubicBezTo>
                <a:cubicBezTo>
                  <a:pt x="4834445" y="1859597"/>
                  <a:pt x="4834445" y="1859597"/>
                  <a:pt x="4766956" y="1859597"/>
                </a:cubicBezTo>
                <a:cubicBezTo>
                  <a:pt x="4764707" y="1834800"/>
                  <a:pt x="4757958" y="1819020"/>
                  <a:pt x="4744460" y="1803240"/>
                </a:cubicBezTo>
                <a:cubicBezTo>
                  <a:pt x="4721964" y="1773935"/>
                  <a:pt x="4685970" y="1762664"/>
                  <a:pt x="4645477" y="1762664"/>
                </a:cubicBezTo>
                <a:cubicBezTo>
                  <a:pt x="4609482" y="1762664"/>
                  <a:pt x="4575738" y="1776189"/>
                  <a:pt x="4550992" y="1800986"/>
                </a:cubicBezTo>
                <a:cubicBezTo>
                  <a:pt x="4510499" y="1843817"/>
                  <a:pt x="4506000" y="1913699"/>
                  <a:pt x="4506000" y="1967800"/>
                </a:cubicBezTo>
                <a:cubicBezTo>
                  <a:pt x="4506000" y="2017394"/>
                  <a:pt x="4510499" y="2091784"/>
                  <a:pt x="4553242" y="2134615"/>
                </a:cubicBezTo>
                <a:cubicBezTo>
                  <a:pt x="4577988" y="2161666"/>
                  <a:pt x="4609482" y="2172937"/>
                  <a:pt x="4645477" y="2172937"/>
                </a:cubicBezTo>
                <a:cubicBezTo>
                  <a:pt x="4681471" y="2172937"/>
                  <a:pt x="4715215" y="2159412"/>
                  <a:pt x="4737711" y="2136869"/>
                </a:cubicBezTo>
                <a:cubicBezTo>
                  <a:pt x="4771456" y="2103055"/>
                  <a:pt x="4780454" y="2053462"/>
                  <a:pt x="4780454" y="2006123"/>
                </a:cubicBezTo>
                <a:cubicBezTo>
                  <a:pt x="4780454" y="2006123"/>
                  <a:pt x="4780454" y="2006123"/>
                  <a:pt x="4645477" y="2006123"/>
                </a:cubicBezTo>
                <a:cubicBezTo>
                  <a:pt x="4645477" y="2006123"/>
                  <a:pt x="4645477" y="2006123"/>
                  <a:pt x="4645477" y="1947512"/>
                </a:cubicBezTo>
                <a:cubicBezTo>
                  <a:pt x="4645477" y="1947512"/>
                  <a:pt x="4645477" y="1947512"/>
                  <a:pt x="4838944" y="1947512"/>
                </a:cubicBezTo>
                <a:cubicBezTo>
                  <a:pt x="4838944" y="1947512"/>
                  <a:pt x="4838944" y="1947512"/>
                  <a:pt x="4838944" y="2222531"/>
                </a:cubicBezTo>
                <a:lnTo>
                  <a:pt x="4793952" y="2222531"/>
                </a:lnTo>
                <a:cubicBezTo>
                  <a:pt x="4793952" y="2222531"/>
                  <a:pt x="4793952" y="2222531"/>
                  <a:pt x="4782704" y="2161666"/>
                </a:cubicBezTo>
                <a:cubicBezTo>
                  <a:pt x="4757958" y="2204497"/>
                  <a:pt x="4701717" y="2233802"/>
                  <a:pt x="4645477" y="2233802"/>
                </a:cubicBezTo>
                <a:cubicBezTo>
                  <a:pt x="4593735" y="2233802"/>
                  <a:pt x="4544243" y="2215768"/>
                  <a:pt x="4506000" y="2179700"/>
                </a:cubicBezTo>
                <a:cubicBezTo>
                  <a:pt x="4454258" y="2130106"/>
                  <a:pt x="4440761" y="2057970"/>
                  <a:pt x="4440761" y="1967800"/>
                </a:cubicBezTo>
                <a:cubicBezTo>
                  <a:pt x="4440761" y="1884393"/>
                  <a:pt x="4452009" y="1810003"/>
                  <a:pt x="4506000" y="1755901"/>
                </a:cubicBezTo>
                <a:cubicBezTo>
                  <a:pt x="4544243" y="1719833"/>
                  <a:pt x="4593735" y="1701799"/>
                  <a:pt x="4645477" y="1701799"/>
                </a:cubicBezTo>
                <a:close/>
                <a:moveTo>
                  <a:pt x="4002083" y="1701799"/>
                </a:moveTo>
                <a:cubicBezTo>
                  <a:pt x="4060574" y="1701799"/>
                  <a:pt x="4112315" y="1722087"/>
                  <a:pt x="4148309" y="1758155"/>
                </a:cubicBezTo>
                <a:cubicBezTo>
                  <a:pt x="4173055" y="1785206"/>
                  <a:pt x="4191052" y="1816766"/>
                  <a:pt x="4193302" y="1859597"/>
                </a:cubicBezTo>
                <a:cubicBezTo>
                  <a:pt x="4193302" y="1859597"/>
                  <a:pt x="4193302" y="1859597"/>
                  <a:pt x="4125813" y="1859597"/>
                </a:cubicBezTo>
                <a:cubicBezTo>
                  <a:pt x="4123563" y="1834800"/>
                  <a:pt x="4114565" y="1819020"/>
                  <a:pt x="4103317" y="1803240"/>
                </a:cubicBezTo>
                <a:cubicBezTo>
                  <a:pt x="4078571" y="1773935"/>
                  <a:pt x="4044826" y="1762664"/>
                  <a:pt x="4002083" y="1762664"/>
                </a:cubicBezTo>
                <a:cubicBezTo>
                  <a:pt x="3968339" y="1762664"/>
                  <a:pt x="3934595" y="1776189"/>
                  <a:pt x="3909849" y="1800986"/>
                </a:cubicBezTo>
                <a:cubicBezTo>
                  <a:pt x="3867106" y="1843817"/>
                  <a:pt x="3864856" y="1913699"/>
                  <a:pt x="3864856" y="1967800"/>
                </a:cubicBezTo>
                <a:cubicBezTo>
                  <a:pt x="3864856" y="2017394"/>
                  <a:pt x="3867106" y="2091784"/>
                  <a:pt x="3909849" y="2134615"/>
                </a:cubicBezTo>
                <a:cubicBezTo>
                  <a:pt x="3934595" y="2161666"/>
                  <a:pt x="3968339" y="2172937"/>
                  <a:pt x="4002083" y="2172937"/>
                </a:cubicBezTo>
                <a:cubicBezTo>
                  <a:pt x="4038077" y="2172937"/>
                  <a:pt x="4071822" y="2159412"/>
                  <a:pt x="4094318" y="2136869"/>
                </a:cubicBezTo>
                <a:cubicBezTo>
                  <a:pt x="4130312" y="2103055"/>
                  <a:pt x="4139311" y="2053462"/>
                  <a:pt x="4139311" y="2006123"/>
                </a:cubicBezTo>
                <a:cubicBezTo>
                  <a:pt x="4139311" y="2006123"/>
                  <a:pt x="4139311" y="2006123"/>
                  <a:pt x="4002083" y="2006123"/>
                </a:cubicBezTo>
                <a:cubicBezTo>
                  <a:pt x="4002083" y="2006123"/>
                  <a:pt x="4002083" y="2006123"/>
                  <a:pt x="4002083" y="1947512"/>
                </a:cubicBezTo>
                <a:cubicBezTo>
                  <a:pt x="4002083" y="1947512"/>
                  <a:pt x="4002083" y="1947512"/>
                  <a:pt x="4197801" y="1947512"/>
                </a:cubicBezTo>
                <a:cubicBezTo>
                  <a:pt x="4197801" y="1947512"/>
                  <a:pt x="4197801" y="1947512"/>
                  <a:pt x="4197801" y="2222531"/>
                </a:cubicBezTo>
                <a:lnTo>
                  <a:pt x="4152808" y="2222531"/>
                </a:lnTo>
                <a:cubicBezTo>
                  <a:pt x="4152808" y="2222531"/>
                  <a:pt x="4152808" y="2222531"/>
                  <a:pt x="4141560" y="2161666"/>
                </a:cubicBezTo>
                <a:cubicBezTo>
                  <a:pt x="4116814" y="2204497"/>
                  <a:pt x="4060574" y="2233802"/>
                  <a:pt x="4002083" y="2233802"/>
                </a:cubicBezTo>
                <a:cubicBezTo>
                  <a:pt x="3950342" y="2233802"/>
                  <a:pt x="3900850" y="2215768"/>
                  <a:pt x="3864856" y="2179700"/>
                </a:cubicBezTo>
                <a:cubicBezTo>
                  <a:pt x="3813115" y="2130106"/>
                  <a:pt x="3797367" y="2057970"/>
                  <a:pt x="3797367" y="1967800"/>
                </a:cubicBezTo>
                <a:cubicBezTo>
                  <a:pt x="3797367" y="1884393"/>
                  <a:pt x="3808616" y="1810003"/>
                  <a:pt x="3864856" y="1755901"/>
                </a:cubicBezTo>
                <a:cubicBezTo>
                  <a:pt x="3900850" y="1719833"/>
                  <a:pt x="3950342" y="1701799"/>
                  <a:pt x="4002083" y="1701799"/>
                </a:cubicBezTo>
                <a:close/>
                <a:moveTo>
                  <a:pt x="1642228" y="1701799"/>
                </a:moveTo>
                <a:cubicBezTo>
                  <a:pt x="1691719" y="1701799"/>
                  <a:pt x="1741211" y="1717579"/>
                  <a:pt x="1774955" y="1749138"/>
                </a:cubicBezTo>
                <a:cubicBezTo>
                  <a:pt x="1806450" y="1780698"/>
                  <a:pt x="1822198" y="1816766"/>
                  <a:pt x="1824447" y="1859597"/>
                </a:cubicBezTo>
                <a:cubicBezTo>
                  <a:pt x="1824447" y="1859597"/>
                  <a:pt x="1824447" y="1859597"/>
                  <a:pt x="1756958" y="1859597"/>
                </a:cubicBezTo>
                <a:cubicBezTo>
                  <a:pt x="1754708" y="1834800"/>
                  <a:pt x="1745710" y="1812257"/>
                  <a:pt x="1732212" y="1796478"/>
                </a:cubicBezTo>
                <a:cubicBezTo>
                  <a:pt x="1711966" y="1773935"/>
                  <a:pt x="1680471" y="1760410"/>
                  <a:pt x="1639978" y="1760410"/>
                </a:cubicBezTo>
                <a:cubicBezTo>
                  <a:pt x="1603983" y="1760410"/>
                  <a:pt x="1572489" y="1769427"/>
                  <a:pt x="1549993" y="1796478"/>
                </a:cubicBezTo>
                <a:cubicBezTo>
                  <a:pt x="1536494" y="1810003"/>
                  <a:pt x="1529746" y="1828037"/>
                  <a:pt x="1529746" y="1850580"/>
                </a:cubicBezTo>
                <a:cubicBezTo>
                  <a:pt x="1529746" y="1897919"/>
                  <a:pt x="1567989" y="1918207"/>
                  <a:pt x="1606234" y="1922716"/>
                </a:cubicBezTo>
                <a:cubicBezTo>
                  <a:pt x="1635478" y="1927224"/>
                  <a:pt x="1662474" y="1931733"/>
                  <a:pt x="1691719" y="1936241"/>
                </a:cubicBezTo>
                <a:cubicBezTo>
                  <a:pt x="1774955" y="1949767"/>
                  <a:pt x="1833445" y="2001614"/>
                  <a:pt x="1833445" y="2082767"/>
                </a:cubicBezTo>
                <a:cubicBezTo>
                  <a:pt x="1833445" y="2125598"/>
                  <a:pt x="1815448" y="2157157"/>
                  <a:pt x="1790703" y="2181954"/>
                </a:cubicBezTo>
                <a:cubicBezTo>
                  <a:pt x="1754708" y="2215768"/>
                  <a:pt x="1698468" y="2231547"/>
                  <a:pt x="1644477" y="2231547"/>
                </a:cubicBezTo>
                <a:cubicBezTo>
                  <a:pt x="1581488" y="2231547"/>
                  <a:pt x="1531996" y="2215768"/>
                  <a:pt x="1498251" y="2184208"/>
                </a:cubicBezTo>
                <a:cubicBezTo>
                  <a:pt x="1466757" y="2152649"/>
                  <a:pt x="1444260" y="2109818"/>
                  <a:pt x="1444260" y="2060225"/>
                </a:cubicBezTo>
                <a:cubicBezTo>
                  <a:pt x="1444260" y="2060225"/>
                  <a:pt x="1444260" y="2060225"/>
                  <a:pt x="1509499" y="2060225"/>
                </a:cubicBezTo>
                <a:cubicBezTo>
                  <a:pt x="1509499" y="2091784"/>
                  <a:pt x="1525247" y="2121089"/>
                  <a:pt x="1545494" y="2141378"/>
                </a:cubicBezTo>
                <a:cubicBezTo>
                  <a:pt x="1570239" y="2163920"/>
                  <a:pt x="1608483" y="2172937"/>
                  <a:pt x="1644477" y="2172937"/>
                </a:cubicBezTo>
                <a:cubicBezTo>
                  <a:pt x="1682720" y="2172937"/>
                  <a:pt x="1716465" y="2166174"/>
                  <a:pt x="1738962" y="2143632"/>
                </a:cubicBezTo>
                <a:cubicBezTo>
                  <a:pt x="1754708" y="2130106"/>
                  <a:pt x="1765956" y="2109818"/>
                  <a:pt x="1765956" y="2082767"/>
                </a:cubicBezTo>
                <a:cubicBezTo>
                  <a:pt x="1765956" y="2044445"/>
                  <a:pt x="1741211" y="2010631"/>
                  <a:pt x="1680471" y="2001614"/>
                </a:cubicBezTo>
                <a:cubicBezTo>
                  <a:pt x="1680471" y="2001614"/>
                  <a:pt x="1680471" y="2001614"/>
                  <a:pt x="1599484" y="1988089"/>
                </a:cubicBezTo>
                <a:cubicBezTo>
                  <a:pt x="1522997" y="1976817"/>
                  <a:pt x="1462257" y="1933987"/>
                  <a:pt x="1462257" y="1852834"/>
                </a:cubicBezTo>
                <a:cubicBezTo>
                  <a:pt x="1462257" y="1814512"/>
                  <a:pt x="1480254" y="1778444"/>
                  <a:pt x="1507249" y="1751393"/>
                </a:cubicBezTo>
                <a:cubicBezTo>
                  <a:pt x="1543244" y="1717579"/>
                  <a:pt x="1588236" y="1701799"/>
                  <a:pt x="1642228" y="1701799"/>
                </a:cubicBezTo>
                <a:close/>
                <a:moveTo>
                  <a:pt x="654642" y="1701799"/>
                </a:moveTo>
                <a:cubicBezTo>
                  <a:pt x="704133" y="1701799"/>
                  <a:pt x="755874" y="1719833"/>
                  <a:pt x="791868" y="1755901"/>
                </a:cubicBezTo>
                <a:cubicBezTo>
                  <a:pt x="848110" y="1810003"/>
                  <a:pt x="857108" y="1884393"/>
                  <a:pt x="857108" y="1967800"/>
                </a:cubicBezTo>
                <a:cubicBezTo>
                  <a:pt x="857108" y="2048953"/>
                  <a:pt x="848110" y="2123344"/>
                  <a:pt x="791868" y="2177446"/>
                </a:cubicBezTo>
                <a:cubicBezTo>
                  <a:pt x="755874" y="2213514"/>
                  <a:pt x="704133" y="2233802"/>
                  <a:pt x="654642" y="2233802"/>
                </a:cubicBezTo>
                <a:cubicBezTo>
                  <a:pt x="602900" y="2233802"/>
                  <a:pt x="553408" y="2213514"/>
                  <a:pt x="515164" y="2177446"/>
                </a:cubicBezTo>
                <a:cubicBezTo>
                  <a:pt x="461173" y="2123344"/>
                  <a:pt x="449925" y="2048953"/>
                  <a:pt x="449925" y="1967800"/>
                </a:cubicBezTo>
                <a:cubicBezTo>
                  <a:pt x="449925" y="1884393"/>
                  <a:pt x="461173" y="1810003"/>
                  <a:pt x="515164" y="1755901"/>
                </a:cubicBezTo>
                <a:cubicBezTo>
                  <a:pt x="553408" y="1719833"/>
                  <a:pt x="602900" y="1701799"/>
                  <a:pt x="654642" y="1701799"/>
                </a:cubicBezTo>
                <a:close/>
                <a:moveTo>
                  <a:pt x="202466" y="1701799"/>
                </a:moveTo>
                <a:cubicBezTo>
                  <a:pt x="258707" y="1701799"/>
                  <a:pt x="308199" y="1722087"/>
                  <a:pt x="339693" y="1753647"/>
                </a:cubicBezTo>
                <a:cubicBezTo>
                  <a:pt x="368939" y="1782952"/>
                  <a:pt x="386936" y="1823529"/>
                  <a:pt x="389185" y="1870868"/>
                </a:cubicBezTo>
                <a:cubicBezTo>
                  <a:pt x="389185" y="1870868"/>
                  <a:pt x="389185" y="1870868"/>
                  <a:pt x="323946" y="1870868"/>
                </a:cubicBezTo>
                <a:cubicBezTo>
                  <a:pt x="321697" y="1841563"/>
                  <a:pt x="312698" y="1819020"/>
                  <a:pt x="294701" y="1798732"/>
                </a:cubicBezTo>
                <a:cubicBezTo>
                  <a:pt x="274454" y="1776189"/>
                  <a:pt x="240710" y="1762664"/>
                  <a:pt x="202466" y="1762664"/>
                </a:cubicBezTo>
                <a:cubicBezTo>
                  <a:pt x="168722" y="1762664"/>
                  <a:pt x="134978" y="1776189"/>
                  <a:pt x="110232" y="1800986"/>
                </a:cubicBezTo>
                <a:cubicBezTo>
                  <a:pt x="67489" y="1843817"/>
                  <a:pt x="67489" y="1913699"/>
                  <a:pt x="67489" y="1967800"/>
                </a:cubicBezTo>
                <a:cubicBezTo>
                  <a:pt x="67489" y="2019648"/>
                  <a:pt x="67489" y="2089530"/>
                  <a:pt x="110232" y="2132361"/>
                </a:cubicBezTo>
                <a:cubicBezTo>
                  <a:pt x="134978" y="2159412"/>
                  <a:pt x="168722" y="2172937"/>
                  <a:pt x="202466" y="2172937"/>
                </a:cubicBezTo>
                <a:cubicBezTo>
                  <a:pt x="240710" y="2172937"/>
                  <a:pt x="276704" y="2154903"/>
                  <a:pt x="296951" y="2132361"/>
                </a:cubicBezTo>
                <a:cubicBezTo>
                  <a:pt x="312698" y="2114327"/>
                  <a:pt x="323946" y="2087276"/>
                  <a:pt x="323946" y="2060225"/>
                </a:cubicBezTo>
                <a:cubicBezTo>
                  <a:pt x="323946" y="2060225"/>
                  <a:pt x="323946" y="2060225"/>
                  <a:pt x="391435" y="2060225"/>
                </a:cubicBezTo>
                <a:cubicBezTo>
                  <a:pt x="389185" y="2107564"/>
                  <a:pt x="368939" y="2148140"/>
                  <a:pt x="339693" y="2177446"/>
                </a:cubicBezTo>
                <a:cubicBezTo>
                  <a:pt x="308199" y="2209005"/>
                  <a:pt x="258707" y="2233802"/>
                  <a:pt x="202466" y="2233802"/>
                </a:cubicBezTo>
                <a:cubicBezTo>
                  <a:pt x="150725" y="2233802"/>
                  <a:pt x="101233" y="2213514"/>
                  <a:pt x="65239" y="2177446"/>
                </a:cubicBezTo>
                <a:cubicBezTo>
                  <a:pt x="8999" y="2123344"/>
                  <a:pt x="0" y="2048953"/>
                  <a:pt x="0" y="1967800"/>
                </a:cubicBezTo>
                <a:cubicBezTo>
                  <a:pt x="0" y="1884393"/>
                  <a:pt x="8999" y="1810003"/>
                  <a:pt x="65239" y="1755901"/>
                </a:cubicBezTo>
                <a:cubicBezTo>
                  <a:pt x="101233" y="1719833"/>
                  <a:pt x="150725" y="1701799"/>
                  <a:pt x="202466" y="1701799"/>
                </a:cubicBezTo>
                <a:close/>
                <a:moveTo>
                  <a:pt x="2227389" y="214047"/>
                </a:moveTo>
                <a:cubicBezTo>
                  <a:pt x="2227389" y="214047"/>
                  <a:pt x="2227389" y="214047"/>
                  <a:pt x="2227389" y="574548"/>
                </a:cubicBezTo>
                <a:cubicBezTo>
                  <a:pt x="2227389" y="574548"/>
                  <a:pt x="2227389" y="574548"/>
                  <a:pt x="2456649" y="574548"/>
                </a:cubicBezTo>
                <a:cubicBezTo>
                  <a:pt x="2584765" y="574548"/>
                  <a:pt x="2654442" y="509207"/>
                  <a:pt x="2654442" y="394298"/>
                </a:cubicBezTo>
                <a:cubicBezTo>
                  <a:pt x="2654442" y="277135"/>
                  <a:pt x="2584765" y="214047"/>
                  <a:pt x="2456649" y="214047"/>
                </a:cubicBezTo>
                <a:cubicBezTo>
                  <a:pt x="2456649" y="214047"/>
                  <a:pt x="2456649" y="214047"/>
                  <a:pt x="2227389" y="214047"/>
                </a:cubicBezTo>
                <a:close/>
                <a:moveTo>
                  <a:pt x="8961436" y="0"/>
                </a:moveTo>
                <a:lnTo>
                  <a:pt x="9905999" y="0"/>
                </a:lnTo>
                <a:lnTo>
                  <a:pt x="9905999" y="225425"/>
                </a:lnTo>
                <a:lnTo>
                  <a:pt x="9555161" y="225425"/>
                </a:lnTo>
                <a:lnTo>
                  <a:pt x="9555161" y="1214437"/>
                </a:lnTo>
                <a:lnTo>
                  <a:pt x="9315449" y="1214437"/>
                </a:lnTo>
                <a:lnTo>
                  <a:pt x="9315449" y="225425"/>
                </a:lnTo>
                <a:lnTo>
                  <a:pt x="8961436" y="225425"/>
                </a:lnTo>
                <a:close/>
                <a:moveTo>
                  <a:pt x="7785099" y="0"/>
                </a:moveTo>
                <a:lnTo>
                  <a:pt x="8035924" y="0"/>
                </a:lnTo>
                <a:lnTo>
                  <a:pt x="8037512" y="3175"/>
                </a:lnTo>
                <a:lnTo>
                  <a:pt x="8523286" y="774700"/>
                </a:lnTo>
                <a:lnTo>
                  <a:pt x="8523286" y="0"/>
                </a:lnTo>
                <a:lnTo>
                  <a:pt x="8759824" y="0"/>
                </a:lnTo>
                <a:lnTo>
                  <a:pt x="8759824" y="1214437"/>
                </a:lnTo>
                <a:lnTo>
                  <a:pt x="8518524" y="1214437"/>
                </a:lnTo>
                <a:lnTo>
                  <a:pt x="8024812" y="425450"/>
                </a:lnTo>
                <a:lnTo>
                  <a:pt x="8024812" y="1214437"/>
                </a:lnTo>
                <a:lnTo>
                  <a:pt x="7785099" y="1214437"/>
                </a:lnTo>
                <a:close/>
                <a:moveTo>
                  <a:pt x="6665911" y="0"/>
                </a:moveTo>
                <a:lnTo>
                  <a:pt x="7535861" y="0"/>
                </a:lnTo>
                <a:lnTo>
                  <a:pt x="7535861" y="220663"/>
                </a:lnTo>
                <a:lnTo>
                  <a:pt x="6905624" y="220663"/>
                </a:lnTo>
                <a:lnTo>
                  <a:pt x="6905624" y="473075"/>
                </a:lnTo>
                <a:lnTo>
                  <a:pt x="7459661" y="473075"/>
                </a:lnTo>
                <a:lnTo>
                  <a:pt x="7459661" y="690562"/>
                </a:lnTo>
                <a:lnTo>
                  <a:pt x="6905624" y="690562"/>
                </a:lnTo>
                <a:lnTo>
                  <a:pt x="6905624" y="993775"/>
                </a:lnTo>
                <a:lnTo>
                  <a:pt x="7535861" y="993775"/>
                </a:lnTo>
                <a:lnTo>
                  <a:pt x="7535861" y="1214437"/>
                </a:lnTo>
                <a:lnTo>
                  <a:pt x="6665911" y="1214437"/>
                </a:lnTo>
                <a:close/>
                <a:moveTo>
                  <a:pt x="5221286" y="0"/>
                </a:moveTo>
                <a:lnTo>
                  <a:pt x="5534024" y="0"/>
                </a:lnTo>
                <a:lnTo>
                  <a:pt x="5835649" y="823912"/>
                </a:lnTo>
                <a:lnTo>
                  <a:pt x="6142037" y="0"/>
                </a:lnTo>
                <a:lnTo>
                  <a:pt x="6438899" y="0"/>
                </a:lnTo>
                <a:lnTo>
                  <a:pt x="6438899" y="1214437"/>
                </a:lnTo>
                <a:lnTo>
                  <a:pt x="6203949" y="1214437"/>
                </a:lnTo>
                <a:lnTo>
                  <a:pt x="6203949" y="419100"/>
                </a:lnTo>
                <a:lnTo>
                  <a:pt x="5916612" y="1196975"/>
                </a:lnTo>
                <a:lnTo>
                  <a:pt x="5740399" y="1196975"/>
                </a:lnTo>
                <a:lnTo>
                  <a:pt x="5454649" y="409575"/>
                </a:lnTo>
                <a:lnTo>
                  <a:pt x="5454649" y="1214437"/>
                </a:lnTo>
                <a:lnTo>
                  <a:pt x="5221286" y="1214437"/>
                </a:lnTo>
                <a:close/>
                <a:moveTo>
                  <a:pt x="4098924" y="0"/>
                </a:moveTo>
                <a:lnTo>
                  <a:pt x="4968874" y="0"/>
                </a:lnTo>
                <a:lnTo>
                  <a:pt x="4968874" y="220663"/>
                </a:lnTo>
                <a:lnTo>
                  <a:pt x="4340224" y="220663"/>
                </a:lnTo>
                <a:lnTo>
                  <a:pt x="4340224" y="473075"/>
                </a:lnTo>
                <a:lnTo>
                  <a:pt x="4895849" y="473075"/>
                </a:lnTo>
                <a:lnTo>
                  <a:pt x="4895849" y="690562"/>
                </a:lnTo>
                <a:lnTo>
                  <a:pt x="4340224" y="690562"/>
                </a:lnTo>
                <a:lnTo>
                  <a:pt x="4340224" y="993775"/>
                </a:lnTo>
                <a:lnTo>
                  <a:pt x="4968874" y="993775"/>
                </a:lnTo>
                <a:lnTo>
                  <a:pt x="4968874" y="1214437"/>
                </a:lnTo>
                <a:lnTo>
                  <a:pt x="4098924" y="1214437"/>
                </a:lnTo>
                <a:close/>
                <a:moveTo>
                  <a:pt x="3079749" y="0"/>
                </a:moveTo>
                <a:lnTo>
                  <a:pt x="3321049" y="0"/>
                </a:lnTo>
                <a:lnTo>
                  <a:pt x="3321049" y="984250"/>
                </a:lnTo>
                <a:lnTo>
                  <a:pt x="3871912" y="984250"/>
                </a:lnTo>
                <a:lnTo>
                  <a:pt x="3871912" y="1214437"/>
                </a:lnTo>
                <a:lnTo>
                  <a:pt x="3079749" y="1214437"/>
                </a:lnTo>
                <a:close/>
                <a:moveTo>
                  <a:pt x="1989138" y="0"/>
                </a:moveTo>
                <a:cubicBezTo>
                  <a:pt x="1989138" y="0"/>
                  <a:pt x="1989138" y="0"/>
                  <a:pt x="2465639" y="0"/>
                </a:cubicBezTo>
                <a:cubicBezTo>
                  <a:pt x="2735357" y="0"/>
                  <a:pt x="2897188" y="146454"/>
                  <a:pt x="2897188" y="392045"/>
                </a:cubicBezTo>
                <a:cubicBezTo>
                  <a:pt x="2897188" y="639889"/>
                  <a:pt x="2735357" y="786342"/>
                  <a:pt x="2465639" y="786342"/>
                </a:cubicBezTo>
                <a:cubicBezTo>
                  <a:pt x="2465639" y="786342"/>
                  <a:pt x="2465639" y="786342"/>
                  <a:pt x="2227389" y="786342"/>
                </a:cubicBezTo>
                <a:cubicBezTo>
                  <a:pt x="2227389" y="786342"/>
                  <a:pt x="2227389" y="786342"/>
                  <a:pt x="2227389" y="1214437"/>
                </a:cubicBezTo>
                <a:cubicBezTo>
                  <a:pt x="2227389" y="1214437"/>
                  <a:pt x="2227389" y="1214437"/>
                  <a:pt x="1989138" y="1214437"/>
                </a:cubicBezTo>
                <a:cubicBezTo>
                  <a:pt x="1989138" y="1214437"/>
                  <a:pt x="1989138" y="1214437"/>
                  <a:pt x="1989138" y="0"/>
                </a:cubicBezTo>
                <a:close/>
                <a:moveTo>
                  <a:pt x="520699" y="0"/>
                </a:moveTo>
                <a:lnTo>
                  <a:pt x="833436" y="0"/>
                </a:lnTo>
                <a:lnTo>
                  <a:pt x="1135061" y="823912"/>
                </a:lnTo>
                <a:lnTo>
                  <a:pt x="1439862" y="0"/>
                </a:lnTo>
                <a:lnTo>
                  <a:pt x="1736724" y="0"/>
                </a:lnTo>
                <a:lnTo>
                  <a:pt x="1736724" y="1214437"/>
                </a:lnTo>
                <a:lnTo>
                  <a:pt x="1503362" y="1214437"/>
                </a:lnTo>
                <a:lnTo>
                  <a:pt x="1503362" y="419100"/>
                </a:lnTo>
                <a:lnTo>
                  <a:pt x="1216024" y="1196975"/>
                </a:lnTo>
                <a:lnTo>
                  <a:pt x="1039812" y="1196975"/>
                </a:lnTo>
                <a:lnTo>
                  <a:pt x="754062" y="409575"/>
                </a:lnTo>
                <a:lnTo>
                  <a:pt x="754062" y="1214437"/>
                </a:lnTo>
                <a:lnTo>
                  <a:pt x="520699" y="1214437"/>
                </a:lnTo>
                <a:close/>
                <a:moveTo>
                  <a:pt x="25400" y="0"/>
                </a:moveTo>
                <a:lnTo>
                  <a:pt x="268288" y="0"/>
                </a:lnTo>
                <a:lnTo>
                  <a:pt x="268288" y="1214437"/>
                </a:lnTo>
                <a:lnTo>
                  <a:pt x="25400" y="121443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GB" dirty="0"/>
              <a:t> </a:t>
            </a:r>
          </a:p>
        </p:txBody>
      </p:sp>
      <p:sp>
        <p:nvSpPr>
          <p:cNvPr id="13" name="Date_GeneralDate" hidden="1">
            <a:extLst>
              <a:ext uri="{FF2B5EF4-FFF2-40B4-BE49-F238E27FC236}">
                <a16:creationId xmlns:a16="http://schemas.microsoft.com/office/drawing/2014/main" id="{649F2878-DF75-476E-9321-0911D8D1FC2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3F726890-A6E3-4403-8B5F-B63FA3CC0E22}" type="datetime1">
              <a:rPr lang="en-US" smtClean="0"/>
              <a:t>2/25/2022</a:t>
            </a:fld>
            <a:endParaRPr lang="en-GB" dirty="0"/>
          </a:p>
        </p:txBody>
      </p:sp>
      <p:sp>
        <p:nvSpPr>
          <p:cNvPr id="14" name="FLD_PresentationTitle" hidden="1">
            <a:extLst>
              <a:ext uri="{FF2B5EF4-FFF2-40B4-BE49-F238E27FC236}">
                <a16:creationId xmlns:a16="http://schemas.microsoft.com/office/drawing/2014/main" id="{336355EA-6FA5-4B9D-B232-E77EBE1CA6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 anchor="t" anchorCtr="0"/>
          <a:lstStyle>
            <a:lvl1pPr algn="l">
              <a:defRPr sz="100">
                <a:noFill/>
              </a:defRPr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15" name="Slide Number Placeholder 5" hidden="1">
            <a:extLst>
              <a:ext uri="{FF2B5EF4-FFF2-40B4-BE49-F238E27FC236}">
                <a16:creationId xmlns:a16="http://schemas.microsoft.com/office/drawing/2014/main" id="{A280B4D8-6669-4983-ACDA-5286F766EC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anchor="t" anchorCtr="0"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3D81281-2A14-4E3E-B226-3377EDFCB739}"/>
              </a:ext>
            </a:extLst>
          </p:cNvPr>
          <p:cNvSpPr txBox="1"/>
          <p:nvPr userDrawn="1"/>
        </p:nvSpPr>
        <p:spPr>
          <a:xfrm>
            <a:off x="8944357" y="6492630"/>
            <a:ext cx="609141" cy="124650"/>
          </a:xfrm>
          <a:prstGeom prst="rect">
            <a:avLst/>
          </a:prstGeom>
          <a:noFill/>
          <a:ln w="6350">
            <a:noFill/>
            <a:prstDash val="sysDash"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900" dirty="0">
                <a:solidFill>
                  <a:schemeClr val="tx1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128891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CD13ED75-03D3-4C55-BEDE-F1C0F8F4CFEF}"/>
              </a:ext>
            </a:extLst>
          </p:cNvPr>
          <p:cNvSpPr/>
          <p:nvPr userDrawn="1"/>
        </p:nvSpPr>
        <p:spPr>
          <a:xfrm>
            <a:off x="0" y="1"/>
            <a:ext cx="9906000" cy="6857999"/>
          </a:xfrm>
          <a:prstGeom prst="rect">
            <a:avLst/>
          </a:prstGeom>
          <a:solidFill>
            <a:srgbClr val="30373B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05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87" b="0" i="0" u="none" strike="noStrike" kern="0" cap="none" spc="0" normalizeH="0" baseline="0" noProof="0" dirty="0">
              <a:ln>
                <a:noFill/>
              </a:ln>
              <a:solidFill>
                <a:srgbClr val="1F202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56EE887-ADBF-4AB0-BE63-21972C5B166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71334" y="1628646"/>
            <a:ext cx="9364662" cy="4689475"/>
          </a:xfrm>
        </p:spPr>
        <p:txBody>
          <a:bodyPr rIns="0"/>
          <a:lstStyle>
            <a:lvl1pPr>
              <a:defRPr>
                <a:solidFill>
                  <a:srgbClr val="F8F5E7"/>
                </a:solidFill>
              </a:defRPr>
            </a:lvl1pPr>
            <a:lvl2pPr>
              <a:defRPr>
                <a:solidFill>
                  <a:srgbClr val="F8F5E7"/>
                </a:solidFill>
              </a:defRPr>
            </a:lvl2pPr>
            <a:lvl3pPr>
              <a:defRPr>
                <a:solidFill>
                  <a:srgbClr val="F8F5E7"/>
                </a:solidFill>
              </a:defRPr>
            </a:lvl3pPr>
            <a:lvl4pPr>
              <a:defRPr>
                <a:solidFill>
                  <a:srgbClr val="F8F5E7"/>
                </a:solidFill>
              </a:defRPr>
            </a:lvl4pPr>
            <a:lvl5pPr>
              <a:defRPr>
                <a:solidFill>
                  <a:srgbClr val="F8F5E7"/>
                </a:solidFill>
              </a:defRPr>
            </a:lvl5pPr>
            <a:lvl6pPr>
              <a:defRPr>
                <a:solidFill>
                  <a:srgbClr val="F8F5E7"/>
                </a:solidFill>
              </a:defRPr>
            </a:lvl6pPr>
            <a:lvl7pPr>
              <a:defRPr>
                <a:solidFill>
                  <a:srgbClr val="F8F5E7"/>
                </a:solidFill>
              </a:defRPr>
            </a:lvl7pPr>
            <a:lvl8pPr>
              <a:defRPr>
                <a:solidFill>
                  <a:srgbClr val="F8F5E7"/>
                </a:solidFill>
              </a:defRPr>
            </a:lvl8pPr>
            <a:lvl9pPr>
              <a:defRPr>
                <a:solidFill>
                  <a:srgbClr val="F8F5E7"/>
                </a:solidFill>
              </a:defRPr>
            </a:lvl9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DA03DEA2-B734-4E1A-989A-B985B71743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4" y="6502395"/>
            <a:ext cx="6744111" cy="106116"/>
          </a:xfrm>
        </p:spPr>
        <p:txBody>
          <a:bodyPr rIns="0" anchor="t" anchorCtr="0"/>
          <a:lstStyle>
            <a:lvl1pPr marL="0" indent="0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650" kern="1200" dirty="0" smtClean="0">
                <a:solidFill>
                  <a:srgbClr val="F8F5E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39303" indent="-139303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650" kern="1200" dirty="0" smtClean="0">
                <a:solidFill>
                  <a:srgbClr val="F8F5E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US" sz="650" kern="1200" dirty="0" smtClean="0">
                <a:solidFill>
                  <a:srgbClr val="F8F5E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lphaUcPeriod"/>
              <a:defRPr lang="en-US" sz="650" kern="1200" dirty="0" smtClean="0">
                <a:solidFill>
                  <a:srgbClr val="F8F5E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742950" rtl="0" eaLnBrk="1" latinLnBrk="0" hangingPunct="1">
              <a:defRPr lang="en-GB" sz="894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Not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B2F81A-A979-4992-A111-276940B6A5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257" y="272257"/>
            <a:ext cx="8240140" cy="692336"/>
          </a:xfrm>
        </p:spPr>
        <p:txBody>
          <a:bodyPr>
            <a:noAutofit/>
          </a:bodyPr>
          <a:lstStyle>
            <a:lvl1pPr>
              <a:defRPr>
                <a:solidFill>
                  <a:srgbClr val="F8F5E7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EE1D38-B652-484A-AA0A-9748447612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9383" y="6504110"/>
            <a:ext cx="1978862" cy="106116"/>
          </a:xfrm>
        </p:spPr>
        <p:txBody>
          <a:bodyPr rIns="0"/>
          <a:lstStyle>
            <a:lvl1pPr algn="r">
              <a:defRPr sz="650">
                <a:solidFill>
                  <a:srgbClr val="F8F5E7"/>
                </a:solidFill>
              </a:defRPr>
            </a:lvl1pPr>
            <a:lvl2pPr>
              <a:defRPr sz="650"/>
            </a:lvl2pPr>
            <a:lvl3pPr>
              <a:defRPr sz="650"/>
            </a:lvl3pPr>
            <a:lvl4pPr>
              <a:defRPr sz="650"/>
            </a:lvl4pPr>
            <a:lvl5pPr>
              <a:defRPr sz="650"/>
            </a:lvl5pPr>
          </a:lstStyle>
          <a:p>
            <a:pPr lvl="0"/>
            <a:r>
              <a:rPr lang="en-GB" dirty="0"/>
              <a:t>Tracker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BB1C1348-B6E2-4EA8-8EA4-11925D5339C3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auto">
          <a:xfrm rot="5400000">
            <a:off x="9382133" y="400810"/>
            <a:ext cx="350168" cy="154638"/>
          </a:xfrm>
          <a:custGeom>
            <a:avLst/>
            <a:gdLst>
              <a:gd name="connsiteX0" fmla="*/ 242136 w 350168"/>
              <a:gd name="connsiteY0" fmla="*/ 154638 h 154638"/>
              <a:gd name="connsiteX1" fmla="*/ 242136 w 350168"/>
              <a:gd name="connsiteY1" fmla="*/ 141700 h 154638"/>
              <a:gd name="connsiteX2" fmla="*/ 350168 w 350168"/>
              <a:gd name="connsiteY2" fmla="*/ 141700 h 154638"/>
              <a:gd name="connsiteX3" fmla="*/ 350168 w 350168"/>
              <a:gd name="connsiteY3" fmla="*/ 154638 h 154638"/>
              <a:gd name="connsiteX4" fmla="*/ 62944 w 350168"/>
              <a:gd name="connsiteY4" fmla="*/ 154337 h 154638"/>
              <a:gd name="connsiteX5" fmla="*/ 62944 w 350168"/>
              <a:gd name="connsiteY5" fmla="*/ 0 h 154638"/>
              <a:gd name="connsiteX6" fmla="*/ 102688 w 350168"/>
              <a:gd name="connsiteY6" fmla="*/ 0 h 154638"/>
              <a:gd name="connsiteX7" fmla="*/ 141020 w 350168"/>
              <a:gd name="connsiteY7" fmla="*/ 104707 h 154638"/>
              <a:gd name="connsiteX8" fmla="*/ 179755 w 350168"/>
              <a:gd name="connsiteY8" fmla="*/ 0 h 154638"/>
              <a:gd name="connsiteX9" fmla="*/ 217481 w 350168"/>
              <a:gd name="connsiteY9" fmla="*/ 0 h 154638"/>
              <a:gd name="connsiteX10" fmla="*/ 217481 w 350168"/>
              <a:gd name="connsiteY10" fmla="*/ 154337 h 154638"/>
              <a:gd name="connsiteX11" fmla="*/ 187825 w 350168"/>
              <a:gd name="connsiteY11" fmla="*/ 154337 h 154638"/>
              <a:gd name="connsiteX12" fmla="*/ 187825 w 350168"/>
              <a:gd name="connsiteY12" fmla="*/ 53263 h 154638"/>
              <a:gd name="connsiteX13" fmla="*/ 151309 w 350168"/>
              <a:gd name="connsiteY13" fmla="*/ 152117 h 154638"/>
              <a:gd name="connsiteX14" fmla="*/ 128915 w 350168"/>
              <a:gd name="connsiteY14" fmla="*/ 152117 h 154638"/>
              <a:gd name="connsiteX15" fmla="*/ 92601 w 350168"/>
              <a:gd name="connsiteY15" fmla="*/ 52051 h 154638"/>
              <a:gd name="connsiteX16" fmla="*/ 92601 w 350168"/>
              <a:gd name="connsiteY16" fmla="*/ 154337 h 154638"/>
              <a:gd name="connsiteX17" fmla="*/ 0 w 350168"/>
              <a:gd name="connsiteY17" fmla="*/ 154337 h 154638"/>
              <a:gd name="connsiteX18" fmla="*/ 0 w 350168"/>
              <a:gd name="connsiteY18" fmla="*/ 0 h 154638"/>
              <a:gd name="connsiteX19" fmla="*/ 30867 w 350168"/>
              <a:gd name="connsiteY19" fmla="*/ 0 h 154638"/>
              <a:gd name="connsiteX20" fmla="*/ 30867 w 350168"/>
              <a:gd name="connsiteY20" fmla="*/ 154337 h 154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50168" h="154638">
                <a:moveTo>
                  <a:pt x="242136" y="154638"/>
                </a:moveTo>
                <a:lnTo>
                  <a:pt x="242136" y="141700"/>
                </a:lnTo>
                <a:lnTo>
                  <a:pt x="350168" y="141700"/>
                </a:lnTo>
                <a:lnTo>
                  <a:pt x="350168" y="154638"/>
                </a:lnTo>
                <a:close/>
                <a:moveTo>
                  <a:pt x="62944" y="154337"/>
                </a:moveTo>
                <a:lnTo>
                  <a:pt x="62944" y="0"/>
                </a:lnTo>
                <a:lnTo>
                  <a:pt x="102688" y="0"/>
                </a:lnTo>
                <a:lnTo>
                  <a:pt x="141020" y="104707"/>
                </a:lnTo>
                <a:lnTo>
                  <a:pt x="179755" y="0"/>
                </a:lnTo>
                <a:lnTo>
                  <a:pt x="217481" y="0"/>
                </a:lnTo>
                <a:lnTo>
                  <a:pt x="217481" y="154337"/>
                </a:lnTo>
                <a:lnTo>
                  <a:pt x="187825" y="154337"/>
                </a:lnTo>
                <a:lnTo>
                  <a:pt x="187825" y="53263"/>
                </a:lnTo>
                <a:lnTo>
                  <a:pt x="151309" y="152117"/>
                </a:lnTo>
                <a:lnTo>
                  <a:pt x="128915" y="152117"/>
                </a:lnTo>
                <a:lnTo>
                  <a:pt x="92601" y="52051"/>
                </a:lnTo>
                <a:lnTo>
                  <a:pt x="92601" y="154337"/>
                </a:lnTo>
                <a:close/>
                <a:moveTo>
                  <a:pt x="0" y="154337"/>
                </a:moveTo>
                <a:lnTo>
                  <a:pt x="0" y="0"/>
                </a:lnTo>
                <a:lnTo>
                  <a:pt x="30867" y="0"/>
                </a:lnTo>
                <a:lnTo>
                  <a:pt x="30867" y="15433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15" name="Date_GeneralDate" hidden="1">
            <a:extLst>
              <a:ext uri="{FF2B5EF4-FFF2-40B4-BE49-F238E27FC236}">
                <a16:creationId xmlns:a16="http://schemas.microsoft.com/office/drawing/2014/main" id="{4207D1EA-57BB-4882-8533-FB5A90B4EDD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05554BAC-400C-4C3D-AEE8-677C12D7F252}" type="datetime1">
              <a:rPr lang="en-US" smtClean="0"/>
              <a:t>2/25/2022</a:t>
            </a:fld>
            <a:endParaRPr lang="en-GB" dirty="0"/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C358026B-73DE-4966-8E4B-D5496396F489}"/>
              </a:ext>
            </a:extLst>
          </p:cNvPr>
          <p:cNvSpPr txBox="1">
            <a:spLocks/>
          </p:cNvSpPr>
          <p:nvPr userDrawn="1"/>
        </p:nvSpPr>
        <p:spPr>
          <a:xfrm>
            <a:off x="9378938" y="6496424"/>
            <a:ext cx="255600" cy="1116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r" defTabSz="914400" rtl="0" eaLnBrk="1" latinLnBrk="0" hangingPunct="1">
              <a:defRPr sz="650" kern="1200" spc="0" baseline="0">
                <a:solidFill>
                  <a:srgbClr val="2F363B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650" smtClean="0">
                <a:solidFill>
                  <a:srgbClr val="F8F5E7"/>
                </a:solidFill>
              </a:rPr>
              <a:pPr/>
              <a:t>‹#›</a:t>
            </a:fld>
            <a:endParaRPr lang="en-GB" sz="650" dirty="0">
              <a:solidFill>
                <a:srgbClr val="F8F5E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082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56EE887-ADBF-4AB0-BE63-21972C5B166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71334" y="1628647"/>
            <a:ext cx="4540379" cy="4689474"/>
          </a:xfrm>
        </p:spPr>
        <p:txBody>
          <a:bodyPr rIns="0"/>
          <a:lstStyle>
            <a:lvl1pPr>
              <a:defRPr>
                <a:solidFill>
                  <a:srgbClr val="1F2023"/>
                </a:solidFill>
              </a:defRPr>
            </a:lvl1pPr>
            <a:lvl2pPr>
              <a:defRPr>
                <a:solidFill>
                  <a:srgbClr val="1F2023"/>
                </a:solidFill>
              </a:defRPr>
            </a:lvl2pPr>
            <a:lvl3pPr>
              <a:defRPr>
                <a:solidFill>
                  <a:srgbClr val="1F2023"/>
                </a:solidFill>
              </a:defRPr>
            </a:lvl3pPr>
            <a:lvl4pPr>
              <a:defRPr>
                <a:solidFill>
                  <a:srgbClr val="1F2023"/>
                </a:solidFill>
              </a:defRPr>
            </a:lvl4pPr>
            <a:lvl5pPr>
              <a:defRPr>
                <a:solidFill>
                  <a:srgbClr val="1F2023"/>
                </a:solidFill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7A9E787-61B5-4260-BC71-92D5DEB352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257" y="272257"/>
            <a:ext cx="8240140" cy="692336"/>
          </a:xfrm>
        </p:spPr>
        <p:txBody>
          <a:bodyPr>
            <a:noAutofit/>
          </a:bodyPr>
          <a:lstStyle>
            <a:lvl1pPr>
              <a:defRPr>
                <a:solidFill>
                  <a:srgbClr val="1F202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95833392-58BF-48C2-B298-2E1AF269A67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4" y="6502395"/>
            <a:ext cx="6744111" cy="106116"/>
          </a:xfrm>
        </p:spPr>
        <p:txBody>
          <a:bodyPr rIns="0" anchor="t" anchorCtr="0"/>
          <a:lstStyle>
            <a:lvl1pPr marL="0" indent="0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39303" indent="-139303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lphaU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742950" rtl="0" eaLnBrk="1" latinLnBrk="0" hangingPunct="1">
              <a:defRPr lang="en-GB" sz="894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Notes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8B1FBC85-E132-41F0-AED2-E8AFB9F9262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9383" y="6504110"/>
            <a:ext cx="1978862" cy="106116"/>
          </a:xfrm>
        </p:spPr>
        <p:txBody>
          <a:bodyPr rIns="0"/>
          <a:lstStyle>
            <a:lvl1pPr algn="r">
              <a:defRPr sz="650">
                <a:solidFill>
                  <a:srgbClr val="1F2023"/>
                </a:solidFill>
              </a:defRPr>
            </a:lvl1pPr>
            <a:lvl2pPr>
              <a:defRPr sz="650"/>
            </a:lvl2pPr>
            <a:lvl3pPr>
              <a:defRPr sz="650"/>
            </a:lvl3pPr>
            <a:lvl4pPr>
              <a:defRPr sz="650"/>
            </a:lvl4pPr>
            <a:lvl5pPr>
              <a:defRPr sz="650"/>
            </a:lvl5pPr>
          </a:lstStyle>
          <a:p>
            <a:pPr lvl="0"/>
            <a:r>
              <a:rPr lang="en-GB" dirty="0"/>
              <a:t>Tracker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AACDC629-F4C4-4E34-8615-03DAA38947D9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5094159" y="1633409"/>
            <a:ext cx="4538792" cy="4689474"/>
          </a:xfrm>
        </p:spPr>
        <p:txBody>
          <a:bodyPr rIns="0"/>
          <a:lstStyle>
            <a:lvl1pPr>
              <a:defRPr>
                <a:solidFill>
                  <a:srgbClr val="1F2023"/>
                </a:solidFill>
              </a:defRPr>
            </a:lvl1pPr>
            <a:lvl2pPr>
              <a:defRPr>
                <a:solidFill>
                  <a:srgbClr val="1F2023"/>
                </a:solidFill>
              </a:defRPr>
            </a:lvl2pPr>
            <a:lvl3pPr>
              <a:defRPr>
                <a:solidFill>
                  <a:srgbClr val="1F2023"/>
                </a:solidFill>
              </a:defRPr>
            </a:lvl3pPr>
            <a:lvl4pPr>
              <a:defRPr>
                <a:solidFill>
                  <a:srgbClr val="1F2023"/>
                </a:solidFill>
              </a:defRPr>
            </a:lvl4pPr>
            <a:lvl5pPr>
              <a:defRPr>
                <a:solidFill>
                  <a:srgbClr val="1F2023"/>
                </a:solidFill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7" name="Date_GeneralDate" hidden="1">
            <a:extLst>
              <a:ext uri="{FF2B5EF4-FFF2-40B4-BE49-F238E27FC236}">
                <a16:creationId xmlns:a16="http://schemas.microsoft.com/office/drawing/2014/main" id="{D9DF96F7-16E4-4798-B632-8C0B52A9F0A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03B5C1DE-E12D-463D-9D3B-7BA565BF43F2}" type="datetime1">
              <a:rPr lang="en-US" smtClean="0"/>
              <a:t>2/25/20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2270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56EE887-ADBF-4AB0-BE63-21972C5B16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2257" y="1629570"/>
            <a:ext cx="6954837" cy="4689474"/>
          </a:xfrm>
        </p:spPr>
        <p:txBody>
          <a:bodyPr rIns="0">
            <a:noAutofit/>
          </a:bodyPr>
          <a:lstStyle>
            <a:lvl1pPr>
              <a:defRPr>
                <a:solidFill>
                  <a:srgbClr val="1F2023"/>
                </a:solidFill>
              </a:defRPr>
            </a:lvl1pPr>
            <a:lvl2pPr>
              <a:defRPr>
                <a:solidFill>
                  <a:srgbClr val="1F2023"/>
                </a:solidFill>
              </a:defRPr>
            </a:lvl2pPr>
            <a:lvl3pPr>
              <a:defRPr>
                <a:solidFill>
                  <a:srgbClr val="1F2023"/>
                </a:solidFill>
              </a:defRPr>
            </a:lvl3pPr>
            <a:lvl4pPr>
              <a:defRPr>
                <a:solidFill>
                  <a:srgbClr val="1F2023"/>
                </a:solidFill>
              </a:defRPr>
            </a:lvl4pPr>
            <a:lvl5pPr>
              <a:defRPr>
                <a:solidFill>
                  <a:srgbClr val="1F2023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91C5999-EC85-4330-9F46-B0688F0B19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257" y="272257"/>
            <a:ext cx="8240140" cy="692336"/>
          </a:xfrm>
        </p:spPr>
        <p:txBody>
          <a:bodyPr>
            <a:noAutofit/>
          </a:bodyPr>
          <a:lstStyle>
            <a:lvl1pPr>
              <a:defRPr>
                <a:solidFill>
                  <a:srgbClr val="1F202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E3DCC377-0280-401A-965D-56293C16EC3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4" y="6502395"/>
            <a:ext cx="6744111" cy="106116"/>
          </a:xfrm>
        </p:spPr>
        <p:txBody>
          <a:bodyPr rIns="0" anchor="t" anchorCtr="0"/>
          <a:lstStyle>
            <a:lvl1pPr marL="0" indent="0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39303" indent="-139303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lphaU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742950" rtl="0" eaLnBrk="1" latinLnBrk="0" hangingPunct="1">
              <a:defRPr lang="en-GB" sz="894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Notes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EDDAF85-3BF3-423A-AAA1-867083C13F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09383" y="6504110"/>
            <a:ext cx="1978862" cy="106116"/>
          </a:xfrm>
        </p:spPr>
        <p:txBody>
          <a:bodyPr rIns="0"/>
          <a:lstStyle>
            <a:lvl1pPr algn="r">
              <a:defRPr sz="650">
                <a:solidFill>
                  <a:srgbClr val="1F2023"/>
                </a:solidFill>
              </a:defRPr>
            </a:lvl1pPr>
            <a:lvl2pPr>
              <a:defRPr sz="650"/>
            </a:lvl2pPr>
            <a:lvl3pPr>
              <a:defRPr sz="650"/>
            </a:lvl3pPr>
            <a:lvl4pPr>
              <a:defRPr sz="650"/>
            </a:lvl4pPr>
            <a:lvl5pPr>
              <a:defRPr sz="650"/>
            </a:lvl5pPr>
          </a:lstStyle>
          <a:p>
            <a:pPr lvl="0"/>
            <a:r>
              <a:rPr lang="en-GB" dirty="0"/>
              <a:t>Tracker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0DCD6769-8933-4028-9ACD-431F38F7D409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7496174" y="1627189"/>
            <a:ext cx="2138363" cy="4689474"/>
          </a:xfrm>
        </p:spPr>
        <p:txBody>
          <a:bodyPr rIns="0">
            <a:noAutofit/>
          </a:bodyPr>
          <a:lstStyle>
            <a:lvl1pPr>
              <a:defRPr>
                <a:solidFill>
                  <a:srgbClr val="1F2023"/>
                </a:solidFill>
              </a:defRPr>
            </a:lvl1pPr>
            <a:lvl2pPr>
              <a:defRPr>
                <a:solidFill>
                  <a:srgbClr val="1F2023"/>
                </a:solidFill>
              </a:defRPr>
            </a:lvl2pPr>
            <a:lvl3pPr>
              <a:defRPr>
                <a:solidFill>
                  <a:srgbClr val="1F2023"/>
                </a:solidFill>
              </a:defRPr>
            </a:lvl3pPr>
            <a:lvl4pPr>
              <a:defRPr>
                <a:solidFill>
                  <a:srgbClr val="1F2023"/>
                </a:solidFill>
              </a:defRPr>
            </a:lvl4pPr>
            <a:lvl5pPr>
              <a:defRPr>
                <a:solidFill>
                  <a:srgbClr val="1F2023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3" name="Date_GeneralDate" hidden="1">
            <a:extLst>
              <a:ext uri="{FF2B5EF4-FFF2-40B4-BE49-F238E27FC236}">
                <a16:creationId xmlns:a16="http://schemas.microsoft.com/office/drawing/2014/main" id="{E8EC64DB-194A-4D45-A9E9-C2C0A37B016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D5394814-2887-491F-B5BA-16D0B84C5777}" type="datetime1">
              <a:rPr lang="en-US" smtClean="0"/>
              <a:t>2/25/20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59254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7EAAE5C6-2755-4F4E-A878-43F56B65E9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257" y="272257"/>
            <a:ext cx="8240140" cy="692336"/>
          </a:xfrm>
        </p:spPr>
        <p:txBody>
          <a:bodyPr>
            <a:noAutofit/>
          </a:bodyPr>
          <a:lstStyle>
            <a:lvl1pPr>
              <a:defRPr>
                <a:solidFill>
                  <a:srgbClr val="1F202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134F504F-A2DE-4572-9711-6650D6AA4E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4" y="6502395"/>
            <a:ext cx="6744111" cy="106116"/>
          </a:xfrm>
        </p:spPr>
        <p:txBody>
          <a:bodyPr rIns="0" anchor="t" anchorCtr="0"/>
          <a:lstStyle>
            <a:lvl1pPr marL="0" indent="0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39303" indent="-139303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lphaU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742950" rtl="0" eaLnBrk="1" latinLnBrk="0" hangingPunct="1">
              <a:defRPr lang="en-GB" sz="894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Notes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9240DFA-E6CC-48C6-9045-36E6CF1B045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9383" y="6504110"/>
            <a:ext cx="1978862" cy="106116"/>
          </a:xfrm>
        </p:spPr>
        <p:txBody>
          <a:bodyPr rIns="0"/>
          <a:lstStyle>
            <a:lvl1pPr algn="r">
              <a:defRPr sz="650">
                <a:solidFill>
                  <a:srgbClr val="1F2023"/>
                </a:solidFill>
              </a:defRPr>
            </a:lvl1pPr>
            <a:lvl2pPr>
              <a:defRPr sz="650"/>
            </a:lvl2pPr>
            <a:lvl3pPr>
              <a:defRPr sz="650"/>
            </a:lvl3pPr>
            <a:lvl4pPr>
              <a:defRPr sz="650"/>
            </a:lvl4pPr>
            <a:lvl5pPr>
              <a:defRPr sz="650"/>
            </a:lvl5pPr>
          </a:lstStyle>
          <a:p>
            <a:pPr lvl="0"/>
            <a:r>
              <a:rPr lang="en-GB" dirty="0"/>
              <a:t>Tracker</a:t>
            </a:r>
          </a:p>
        </p:txBody>
      </p:sp>
      <p:sp>
        <p:nvSpPr>
          <p:cNvPr id="10" name="Date_GeneralDate" hidden="1">
            <a:extLst>
              <a:ext uri="{FF2B5EF4-FFF2-40B4-BE49-F238E27FC236}">
                <a16:creationId xmlns:a16="http://schemas.microsoft.com/office/drawing/2014/main" id="{3612FFCC-B791-4D3E-A268-282FC899CB7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F13090EF-F057-4F77-8F25-93B8E5D1A695}" type="datetime1">
              <a:rPr lang="en-US" smtClean="0"/>
              <a:t>2/25/20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50888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56EE887-ADBF-4AB0-BE63-21972C5B166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72257" y="1629569"/>
            <a:ext cx="4546599" cy="4689475"/>
          </a:xfrm>
        </p:spPr>
        <p:txBody>
          <a:bodyPr rIns="0"/>
          <a:lstStyle>
            <a:lvl1pPr>
              <a:defRPr>
                <a:solidFill>
                  <a:srgbClr val="1F2023"/>
                </a:solidFill>
              </a:defRPr>
            </a:lvl1pPr>
            <a:lvl2pPr>
              <a:defRPr>
                <a:solidFill>
                  <a:srgbClr val="1F2023"/>
                </a:solidFill>
              </a:defRPr>
            </a:lvl2pPr>
            <a:lvl3pPr>
              <a:defRPr>
                <a:solidFill>
                  <a:srgbClr val="1F2023"/>
                </a:solidFill>
              </a:defRPr>
            </a:lvl3pPr>
            <a:lvl4pPr>
              <a:defRPr>
                <a:solidFill>
                  <a:srgbClr val="1F2023"/>
                </a:solidFill>
              </a:defRPr>
            </a:lvl4pPr>
            <a:lvl5pPr>
              <a:defRPr>
                <a:solidFill>
                  <a:srgbClr val="1F2023"/>
                </a:solidFill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96EDC17A-116C-4E16-A3DE-2E5F4B894B8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087940" y="269876"/>
            <a:ext cx="4276723" cy="3568047"/>
          </a:xfrm>
          <a:solidFill>
            <a:srgbClr val="F3F2F0"/>
          </a:solidFill>
        </p:spPr>
        <p:txBody>
          <a:bodyPr rIns="0" anchor="ctr" anchorCtr="0"/>
          <a:lstStyle>
            <a:lvl1pPr marL="0" indent="0" algn="ctr">
              <a:buNone/>
              <a:defRPr>
                <a:solidFill>
                  <a:srgbClr val="1F2023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71B800F5-D353-40A2-B9C9-A29ACB6135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2257" y="272257"/>
            <a:ext cx="4546598" cy="692336"/>
          </a:xfrm>
        </p:spPr>
        <p:txBody>
          <a:bodyPr/>
          <a:lstStyle>
            <a:lvl1pPr>
              <a:defRPr>
                <a:solidFill>
                  <a:srgbClr val="1F2023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9B2F0609-B28D-4E90-9A79-7A5ED798D9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4" y="6502395"/>
            <a:ext cx="6744111" cy="106116"/>
          </a:xfrm>
        </p:spPr>
        <p:txBody>
          <a:bodyPr rIns="0" anchor="t" anchorCtr="0"/>
          <a:lstStyle>
            <a:lvl1pPr marL="0" indent="0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39303" indent="-139303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lphaU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742950" rtl="0" eaLnBrk="1" latinLnBrk="0" hangingPunct="1">
              <a:defRPr lang="en-GB" sz="894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Notes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AB449F3A-748D-4A5A-BF30-2662AC65CB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9383" y="6504110"/>
            <a:ext cx="1978862" cy="106116"/>
          </a:xfrm>
        </p:spPr>
        <p:txBody>
          <a:bodyPr rIns="0"/>
          <a:lstStyle>
            <a:lvl1pPr algn="r">
              <a:defRPr sz="650">
                <a:solidFill>
                  <a:srgbClr val="1F2023"/>
                </a:solidFill>
              </a:defRPr>
            </a:lvl1pPr>
            <a:lvl2pPr>
              <a:defRPr sz="650"/>
            </a:lvl2pPr>
            <a:lvl3pPr>
              <a:defRPr sz="650"/>
            </a:lvl3pPr>
            <a:lvl4pPr>
              <a:defRPr sz="650"/>
            </a:lvl4pPr>
            <a:lvl5pPr>
              <a:defRPr sz="650"/>
            </a:lvl5pPr>
          </a:lstStyle>
          <a:p>
            <a:pPr lvl="0"/>
            <a:r>
              <a:rPr lang="en-GB" dirty="0"/>
              <a:t>Tracker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C5BF74F-DDC9-4227-9B0E-E848E85850DD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5087938" y="4110810"/>
            <a:ext cx="4546599" cy="2205853"/>
          </a:xfrm>
        </p:spPr>
        <p:txBody>
          <a:bodyPr rIns="0"/>
          <a:lstStyle>
            <a:lvl1pPr>
              <a:defRPr>
                <a:solidFill>
                  <a:srgbClr val="1F2023"/>
                </a:solidFill>
              </a:defRPr>
            </a:lvl1pPr>
            <a:lvl2pPr>
              <a:defRPr>
                <a:solidFill>
                  <a:srgbClr val="1F2023"/>
                </a:solidFill>
              </a:defRPr>
            </a:lvl2pPr>
            <a:lvl3pPr>
              <a:defRPr>
                <a:solidFill>
                  <a:srgbClr val="1F2023"/>
                </a:solidFill>
              </a:defRPr>
            </a:lvl3pPr>
            <a:lvl4pPr>
              <a:defRPr>
                <a:solidFill>
                  <a:srgbClr val="1F2023"/>
                </a:solidFill>
              </a:defRPr>
            </a:lvl4pPr>
            <a:lvl5pPr>
              <a:defRPr>
                <a:solidFill>
                  <a:srgbClr val="1F2023"/>
                </a:solidFill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4" name="Date_GeneralDate" hidden="1">
            <a:extLst>
              <a:ext uri="{FF2B5EF4-FFF2-40B4-BE49-F238E27FC236}">
                <a16:creationId xmlns:a16="http://schemas.microsoft.com/office/drawing/2014/main" id="{BB51C436-51CA-47BE-8C5C-B668EA83CBE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603999DF-9FDB-4690-B054-2EC95D80A65B}" type="datetime1">
              <a:rPr lang="en-US" smtClean="0"/>
              <a:t>2/25/20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13369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6712821-3480-4567-B81B-23EDA2374ED8}"/>
              </a:ext>
            </a:extLst>
          </p:cNvPr>
          <p:cNvSpPr/>
          <p:nvPr userDrawn="1"/>
        </p:nvSpPr>
        <p:spPr>
          <a:xfrm>
            <a:off x="5635691" y="2301551"/>
            <a:ext cx="4270310" cy="4556449"/>
          </a:xfrm>
          <a:prstGeom prst="rect">
            <a:avLst/>
          </a:prstGeom>
          <a:solidFill>
            <a:srgbClr val="E2DE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1000" noProof="0" dirty="0">
              <a:solidFill>
                <a:srgbClr val="1F2023"/>
              </a:solidFill>
            </a:endParaRPr>
          </a:p>
        </p:txBody>
      </p:sp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96EDC17A-116C-4E16-A3DE-2E5F4B894B8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087940" y="1627188"/>
            <a:ext cx="4546598" cy="4689475"/>
          </a:xfrm>
          <a:solidFill>
            <a:srgbClr val="F3F2F0"/>
          </a:solidFill>
        </p:spPr>
        <p:txBody>
          <a:bodyPr rIns="0" anchor="ctr" anchorCtr="0"/>
          <a:lstStyle>
            <a:lvl1pPr marL="0" indent="0" algn="ctr">
              <a:buNone/>
              <a:defRPr>
                <a:solidFill>
                  <a:srgbClr val="1F2023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56EE887-ADBF-4AB0-BE63-21972C5B16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2257" y="1629569"/>
            <a:ext cx="4546599" cy="4689475"/>
          </a:xfrm>
        </p:spPr>
        <p:txBody>
          <a:bodyPr rIns="0">
            <a:noAutofit/>
          </a:bodyPr>
          <a:lstStyle>
            <a:lvl1pPr>
              <a:defRPr>
                <a:solidFill>
                  <a:srgbClr val="1F2023"/>
                </a:solidFill>
              </a:defRPr>
            </a:lvl1pPr>
            <a:lvl2pPr>
              <a:defRPr>
                <a:solidFill>
                  <a:srgbClr val="1F2023"/>
                </a:solidFill>
              </a:defRPr>
            </a:lvl2pPr>
            <a:lvl3pPr>
              <a:defRPr>
                <a:solidFill>
                  <a:srgbClr val="1F2023"/>
                </a:solidFill>
              </a:defRPr>
            </a:lvl3pPr>
            <a:lvl4pPr>
              <a:defRPr>
                <a:solidFill>
                  <a:srgbClr val="1F2023"/>
                </a:solidFill>
              </a:defRPr>
            </a:lvl4pPr>
            <a:lvl5pPr>
              <a:defRPr>
                <a:solidFill>
                  <a:srgbClr val="1F2023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74DEA22-79A0-4DFC-AA38-DAC569B1F7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2257" y="272257"/>
            <a:ext cx="8240140" cy="692336"/>
          </a:xfrm>
        </p:spPr>
        <p:txBody>
          <a:bodyPr/>
          <a:lstStyle>
            <a:lvl1pPr>
              <a:defRPr>
                <a:solidFill>
                  <a:srgbClr val="1F2023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2FBC88B6-08B7-43F9-8247-DD84EEDEFA9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4" y="6502395"/>
            <a:ext cx="6744111" cy="106116"/>
          </a:xfrm>
        </p:spPr>
        <p:txBody>
          <a:bodyPr rIns="0" anchor="t" anchorCtr="0"/>
          <a:lstStyle>
            <a:lvl1pPr marL="0" indent="0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39303" indent="-139303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lphaU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742950" rtl="0" eaLnBrk="1" latinLnBrk="0" hangingPunct="1">
              <a:defRPr lang="en-GB" sz="894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Note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CCE0DF6D-B57F-49F8-9638-8524ECED6B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9383" y="6504110"/>
            <a:ext cx="1978862" cy="106116"/>
          </a:xfrm>
        </p:spPr>
        <p:txBody>
          <a:bodyPr rIns="0"/>
          <a:lstStyle>
            <a:lvl1pPr algn="r">
              <a:defRPr sz="650">
                <a:solidFill>
                  <a:srgbClr val="1F2023"/>
                </a:solidFill>
              </a:defRPr>
            </a:lvl1pPr>
            <a:lvl2pPr>
              <a:defRPr sz="650"/>
            </a:lvl2pPr>
            <a:lvl3pPr>
              <a:defRPr sz="650"/>
            </a:lvl3pPr>
            <a:lvl4pPr>
              <a:defRPr sz="650"/>
            </a:lvl4pPr>
            <a:lvl5pPr>
              <a:defRPr sz="650"/>
            </a:lvl5pPr>
          </a:lstStyle>
          <a:p>
            <a:pPr lvl="0"/>
            <a:r>
              <a:rPr lang="en-GB" dirty="0"/>
              <a:t>Tracker</a:t>
            </a:r>
          </a:p>
        </p:txBody>
      </p:sp>
      <p:sp>
        <p:nvSpPr>
          <p:cNvPr id="14" name="Date_GeneralDate" hidden="1">
            <a:extLst>
              <a:ext uri="{FF2B5EF4-FFF2-40B4-BE49-F238E27FC236}">
                <a16:creationId xmlns:a16="http://schemas.microsoft.com/office/drawing/2014/main" id="{507B51D4-B972-4CB7-9F33-F08FA8F0F7F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4FB488EE-987A-4209-B461-AC9F45465BBA}" type="datetime1">
              <a:rPr lang="en-US" smtClean="0"/>
              <a:t>2/25/2022</a:t>
            </a:fld>
            <a:endParaRPr lang="en-GB" dirty="0"/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7B7CF61C-B728-40AF-B193-CFE730697174}"/>
              </a:ext>
            </a:extLst>
          </p:cNvPr>
          <p:cNvSpPr txBox="1">
            <a:spLocks/>
          </p:cNvSpPr>
          <p:nvPr userDrawn="1"/>
        </p:nvSpPr>
        <p:spPr>
          <a:xfrm>
            <a:off x="9378938" y="6496424"/>
            <a:ext cx="255600" cy="1116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r" defTabSz="914400" rtl="0" eaLnBrk="1" latinLnBrk="0" hangingPunct="1">
              <a:defRPr sz="650" kern="1200" spc="0" baseline="0">
                <a:solidFill>
                  <a:srgbClr val="2F363B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650" smtClean="0">
                <a:solidFill>
                  <a:srgbClr val="1F2023"/>
                </a:solidFill>
              </a:rPr>
              <a:pPr/>
              <a:t>‹#›</a:t>
            </a:fld>
            <a:endParaRPr lang="en-GB" sz="650" dirty="0">
              <a:solidFill>
                <a:srgbClr val="1F20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6278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Background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4410D80-6244-43D7-9BCA-4FF4C69D0B08}"/>
              </a:ext>
            </a:extLst>
          </p:cNvPr>
          <p:cNvSpPr/>
          <p:nvPr userDrawn="1"/>
        </p:nvSpPr>
        <p:spPr>
          <a:xfrm>
            <a:off x="0" y="1627188"/>
            <a:ext cx="8509000" cy="5230812"/>
          </a:xfrm>
          <a:prstGeom prst="rect">
            <a:avLst/>
          </a:prstGeom>
          <a:solidFill>
            <a:srgbClr val="EEEBE8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1000" noProof="0" dirty="0">
              <a:solidFill>
                <a:srgbClr val="1F2023"/>
              </a:solidFill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56EE887-ADBF-4AB0-BE63-21972C5B16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2257" y="1878015"/>
            <a:ext cx="7959724" cy="4452807"/>
          </a:xfrm>
        </p:spPr>
        <p:txBody>
          <a:bodyPr rIns="0">
            <a:noAutofit/>
          </a:bodyPr>
          <a:lstStyle>
            <a:lvl1pPr>
              <a:defRPr>
                <a:solidFill>
                  <a:srgbClr val="1F2023"/>
                </a:solidFill>
              </a:defRPr>
            </a:lvl1pPr>
            <a:lvl2pPr>
              <a:defRPr>
                <a:solidFill>
                  <a:srgbClr val="1F2023"/>
                </a:solidFill>
              </a:defRPr>
            </a:lvl2pPr>
            <a:lvl3pPr>
              <a:defRPr>
                <a:solidFill>
                  <a:srgbClr val="1F2023"/>
                </a:solidFill>
              </a:defRPr>
            </a:lvl3pPr>
            <a:lvl4pPr>
              <a:defRPr>
                <a:solidFill>
                  <a:srgbClr val="1F2023"/>
                </a:solidFill>
              </a:defRPr>
            </a:lvl4pPr>
            <a:lvl5pPr>
              <a:defRPr>
                <a:solidFill>
                  <a:srgbClr val="1F2023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2471E64-BD71-4B4B-BFD1-295764AE21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2257" y="272257"/>
            <a:ext cx="8240140" cy="692336"/>
          </a:xfrm>
        </p:spPr>
        <p:txBody>
          <a:bodyPr/>
          <a:lstStyle>
            <a:lvl1pPr>
              <a:defRPr>
                <a:solidFill>
                  <a:srgbClr val="1F2023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EC4B4692-BEB0-4AB7-A6CB-4D48CDD601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4" y="6502395"/>
            <a:ext cx="6744111" cy="106116"/>
          </a:xfrm>
        </p:spPr>
        <p:txBody>
          <a:bodyPr rIns="0" anchor="t" anchorCtr="0"/>
          <a:lstStyle>
            <a:lvl1pPr marL="0" indent="0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39303" indent="-139303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lphaU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742950" rtl="0" eaLnBrk="1" latinLnBrk="0" hangingPunct="1">
              <a:defRPr lang="en-GB" sz="894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Notes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7D850F3-3BBF-4220-B296-16FF2A55D69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9383" y="6504110"/>
            <a:ext cx="1978862" cy="106116"/>
          </a:xfrm>
        </p:spPr>
        <p:txBody>
          <a:bodyPr rIns="0"/>
          <a:lstStyle>
            <a:lvl1pPr algn="r">
              <a:defRPr sz="650">
                <a:solidFill>
                  <a:srgbClr val="1F2023"/>
                </a:solidFill>
              </a:defRPr>
            </a:lvl1pPr>
            <a:lvl2pPr>
              <a:defRPr sz="650"/>
            </a:lvl2pPr>
            <a:lvl3pPr>
              <a:defRPr sz="650"/>
            </a:lvl3pPr>
            <a:lvl4pPr>
              <a:defRPr sz="650"/>
            </a:lvl4pPr>
            <a:lvl5pPr>
              <a:defRPr sz="650"/>
            </a:lvl5pPr>
          </a:lstStyle>
          <a:p>
            <a:pPr lvl="0"/>
            <a:r>
              <a:rPr lang="en-GB" dirty="0"/>
              <a:t>Tracker</a:t>
            </a:r>
          </a:p>
        </p:txBody>
      </p:sp>
      <p:sp>
        <p:nvSpPr>
          <p:cNvPr id="14" name="Date_GeneralDate" hidden="1">
            <a:extLst>
              <a:ext uri="{FF2B5EF4-FFF2-40B4-BE49-F238E27FC236}">
                <a16:creationId xmlns:a16="http://schemas.microsoft.com/office/drawing/2014/main" id="{AB6B870D-1CE6-4711-AA2F-67484020C69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C284D8B4-9FA8-4763-B2D9-E2B0F10E754E}" type="datetime1">
              <a:rPr lang="en-US" smtClean="0"/>
              <a:t>2/25/20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37020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Background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4410D80-6244-43D7-9BCA-4FF4C69D0B08}"/>
              </a:ext>
            </a:extLst>
          </p:cNvPr>
          <p:cNvSpPr/>
          <p:nvPr userDrawn="1"/>
        </p:nvSpPr>
        <p:spPr>
          <a:xfrm>
            <a:off x="0" y="1627188"/>
            <a:ext cx="8509000" cy="5230812"/>
          </a:xfrm>
          <a:prstGeom prst="rect">
            <a:avLst/>
          </a:prstGeom>
          <a:solidFill>
            <a:srgbClr val="ECD7CA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1000" noProof="0" dirty="0">
              <a:solidFill>
                <a:srgbClr val="1F2023"/>
              </a:solidFill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56EE887-ADBF-4AB0-BE63-21972C5B16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2257" y="1878015"/>
            <a:ext cx="7959724" cy="4452807"/>
          </a:xfrm>
        </p:spPr>
        <p:txBody>
          <a:bodyPr rIns="0">
            <a:noAutofit/>
          </a:bodyPr>
          <a:lstStyle>
            <a:lvl1pPr>
              <a:defRPr>
                <a:solidFill>
                  <a:srgbClr val="1F2023"/>
                </a:solidFill>
              </a:defRPr>
            </a:lvl1pPr>
            <a:lvl2pPr>
              <a:defRPr>
                <a:solidFill>
                  <a:srgbClr val="1F2023"/>
                </a:solidFill>
              </a:defRPr>
            </a:lvl2pPr>
            <a:lvl3pPr>
              <a:defRPr>
                <a:solidFill>
                  <a:srgbClr val="1F2023"/>
                </a:solidFill>
              </a:defRPr>
            </a:lvl3pPr>
            <a:lvl4pPr>
              <a:defRPr>
                <a:solidFill>
                  <a:srgbClr val="1F2023"/>
                </a:solidFill>
              </a:defRPr>
            </a:lvl4pPr>
            <a:lvl5pPr>
              <a:defRPr>
                <a:solidFill>
                  <a:srgbClr val="1F2023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82B2B732-F934-41CD-B172-1038DE5EC9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2257" y="272257"/>
            <a:ext cx="8240140" cy="692336"/>
          </a:xfrm>
        </p:spPr>
        <p:txBody>
          <a:bodyPr/>
          <a:lstStyle>
            <a:lvl1pPr>
              <a:defRPr>
                <a:solidFill>
                  <a:srgbClr val="1F2023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0AB81D70-4F8C-4F7F-A726-48723613AF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4" y="6502395"/>
            <a:ext cx="6744111" cy="106116"/>
          </a:xfrm>
        </p:spPr>
        <p:txBody>
          <a:bodyPr rIns="0" anchor="t" anchorCtr="0"/>
          <a:lstStyle>
            <a:lvl1pPr marL="0" indent="0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39303" indent="-139303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lphaU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742950" rtl="0" eaLnBrk="1" latinLnBrk="0" hangingPunct="1">
              <a:defRPr lang="en-GB" sz="894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Notes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83109406-CC86-44FA-B86E-5287120074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9383" y="6504110"/>
            <a:ext cx="1978862" cy="106116"/>
          </a:xfrm>
        </p:spPr>
        <p:txBody>
          <a:bodyPr rIns="0"/>
          <a:lstStyle>
            <a:lvl1pPr algn="r">
              <a:defRPr sz="650">
                <a:solidFill>
                  <a:srgbClr val="1F2023"/>
                </a:solidFill>
              </a:defRPr>
            </a:lvl1pPr>
            <a:lvl2pPr>
              <a:defRPr sz="650"/>
            </a:lvl2pPr>
            <a:lvl3pPr>
              <a:defRPr sz="650"/>
            </a:lvl3pPr>
            <a:lvl4pPr>
              <a:defRPr sz="650"/>
            </a:lvl4pPr>
            <a:lvl5pPr>
              <a:defRPr sz="650"/>
            </a:lvl5pPr>
          </a:lstStyle>
          <a:p>
            <a:pPr lvl="0"/>
            <a:r>
              <a:rPr lang="en-GB" dirty="0"/>
              <a:t>Tracker</a:t>
            </a:r>
          </a:p>
        </p:txBody>
      </p:sp>
      <p:sp>
        <p:nvSpPr>
          <p:cNvPr id="12" name="Date_GeneralDate" hidden="1">
            <a:extLst>
              <a:ext uri="{FF2B5EF4-FFF2-40B4-BE49-F238E27FC236}">
                <a16:creationId xmlns:a16="http://schemas.microsoft.com/office/drawing/2014/main" id="{33AAD9F2-E9EA-4CC5-9E0B-C9272E54E05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54528106-CE32-4D76-9AB4-816FA6A19CB6}" type="datetime1">
              <a:rPr lang="en-US" smtClean="0"/>
              <a:t>2/25/20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5085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Background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4410D80-6244-43D7-9BCA-4FF4C69D0B08}"/>
              </a:ext>
            </a:extLst>
          </p:cNvPr>
          <p:cNvSpPr/>
          <p:nvPr userDrawn="1"/>
        </p:nvSpPr>
        <p:spPr>
          <a:xfrm>
            <a:off x="0" y="1627188"/>
            <a:ext cx="8509000" cy="5230812"/>
          </a:xfrm>
          <a:prstGeom prst="rect">
            <a:avLst/>
          </a:prstGeom>
          <a:solidFill>
            <a:srgbClr val="B9C7C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1000" noProof="0" dirty="0">
              <a:solidFill>
                <a:srgbClr val="1F2023"/>
              </a:solidFill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56EE887-ADBF-4AB0-BE63-21972C5B166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72257" y="1878015"/>
            <a:ext cx="7959724" cy="4452807"/>
          </a:xfrm>
        </p:spPr>
        <p:txBody>
          <a:bodyPr rIns="0"/>
          <a:lstStyle>
            <a:lvl1pPr>
              <a:defRPr>
                <a:solidFill>
                  <a:srgbClr val="1F2023"/>
                </a:solidFill>
              </a:defRPr>
            </a:lvl1pPr>
            <a:lvl2pPr>
              <a:defRPr>
                <a:solidFill>
                  <a:srgbClr val="1F2023"/>
                </a:solidFill>
              </a:defRPr>
            </a:lvl2pPr>
            <a:lvl3pPr>
              <a:defRPr>
                <a:solidFill>
                  <a:srgbClr val="1F2023"/>
                </a:solidFill>
              </a:defRPr>
            </a:lvl3pPr>
            <a:lvl4pPr>
              <a:defRPr>
                <a:solidFill>
                  <a:srgbClr val="1F2023"/>
                </a:solidFill>
              </a:defRPr>
            </a:lvl4pPr>
            <a:lvl5pPr>
              <a:defRPr>
                <a:solidFill>
                  <a:srgbClr val="1F2023"/>
                </a:solidFill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BB2E20B-892D-4EA3-8AD4-FC00FED28D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2257" y="272257"/>
            <a:ext cx="8240140" cy="692336"/>
          </a:xfrm>
        </p:spPr>
        <p:txBody>
          <a:bodyPr/>
          <a:lstStyle>
            <a:lvl1pPr>
              <a:defRPr>
                <a:solidFill>
                  <a:srgbClr val="1F2023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DE12DCE5-1D70-40FE-A12D-BC9D827D4FA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4" y="6502395"/>
            <a:ext cx="6744111" cy="106116"/>
          </a:xfrm>
        </p:spPr>
        <p:txBody>
          <a:bodyPr rIns="0" anchor="t" anchorCtr="0"/>
          <a:lstStyle>
            <a:lvl1pPr marL="0" indent="0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39303" indent="-139303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lphaU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742950" rtl="0" eaLnBrk="1" latinLnBrk="0" hangingPunct="1">
              <a:defRPr lang="en-GB" sz="894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Notes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99217A5-C5F1-43F0-8D37-FD2D1456944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9383" y="6504110"/>
            <a:ext cx="1978862" cy="106116"/>
          </a:xfrm>
        </p:spPr>
        <p:txBody>
          <a:bodyPr rIns="0"/>
          <a:lstStyle>
            <a:lvl1pPr algn="r">
              <a:defRPr sz="650">
                <a:solidFill>
                  <a:srgbClr val="1F2023"/>
                </a:solidFill>
              </a:defRPr>
            </a:lvl1pPr>
            <a:lvl2pPr>
              <a:defRPr sz="650"/>
            </a:lvl2pPr>
            <a:lvl3pPr>
              <a:defRPr sz="650"/>
            </a:lvl3pPr>
            <a:lvl4pPr>
              <a:defRPr sz="650"/>
            </a:lvl4pPr>
            <a:lvl5pPr>
              <a:defRPr sz="650"/>
            </a:lvl5pPr>
          </a:lstStyle>
          <a:p>
            <a:pPr lvl="0"/>
            <a:r>
              <a:rPr lang="en-GB" dirty="0"/>
              <a:t>Tracker</a:t>
            </a:r>
          </a:p>
        </p:txBody>
      </p:sp>
      <p:sp>
        <p:nvSpPr>
          <p:cNvPr id="12" name="Date_GeneralDate" hidden="1">
            <a:extLst>
              <a:ext uri="{FF2B5EF4-FFF2-40B4-BE49-F238E27FC236}">
                <a16:creationId xmlns:a16="http://schemas.microsoft.com/office/drawing/2014/main" id="{529B4580-A937-4A89-A972-47BC0D3F835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060C12AD-91D1-480B-B392-17BBA9CD1C13}" type="datetime1">
              <a:rPr lang="en-US" smtClean="0"/>
              <a:t>2/25/20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063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Background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4410D80-6244-43D7-9BCA-4FF4C69D0B08}"/>
              </a:ext>
            </a:extLst>
          </p:cNvPr>
          <p:cNvSpPr/>
          <p:nvPr userDrawn="1"/>
        </p:nvSpPr>
        <p:spPr>
          <a:xfrm>
            <a:off x="0" y="1627188"/>
            <a:ext cx="8510016" cy="5230812"/>
          </a:xfrm>
          <a:prstGeom prst="rect">
            <a:avLst/>
          </a:prstGeom>
          <a:solidFill>
            <a:srgbClr val="FBF9F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1000" noProof="0" dirty="0">
              <a:solidFill>
                <a:srgbClr val="1F2023"/>
              </a:solidFill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56EE887-ADBF-4AB0-BE63-21972C5B166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72257" y="1878015"/>
            <a:ext cx="7959724" cy="4452807"/>
          </a:xfrm>
        </p:spPr>
        <p:txBody>
          <a:bodyPr rIns="0"/>
          <a:lstStyle>
            <a:lvl1pPr>
              <a:defRPr>
                <a:solidFill>
                  <a:srgbClr val="1F2023"/>
                </a:solidFill>
              </a:defRPr>
            </a:lvl1pPr>
            <a:lvl2pPr>
              <a:defRPr>
                <a:solidFill>
                  <a:srgbClr val="1F2023"/>
                </a:solidFill>
              </a:defRPr>
            </a:lvl2pPr>
            <a:lvl3pPr>
              <a:defRPr>
                <a:solidFill>
                  <a:srgbClr val="1F2023"/>
                </a:solidFill>
              </a:defRPr>
            </a:lvl3pPr>
            <a:lvl4pPr>
              <a:defRPr>
                <a:solidFill>
                  <a:srgbClr val="1F2023"/>
                </a:solidFill>
              </a:defRPr>
            </a:lvl4pPr>
            <a:lvl5pPr>
              <a:defRPr>
                <a:solidFill>
                  <a:srgbClr val="1F2023"/>
                </a:solidFill>
              </a:defRPr>
            </a:lvl5pPr>
          </a:lstStyle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8CE8CB5-0C5C-4F82-93BB-A3CC2466A3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2257" y="272257"/>
            <a:ext cx="8240140" cy="692336"/>
          </a:xfrm>
        </p:spPr>
        <p:txBody>
          <a:bodyPr/>
          <a:lstStyle>
            <a:lvl1pPr>
              <a:defRPr>
                <a:solidFill>
                  <a:srgbClr val="1F2023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3C651A19-21C7-43A0-87F7-B33CAB0651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4" y="6502395"/>
            <a:ext cx="6744111" cy="106116"/>
          </a:xfrm>
        </p:spPr>
        <p:txBody>
          <a:bodyPr rIns="0" anchor="t" anchorCtr="0"/>
          <a:lstStyle>
            <a:lvl1pPr marL="0" indent="0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39303" indent="-139303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lphaU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742950" rtl="0" eaLnBrk="1" latinLnBrk="0" hangingPunct="1">
              <a:defRPr lang="en-GB" sz="894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Notes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C10B5418-1C83-44F1-AB0B-3628C15B4C2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9383" y="6504110"/>
            <a:ext cx="1978862" cy="106116"/>
          </a:xfrm>
        </p:spPr>
        <p:txBody>
          <a:bodyPr rIns="0"/>
          <a:lstStyle>
            <a:lvl1pPr algn="r">
              <a:defRPr sz="650">
                <a:solidFill>
                  <a:srgbClr val="1F2023"/>
                </a:solidFill>
              </a:defRPr>
            </a:lvl1pPr>
            <a:lvl2pPr>
              <a:defRPr sz="650"/>
            </a:lvl2pPr>
            <a:lvl3pPr>
              <a:defRPr sz="650"/>
            </a:lvl3pPr>
            <a:lvl4pPr>
              <a:defRPr sz="650"/>
            </a:lvl4pPr>
            <a:lvl5pPr>
              <a:defRPr sz="650"/>
            </a:lvl5pPr>
          </a:lstStyle>
          <a:p>
            <a:pPr lvl="0"/>
            <a:r>
              <a:rPr lang="en-GB" dirty="0"/>
              <a:t>Tracker</a:t>
            </a:r>
          </a:p>
        </p:txBody>
      </p:sp>
      <p:sp>
        <p:nvSpPr>
          <p:cNvPr id="12" name="Date_GeneralDate" hidden="1">
            <a:extLst>
              <a:ext uri="{FF2B5EF4-FFF2-40B4-BE49-F238E27FC236}">
                <a16:creationId xmlns:a16="http://schemas.microsoft.com/office/drawing/2014/main" id="{1DDF63FA-A507-49EB-8773-728F33759C3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B5701ABA-B916-4603-85CC-6551C7F972B9}" type="datetime1">
              <a:rPr lang="en-US" smtClean="0"/>
              <a:t>2/25/20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86512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B060B98-209A-497D-B286-C7BA3039D6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72424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408" imgH="408" progId="TCLayout.ActiveDocument.1">
                  <p:embed/>
                </p:oleObj>
              </mc:Choice>
              <mc:Fallback>
                <p:oleObj name="think-cell Slide" r:id="rId5" imgW="408" imgH="40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B060B98-209A-497D-B286-C7BA3039D6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object 2">
            <a:extLst>
              <a:ext uri="{FF2B5EF4-FFF2-40B4-BE49-F238E27FC236}">
                <a16:creationId xmlns:a16="http://schemas.microsoft.com/office/drawing/2014/main" id="{A81EE220-AC53-4153-A0FE-1F2219FBF428}"/>
              </a:ext>
            </a:extLst>
          </p:cNvPr>
          <p:cNvSpPr/>
          <p:nvPr userDrawn="1"/>
        </p:nvSpPr>
        <p:spPr>
          <a:xfrm>
            <a:off x="-11401" y="0"/>
            <a:ext cx="9917401" cy="6858000"/>
          </a:xfrm>
          <a:custGeom>
            <a:avLst/>
            <a:gdLst/>
            <a:ahLst/>
            <a:cxnLst/>
            <a:rect l="l" t="t" r="r" b="b"/>
            <a:pathLst>
              <a:path w="20104100" h="11308715">
                <a:moveTo>
                  <a:pt x="0" y="11308556"/>
                </a:moveTo>
                <a:lnTo>
                  <a:pt x="20104099" y="11308556"/>
                </a:lnTo>
                <a:lnTo>
                  <a:pt x="20104099" y="0"/>
                </a:lnTo>
                <a:lnTo>
                  <a:pt x="0" y="0"/>
                </a:lnTo>
                <a:lnTo>
                  <a:pt x="0" y="11308556"/>
                </a:lnTo>
                <a:close/>
              </a:path>
            </a:pathLst>
          </a:custGeom>
          <a:solidFill>
            <a:srgbClr val="9A6E3A"/>
          </a:solidFill>
          <a:ln>
            <a:noFill/>
          </a:ln>
        </p:spPr>
        <p:txBody>
          <a:bodyPr wrap="square" lIns="0" tIns="0" rIns="0" bIns="0" rtlCol="0"/>
          <a:lstStyle/>
          <a:p>
            <a:pPr marL="0" marR="0" lvl="0" indent="0" defTabSz="4505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87" b="0" i="0" u="none" strike="noStrike" kern="0" cap="none" spc="0" normalizeH="0" baseline="0" noProof="0" dirty="0">
              <a:ln>
                <a:noFill/>
              </a:ln>
              <a:solidFill>
                <a:srgbClr val="2F363B"/>
              </a:solidFill>
              <a:effectLst/>
              <a:uLnTx/>
              <a:uFillTx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68EEBBF-213D-4D68-A9CE-7CE68854BF37}"/>
              </a:ext>
            </a:extLst>
          </p:cNvPr>
          <p:cNvSpPr/>
          <p:nvPr userDrawn="1"/>
        </p:nvSpPr>
        <p:spPr>
          <a:xfrm>
            <a:off x="-11401" y="0"/>
            <a:ext cx="7182932" cy="6858000"/>
          </a:xfrm>
          <a:prstGeom prst="rect">
            <a:avLst/>
          </a:prstGeom>
          <a:solidFill>
            <a:srgbClr val="E2DED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05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87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object 3">
            <a:extLst>
              <a:ext uri="{FF2B5EF4-FFF2-40B4-BE49-F238E27FC236}">
                <a16:creationId xmlns:a16="http://schemas.microsoft.com/office/drawing/2014/main" id="{2F8E5E3C-C8FF-4ABE-B0BE-21762DA69433}"/>
              </a:ext>
            </a:extLst>
          </p:cNvPr>
          <p:cNvSpPr/>
          <p:nvPr userDrawn="1"/>
        </p:nvSpPr>
        <p:spPr>
          <a:xfrm>
            <a:off x="-11400" y="1192713"/>
            <a:ext cx="8566312" cy="5665287"/>
          </a:xfrm>
          <a:custGeom>
            <a:avLst/>
            <a:gdLst/>
            <a:ahLst/>
            <a:cxnLst/>
            <a:rect l="l" t="t" r="r" b="b"/>
            <a:pathLst>
              <a:path w="16670019" h="10303510">
                <a:moveTo>
                  <a:pt x="0" y="10303351"/>
                </a:moveTo>
                <a:lnTo>
                  <a:pt x="16669649" y="10303351"/>
                </a:lnTo>
                <a:lnTo>
                  <a:pt x="16669649" y="0"/>
                </a:lnTo>
                <a:lnTo>
                  <a:pt x="0" y="0"/>
                </a:lnTo>
                <a:lnTo>
                  <a:pt x="0" y="10303351"/>
                </a:lnTo>
                <a:close/>
              </a:path>
            </a:pathLst>
          </a:custGeom>
          <a:solidFill>
            <a:srgbClr val="30373B"/>
          </a:solidFill>
          <a:ln>
            <a:noFill/>
          </a:ln>
        </p:spPr>
        <p:txBody>
          <a:bodyPr wrap="square" lIns="0" tIns="0" rIns="0" bIns="0" rtlCol="0"/>
          <a:lstStyle/>
          <a:p>
            <a:pPr marL="0" marR="0" lvl="0" indent="0" defTabSz="4505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87" b="0" i="0" u="none" strike="noStrike" kern="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9999" y="5463127"/>
            <a:ext cx="5842800" cy="863537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900">
                <a:solidFill>
                  <a:srgbClr val="F8F5E7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894">
                <a:solidFill>
                  <a:schemeClr val="accent2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2255" y="2138963"/>
            <a:ext cx="5842800" cy="2224886"/>
          </a:xfrm>
        </p:spPr>
        <p:txBody>
          <a:bodyPr vert="horz" anchor="t" anchorCtr="0">
            <a:noAutofit/>
          </a:bodyPr>
          <a:lstStyle>
            <a:lvl1pPr algn="l">
              <a:lnSpc>
                <a:spcPct val="83000"/>
              </a:lnSpc>
              <a:defRPr sz="6500" cap="all" baseline="0">
                <a:solidFill>
                  <a:srgbClr val="F8F5E7"/>
                </a:solidFill>
                <a:latin typeface="Impact" panose="020B080603090205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4B46EDD-CF3B-49AB-826E-68B63D5E117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999" y="6387016"/>
            <a:ext cx="5842800" cy="210634"/>
          </a:xfrm>
        </p:spPr>
        <p:txBody>
          <a:bodyPr rIns="0" anchor="b" anchorCtr="0"/>
          <a:lstStyle>
            <a:lvl1pPr>
              <a:defRPr sz="900">
                <a:solidFill>
                  <a:srgbClr val="F8F5E7"/>
                </a:solidFill>
              </a:defRPr>
            </a:lvl1pPr>
            <a:lvl5pPr>
              <a:defRPr/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FB0748D9-B4B7-46FB-99B6-A4449CF9F500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 rot="5400000">
            <a:off x="8861146" y="788544"/>
            <a:ext cx="1258889" cy="287891"/>
          </a:xfrm>
          <a:custGeom>
            <a:avLst/>
            <a:gdLst>
              <a:gd name="connsiteX0" fmla="*/ 6778122 w 9905999"/>
              <a:gd name="connsiteY0" fmla="*/ 2222531 h 2265361"/>
              <a:gd name="connsiteX1" fmla="*/ 7135812 w 9905999"/>
              <a:gd name="connsiteY1" fmla="*/ 2222531 h 2265361"/>
              <a:gd name="connsiteX2" fmla="*/ 7135812 w 9905999"/>
              <a:gd name="connsiteY2" fmla="*/ 2265361 h 2265361"/>
              <a:gd name="connsiteX3" fmla="*/ 6778122 w 9905999"/>
              <a:gd name="connsiteY3" fmla="*/ 2265361 h 2265361"/>
              <a:gd name="connsiteX4" fmla="*/ 6778122 w 9905999"/>
              <a:gd name="connsiteY4" fmla="*/ 2222531 h 2265361"/>
              <a:gd name="connsiteX5" fmla="*/ 6449676 w 9905999"/>
              <a:gd name="connsiteY5" fmla="*/ 1769427 h 2265361"/>
              <a:gd name="connsiteX6" fmla="*/ 6449676 w 9905999"/>
              <a:gd name="connsiteY6" fmla="*/ 1965546 h 2265361"/>
              <a:gd name="connsiteX7" fmla="*/ 6575655 w 9905999"/>
              <a:gd name="connsiteY7" fmla="*/ 1965546 h 2265361"/>
              <a:gd name="connsiteX8" fmla="*/ 6679138 w 9905999"/>
              <a:gd name="connsiteY8" fmla="*/ 1864105 h 2265361"/>
              <a:gd name="connsiteX9" fmla="*/ 6575655 w 9905999"/>
              <a:gd name="connsiteY9" fmla="*/ 1769427 h 2265361"/>
              <a:gd name="connsiteX10" fmla="*/ 6449676 w 9905999"/>
              <a:gd name="connsiteY10" fmla="*/ 1769427 h 2265361"/>
              <a:gd name="connsiteX11" fmla="*/ 5021164 w 9905999"/>
              <a:gd name="connsiteY11" fmla="*/ 1769427 h 2265361"/>
              <a:gd name="connsiteX12" fmla="*/ 5021164 w 9905999"/>
              <a:gd name="connsiteY12" fmla="*/ 1949767 h 2265361"/>
              <a:gd name="connsiteX13" fmla="*/ 5158391 w 9905999"/>
              <a:gd name="connsiteY13" fmla="*/ 1949767 h 2265361"/>
              <a:gd name="connsiteX14" fmla="*/ 5261874 w 9905999"/>
              <a:gd name="connsiteY14" fmla="*/ 1859597 h 2265361"/>
              <a:gd name="connsiteX15" fmla="*/ 5158391 w 9905999"/>
              <a:gd name="connsiteY15" fmla="*/ 1769427 h 2265361"/>
              <a:gd name="connsiteX16" fmla="*/ 5021164 w 9905999"/>
              <a:gd name="connsiteY16" fmla="*/ 1769427 h 2265361"/>
              <a:gd name="connsiteX17" fmla="*/ 5597068 w 9905999"/>
              <a:gd name="connsiteY17" fmla="*/ 1762664 h 2265361"/>
              <a:gd name="connsiteX18" fmla="*/ 5504834 w 9905999"/>
              <a:gd name="connsiteY18" fmla="*/ 1800986 h 2265361"/>
              <a:gd name="connsiteX19" fmla="*/ 5459841 w 9905999"/>
              <a:gd name="connsiteY19" fmla="*/ 1967800 h 2265361"/>
              <a:gd name="connsiteX20" fmla="*/ 5504834 w 9905999"/>
              <a:gd name="connsiteY20" fmla="*/ 2132361 h 2265361"/>
              <a:gd name="connsiteX21" fmla="*/ 5597068 w 9905999"/>
              <a:gd name="connsiteY21" fmla="*/ 2170683 h 2265361"/>
              <a:gd name="connsiteX22" fmla="*/ 5691552 w 9905999"/>
              <a:gd name="connsiteY22" fmla="*/ 2132361 h 2265361"/>
              <a:gd name="connsiteX23" fmla="*/ 5734295 w 9905999"/>
              <a:gd name="connsiteY23" fmla="*/ 1967800 h 2265361"/>
              <a:gd name="connsiteX24" fmla="*/ 5691552 w 9905999"/>
              <a:gd name="connsiteY24" fmla="*/ 1800986 h 2265361"/>
              <a:gd name="connsiteX25" fmla="*/ 5597068 w 9905999"/>
              <a:gd name="connsiteY25" fmla="*/ 1762664 h 2265361"/>
              <a:gd name="connsiteX26" fmla="*/ 654642 w 9905999"/>
              <a:gd name="connsiteY26" fmla="*/ 1762664 h 2265361"/>
              <a:gd name="connsiteX27" fmla="*/ 560157 w 9905999"/>
              <a:gd name="connsiteY27" fmla="*/ 1800986 h 2265361"/>
              <a:gd name="connsiteX28" fmla="*/ 517414 w 9905999"/>
              <a:gd name="connsiteY28" fmla="*/ 1967800 h 2265361"/>
              <a:gd name="connsiteX29" fmla="*/ 560157 w 9905999"/>
              <a:gd name="connsiteY29" fmla="*/ 2132361 h 2265361"/>
              <a:gd name="connsiteX30" fmla="*/ 654642 w 9905999"/>
              <a:gd name="connsiteY30" fmla="*/ 2170683 h 2265361"/>
              <a:gd name="connsiteX31" fmla="*/ 746876 w 9905999"/>
              <a:gd name="connsiteY31" fmla="*/ 2132361 h 2265361"/>
              <a:gd name="connsiteX32" fmla="*/ 791868 w 9905999"/>
              <a:gd name="connsiteY32" fmla="*/ 1967800 h 2265361"/>
              <a:gd name="connsiteX33" fmla="*/ 746876 w 9905999"/>
              <a:gd name="connsiteY33" fmla="*/ 1800986 h 2265361"/>
              <a:gd name="connsiteX34" fmla="*/ 654642 w 9905999"/>
              <a:gd name="connsiteY34" fmla="*/ 1762664 h 2265361"/>
              <a:gd name="connsiteX35" fmla="*/ 6386687 w 9905999"/>
              <a:gd name="connsiteY35" fmla="*/ 1710816 h 2265361"/>
              <a:gd name="connsiteX36" fmla="*/ 6575655 w 9905999"/>
              <a:gd name="connsiteY36" fmla="*/ 1710816 h 2265361"/>
              <a:gd name="connsiteX37" fmla="*/ 6706134 w 9905999"/>
              <a:gd name="connsiteY37" fmla="*/ 1755901 h 2265361"/>
              <a:gd name="connsiteX38" fmla="*/ 6744377 w 9905999"/>
              <a:gd name="connsiteY38" fmla="*/ 1864105 h 2265361"/>
              <a:gd name="connsiteX39" fmla="*/ 6701634 w 9905999"/>
              <a:gd name="connsiteY39" fmla="*/ 1981326 h 2265361"/>
              <a:gd name="connsiteX40" fmla="*/ 6577905 w 9905999"/>
              <a:gd name="connsiteY40" fmla="*/ 2024157 h 2265361"/>
              <a:gd name="connsiteX41" fmla="*/ 6449676 w 9905999"/>
              <a:gd name="connsiteY41" fmla="*/ 2024157 h 2265361"/>
              <a:gd name="connsiteX42" fmla="*/ 6449676 w 9905999"/>
              <a:gd name="connsiteY42" fmla="*/ 2222531 h 2265361"/>
              <a:gd name="connsiteX43" fmla="*/ 6386687 w 9905999"/>
              <a:gd name="connsiteY43" fmla="*/ 2222531 h 2265361"/>
              <a:gd name="connsiteX44" fmla="*/ 6386687 w 9905999"/>
              <a:gd name="connsiteY44" fmla="*/ 1710816 h 2265361"/>
              <a:gd name="connsiteX45" fmla="*/ 5889520 w 9905999"/>
              <a:gd name="connsiteY45" fmla="*/ 1710816 h 2265361"/>
              <a:gd name="connsiteX46" fmla="*/ 5954759 w 9905999"/>
              <a:gd name="connsiteY46" fmla="*/ 1710816 h 2265361"/>
              <a:gd name="connsiteX47" fmla="*/ 5954759 w 9905999"/>
              <a:gd name="connsiteY47" fmla="*/ 2035428 h 2265361"/>
              <a:gd name="connsiteX48" fmla="*/ 6076239 w 9905999"/>
              <a:gd name="connsiteY48" fmla="*/ 2172937 h 2265361"/>
              <a:gd name="connsiteX49" fmla="*/ 6199968 w 9905999"/>
              <a:gd name="connsiteY49" fmla="*/ 2035428 h 2265361"/>
              <a:gd name="connsiteX50" fmla="*/ 6199968 w 9905999"/>
              <a:gd name="connsiteY50" fmla="*/ 1710816 h 2265361"/>
              <a:gd name="connsiteX51" fmla="*/ 6262957 w 9905999"/>
              <a:gd name="connsiteY51" fmla="*/ 1710816 h 2265361"/>
              <a:gd name="connsiteX52" fmla="*/ 6262957 w 9905999"/>
              <a:gd name="connsiteY52" fmla="*/ 2035428 h 2265361"/>
              <a:gd name="connsiteX53" fmla="*/ 6076239 w 9905999"/>
              <a:gd name="connsiteY53" fmla="*/ 2231547 h 2265361"/>
              <a:gd name="connsiteX54" fmla="*/ 5889520 w 9905999"/>
              <a:gd name="connsiteY54" fmla="*/ 2035428 h 2265361"/>
              <a:gd name="connsiteX55" fmla="*/ 5889520 w 9905999"/>
              <a:gd name="connsiteY55" fmla="*/ 1710816 h 2265361"/>
              <a:gd name="connsiteX56" fmla="*/ 4958174 w 9905999"/>
              <a:gd name="connsiteY56" fmla="*/ 1710816 h 2265361"/>
              <a:gd name="connsiteX57" fmla="*/ 5158391 w 9905999"/>
              <a:gd name="connsiteY57" fmla="*/ 1710816 h 2265361"/>
              <a:gd name="connsiteX58" fmla="*/ 5288869 w 9905999"/>
              <a:gd name="connsiteY58" fmla="*/ 1755901 h 2265361"/>
              <a:gd name="connsiteX59" fmla="*/ 5329363 w 9905999"/>
              <a:gd name="connsiteY59" fmla="*/ 1859597 h 2265361"/>
              <a:gd name="connsiteX60" fmla="*/ 5288869 w 9905999"/>
              <a:gd name="connsiteY60" fmla="*/ 1961038 h 2265361"/>
              <a:gd name="connsiteX61" fmla="*/ 5228130 w 9905999"/>
              <a:gd name="connsiteY61" fmla="*/ 1997106 h 2265361"/>
              <a:gd name="connsiteX62" fmla="*/ 5331612 w 9905999"/>
              <a:gd name="connsiteY62" fmla="*/ 2222531 h 2265361"/>
              <a:gd name="connsiteX63" fmla="*/ 5259624 w 9905999"/>
              <a:gd name="connsiteY63" fmla="*/ 2222531 h 2265361"/>
              <a:gd name="connsiteX64" fmla="*/ 5162890 w 9905999"/>
              <a:gd name="connsiteY64" fmla="*/ 2010631 h 2265361"/>
              <a:gd name="connsiteX65" fmla="*/ 5021164 w 9905999"/>
              <a:gd name="connsiteY65" fmla="*/ 2010631 h 2265361"/>
              <a:gd name="connsiteX66" fmla="*/ 5021164 w 9905999"/>
              <a:gd name="connsiteY66" fmla="*/ 2222531 h 2265361"/>
              <a:gd name="connsiteX67" fmla="*/ 4958174 w 9905999"/>
              <a:gd name="connsiteY67" fmla="*/ 2222531 h 2265361"/>
              <a:gd name="connsiteX68" fmla="*/ 4958174 w 9905999"/>
              <a:gd name="connsiteY68" fmla="*/ 1710816 h 2265361"/>
              <a:gd name="connsiteX69" fmla="*/ 3309199 w 9905999"/>
              <a:gd name="connsiteY69" fmla="*/ 1710816 h 2265361"/>
              <a:gd name="connsiteX70" fmla="*/ 3381187 w 9905999"/>
              <a:gd name="connsiteY70" fmla="*/ 1710816 h 2265361"/>
              <a:gd name="connsiteX71" fmla="*/ 3633145 w 9905999"/>
              <a:gd name="connsiteY71" fmla="*/ 2123344 h 2265361"/>
              <a:gd name="connsiteX72" fmla="*/ 3633145 w 9905999"/>
              <a:gd name="connsiteY72" fmla="*/ 1710816 h 2265361"/>
              <a:gd name="connsiteX73" fmla="*/ 3693885 w 9905999"/>
              <a:gd name="connsiteY73" fmla="*/ 1710816 h 2265361"/>
              <a:gd name="connsiteX74" fmla="*/ 3693885 w 9905999"/>
              <a:gd name="connsiteY74" fmla="*/ 2222531 h 2265361"/>
              <a:gd name="connsiteX75" fmla="*/ 3621897 w 9905999"/>
              <a:gd name="connsiteY75" fmla="*/ 2222531 h 2265361"/>
              <a:gd name="connsiteX76" fmla="*/ 3372188 w 9905999"/>
              <a:gd name="connsiteY76" fmla="*/ 1810003 h 2265361"/>
              <a:gd name="connsiteX77" fmla="*/ 3372188 w 9905999"/>
              <a:gd name="connsiteY77" fmla="*/ 2222531 h 2265361"/>
              <a:gd name="connsiteX78" fmla="*/ 3309199 w 9905999"/>
              <a:gd name="connsiteY78" fmla="*/ 2222531 h 2265361"/>
              <a:gd name="connsiteX79" fmla="*/ 3309199 w 9905999"/>
              <a:gd name="connsiteY79" fmla="*/ 1710816 h 2265361"/>
              <a:gd name="connsiteX80" fmla="*/ 3106732 w 9905999"/>
              <a:gd name="connsiteY80" fmla="*/ 1710816 h 2265361"/>
              <a:gd name="connsiteX81" fmla="*/ 3171971 w 9905999"/>
              <a:gd name="connsiteY81" fmla="*/ 1710816 h 2265361"/>
              <a:gd name="connsiteX82" fmla="*/ 3171971 w 9905999"/>
              <a:gd name="connsiteY82" fmla="*/ 2222531 h 2265361"/>
              <a:gd name="connsiteX83" fmla="*/ 3106732 w 9905999"/>
              <a:gd name="connsiteY83" fmla="*/ 2222531 h 2265361"/>
              <a:gd name="connsiteX84" fmla="*/ 3106732 w 9905999"/>
              <a:gd name="connsiteY84" fmla="*/ 1710816 h 2265361"/>
              <a:gd name="connsiteX85" fmla="*/ 2663557 w 9905999"/>
              <a:gd name="connsiteY85" fmla="*/ 1710816 h 2265361"/>
              <a:gd name="connsiteX86" fmla="*/ 3032495 w 9905999"/>
              <a:gd name="connsiteY86" fmla="*/ 1710816 h 2265361"/>
              <a:gd name="connsiteX87" fmla="*/ 3032495 w 9905999"/>
              <a:gd name="connsiteY87" fmla="*/ 1769427 h 2265361"/>
              <a:gd name="connsiteX88" fmla="*/ 2879521 w 9905999"/>
              <a:gd name="connsiteY88" fmla="*/ 1769427 h 2265361"/>
              <a:gd name="connsiteX89" fmla="*/ 2879521 w 9905999"/>
              <a:gd name="connsiteY89" fmla="*/ 2222531 h 2265361"/>
              <a:gd name="connsiteX90" fmla="*/ 2814282 w 9905999"/>
              <a:gd name="connsiteY90" fmla="*/ 2222531 h 2265361"/>
              <a:gd name="connsiteX91" fmla="*/ 2814282 w 9905999"/>
              <a:gd name="connsiteY91" fmla="*/ 1769427 h 2265361"/>
              <a:gd name="connsiteX92" fmla="*/ 2663557 w 9905999"/>
              <a:gd name="connsiteY92" fmla="*/ 1769427 h 2265361"/>
              <a:gd name="connsiteX93" fmla="*/ 2663557 w 9905999"/>
              <a:gd name="connsiteY93" fmla="*/ 1710816 h 2265361"/>
              <a:gd name="connsiteX94" fmla="*/ 2416099 w 9905999"/>
              <a:gd name="connsiteY94" fmla="*/ 1710816 h 2265361"/>
              <a:gd name="connsiteX95" fmla="*/ 2481338 w 9905999"/>
              <a:gd name="connsiteY95" fmla="*/ 1710816 h 2265361"/>
              <a:gd name="connsiteX96" fmla="*/ 2481338 w 9905999"/>
              <a:gd name="connsiteY96" fmla="*/ 2163920 h 2265361"/>
              <a:gd name="connsiteX97" fmla="*/ 2726547 w 9905999"/>
              <a:gd name="connsiteY97" fmla="*/ 2163920 h 2265361"/>
              <a:gd name="connsiteX98" fmla="*/ 2726547 w 9905999"/>
              <a:gd name="connsiteY98" fmla="*/ 2222531 h 2265361"/>
              <a:gd name="connsiteX99" fmla="*/ 2416099 w 9905999"/>
              <a:gd name="connsiteY99" fmla="*/ 2222531 h 2265361"/>
              <a:gd name="connsiteX100" fmla="*/ 2416099 w 9905999"/>
              <a:gd name="connsiteY100" fmla="*/ 1710816 h 2265361"/>
              <a:gd name="connsiteX101" fmla="*/ 1918931 w 9905999"/>
              <a:gd name="connsiteY101" fmla="*/ 1710816 h 2265361"/>
              <a:gd name="connsiteX102" fmla="*/ 1984171 w 9905999"/>
              <a:gd name="connsiteY102" fmla="*/ 1710816 h 2265361"/>
              <a:gd name="connsiteX103" fmla="*/ 1984171 w 9905999"/>
              <a:gd name="connsiteY103" fmla="*/ 2035428 h 2265361"/>
              <a:gd name="connsiteX104" fmla="*/ 2105651 w 9905999"/>
              <a:gd name="connsiteY104" fmla="*/ 2172937 h 2265361"/>
              <a:gd name="connsiteX105" fmla="*/ 2229380 w 9905999"/>
              <a:gd name="connsiteY105" fmla="*/ 2035428 h 2265361"/>
              <a:gd name="connsiteX106" fmla="*/ 2229380 w 9905999"/>
              <a:gd name="connsiteY106" fmla="*/ 1710816 h 2265361"/>
              <a:gd name="connsiteX107" fmla="*/ 2292369 w 9905999"/>
              <a:gd name="connsiteY107" fmla="*/ 1710816 h 2265361"/>
              <a:gd name="connsiteX108" fmla="*/ 2292369 w 9905999"/>
              <a:gd name="connsiteY108" fmla="*/ 2035428 h 2265361"/>
              <a:gd name="connsiteX109" fmla="*/ 2105651 w 9905999"/>
              <a:gd name="connsiteY109" fmla="*/ 2231547 h 2265361"/>
              <a:gd name="connsiteX110" fmla="*/ 1918931 w 9905999"/>
              <a:gd name="connsiteY110" fmla="*/ 2035428 h 2265361"/>
              <a:gd name="connsiteX111" fmla="*/ 1918931 w 9905999"/>
              <a:gd name="connsiteY111" fmla="*/ 1710816 h 2265361"/>
              <a:gd name="connsiteX112" fmla="*/ 960591 w 9905999"/>
              <a:gd name="connsiteY112" fmla="*/ 1710816 h 2265361"/>
              <a:gd name="connsiteX113" fmla="*/ 1032578 w 9905999"/>
              <a:gd name="connsiteY113" fmla="*/ 1710816 h 2265361"/>
              <a:gd name="connsiteX114" fmla="*/ 1284537 w 9905999"/>
              <a:gd name="connsiteY114" fmla="*/ 2123344 h 2265361"/>
              <a:gd name="connsiteX115" fmla="*/ 1284537 w 9905999"/>
              <a:gd name="connsiteY115" fmla="*/ 1710816 h 2265361"/>
              <a:gd name="connsiteX116" fmla="*/ 1345276 w 9905999"/>
              <a:gd name="connsiteY116" fmla="*/ 1710816 h 2265361"/>
              <a:gd name="connsiteX117" fmla="*/ 1345276 w 9905999"/>
              <a:gd name="connsiteY117" fmla="*/ 2222531 h 2265361"/>
              <a:gd name="connsiteX118" fmla="*/ 1273289 w 9905999"/>
              <a:gd name="connsiteY118" fmla="*/ 2222531 h 2265361"/>
              <a:gd name="connsiteX119" fmla="*/ 1023580 w 9905999"/>
              <a:gd name="connsiteY119" fmla="*/ 1810003 h 2265361"/>
              <a:gd name="connsiteX120" fmla="*/ 1023580 w 9905999"/>
              <a:gd name="connsiteY120" fmla="*/ 2222531 h 2265361"/>
              <a:gd name="connsiteX121" fmla="*/ 960591 w 9905999"/>
              <a:gd name="connsiteY121" fmla="*/ 2222531 h 2265361"/>
              <a:gd name="connsiteX122" fmla="*/ 960591 w 9905999"/>
              <a:gd name="connsiteY122" fmla="*/ 1710816 h 2265361"/>
              <a:gd name="connsiteX123" fmla="*/ 5597068 w 9905999"/>
              <a:gd name="connsiteY123" fmla="*/ 1701799 h 2265361"/>
              <a:gd name="connsiteX124" fmla="*/ 5736545 w 9905999"/>
              <a:gd name="connsiteY124" fmla="*/ 1755901 h 2265361"/>
              <a:gd name="connsiteX125" fmla="*/ 5801784 w 9905999"/>
              <a:gd name="connsiteY125" fmla="*/ 1967800 h 2265361"/>
              <a:gd name="connsiteX126" fmla="*/ 5736545 w 9905999"/>
              <a:gd name="connsiteY126" fmla="*/ 2177446 h 2265361"/>
              <a:gd name="connsiteX127" fmla="*/ 5597068 w 9905999"/>
              <a:gd name="connsiteY127" fmla="*/ 2233802 h 2265361"/>
              <a:gd name="connsiteX128" fmla="*/ 5459841 w 9905999"/>
              <a:gd name="connsiteY128" fmla="*/ 2177446 h 2265361"/>
              <a:gd name="connsiteX129" fmla="*/ 5394602 w 9905999"/>
              <a:gd name="connsiteY129" fmla="*/ 1967800 h 2265361"/>
              <a:gd name="connsiteX130" fmla="*/ 5459841 w 9905999"/>
              <a:gd name="connsiteY130" fmla="*/ 1755901 h 2265361"/>
              <a:gd name="connsiteX131" fmla="*/ 5597068 w 9905999"/>
              <a:gd name="connsiteY131" fmla="*/ 1701799 h 2265361"/>
              <a:gd name="connsiteX132" fmla="*/ 4645477 w 9905999"/>
              <a:gd name="connsiteY132" fmla="*/ 1701799 h 2265361"/>
              <a:gd name="connsiteX133" fmla="*/ 4791702 w 9905999"/>
              <a:gd name="connsiteY133" fmla="*/ 1758155 h 2265361"/>
              <a:gd name="connsiteX134" fmla="*/ 4834445 w 9905999"/>
              <a:gd name="connsiteY134" fmla="*/ 1859597 h 2265361"/>
              <a:gd name="connsiteX135" fmla="*/ 4766956 w 9905999"/>
              <a:gd name="connsiteY135" fmla="*/ 1859597 h 2265361"/>
              <a:gd name="connsiteX136" fmla="*/ 4744460 w 9905999"/>
              <a:gd name="connsiteY136" fmla="*/ 1803240 h 2265361"/>
              <a:gd name="connsiteX137" fmla="*/ 4645477 w 9905999"/>
              <a:gd name="connsiteY137" fmla="*/ 1762664 h 2265361"/>
              <a:gd name="connsiteX138" fmla="*/ 4550992 w 9905999"/>
              <a:gd name="connsiteY138" fmla="*/ 1800986 h 2265361"/>
              <a:gd name="connsiteX139" fmla="*/ 4506000 w 9905999"/>
              <a:gd name="connsiteY139" fmla="*/ 1967800 h 2265361"/>
              <a:gd name="connsiteX140" fmla="*/ 4553242 w 9905999"/>
              <a:gd name="connsiteY140" fmla="*/ 2134615 h 2265361"/>
              <a:gd name="connsiteX141" fmla="*/ 4645477 w 9905999"/>
              <a:gd name="connsiteY141" fmla="*/ 2172937 h 2265361"/>
              <a:gd name="connsiteX142" fmla="*/ 4737711 w 9905999"/>
              <a:gd name="connsiteY142" fmla="*/ 2136869 h 2265361"/>
              <a:gd name="connsiteX143" fmla="*/ 4780454 w 9905999"/>
              <a:gd name="connsiteY143" fmla="*/ 2006123 h 2265361"/>
              <a:gd name="connsiteX144" fmla="*/ 4645477 w 9905999"/>
              <a:gd name="connsiteY144" fmla="*/ 2006123 h 2265361"/>
              <a:gd name="connsiteX145" fmla="*/ 4645477 w 9905999"/>
              <a:gd name="connsiteY145" fmla="*/ 1947512 h 2265361"/>
              <a:gd name="connsiteX146" fmla="*/ 4838944 w 9905999"/>
              <a:gd name="connsiteY146" fmla="*/ 1947512 h 2265361"/>
              <a:gd name="connsiteX147" fmla="*/ 4838944 w 9905999"/>
              <a:gd name="connsiteY147" fmla="*/ 2222531 h 2265361"/>
              <a:gd name="connsiteX148" fmla="*/ 4793952 w 9905999"/>
              <a:gd name="connsiteY148" fmla="*/ 2222531 h 2265361"/>
              <a:gd name="connsiteX149" fmla="*/ 4782704 w 9905999"/>
              <a:gd name="connsiteY149" fmla="*/ 2161666 h 2265361"/>
              <a:gd name="connsiteX150" fmla="*/ 4645477 w 9905999"/>
              <a:gd name="connsiteY150" fmla="*/ 2233802 h 2265361"/>
              <a:gd name="connsiteX151" fmla="*/ 4506000 w 9905999"/>
              <a:gd name="connsiteY151" fmla="*/ 2179700 h 2265361"/>
              <a:gd name="connsiteX152" fmla="*/ 4440761 w 9905999"/>
              <a:gd name="connsiteY152" fmla="*/ 1967800 h 2265361"/>
              <a:gd name="connsiteX153" fmla="*/ 4506000 w 9905999"/>
              <a:gd name="connsiteY153" fmla="*/ 1755901 h 2265361"/>
              <a:gd name="connsiteX154" fmla="*/ 4645477 w 9905999"/>
              <a:gd name="connsiteY154" fmla="*/ 1701799 h 2265361"/>
              <a:gd name="connsiteX155" fmla="*/ 4002083 w 9905999"/>
              <a:gd name="connsiteY155" fmla="*/ 1701799 h 2265361"/>
              <a:gd name="connsiteX156" fmla="*/ 4148309 w 9905999"/>
              <a:gd name="connsiteY156" fmla="*/ 1758155 h 2265361"/>
              <a:gd name="connsiteX157" fmla="*/ 4193302 w 9905999"/>
              <a:gd name="connsiteY157" fmla="*/ 1859597 h 2265361"/>
              <a:gd name="connsiteX158" fmla="*/ 4125813 w 9905999"/>
              <a:gd name="connsiteY158" fmla="*/ 1859597 h 2265361"/>
              <a:gd name="connsiteX159" fmla="*/ 4103317 w 9905999"/>
              <a:gd name="connsiteY159" fmla="*/ 1803240 h 2265361"/>
              <a:gd name="connsiteX160" fmla="*/ 4002083 w 9905999"/>
              <a:gd name="connsiteY160" fmla="*/ 1762664 h 2265361"/>
              <a:gd name="connsiteX161" fmla="*/ 3909849 w 9905999"/>
              <a:gd name="connsiteY161" fmla="*/ 1800986 h 2265361"/>
              <a:gd name="connsiteX162" fmla="*/ 3864856 w 9905999"/>
              <a:gd name="connsiteY162" fmla="*/ 1967800 h 2265361"/>
              <a:gd name="connsiteX163" fmla="*/ 3909849 w 9905999"/>
              <a:gd name="connsiteY163" fmla="*/ 2134615 h 2265361"/>
              <a:gd name="connsiteX164" fmla="*/ 4002083 w 9905999"/>
              <a:gd name="connsiteY164" fmla="*/ 2172937 h 2265361"/>
              <a:gd name="connsiteX165" fmla="*/ 4094318 w 9905999"/>
              <a:gd name="connsiteY165" fmla="*/ 2136869 h 2265361"/>
              <a:gd name="connsiteX166" fmla="*/ 4139311 w 9905999"/>
              <a:gd name="connsiteY166" fmla="*/ 2006123 h 2265361"/>
              <a:gd name="connsiteX167" fmla="*/ 4002083 w 9905999"/>
              <a:gd name="connsiteY167" fmla="*/ 2006123 h 2265361"/>
              <a:gd name="connsiteX168" fmla="*/ 4002083 w 9905999"/>
              <a:gd name="connsiteY168" fmla="*/ 1947512 h 2265361"/>
              <a:gd name="connsiteX169" fmla="*/ 4197801 w 9905999"/>
              <a:gd name="connsiteY169" fmla="*/ 1947512 h 2265361"/>
              <a:gd name="connsiteX170" fmla="*/ 4197801 w 9905999"/>
              <a:gd name="connsiteY170" fmla="*/ 2222531 h 2265361"/>
              <a:gd name="connsiteX171" fmla="*/ 4152808 w 9905999"/>
              <a:gd name="connsiteY171" fmla="*/ 2222531 h 2265361"/>
              <a:gd name="connsiteX172" fmla="*/ 4141560 w 9905999"/>
              <a:gd name="connsiteY172" fmla="*/ 2161666 h 2265361"/>
              <a:gd name="connsiteX173" fmla="*/ 4002083 w 9905999"/>
              <a:gd name="connsiteY173" fmla="*/ 2233802 h 2265361"/>
              <a:gd name="connsiteX174" fmla="*/ 3864856 w 9905999"/>
              <a:gd name="connsiteY174" fmla="*/ 2179700 h 2265361"/>
              <a:gd name="connsiteX175" fmla="*/ 3797367 w 9905999"/>
              <a:gd name="connsiteY175" fmla="*/ 1967800 h 2265361"/>
              <a:gd name="connsiteX176" fmla="*/ 3864856 w 9905999"/>
              <a:gd name="connsiteY176" fmla="*/ 1755901 h 2265361"/>
              <a:gd name="connsiteX177" fmla="*/ 4002083 w 9905999"/>
              <a:gd name="connsiteY177" fmla="*/ 1701799 h 2265361"/>
              <a:gd name="connsiteX178" fmla="*/ 1642228 w 9905999"/>
              <a:gd name="connsiteY178" fmla="*/ 1701799 h 2265361"/>
              <a:gd name="connsiteX179" fmla="*/ 1774955 w 9905999"/>
              <a:gd name="connsiteY179" fmla="*/ 1749138 h 2265361"/>
              <a:gd name="connsiteX180" fmla="*/ 1824447 w 9905999"/>
              <a:gd name="connsiteY180" fmla="*/ 1859597 h 2265361"/>
              <a:gd name="connsiteX181" fmla="*/ 1756958 w 9905999"/>
              <a:gd name="connsiteY181" fmla="*/ 1859597 h 2265361"/>
              <a:gd name="connsiteX182" fmla="*/ 1732212 w 9905999"/>
              <a:gd name="connsiteY182" fmla="*/ 1796478 h 2265361"/>
              <a:gd name="connsiteX183" fmla="*/ 1639978 w 9905999"/>
              <a:gd name="connsiteY183" fmla="*/ 1760410 h 2265361"/>
              <a:gd name="connsiteX184" fmla="*/ 1549993 w 9905999"/>
              <a:gd name="connsiteY184" fmla="*/ 1796478 h 2265361"/>
              <a:gd name="connsiteX185" fmla="*/ 1529746 w 9905999"/>
              <a:gd name="connsiteY185" fmla="*/ 1850580 h 2265361"/>
              <a:gd name="connsiteX186" fmla="*/ 1606234 w 9905999"/>
              <a:gd name="connsiteY186" fmla="*/ 1922716 h 2265361"/>
              <a:gd name="connsiteX187" fmla="*/ 1691719 w 9905999"/>
              <a:gd name="connsiteY187" fmla="*/ 1936241 h 2265361"/>
              <a:gd name="connsiteX188" fmla="*/ 1833445 w 9905999"/>
              <a:gd name="connsiteY188" fmla="*/ 2082767 h 2265361"/>
              <a:gd name="connsiteX189" fmla="*/ 1790703 w 9905999"/>
              <a:gd name="connsiteY189" fmla="*/ 2181954 h 2265361"/>
              <a:gd name="connsiteX190" fmla="*/ 1644477 w 9905999"/>
              <a:gd name="connsiteY190" fmla="*/ 2231547 h 2265361"/>
              <a:gd name="connsiteX191" fmla="*/ 1498251 w 9905999"/>
              <a:gd name="connsiteY191" fmla="*/ 2184208 h 2265361"/>
              <a:gd name="connsiteX192" fmla="*/ 1444260 w 9905999"/>
              <a:gd name="connsiteY192" fmla="*/ 2060225 h 2265361"/>
              <a:gd name="connsiteX193" fmla="*/ 1509499 w 9905999"/>
              <a:gd name="connsiteY193" fmla="*/ 2060225 h 2265361"/>
              <a:gd name="connsiteX194" fmla="*/ 1545494 w 9905999"/>
              <a:gd name="connsiteY194" fmla="*/ 2141378 h 2265361"/>
              <a:gd name="connsiteX195" fmla="*/ 1644477 w 9905999"/>
              <a:gd name="connsiteY195" fmla="*/ 2172937 h 2265361"/>
              <a:gd name="connsiteX196" fmla="*/ 1738962 w 9905999"/>
              <a:gd name="connsiteY196" fmla="*/ 2143632 h 2265361"/>
              <a:gd name="connsiteX197" fmla="*/ 1765956 w 9905999"/>
              <a:gd name="connsiteY197" fmla="*/ 2082767 h 2265361"/>
              <a:gd name="connsiteX198" fmla="*/ 1680471 w 9905999"/>
              <a:gd name="connsiteY198" fmla="*/ 2001614 h 2265361"/>
              <a:gd name="connsiteX199" fmla="*/ 1599484 w 9905999"/>
              <a:gd name="connsiteY199" fmla="*/ 1988089 h 2265361"/>
              <a:gd name="connsiteX200" fmla="*/ 1462257 w 9905999"/>
              <a:gd name="connsiteY200" fmla="*/ 1852834 h 2265361"/>
              <a:gd name="connsiteX201" fmla="*/ 1507249 w 9905999"/>
              <a:gd name="connsiteY201" fmla="*/ 1751393 h 2265361"/>
              <a:gd name="connsiteX202" fmla="*/ 1642228 w 9905999"/>
              <a:gd name="connsiteY202" fmla="*/ 1701799 h 2265361"/>
              <a:gd name="connsiteX203" fmla="*/ 654642 w 9905999"/>
              <a:gd name="connsiteY203" fmla="*/ 1701799 h 2265361"/>
              <a:gd name="connsiteX204" fmla="*/ 791868 w 9905999"/>
              <a:gd name="connsiteY204" fmla="*/ 1755901 h 2265361"/>
              <a:gd name="connsiteX205" fmla="*/ 857108 w 9905999"/>
              <a:gd name="connsiteY205" fmla="*/ 1967800 h 2265361"/>
              <a:gd name="connsiteX206" fmla="*/ 791868 w 9905999"/>
              <a:gd name="connsiteY206" fmla="*/ 2177446 h 2265361"/>
              <a:gd name="connsiteX207" fmla="*/ 654642 w 9905999"/>
              <a:gd name="connsiteY207" fmla="*/ 2233802 h 2265361"/>
              <a:gd name="connsiteX208" fmla="*/ 515164 w 9905999"/>
              <a:gd name="connsiteY208" fmla="*/ 2177446 h 2265361"/>
              <a:gd name="connsiteX209" fmla="*/ 449925 w 9905999"/>
              <a:gd name="connsiteY209" fmla="*/ 1967800 h 2265361"/>
              <a:gd name="connsiteX210" fmla="*/ 515164 w 9905999"/>
              <a:gd name="connsiteY210" fmla="*/ 1755901 h 2265361"/>
              <a:gd name="connsiteX211" fmla="*/ 654642 w 9905999"/>
              <a:gd name="connsiteY211" fmla="*/ 1701799 h 2265361"/>
              <a:gd name="connsiteX212" fmla="*/ 202466 w 9905999"/>
              <a:gd name="connsiteY212" fmla="*/ 1701799 h 2265361"/>
              <a:gd name="connsiteX213" fmla="*/ 339693 w 9905999"/>
              <a:gd name="connsiteY213" fmla="*/ 1753647 h 2265361"/>
              <a:gd name="connsiteX214" fmla="*/ 389185 w 9905999"/>
              <a:gd name="connsiteY214" fmla="*/ 1870868 h 2265361"/>
              <a:gd name="connsiteX215" fmla="*/ 323946 w 9905999"/>
              <a:gd name="connsiteY215" fmla="*/ 1870868 h 2265361"/>
              <a:gd name="connsiteX216" fmla="*/ 294701 w 9905999"/>
              <a:gd name="connsiteY216" fmla="*/ 1798732 h 2265361"/>
              <a:gd name="connsiteX217" fmla="*/ 202466 w 9905999"/>
              <a:gd name="connsiteY217" fmla="*/ 1762664 h 2265361"/>
              <a:gd name="connsiteX218" fmla="*/ 110232 w 9905999"/>
              <a:gd name="connsiteY218" fmla="*/ 1800986 h 2265361"/>
              <a:gd name="connsiteX219" fmla="*/ 67489 w 9905999"/>
              <a:gd name="connsiteY219" fmla="*/ 1967800 h 2265361"/>
              <a:gd name="connsiteX220" fmla="*/ 110232 w 9905999"/>
              <a:gd name="connsiteY220" fmla="*/ 2132361 h 2265361"/>
              <a:gd name="connsiteX221" fmla="*/ 202466 w 9905999"/>
              <a:gd name="connsiteY221" fmla="*/ 2172937 h 2265361"/>
              <a:gd name="connsiteX222" fmla="*/ 296951 w 9905999"/>
              <a:gd name="connsiteY222" fmla="*/ 2132361 h 2265361"/>
              <a:gd name="connsiteX223" fmla="*/ 323946 w 9905999"/>
              <a:gd name="connsiteY223" fmla="*/ 2060225 h 2265361"/>
              <a:gd name="connsiteX224" fmla="*/ 391435 w 9905999"/>
              <a:gd name="connsiteY224" fmla="*/ 2060225 h 2265361"/>
              <a:gd name="connsiteX225" fmla="*/ 339693 w 9905999"/>
              <a:gd name="connsiteY225" fmla="*/ 2177446 h 2265361"/>
              <a:gd name="connsiteX226" fmla="*/ 202466 w 9905999"/>
              <a:gd name="connsiteY226" fmla="*/ 2233802 h 2265361"/>
              <a:gd name="connsiteX227" fmla="*/ 65239 w 9905999"/>
              <a:gd name="connsiteY227" fmla="*/ 2177446 h 2265361"/>
              <a:gd name="connsiteX228" fmla="*/ 0 w 9905999"/>
              <a:gd name="connsiteY228" fmla="*/ 1967800 h 2265361"/>
              <a:gd name="connsiteX229" fmla="*/ 65239 w 9905999"/>
              <a:gd name="connsiteY229" fmla="*/ 1755901 h 2265361"/>
              <a:gd name="connsiteX230" fmla="*/ 202466 w 9905999"/>
              <a:gd name="connsiteY230" fmla="*/ 1701799 h 2265361"/>
              <a:gd name="connsiteX231" fmla="*/ 2227389 w 9905999"/>
              <a:gd name="connsiteY231" fmla="*/ 214047 h 2265361"/>
              <a:gd name="connsiteX232" fmla="*/ 2227389 w 9905999"/>
              <a:gd name="connsiteY232" fmla="*/ 574548 h 2265361"/>
              <a:gd name="connsiteX233" fmla="*/ 2456649 w 9905999"/>
              <a:gd name="connsiteY233" fmla="*/ 574548 h 2265361"/>
              <a:gd name="connsiteX234" fmla="*/ 2654442 w 9905999"/>
              <a:gd name="connsiteY234" fmla="*/ 394298 h 2265361"/>
              <a:gd name="connsiteX235" fmla="*/ 2456649 w 9905999"/>
              <a:gd name="connsiteY235" fmla="*/ 214047 h 2265361"/>
              <a:gd name="connsiteX236" fmla="*/ 2227389 w 9905999"/>
              <a:gd name="connsiteY236" fmla="*/ 214047 h 2265361"/>
              <a:gd name="connsiteX237" fmla="*/ 8961436 w 9905999"/>
              <a:gd name="connsiteY237" fmla="*/ 0 h 2265361"/>
              <a:gd name="connsiteX238" fmla="*/ 9905999 w 9905999"/>
              <a:gd name="connsiteY238" fmla="*/ 0 h 2265361"/>
              <a:gd name="connsiteX239" fmla="*/ 9905999 w 9905999"/>
              <a:gd name="connsiteY239" fmla="*/ 225425 h 2265361"/>
              <a:gd name="connsiteX240" fmla="*/ 9555161 w 9905999"/>
              <a:gd name="connsiteY240" fmla="*/ 225425 h 2265361"/>
              <a:gd name="connsiteX241" fmla="*/ 9555161 w 9905999"/>
              <a:gd name="connsiteY241" fmla="*/ 1214437 h 2265361"/>
              <a:gd name="connsiteX242" fmla="*/ 9315449 w 9905999"/>
              <a:gd name="connsiteY242" fmla="*/ 1214437 h 2265361"/>
              <a:gd name="connsiteX243" fmla="*/ 9315449 w 9905999"/>
              <a:gd name="connsiteY243" fmla="*/ 225425 h 2265361"/>
              <a:gd name="connsiteX244" fmla="*/ 8961436 w 9905999"/>
              <a:gd name="connsiteY244" fmla="*/ 225425 h 2265361"/>
              <a:gd name="connsiteX245" fmla="*/ 7785099 w 9905999"/>
              <a:gd name="connsiteY245" fmla="*/ 0 h 2265361"/>
              <a:gd name="connsiteX246" fmla="*/ 8035924 w 9905999"/>
              <a:gd name="connsiteY246" fmla="*/ 0 h 2265361"/>
              <a:gd name="connsiteX247" fmla="*/ 8037512 w 9905999"/>
              <a:gd name="connsiteY247" fmla="*/ 3175 h 2265361"/>
              <a:gd name="connsiteX248" fmla="*/ 8523286 w 9905999"/>
              <a:gd name="connsiteY248" fmla="*/ 774700 h 2265361"/>
              <a:gd name="connsiteX249" fmla="*/ 8523286 w 9905999"/>
              <a:gd name="connsiteY249" fmla="*/ 0 h 2265361"/>
              <a:gd name="connsiteX250" fmla="*/ 8759824 w 9905999"/>
              <a:gd name="connsiteY250" fmla="*/ 0 h 2265361"/>
              <a:gd name="connsiteX251" fmla="*/ 8759824 w 9905999"/>
              <a:gd name="connsiteY251" fmla="*/ 1214437 h 2265361"/>
              <a:gd name="connsiteX252" fmla="*/ 8518524 w 9905999"/>
              <a:gd name="connsiteY252" fmla="*/ 1214437 h 2265361"/>
              <a:gd name="connsiteX253" fmla="*/ 8024812 w 9905999"/>
              <a:gd name="connsiteY253" fmla="*/ 425450 h 2265361"/>
              <a:gd name="connsiteX254" fmla="*/ 8024812 w 9905999"/>
              <a:gd name="connsiteY254" fmla="*/ 1214437 h 2265361"/>
              <a:gd name="connsiteX255" fmla="*/ 7785099 w 9905999"/>
              <a:gd name="connsiteY255" fmla="*/ 1214437 h 2265361"/>
              <a:gd name="connsiteX256" fmla="*/ 6665911 w 9905999"/>
              <a:gd name="connsiteY256" fmla="*/ 0 h 2265361"/>
              <a:gd name="connsiteX257" fmla="*/ 7535861 w 9905999"/>
              <a:gd name="connsiteY257" fmla="*/ 0 h 2265361"/>
              <a:gd name="connsiteX258" fmla="*/ 7535861 w 9905999"/>
              <a:gd name="connsiteY258" fmla="*/ 220663 h 2265361"/>
              <a:gd name="connsiteX259" fmla="*/ 6905624 w 9905999"/>
              <a:gd name="connsiteY259" fmla="*/ 220663 h 2265361"/>
              <a:gd name="connsiteX260" fmla="*/ 6905624 w 9905999"/>
              <a:gd name="connsiteY260" fmla="*/ 473075 h 2265361"/>
              <a:gd name="connsiteX261" fmla="*/ 7459661 w 9905999"/>
              <a:gd name="connsiteY261" fmla="*/ 473075 h 2265361"/>
              <a:gd name="connsiteX262" fmla="*/ 7459661 w 9905999"/>
              <a:gd name="connsiteY262" fmla="*/ 690562 h 2265361"/>
              <a:gd name="connsiteX263" fmla="*/ 6905624 w 9905999"/>
              <a:gd name="connsiteY263" fmla="*/ 690562 h 2265361"/>
              <a:gd name="connsiteX264" fmla="*/ 6905624 w 9905999"/>
              <a:gd name="connsiteY264" fmla="*/ 993775 h 2265361"/>
              <a:gd name="connsiteX265" fmla="*/ 7535861 w 9905999"/>
              <a:gd name="connsiteY265" fmla="*/ 993775 h 2265361"/>
              <a:gd name="connsiteX266" fmla="*/ 7535861 w 9905999"/>
              <a:gd name="connsiteY266" fmla="*/ 1214437 h 2265361"/>
              <a:gd name="connsiteX267" fmla="*/ 6665911 w 9905999"/>
              <a:gd name="connsiteY267" fmla="*/ 1214437 h 2265361"/>
              <a:gd name="connsiteX268" fmla="*/ 5221286 w 9905999"/>
              <a:gd name="connsiteY268" fmla="*/ 0 h 2265361"/>
              <a:gd name="connsiteX269" fmla="*/ 5534024 w 9905999"/>
              <a:gd name="connsiteY269" fmla="*/ 0 h 2265361"/>
              <a:gd name="connsiteX270" fmla="*/ 5835649 w 9905999"/>
              <a:gd name="connsiteY270" fmla="*/ 823912 h 2265361"/>
              <a:gd name="connsiteX271" fmla="*/ 6142037 w 9905999"/>
              <a:gd name="connsiteY271" fmla="*/ 0 h 2265361"/>
              <a:gd name="connsiteX272" fmla="*/ 6438899 w 9905999"/>
              <a:gd name="connsiteY272" fmla="*/ 0 h 2265361"/>
              <a:gd name="connsiteX273" fmla="*/ 6438899 w 9905999"/>
              <a:gd name="connsiteY273" fmla="*/ 1214437 h 2265361"/>
              <a:gd name="connsiteX274" fmla="*/ 6203949 w 9905999"/>
              <a:gd name="connsiteY274" fmla="*/ 1214437 h 2265361"/>
              <a:gd name="connsiteX275" fmla="*/ 6203949 w 9905999"/>
              <a:gd name="connsiteY275" fmla="*/ 419100 h 2265361"/>
              <a:gd name="connsiteX276" fmla="*/ 5916612 w 9905999"/>
              <a:gd name="connsiteY276" fmla="*/ 1196975 h 2265361"/>
              <a:gd name="connsiteX277" fmla="*/ 5740399 w 9905999"/>
              <a:gd name="connsiteY277" fmla="*/ 1196975 h 2265361"/>
              <a:gd name="connsiteX278" fmla="*/ 5454649 w 9905999"/>
              <a:gd name="connsiteY278" fmla="*/ 409575 h 2265361"/>
              <a:gd name="connsiteX279" fmla="*/ 5454649 w 9905999"/>
              <a:gd name="connsiteY279" fmla="*/ 1214437 h 2265361"/>
              <a:gd name="connsiteX280" fmla="*/ 5221286 w 9905999"/>
              <a:gd name="connsiteY280" fmla="*/ 1214437 h 2265361"/>
              <a:gd name="connsiteX281" fmla="*/ 4098924 w 9905999"/>
              <a:gd name="connsiteY281" fmla="*/ 0 h 2265361"/>
              <a:gd name="connsiteX282" fmla="*/ 4968874 w 9905999"/>
              <a:gd name="connsiteY282" fmla="*/ 0 h 2265361"/>
              <a:gd name="connsiteX283" fmla="*/ 4968874 w 9905999"/>
              <a:gd name="connsiteY283" fmla="*/ 220663 h 2265361"/>
              <a:gd name="connsiteX284" fmla="*/ 4340224 w 9905999"/>
              <a:gd name="connsiteY284" fmla="*/ 220663 h 2265361"/>
              <a:gd name="connsiteX285" fmla="*/ 4340224 w 9905999"/>
              <a:gd name="connsiteY285" fmla="*/ 473075 h 2265361"/>
              <a:gd name="connsiteX286" fmla="*/ 4895849 w 9905999"/>
              <a:gd name="connsiteY286" fmla="*/ 473075 h 2265361"/>
              <a:gd name="connsiteX287" fmla="*/ 4895849 w 9905999"/>
              <a:gd name="connsiteY287" fmla="*/ 690562 h 2265361"/>
              <a:gd name="connsiteX288" fmla="*/ 4340224 w 9905999"/>
              <a:gd name="connsiteY288" fmla="*/ 690562 h 2265361"/>
              <a:gd name="connsiteX289" fmla="*/ 4340224 w 9905999"/>
              <a:gd name="connsiteY289" fmla="*/ 993775 h 2265361"/>
              <a:gd name="connsiteX290" fmla="*/ 4968874 w 9905999"/>
              <a:gd name="connsiteY290" fmla="*/ 993775 h 2265361"/>
              <a:gd name="connsiteX291" fmla="*/ 4968874 w 9905999"/>
              <a:gd name="connsiteY291" fmla="*/ 1214437 h 2265361"/>
              <a:gd name="connsiteX292" fmla="*/ 4098924 w 9905999"/>
              <a:gd name="connsiteY292" fmla="*/ 1214437 h 2265361"/>
              <a:gd name="connsiteX293" fmla="*/ 3079749 w 9905999"/>
              <a:gd name="connsiteY293" fmla="*/ 0 h 2265361"/>
              <a:gd name="connsiteX294" fmla="*/ 3321049 w 9905999"/>
              <a:gd name="connsiteY294" fmla="*/ 0 h 2265361"/>
              <a:gd name="connsiteX295" fmla="*/ 3321049 w 9905999"/>
              <a:gd name="connsiteY295" fmla="*/ 984250 h 2265361"/>
              <a:gd name="connsiteX296" fmla="*/ 3871912 w 9905999"/>
              <a:gd name="connsiteY296" fmla="*/ 984250 h 2265361"/>
              <a:gd name="connsiteX297" fmla="*/ 3871912 w 9905999"/>
              <a:gd name="connsiteY297" fmla="*/ 1214437 h 2265361"/>
              <a:gd name="connsiteX298" fmla="*/ 3079749 w 9905999"/>
              <a:gd name="connsiteY298" fmla="*/ 1214437 h 2265361"/>
              <a:gd name="connsiteX299" fmla="*/ 1989138 w 9905999"/>
              <a:gd name="connsiteY299" fmla="*/ 0 h 2265361"/>
              <a:gd name="connsiteX300" fmla="*/ 2465639 w 9905999"/>
              <a:gd name="connsiteY300" fmla="*/ 0 h 2265361"/>
              <a:gd name="connsiteX301" fmla="*/ 2897188 w 9905999"/>
              <a:gd name="connsiteY301" fmla="*/ 392045 h 2265361"/>
              <a:gd name="connsiteX302" fmla="*/ 2465639 w 9905999"/>
              <a:gd name="connsiteY302" fmla="*/ 786342 h 2265361"/>
              <a:gd name="connsiteX303" fmla="*/ 2227389 w 9905999"/>
              <a:gd name="connsiteY303" fmla="*/ 786342 h 2265361"/>
              <a:gd name="connsiteX304" fmla="*/ 2227389 w 9905999"/>
              <a:gd name="connsiteY304" fmla="*/ 1214437 h 2265361"/>
              <a:gd name="connsiteX305" fmla="*/ 1989138 w 9905999"/>
              <a:gd name="connsiteY305" fmla="*/ 1214437 h 2265361"/>
              <a:gd name="connsiteX306" fmla="*/ 1989138 w 9905999"/>
              <a:gd name="connsiteY306" fmla="*/ 0 h 2265361"/>
              <a:gd name="connsiteX307" fmla="*/ 520699 w 9905999"/>
              <a:gd name="connsiteY307" fmla="*/ 0 h 2265361"/>
              <a:gd name="connsiteX308" fmla="*/ 833436 w 9905999"/>
              <a:gd name="connsiteY308" fmla="*/ 0 h 2265361"/>
              <a:gd name="connsiteX309" fmla="*/ 1135061 w 9905999"/>
              <a:gd name="connsiteY309" fmla="*/ 823912 h 2265361"/>
              <a:gd name="connsiteX310" fmla="*/ 1439862 w 9905999"/>
              <a:gd name="connsiteY310" fmla="*/ 0 h 2265361"/>
              <a:gd name="connsiteX311" fmla="*/ 1736724 w 9905999"/>
              <a:gd name="connsiteY311" fmla="*/ 0 h 2265361"/>
              <a:gd name="connsiteX312" fmla="*/ 1736724 w 9905999"/>
              <a:gd name="connsiteY312" fmla="*/ 1214437 h 2265361"/>
              <a:gd name="connsiteX313" fmla="*/ 1503362 w 9905999"/>
              <a:gd name="connsiteY313" fmla="*/ 1214437 h 2265361"/>
              <a:gd name="connsiteX314" fmla="*/ 1503362 w 9905999"/>
              <a:gd name="connsiteY314" fmla="*/ 419100 h 2265361"/>
              <a:gd name="connsiteX315" fmla="*/ 1216024 w 9905999"/>
              <a:gd name="connsiteY315" fmla="*/ 1196975 h 2265361"/>
              <a:gd name="connsiteX316" fmla="*/ 1039812 w 9905999"/>
              <a:gd name="connsiteY316" fmla="*/ 1196975 h 2265361"/>
              <a:gd name="connsiteX317" fmla="*/ 754062 w 9905999"/>
              <a:gd name="connsiteY317" fmla="*/ 409575 h 2265361"/>
              <a:gd name="connsiteX318" fmla="*/ 754062 w 9905999"/>
              <a:gd name="connsiteY318" fmla="*/ 1214437 h 2265361"/>
              <a:gd name="connsiteX319" fmla="*/ 520699 w 9905999"/>
              <a:gd name="connsiteY319" fmla="*/ 1214437 h 2265361"/>
              <a:gd name="connsiteX320" fmla="*/ 25400 w 9905999"/>
              <a:gd name="connsiteY320" fmla="*/ 0 h 2265361"/>
              <a:gd name="connsiteX321" fmla="*/ 268288 w 9905999"/>
              <a:gd name="connsiteY321" fmla="*/ 0 h 2265361"/>
              <a:gd name="connsiteX322" fmla="*/ 268288 w 9905999"/>
              <a:gd name="connsiteY322" fmla="*/ 1214437 h 2265361"/>
              <a:gd name="connsiteX323" fmla="*/ 25400 w 9905999"/>
              <a:gd name="connsiteY323" fmla="*/ 1214437 h 22653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</a:cxnLst>
            <a:rect l="l" t="t" r="r" b="b"/>
            <a:pathLst>
              <a:path w="9905999" h="2265361">
                <a:moveTo>
                  <a:pt x="6778122" y="2222531"/>
                </a:moveTo>
                <a:cubicBezTo>
                  <a:pt x="6778122" y="2222531"/>
                  <a:pt x="6778122" y="2222531"/>
                  <a:pt x="7135812" y="2222531"/>
                </a:cubicBezTo>
                <a:lnTo>
                  <a:pt x="7135812" y="2265361"/>
                </a:lnTo>
                <a:cubicBezTo>
                  <a:pt x="7135812" y="2265361"/>
                  <a:pt x="7135812" y="2265361"/>
                  <a:pt x="6778122" y="2265361"/>
                </a:cubicBezTo>
                <a:cubicBezTo>
                  <a:pt x="6778122" y="2265361"/>
                  <a:pt x="6778122" y="2265361"/>
                  <a:pt x="6778122" y="2222531"/>
                </a:cubicBezTo>
                <a:close/>
                <a:moveTo>
                  <a:pt x="6449676" y="1769427"/>
                </a:moveTo>
                <a:cubicBezTo>
                  <a:pt x="6449676" y="1769427"/>
                  <a:pt x="6449676" y="1769427"/>
                  <a:pt x="6449676" y="1965546"/>
                </a:cubicBezTo>
                <a:cubicBezTo>
                  <a:pt x="6449676" y="1965546"/>
                  <a:pt x="6449676" y="1965546"/>
                  <a:pt x="6575655" y="1965546"/>
                </a:cubicBezTo>
                <a:cubicBezTo>
                  <a:pt x="6643144" y="1965546"/>
                  <a:pt x="6679138" y="1933987"/>
                  <a:pt x="6679138" y="1864105"/>
                </a:cubicBezTo>
                <a:cubicBezTo>
                  <a:pt x="6679138" y="1800986"/>
                  <a:pt x="6638645" y="1769427"/>
                  <a:pt x="6575655" y="1769427"/>
                </a:cubicBezTo>
                <a:cubicBezTo>
                  <a:pt x="6575655" y="1769427"/>
                  <a:pt x="6575655" y="1769427"/>
                  <a:pt x="6449676" y="1769427"/>
                </a:cubicBezTo>
                <a:close/>
                <a:moveTo>
                  <a:pt x="5021164" y="1769427"/>
                </a:moveTo>
                <a:cubicBezTo>
                  <a:pt x="5021164" y="1769427"/>
                  <a:pt x="5021164" y="1769427"/>
                  <a:pt x="5021164" y="1949767"/>
                </a:cubicBezTo>
                <a:cubicBezTo>
                  <a:pt x="5021164" y="1949767"/>
                  <a:pt x="5021164" y="1949767"/>
                  <a:pt x="5158391" y="1949767"/>
                </a:cubicBezTo>
                <a:cubicBezTo>
                  <a:pt x="5219131" y="1949767"/>
                  <a:pt x="5261874" y="1924970"/>
                  <a:pt x="5261874" y="1859597"/>
                </a:cubicBezTo>
                <a:cubicBezTo>
                  <a:pt x="5261874" y="1794223"/>
                  <a:pt x="5219131" y="1769427"/>
                  <a:pt x="5158391" y="1769427"/>
                </a:cubicBezTo>
                <a:cubicBezTo>
                  <a:pt x="5158391" y="1769427"/>
                  <a:pt x="5158391" y="1769427"/>
                  <a:pt x="5021164" y="1769427"/>
                </a:cubicBezTo>
                <a:close/>
                <a:moveTo>
                  <a:pt x="5597068" y="1762664"/>
                </a:moveTo>
                <a:cubicBezTo>
                  <a:pt x="5563324" y="1762664"/>
                  <a:pt x="5529579" y="1776189"/>
                  <a:pt x="5504834" y="1800986"/>
                </a:cubicBezTo>
                <a:cubicBezTo>
                  <a:pt x="5462091" y="1843817"/>
                  <a:pt x="5459841" y="1913699"/>
                  <a:pt x="5459841" y="1967800"/>
                </a:cubicBezTo>
                <a:cubicBezTo>
                  <a:pt x="5459841" y="2019648"/>
                  <a:pt x="5462091" y="2089530"/>
                  <a:pt x="5504834" y="2132361"/>
                </a:cubicBezTo>
                <a:cubicBezTo>
                  <a:pt x="5529579" y="2159412"/>
                  <a:pt x="5563324" y="2170683"/>
                  <a:pt x="5597068" y="2170683"/>
                </a:cubicBezTo>
                <a:cubicBezTo>
                  <a:pt x="5633062" y="2170683"/>
                  <a:pt x="5666807" y="2159412"/>
                  <a:pt x="5691552" y="2132361"/>
                </a:cubicBezTo>
                <a:cubicBezTo>
                  <a:pt x="5732046" y="2089530"/>
                  <a:pt x="5734295" y="2019648"/>
                  <a:pt x="5734295" y="1967800"/>
                </a:cubicBezTo>
                <a:cubicBezTo>
                  <a:pt x="5734295" y="1913699"/>
                  <a:pt x="5732046" y="1843817"/>
                  <a:pt x="5691552" y="1800986"/>
                </a:cubicBezTo>
                <a:cubicBezTo>
                  <a:pt x="5666807" y="1776189"/>
                  <a:pt x="5633062" y="1762664"/>
                  <a:pt x="5597068" y="1762664"/>
                </a:cubicBezTo>
                <a:close/>
                <a:moveTo>
                  <a:pt x="654642" y="1762664"/>
                </a:moveTo>
                <a:cubicBezTo>
                  <a:pt x="618647" y="1762664"/>
                  <a:pt x="584903" y="1776189"/>
                  <a:pt x="560157" y="1800986"/>
                </a:cubicBezTo>
                <a:cubicBezTo>
                  <a:pt x="519664" y="1843817"/>
                  <a:pt x="517414" y="1913699"/>
                  <a:pt x="517414" y="1967800"/>
                </a:cubicBezTo>
                <a:cubicBezTo>
                  <a:pt x="517414" y="2019648"/>
                  <a:pt x="519664" y="2089530"/>
                  <a:pt x="560157" y="2132361"/>
                </a:cubicBezTo>
                <a:cubicBezTo>
                  <a:pt x="584903" y="2159412"/>
                  <a:pt x="618647" y="2170683"/>
                  <a:pt x="654642" y="2170683"/>
                </a:cubicBezTo>
                <a:cubicBezTo>
                  <a:pt x="688386" y="2170683"/>
                  <a:pt x="722130" y="2159412"/>
                  <a:pt x="746876" y="2132361"/>
                </a:cubicBezTo>
                <a:cubicBezTo>
                  <a:pt x="789619" y="2089530"/>
                  <a:pt x="791868" y="2019648"/>
                  <a:pt x="791868" y="1967800"/>
                </a:cubicBezTo>
                <a:cubicBezTo>
                  <a:pt x="791868" y="1913699"/>
                  <a:pt x="789619" y="1843817"/>
                  <a:pt x="746876" y="1800986"/>
                </a:cubicBezTo>
                <a:cubicBezTo>
                  <a:pt x="722130" y="1776189"/>
                  <a:pt x="688386" y="1762664"/>
                  <a:pt x="654642" y="1762664"/>
                </a:cubicBezTo>
                <a:close/>
                <a:moveTo>
                  <a:pt x="6386687" y="1710816"/>
                </a:moveTo>
                <a:cubicBezTo>
                  <a:pt x="6386687" y="1710816"/>
                  <a:pt x="6386687" y="1710816"/>
                  <a:pt x="6575655" y="1710816"/>
                </a:cubicBezTo>
                <a:cubicBezTo>
                  <a:pt x="6636395" y="1710816"/>
                  <a:pt x="6679138" y="1726596"/>
                  <a:pt x="6706134" y="1755901"/>
                </a:cubicBezTo>
                <a:cubicBezTo>
                  <a:pt x="6730880" y="1782952"/>
                  <a:pt x="6744377" y="1821274"/>
                  <a:pt x="6744377" y="1864105"/>
                </a:cubicBezTo>
                <a:cubicBezTo>
                  <a:pt x="6744377" y="1915953"/>
                  <a:pt x="6730880" y="1954275"/>
                  <a:pt x="6701634" y="1981326"/>
                </a:cubicBezTo>
                <a:cubicBezTo>
                  <a:pt x="6674639" y="2008377"/>
                  <a:pt x="6634146" y="2024157"/>
                  <a:pt x="6577905" y="2024157"/>
                </a:cubicBezTo>
                <a:cubicBezTo>
                  <a:pt x="6577905" y="2024157"/>
                  <a:pt x="6577905" y="2024157"/>
                  <a:pt x="6449676" y="2024157"/>
                </a:cubicBezTo>
                <a:cubicBezTo>
                  <a:pt x="6449676" y="2024157"/>
                  <a:pt x="6449676" y="2024157"/>
                  <a:pt x="6449676" y="2222531"/>
                </a:cubicBezTo>
                <a:cubicBezTo>
                  <a:pt x="6449676" y="2222531"/>
                  <a:pt x="6449676" y="2222531"/>
                  <a:pt x="6386687" y="2222531"/>
                </a:cubicBezTo>
                <a:cubicBezTo>
                  <a:pt x="6386687" y="2222531"/>
                  <a:pt x="6386687" y="2222531"/>
                  <a:pt x="6386687" y="1710816"/>
                </a:cubicBezTo>
                <a:close/>
                <a:moveTo>
                  <a:pt x="5889520" y="1710816"/>
                </a:moveTo>
                <a:cubicBezTo>
                  <a:pt x="5889520" y="1710816"/>
                  <a:pt x="5889520" y="1710816"/>
                  <a:pt x="5954759" y="1710816"/>
                </a:cubicBezTo>
                <a:cubicBezTo>
                  <a:pt x="5954759" y="1710816"/>
                  <a:pt x="5954759" y="1710816"/>
                  <a:pt x="5954759" y="2035428"/>
                </a:cubicBezTo>
                <a:cubicBezTo>
                  <a:pt x="5954759" y="2118835"/>
                  <a:pt x="5988503" y="2172937"/>
                  <a:pt x="6076239" y="2172937"/>
                </a:cubicBezTo>
                <a:cubicBezTo>
                  <a:pt x="6166224" y="2172937"/>
                  <a:pt x="6199968" y="2118835"/>
                  <a:pt x="6199968" y="2035428"/>
                </a:cubicBezTo>
                <a:cubicBezTo>
                  <a:pt x="6199968" y="2035428"/>
                  <a:pt x="6199968" y="2035428"/>
                  <a:pt x="6199968" y="1710816"/>
                </a:cubicBezTo>
                <a:cubicBezTo>
                  <a:pt x="6199968" y="1710816"/>
                  <a:pt x="6199968" y="1710816"/>
                  <a:pt x="6262957" y="1710816"/>
                </a:cubicBezTo>
                <a:cubicBezTo>
                  <a:pt x="6262957" y="1710816"/>
                  <a:pt x="6262957" y="1710816"/>
                  <a:pt x="6262957" y="2035428"/>
                </a:cubicBezTo>
                <a:cubicBezTo>
                  <a:pt x="6262957" y="2163920"/>
                  <a:pt x="6190969" y="2231547"/>
                  <a:pt x="6076239" y="2231547"/>
                </a:cubicBezTo>
                <a:cubicBezTo>
                  <a:pt x="5961508" y="2231547"/>
                  <a:pt x="5889520" y="2163920"/>
                  <a:pt x="5889520" y="2035428"/>
                </a:cubicBezTo>
                <a:cubicBezTo>
                  <a:pt x="5889520" y="2035428"/>
                  <a:pt x="5889520" y="2035428"/>
                  <a:pt x="5889520" y="1710816"/>
                </a:cubicBezTo>
                <a:close/>
                <a:moveTo>
                  <a:pt x="4958174" y="1710816"/>
                </a:moveTo>
                <a:cubicBezTo>
                  <a:pt x="4958174" y="1710816"/>
                  <a:pt x="4958174" y="1710816"/>
                  <a:pt x="5158391" y="1710816"/>
                </a:cubicBezTo>
                <a:cubicBezTo>
                  <a:pt x="5219131" y="1710816"/>
                  <a:pt x="5259624" y="1726596"/>
                  <a:pt x="5288869" y="1755901"/>
                </a:cubicBezTo>
                <a:cubicBezTo>
                  <a:pt x="5313615" y="1782952"/>
                  <a:pt x="5329363" y="1814512"/>
                  <a:pt x="5329363" y="1859597"/>
                </a:cubicBezTo>
                <a:cubicBezTo>
                  <a:pt x="5329363" y="1904682"/>
                  <a:pt x="5313615" y="1936241"/>
                  <a:pt x="5288869" y="1961038"/>
                </a:cubicBezTo>
                <a:cubicBezTo>
                  <a:pt x="5275372" y="1976817"/>
                  <a:pt x="5252875" y="1990343"/>
                  <a:pt x="5228130" y="1997106"/>
                </a:cubicBezTo>
                <a:cubicBezTo>
                  <a:pt x="5228130" y="1997106"/>
                  <a:pt x="5228130" y="1997106"/>
                  <a:pt x="5331612" y="2222531"/>
                </a:cubicBezTo>
                <a:lnTo>
                  <a:pt x="5259624" y="2222531"/>
                </a:lnTo>
                <a:cubicBezTo>
                  <a:pt x="5259624" y="2222531"/>
                  <a:pt x="5259624" y="2222531"/>
                  <a:pt x="5162890" y="2010631"/>
                </a:cubicBezTo>
                <a:cubicBezTo>
                  <a:pt x="5162890" y="2010631"/>
                  <a:pt x="5162890" y="2010631"/>
                  <a:pt x="5021164" y="2010631"/>
                </a:cubicBezTo>
                <a:cubicBezTo>
                  <a:pt x="5021164" y="2010631"/>
                  <a:pt x="5021164" y="2010631"/>
                  <a:pt x="5021164" y="2222531"/>
                </a:cubicBezTo>
                <a:cubicBezTo>
                  <a:pt x="5021164" y="2222531"/>
                  <a:pt x="5021164" y="2222531"/>
                  <a:pt x="4958174" y="2222531"/>
                </a:cubicBezTo>
                <a:cubicBezTo>
                  <a:pt x="4958174" y="2222531"/>
                  <a:pt x="4958174" y="2222531"/>
                  <a:pt x="4958174" y="1710816"/>
                </a:cubicBezTo>
                <a:close/>
                <a:moveTo>
                  <a:pt x="3309199" y="1710816"/>
                </a:moveTo>
                <a:cubicBezTo>
                  <a:pt x="3309199" y="1710816"/>
                  <a:pt x="3309199" y="1710816"/>
                  <a:pt x="3381187" y="1710816"/>
                </a:cubicBezTo>
                <a:cubicBezTo>
                  <a:pt x="3381187" y="1710816"/>
                  <a:pt x="3381187" y="1710816"/>
                  <a:pt x="3633145" y="2123344"/>
                </a:cubicBezTo>
                <a:cubicBezTo>
                  <a:pt x="3633145" y="2123344"/>
                  <a:pt x="3633145" y="2123344"/>
                  <a:pt x="3633145" y="1710816"/>
                </a:cubicBezTo>
                <a:cubicBezTo>
                  <a:pt x="3633145" y="1710816"/>
                  <a:pt x="3633145" y="1710816"/>
                  <a:pt x="3693885" y="1710816"/>
                </a:cubicBezTo>
                <a:cubicBezTo>
                  <a:pt x="3693885" y="1710816"/>
                  <a:pt x="3693885" y="1710816"/>
                  <a:pt x="3693885" y="2222531"/>
                </a:cubicBezTo>
                <a:lnTo>
                  <a:pt x="3621897" y="2222531"/>
                </a:lnTo>
                <a:cubicBezTo>
                  <a:pt x="3621897" y="2222531"/>
                  <a:pt x="3621897" y="2222531"/>
                  <a:pt x="3372188" y="1810003"/>
                </a:cubicBezTo>
                <a:cubicBezTo>
                  <a:pt x="3372188" y="1810003"/>
                  <a:pt x="3372188" y="1810003"/>
                  <a:pt x="3372188" y="2222531"/>
                </a:cubicBezTo>
                <a:cubicBezTo>
                  <a:pt x="3372188" y="2222531"/>
                  <a:pt x="3372188" y="2222531"/>
                  <a:pt x="3309199" y="2222531"/>
                </a:cubicBezTo>
                <a:cubicBezTo>
                  <a:pt x="3309199" y="2222531"/>
                  <a:pt x="3309199" y="2222531"/>
                  <a:pt x="3309199" y="1710816"/>
                </a:cubicBezTo>
                <a:close/>
                <a:moveTo>
                  <a:pt x="3106732" y="1710816"/>
                </a:moveTo>
                <a:cubicBezTo>
                  <a:pt x="3106732" y="1710816"/>
                  <a:pt x="3106732" y="1710816"/>
                  <a:pt x="3171971" y="1710816"/>
                </a:cubicBezTo>
                <a:lnTo>
                  <a:pt x="3171971" y="2222531"/>
                </a:lnTo>
                <a:cubicBezTo>
                  <a:pt x="3171971" y="2222531"/>
                  <a:pt x="3171971" y="2222531"/>
                  <a:pt x="3106732" y="2222531"/>
                </a:cubicBezTo>
                <a:cubicBezTo>
                  <a:pt x="3106732" y="2222531"/>
                  <a:pt x="3106732" y="2222531"/>
                  <a:pt x="3106732" y="1710816"/>
                </a:cubicBezTo>
                <a:close/>
                <a:moveTo>
                  <a:pt x="2663557" y="1710816"/>
                </a:moveTo>
                <a:cubicBezTo>
                  <a:pt x="2663557" y="1710816"/>
                  <a:pt x="2663557" y="1710816"/>
                  <a:pt x="3032495" y="1710816"/>
                </a:cubicBezTo>
                <a:cubicBezTo>
                  <a:pt x="3032495" y="1710816"/>
                  <a:pt x="3032495" y="1710816"/>
                  <a:pt x="3032495" y="1769427"/>
                </a:cubicBezTo>
                <a:lnTo>
                  <a:pt x="2879521" y="1769427"/>
                </a:lnTo>
                <a:cubicBezTo>
                  <a:pt x="2879521" y="1769427"/>
                  <a:pt x="2879521" y="1769427"/>
                  <a:pt x="2879521" y="2222531"/>
                </a:cubicBezTo>
                <a:cubicBezTo>
                  <a:pt x="2879521" y="2222531"/>
                  <a:pt x="2879521" y="2222531"/>
                  <a:pt x="2814282" y="2222531"/>
                </a:cubicBezTo>
                <a:cubicBezTo>
                  <a:pt x="2814282" y="2222531"/>
                  <a:pt x="2814282" y="2222531"/>
                  <a:pt x="2814282" y="1769427"/>
                </a:cubicBezTo>
                <a:cubicBezTo>
                  <a:pt x="2814282" y="1769427"/>
                  <a:pt x="2814282" y="1769427"/>
                  <a:pt x="2663557" y="1769427"/>
                </a:cubicBezTo>
                <a:cubicBezTo>
                  <a:pt x="2663557" y="1769427"/>
                  <a:pt x="2663557" y="1769427"/>
                  <a:pt x="2663557" y="1710816"/>
                </a:cubicBezTo>
                <a:close/>
                <a:moveTo>
                  <a:pt x="2416099" y="1710816"/>
                </a:moveTo>
                <a:cubicBezTo>
                  <a:pt x="2416099" y="1710816"/>
                  <a:pt x="2416099" y="1710816"/>
                  <a:pt x="2481338" y="1710816"/>
                </a:cubicBezTo>
                <a:cubicBezTo>
                  <a:pt x="2481338" y="1710816"/>
                  <a:pt x="2481338" y="1710816"/>
                  <a:pt x="2481338" y="2163920"/>
                </a:cubicBezTo>
                <a:cubicBezTo>
                  <a:pt x="2481338" y="2163920"/>
                  <a:pt x="2481338" y="2163920"/>
                  <a:pt x="2726547" y="2163920"/>
                </a:cubicBezTo>
                <a:cubicBezTo>
                  <a:pt x="2726547" y="2163920"/>
                  <a:pt x="2726547" y="2163920"/>
                  <a:pt x="2726547" y="2222531"/>
                </a:cubicBezTo>
                <a:lnTo>
                  <a:pt x="2416099" y="2222531"/>
                </a:lnTo>
                <a:cubicBezTo>
                  <a:pt x="2416099" y="2222531"/>
                  <a:pt x="2416099" y="2222531"/>
                  <a:pt x="2416099" y="1710816"/>
                </a:cubicBezTo>
                <a:close/>
                <a:moveTo>
                  <a:pt x="1918931" y="1710816"/>
                </a:moveTo>
                <a:cubicBezTo>
                  <a:pt x="1918931" y="1710816"/>
                  <a:pt x="1918931" y="1710816"/>
                  <a:pt x="1984171" y="1710816"/>
                </a:cubicBezTo>
                <a:cubicBezTo>
                  <a:pt x="1984171" y="1710816"/>
                  <a:pt x="1984171" y="1710816"/>
                  <a:pt x="1984171" y="2035428"/>
                </a:cubicBezTo>
                <a:cubicBezTo>
                  <a:pt x="1984171" y="2118835"/>
                  <a:pt x="2017916" y="2172937"/>
                  <a:pt x="2105651" y="2172937"/>
                </a:cubicBezTo>
                <a:cubicBezTo>
                  <a:pt x="2195636" y="2172937"/>
                  <a:pt x="2229380" y="2118835"/>
                  <a:pt x="2229380" y="2035428"/>
                </a:cubicBezTo>
                <a:cubicBezTo>
                  <a:pt x="2229380" y="2035428"/>
                  <a:pt x="2229380" y="2035428"/>
                  <a:pt x="2229380" y="1710816"/>
                </a:cubicBezTo>
                <a:cubicBezTo>
                  <a:pt x="2229380" y="1710816"/>
                  <a:pt x="2229380" y="1710816"/>
                  <a:pt x="2292369" y="1710816"/>
                </a:cubicBezTo>
                <a:cubicBezTo>
                  <a:pt x="2292369" y="1710816"/>
                  <a:pt x="2292369" y="1710816"/>
                  <a:pt x="2292369" y="2035428"/>
                </a:cubicBezTo>
                <a:cubicBezTo>
                  <a:pt x="2292369" y="2163920"/>
                  <a:pt x="2220382" y="2231547"/>
                  <a:pt x="2105651" y="2231547"/>
                </a:cubicBezTo>
                <a:cubicBezTo>
                  <a:pt x="1990920" y="2231547"/>
                  <a:pt x="1918931" y="2163920"/>
                  <a:pt x="1918931" y="2035428"/>
                </a:cubicBezTo>
                <a:cubicBezTo>
                  <a:pt x="1918931" y="2035428"/>
                  <a:pt x="1918931" y="2035428"/>
                  <a:pt x="1918931" y="1710816"/>
                </a:cubicBezTo>
                <a:close/>
                <a:moveTo>
                  <a:pt x="960591" y="1710816"/>
                </a:moveTo>
                <a:cubicBezTo>
                  <a:pt x="960591" y="1710816"/>
                  <a:pt x="960591" y="1710816"/>
                  <a:pt x="1032578" y="1710816"/>
                </a:cubicBezTo>
                <a:cubicBezTo>
                  <a:pt x="1032578" y="1710816"/>
                  <a:pt x="1032578" y="1710816"/>
                  <a:pt x="1284537" y="2123344"/>
                </a:cubicBezTo>
                <a:cubicBezTo>
                  <a:pt x="1284537" y="2123344"/>
                  <a:pt x="1284537" y="2123344"/>
                  <a:pt x="1284537" y="1710816"/>
                </a:cubicBezTo>
                <a:cubicBezTo>
                  <a:pt x="1284537" y="1710816"/>
                  <a:pt x="1284537" y="1710816"/>
                  <a:pt x="1345276" y="1710816"/>
                </a:cubicBezTo>
                <a:cubicBezTo>
                  <a:pt x="1345276" y="1710816"/>
                  <a:pt x="1345276" y="1710816"/>
                  <a:pt x="1345276" y="2222531"/>
                </a:cubicBezTo>
                <a:lnTo>
                  <a:pt x="1273289" y="2222531"/>
                </a:lnTo>
                <a:cubicBezTo>
                  <a:pt x="1273289" y="2222531"/>
                  <a:pt x="1273289" y="2222531"/>
                  <a:pt x="1023580" y="1810003"/>
                </a:cubicBezTo>
                <a:cubicBezTo>
                  <a:pt x="1023580" y="1810003"/>
                  <a:pt x="1023580" y="1810003"/>
                  <a:pt x="1023580" y="2222531"/>
                </a:cubicBezTo>
                <a:cubicBezTo>
                  <a:pt x="1023580" y="2222531"/>
                  <a:pt x="1023580" y="2222531"/>
                  <a:pt x="960591" y="2222531"/>
                </a:cubicBezTo>
                <a:cubicBezTo>
                  <a:pt x="960591" y="2222531"/>
                  <a:pt x="960591" y="2222531"/>
                  <a:pt x="960591" y="1710816"/>
                </a:cubicBezTo>
                <a:close/>
                <a:moveTo>
                  <a:pt x="5597068" y="1701799"/>
                </a:moveTo>
                <a:cubicBezTo>
                  <a:pt x="5648810" y="1701799"/>
                  <a:pt x="5698301" y="1719833"/>
                  <a:pt x="5736545" y="1755901"/>
                </a:cubicBezTo>
                <a:cubicBezTo>
                  <a:pt x="5790536" y="1810003"/>
                  <a:pt x="5801784" y="1884393"/>
                  <a:pt x="5801784" y="1967800"/>
                </a:cubicBezTo>
                <a:cubicBezTo>
                  <a:pt x="5801784" y="2048953"/>
                  <a:pt x="5790536" y="2123344"/>
                  <a:pt x="5736545" y="2177446"/>
                </a:cubicBezTo>
                <a:cubicBezTo>
                  <a:pt x="5698301" y="2213514"/>
                  <a:pt x="5648810" y="2233802"/>
                  <a:pt x="5597068" y="2233802"/>
                </a:cubicBezTo>
                <a:cubicBezTo>
                  <a:pt x="5547576" y="2233802"/>
                  <a:pt x="5495835" y="2213514"/>
                  <a:pt x="5459841" y="2177446"/>
                </a:cubicBezTo>
                <a:cubicBezTo>
                  <a:pt x="5403600" y="2123344"/>
                  <a:pt x="5394602" y="2048953"/>
                  <a:pt x="5394602" y="1967800"/>
                </a:cubicBezTo>
                <a:cubicBezTo>
                  <a:pt x="5394602" y="1884393"/>
                  <a:pt x="5403600" y="1810003"/>
                  <a:pt x="5459841" y="1755901"/>
                </a:cubicBezTo>
                <a:cubicBezTo>
                  <a:pt x="5495835" y="1719833"/>
                  <a:pt x="5547576" y="1701799"/>
                  <a:pt x="5597068" y="1701799"/>
                </a:cubicBezTo>
                <a:close/>
                <a:moveTo>
                  <a:pt x="4645477" y="1701799"/>
                </a:moveTo>
                <a:cubicBezTo>
                  <a:pt x="4701717" y="1701799"/>
                  <a:pt x="4755708" y="1722087"/>
                  <a:pt x="4791702" y="1758155"/>
                </a:cubicBezTo>
                <a:cubicBezTo>
                  <a:pt x="4816448" y="1785206"/>
                  <a:pt x="4832195" y="1816766"/>
                  <a:pt x="4834445" y="1859597"/>
                </a:cubicBezTo>
                <a:cubicBezTo>
                  <a:pt x="4834445" y="1859597"/>
                  <a:pt x="4834445" y="1859597"/>
                  <a:pt x="4766956" y="1859597"/>
                </a:cubicBezTo>
                <a:cubicBezTo>
                  <a:pt x="4764707" y="1834800"/>
                  <a:pt x="4757958" y="1819020"/>
                  <a:pt x="4744460" y="1803240"/>
                </a:cubicBezTo>
                <a:cubicBezTo>
                  <a:pt x="4721964" y="1773935"/>
                  <a:pt x="4685970" y="1762664"/>
                  <a:pt x="4645477" y="1762664"/>
                </a:cubicBezTo>
                <a:cubicBezTo>
                  <a:pt x="4609482" y="1762664"/>
                  <a:pt x="4575738" y="1776189"/>
                  <a:pt x="4550992" y="1800986"/>
                </a:cubicBezTo>
                <a:cubicBezTo>
                  <a:pt x="4510499" y="1843817"/>
                  <a:pt x="4506000" y="1913699"/>
                  <a:pt x="4506000" y="1967800"/>
                </a:cubicBezTo>
                <a:cubicBezTo>
                  <a:pt x="4506000" y="2017394"/>
                  <a:pt x="4510499" y="2091784"/>
                  <a:pt x="4553242" y="2134615"/>
                </a:cubicBezTo>
                <a:cubicBezTo>
                  <a:pt x="4577988" y="2161666"/>
                  <a:pt x="4609482" y="2172937"/>
                  <a:pt x="4645477" y="2172937"/>
                </a:cubicBezTo>
                <a:cubicBezTo>
                  <a:pt x="4681471" y="2172937"/>
                  <a:pt x="4715215" y="2159412"/>
                  <a:pt x="4737711" y="2136869"/>
                </a:cubicBezTo>
                <a:cubicBezTo>
                  <a:pt x="4771456" y="2103055"/>
                  <a:pt x="4780454" y="2053462"/>
                  <a:pt x="4780454" y="2006123"/>
                </a:cubicBezTo>
                <a:cubicBezTo>
                  <a:pt x="4780454" y="2006123"/>
                  <a:pt x="4780454" y="2006123"/>
                  <a:pt x="4645477" y="2006123"/>
                </a:cubicBezTo>
                <a:cubicBezTo>
                  <a:pt x="4645477" y="2006123"/>
                  <a:pt x="4645477" y="2006123"/>
                  <a:pt x="4645477" y="1947512"/>
                </a:cubicBezTo>
                <a:cubicBezTo>
                  <a:pt x="4645477" y="1947512"/>
                  <a:pt x="4645477" y="1947512"/>
                  <a:pt x="4838944" y="1947512"/>
                </a:cubicBezTo>
                <a:cubicBezTo>
                  <a:pt x="4838944" y="1947512"/>
                  <a:pt x="4838944" y="1947512"/>
                  <a:pt x="4838944" y="2222531"/>
                </a:cubicBezTo>
                <a:lnTo>
                  <a:pt x="4793952" y="2222531"/>
                </a:lnTo>
                <a:cubicBezTo>
                  <a:pt x="4793952" y="2222531"/>
                  <a:pt x="4793952" y="2222531"/>
                  <a:pt x="4782704" y="2161666"/>
                </a:cubicBezTo>
                <a:cubicBezTo>
                  <a:pt x="4757958" y="2204497"/>
                  <a:pt x="4701717" y="2233802"/>
                  <a:pt x="4645477" y="2233802"/>
                </a:cubicBezTo>
                <a:cubicBezTo>
                  <a:pt x="4593735" y="2233802"/>
                  <a:pt x="4544243" y="2215768"/>
                  <a:pt x="4506000" y="2179700"/>
                </a:cubicBezTo>
                <a:cubicBezTo>
                  <a:pt x="4454258" y="2130106"/>
                  <a:pt x="4440761" y="2057970"/>
                  <a:pt x="4440761" y="1967800"/>
                </a:cubicBezTo>
                <a:cubicBezTo>
                  <a:pt x="4440761" y="1884393"/>
                  <a:pt x="4452009" y="1810003"/>
                  <a:pt x="4506000" y="1755901"/>
                </a:cubicBezTo>
                <a:cubicBezTo>
                  <a:pt x="4544243" y="1719833"/>
                  <a:pt x="4593735" y="1701799"/>
                  <a:pt x="4645477" y="1701799"/>
                </a:cubicBezTo>
                <a:close/>
                <a:moveTo>
                  <a:pt x="4002083" y="1701799"/>
                </a:moveTo>
                <a:cubicBezTo>
                  <a:pt x="4060574" y="1701799"/>
                  <a:pt x="4112315" y="1722087"/>
                  <a:pt x="4148309" y="1758155"/>
                </a:cubicBezTo>
                <a:cubicBezTo>
                  <a:pt x="4173055" y="1785206"/>
                  <a:pt x="4191052" y="1816766"/>
                  <a:pt x="4193302" y="1859597"/>
                </a:cubicBezTo>
                <a:cubicBezTo>
                  <a:pt x="4193302" y="1859597"/>
                  <a:pt x="4193302" y="1859597"/>
                  <a:pt x="4125813" y="1859597"/>
                </a:cubicBezTo>
                <a:cubicBezTo>
                  <a:pt x="4123563" y="1834800"/>
                  <a:pt x="4114565" y="1819020"/>
                  <a:pt x="4103317" y="1803240"/>
                </a:cubicBezTo>
                <a:cubicBezTo>
                  <a:pt x="4078571" y="1773935"/>
                  <a:pt x="4044826" y="1762664"/>
                  <a:pt x="4002083" y="1762664"/>
                </a:cubicBezTo>
                <a:cubicBezTo>
                  <a:pt x="3968339" y="1762664"/>
                  <a:pt x="3934595" y="1776189"/>
                  <a:pt x="3909849" y="1800986"/>
                </a:cubicBezTo>
                <a:cubicBezTo>
                  <a:pt x="3867106" y="1843817"/>
                  <a:pt x="3864856" y="1913699"/>
                  <a:pt x="3864856" y="1967800"/>
                </a:cubicBezTo>
                <a:cubicBezTo>
                  <a:pt x="3864856" y="2017394"/>
                  <a:pt x="3867106" y="2091784"/>
                  <a:pt x="3909849" y="2134615"/>
                </a:cubicBezTo>
                <a:cubicBezTo>
                  <a:pt x="3934595" y="2161666"/>
                  <a:pt x="3968339" y="2172937"/>
                  <a:pt x="4002083" y="2172937"/>
                </a:cubicBezTo>
                <a:cubicBezTo>
                  <a:pt x="4038077" y="2172937"/>
                  <a:pt x="4071822" y="2159412"/>
                  <a:pt x="4094318" y="2136869"/>
                </a:cubicBezTo>
                <a:cubicBezTo>
                  <a:pt x="4130312" y="2103055"/>
                  <a:pt x="4139311" y="2053462"/>
                  <a:pt x="4139311" y="2006123"/>
                </a:cubicBezTo>
                <a:cubicBezTo>
                  <a:pt x="4139311" y="2006123"/>
                  <a:pt x="4139311" y="2006123"/>
                  <a:pt x="4002083" y="2006123"/>
                </a:cubicBezTo>
                <a:cubicBezTo>
                  <a:pt x="4002083" y="2006123"/>
                  <a:pt x="4002083" y="2006123"/>
                  <a:pt x="4002083" y="1947512"/>
                </a:cubicBezTo>
                <a:cubicBezTo>
                  <a:pt x="4002083" y="1947512"/>
                  <a:pt x="4002083" y="1947512"/>
                  <a:pt x="4197801" y="1947512"/>
                </a:cubicBezTo>
                <a:cubicBezTo>
                  <a:pt x="4197801" y="1947512"/>
                  <a:pt x="4197801" y="1947512"/>
                  <a:pt x="4197801" y="2222531"/>
                </a:cubicBezTo>
                <a:lnTo>
                  <a:pt x="4152808" y="2222531"/>
                </a:lnTo>
                <a:cubicBezTo>
                  <a:pt x="4152808" y="2222531"/>
                  <a:pt x="4152808" y="2222531"/>
                  <a:pt x="4141560" y="2161666"/>
                </a:cubicBezTo>
                <a:cubicBezTo>
                  <a:pt x="4116814" y="2204497"/>
                  <a:pt x="4060574" y="2233802"/>
                  <a:pt x="4002083" y="2233802"/>
                </a:cubicBezTo>
                <a:cubicBezTo>
                  <a:pt x="3950342" y="2233802"/>
                  <a:pt x="3900850" y="2215768"/>
                  <a:pt x="3864856" y="2179700"/>
                </a:cubicBezTo>
                <a:cubicBezTo>
                  <a:pt x="3813115" y="2130106"/>
                  <a:pt x="3797367" y="2057970"/>
                  <a:pt x="3797367" y="1967800"/>
                </a:cubicBezTo>
                <a:cubicBezTo>
                  <a:pt x="3797367" y="1884393"/>
                  <a:pt x="3808616" y="1810003"/>
                  <a:pt x="3864856" y="1755901"/>
                </a:cubicBezTo>
                <a:cubicBezTo>
                  <a:pt x="3900850" y="1719833"/>
                  <a:pt x="3950342" y="1701799"/>
                  <a:pt x="4002083" y="1701799"/>
                </a:cubicBezTo>
                <a:close/>
                <a:moveTo>
                  <a:pt x="1642228" y="1701799"/>
                </a:moveTo>
                <a:cubicBezTo>
                  <a:pt x="1691719" y="1701799"/>
                  <a:pt x="1741211" y="1717579"/>
                  <a:pt x="1774955" y="1749138"/>
                </a:cubicBezTo>
                <a:cubicBezTo>
                  <a:pt x="1806450" y="1780698"/>
                  <a:pt x="1822198" y="1816766"/>
                  <a:pt x="1824447" y="1859597"/>
                </a:cubicBezTo>
                <a:cubicBezTo>
                  <a:pt x="1824447" y="1859597"/>
                  <a:pt x="1824447" y="1859597"/>
                  <a:pt x="1756958" y="1859597"/>
                </a:cubicBezTo>
                <a:cubicBezTo>
                  <a:pt x="1754708" y="1834800"/>
                  <a:pt x="1745710" y="1812257"/>
                  <a:pt x="1732212" y="1796478"/>
                </a:cubicBezTo>
                <a:cubicBezTo>
                  <a:pt x="1711966" y="1773935"/>
                  <a:pt x="1680471" y="1760410"/>
                  <a:pt x="1639978" y="1760410"/>
                </a:cubicBezTo>
                <a:cubicBezTo>
                  <a:pt x="1603983" y="1760410"/>
                  <a:pt x="1572489" y="1769427"/>
                  <a:pt x="1549993" y="1796478"/>
                </a:cubicBezTo>
                <a:cubicBezTo>
                  <a:pt x="1536494" y="1810003"/>
                  <a:pt x="1529746" y="1828037"/>
                  <a:pt x="1529746" y="1850580"/>
                </a:cubicBezTo>
                <a:cubicBezTo>
                  <a:pt x="1529746" y="1897919"/>
                  <a:pt x="1567989" y="1918207"/>
                  <a:pt x="1606234" y="1922716"/>
                </a:cubicBezTo>
                <a:cubicBezTo>
                  <a:pt x="1635478" y="1927224"/>
                  <a:pt x="1662474" y="1931733"/>
                  <a:pt x="1691719" y="1936241"/>
                </a:cubicBezTo>
                <a:cubicBezTo>
                  <a:pt x="1774955" y="1949767"/>
                  <a:pt x="1833445" y="2001614"/>
                  <a:pt x="1833445" y="2082767"/>
                </a:cubicBezTo>
                <a:cubicBezTo>
                  <a:pt x="1833445" y="2125598"/>
                  <a:pt x="1815448" y="2157157"/>
                  <a:pt x="1790703" y="2181954"/>
                </a:cubicBezTo>
                <a:cubicBezTo>
                  <a:pt x="1754708" y="2215768"/>
                  <a:pt x="1698468" y="2231547"/>
                  <a:pt x="1644477" y="2231547"/>
                </a:cubicBezTo>
                <a:cubicBezTo>
                  <a:pt x="1581488" y="2231547"/>
                  <a:pt x="1531996" y="2215768"/>
                  <a:pt x="1498251" y="2184208"/>
                </a:cubicBezTo>
                <a:cubicBezTo>
                  <a:pt x="1466757" y="2152649"/>
                  <a:pt x="1444260" y="2109818"/>
                  <a:pt x="1444260" y="2060225"/>
                </a:cubicBezTo>
                <a:cubicBezTo>
                  <a:pt x="1444260" y="2060225"/>
                  <a:pt x="1444260" y="2060225"/>
                  <a:pt x="1509499" y="2060225"/>
                </a:cubicBezTo>
                <a:cubicBezTo>
                  <a:pt x="1509499" y="2091784"/>
                  <a:pt x="1525247" y="2121089"/>
                  <a:pt x="1545494" y="2141378"/>
                </a:cubicBezTo>
                <a:cubicBezTo>
                  <a:pt x="1570239" y="2163920"/>
                  <a:pt x="1608483" y="2172937"/>
                  <a:pt x="1644477" y="2172937"/>
                </a:cubicBezTo>
                <a:cubicBezTo>
                  <a:pt x="1682720" y="2172937"/>
                  <a:pt x="1716465" y="2166174"/>
                  <a:pt x="1738962" y="2143632"/>
                </a:cubicBezTo>
                <a:cubicBezTo>
                  <a:pt x="1754708" y="2130106"/>
                  <a:pt x="1765956" y="2109818"/>
                  <a:pt x="1765956" y="2082767"/>
                </a:cubicBezTo>
                <a:cubicBezTo>
                  <a:pt x="1765956" y="2044445"/>
                  <a:pt x="1741211" y="2010631"/>
                  <a:pt x="1680471" y="2001614"/>
                </a:cubicBezTo>
                <a:cubicBezTo>
                  <a:pt x="1680471" y="2001614"/>
                  <a:pt x="1680471" y="2001614"/>
                  <a:pt x="1599484" y="1988089"/>
                </a:cubicBezTo>
                <a:cubicBezTo>
                  <a:pt x="1522997" y="1976817"/>
                  <a:pt x="1462257" y="1933987"/>
                  <a:pt x="1462257" y="1852834"/>
                </a:cubicBezTo>
                <a:cubicBezTo>
                  <a:pt x="1462257" y="1814512"/>
                  <a:pt x="1480254" y="1778444"/>
                  <a:pt x="1507249" y="1751393"/>
                </a:cubicBezTo>
                <a:cubicBezTo>
                  <a:pt x="1543244" y="1717579"/>
                  <a:pt x="1588236" y="1701799"/>
                  <a:pt x="1642228" y="1701799"/>
                </a:cubicBezTo>
                <a:close/>
                <a:moveTo>
                  <a:pt x="654642" y="1701799"/>
                </a:moveTo>
                <a:cubicBezTo>
                  <a:pt x="704133" y="1701799"/>
                  <a:pt x="755874" y="1719833"/>
                  <a:pt x="791868" y="1755901"/>
                </a:cubicBezTo>
                <a:cubicBezTo>
                  <a:pt x="848110" y="1810003"/>
                  <a:pt x="857108" y="1884393"/>
                  <a:pt x="857108" y="1967800"/>
                </a:cubicBezTo>
                <a:cubicBezTo>
                  <a:pt x="857108" y="2048953"/>
                  <a:pt x="848110" y="2123344"/>
                  <a:pt x="791868" y="2177446"/>
                </a:cubicBezTo>
                <a:cubicBezTo>
                  <a:pt x="755874" y="2213514"/>
                  <a:pt x="704133" y="2233802"/>
                  <a:pt x="654642" y="2233802"/>
                </a:cubicBezTo>
                <a:cubicBezTo>
                  <a:pt x="602900" y="2233802"/>
                  <a:pt x="553408" y="2213514"/>
                  <a:pt x="515164" y="2177446"/>
                </a:cubicBezTo>
                <a:cubicBezTo>
                  <a:pt x="461173" y="2123344"/>
                  <a:pt x="449925" y="2048953"/>
                  <a:pt x="449925" y="1967800"/>
                </a:cubicBezTo>
                <a:cubicBezTo>
                  <a:pt x="449925" y="1884393"/>
                  <a:pt x="461173" y="1810003"/>
                  <a:pt x="515164" y="1755901"/>
                </a:cubicBezTo>
                <a:cubicBezTo>
                  <a:pt x="553408" y="1719833"/>
                  <a:pt x="602900" y="1701799"/>
                  <a:pt x="654642" y="1701799"/>
                </a:cubicBezTo>
                <a:close/>
                <a:moveTo>
                  <a:pt x="202466" y="1701799"/>
                </a:moveTo>
                <a:cubicBezTo>
                  <a:pt x="258707" y="1701799"/>
                  <a:pt x="308199" y="1722087"/>
                  <a:pt x="339693" y="1753647"/>
                </a:cubicBezTo>
                <a:cubicBezTo>
                  <a:pt x="368939" y="1782952"/>
                  <a:pt x="386936" y="1823529"/>
                  <a:pt x="389185" y="1870868"/>
                </a:cubicBezTo>
                <a:cubicBezTo>
                  <a:pt x="389185" y="1870868"/>
                  <a:pt x="389185" y="1870868"/>
                  <a:pt x="323946" y="1870868"/>
                </a:cubicBezTo>
                <a:cubicBezTo>
                  <a:pt x="321697" y="1841563"/>
                  <a:pt x="312698" y="1819020"/>
                  <a:pt x="294701" y="1798732"/>
                </a:cubicBezTo>
                <a:cubicBezTo>
                  <a:pt x="274454" y="1776189"/>
                  <a:pt x="240710" y="1762664"/>
                  <a:pt x="202466" y="1762664"/>
                </a:cubicBezTo>
                <a:cubicBezTo>
                  <a:pt x="168722" y="1762664"/>
                  <a:pt x="134978" y="1776189"/>
                  <a:pt x="110232" y="1800986"/>
                </a:cubicBezTo>
                <a:cubicBezTo>
                  <a:pt x="67489" y="1843817"/>
                  <a:pt x="67489" y="1913699"/>
                  <a:pt x="67489" y="1967800"/>
                </a:cubicBezTo>
                <a:cubicBezTo>
                  <a:pt x="67489" y="2019648"/>
                  <a:pt x="67489" y="2089530"/>
                  <a:pt x="110232" y="2132361"/>
                </a:cubicBezTo>
                <a:cubicBezTo>
                  <a:pt x="134978" y="2159412"/>
                  <a:pt x="168722" y="2172937"/>
                  <a:pt x="202466" y="2172937"/>
                </a:cubicBezTo>
                <a:cubicBezTo>
                  <a:pt x="240710" y="2172937"/>
                  <a:pt x="276704" y="2154903"/>
                  <a:pt x="296951" y="2132361"/>
                </a:cubicBezTo>
                <a:cubicBezTo>
                  <a:pt x="312698" y="2114327"/>
                  <a:pt x="323946" y="2087276"/>
                  <a:pt x="323946" y="2060225"/>
                </a:cubicBezTo>
                <a:cubicBezTo>
                  <a:pt x="323946" y="2060225"/>
                  <a:pt x="323946" y="2060225"/>
                  <a:pt x="391435" y="2060225"/>
                </a:cubicBezTo>
                <a:cubicBezTo>
                  <a:pt x="389185" y="2107564"/>
                  <a:pt x="368939" y="2148140"/>
                  <a:pt x="339693" y="2177446"/>
                </a:cubicBezTo>
                <a:cubicBezTo>
                  <a:pt x="308199" y="2209005"/>
                  <a:pt x="258707" y="2233802"/>
                  <a:pt x="202466" y="2233802"/>
                </a:cubicBezTo>
                <a:cubicBezTo>
                  <a:pt x="150725" y="2233802"/>
                  <a:pt x="101233" y="2213514"/>
                  <a:pt x="65239" y="2177446"/>
                </a:cubicBezTo>
                <a:cubicBezTo>
                  <a:pt x="8999" y="2123344"/>
                  <a:pt x="0" y="2048953"/>
                  <a:pt x="0" y="1967800"/>
                </a:cubicBezTo>
                <a:cubicBezTo>
                  <a:pt x="0" y="1884393"/>
                  <a:pt x="8999" y="1810003"/>
                  <a:pt x="65239" y="1755901"/>
                </a:cubicBezTo>
                <a:cubicBezTo>
                  <a:pt x="101233" y="1719833"/>
                  <a:pt x="150725" y="1701799"/>
                  <a:pt x="202466" y="1701799"/>
                </a:cubicBezTo>
                <a:close/>
                <a:moveTo>
                  <a:pt x="2227389" y="214047"/>
                </a:moveTo>
                <a:cubicBezTo>
                  <a:pt x="2227389" y="214047"/>
                  <a:pt x="2227389" y="214047"/>
                  <a:pt x="2227389" y="574548"/>
                </a:cubicBezTo>
                <a:cubicBezTo>
                  <a:pt x="2227389" y="574548"/>
                  <a:pt x="2227389" y="574548"/>
                  <a:pt x="2456649" y="574548"/>
                </a:cubicBezTo>
                <a:cubicBezTo>
                  <a:pt x="2584765" y="574548"/>
                  <a:pt x="2654442" y="509207"/>
                  <a:pt x="2654442" y="394298"/>
                </a:cubicBezTo>
                <a:cubicBezTo>
                  <a:pt x="2654442" y="277135"/>
                  <a:pt x="2584765" y="214047"/>
                  <a:pt x="2456649" y="214047"/>
                </a:cubicBezTo>
                <a:cubicBezTo>
                  <a:pt x="2456649" y="214047"/>
                  <a:pt x="2456649" y="214047"/>
                  <a:pt x="2227389" y="214047"/>
                </a:cubicBezTo>
                <a:close/>
                <a:moveTo>
                  <a:pt x="8961436" y="0"/>
                </a:moveTo>
                <a:lnTo>
                  <a:pt x="9905999" y="0"/>
                </a:lnTo>
                <a:lnTo>
                  <a:pt x="9905999" y="225425"/>
                </a:lnTo>
                <a:lnTo>
                  <a:pt x="9555161" y="225425"/>
                </a:lnTo>
                <a:lnTo>
                  <a:pt x="9555161" y="1214437"/>
                </a:lnTo>
                <a:lnTo>
                  <a:pt x="9315449" y="1214437"/>
                </a:lnTo>
                <a:lnTo>
                  <a:pt x="9315449" y="225425"/>
                </a:lnTo>
                <a:lnTo>
                  <a:pt x="8961436" y="225425"/>
                </a:lnTo>
                <a:close/>
                <a:moveTo>
                  <a:pt x="7785099" y="0"/>
                </a:moveTo>
                <a:lnTo>
                  <a:pt x="8035924" y="0"/>
                </a:lnTo>
                <a:lnTo>
                  <a:pt x="8037512" y="3175"/>
                </a:lnTo>
                <a:lnTo>
                  <a:pt x="8523286" y="774700"/>
                </a:lnTo>
                <a:lnTo>
                  <a:pt x="8523286" y="0"/>
                </a:lnTo>
                <a:lnTo>
                  <a:pt x="8759824" y="0"/>
                </a:lnTo>
                <a:lnTo>
                  <a:pt x="8759824" y="1214437"/>
                </a:lnTo>
                <a:lnTo>
                  <a:pt x="8518524" y="1214437"/>
                </a:lnTo>
                <a:lnTo>
                  <a:pt x="8024812" y="425450"/>
                </a:lnTo>
                <a:lnTo>
                  <a:pt x="8024812" y="1214437"/>
                </a:lnTo>
                <a:lnTo>
                  <a:pt x="7785099" y="1214437"/>
                </a:lnTo>
                <a:close/>
                <a:moveTo>
                  <a:pt x="6665911" y="0"/>
                </a:moveTo>
                <a:lnTo>
                  <a:pt x="7535861" y="0"/>
                </a:lnTo>
                <a:lnTo>
                  <a:pt x="7535861" y="220663"/>
                </a:lnTo>
                <a:lnTo>
                  <a:pt x="6905624" y="220663"/>
                </a:lnTo>
                <a:lnTo>
                  <a:pt x="6905624" y="473075"/>
                </a:lnTo>
                <a:lnTo>
                  <a:pt x="7459661" y="473075"/>
                </a:lnTo>
                <a:lnTo>
                  <a:pt x="7459661" y="690562"/>
                </a:lnTo>
                <a:lnTo>
                  <a:pt x="6905624" y="690562"/>
                </a:lnTo>
                <a:lnTo>
                  <a:pt x="6905624" y="993775"/>
                </a:lnTo>
                <a:lnTo>
                  <a:pt x="7535861" y="993775"/>
                </a:lnTo>
                <a:lnTo>
                  <a:pt x="7535861" y="1214437"/>
                </a:lnTo>
                <a:lnTo>
                  <a:pt x="6665911" y="1214437"/>
                </a:lnTo>
                <a:close/>
                <a:moveTo>
                  <a:pt x="5221286" y="0"/>
                </a:moveTo>
                <a:lnTo>
                  <a:pt x="5534024" y="0"/>
                </a:lnTo>
                <a:lnTo>
                  <a:pt x="5835649" y="823912"/>
                </a:lnTo>
                <a:lnTo>
                  <a:pt x="6142037" y="0"/>
                </a:lnTo>
                <a:lnTo>
                  <a:pt x="6438899" y="0"/>
                </a:lnTo>
                <a:lnTo>
                  <a:pt x="6438899" y="1214437"/>
                </a:lnTo>
                <a:lnTo>
                  <a:pt x="6203949" y="1214437"/>
                </a:lnTo>
                <a:lnTo>
                  <a:pt x="6203949" y="419100"/>
                </a:lnTo>
                <a:lnTo>
                  <a:pt x="5916612" y="1196975"/>
                </a:lnTo>
                <a:lnTo>
                  <a:pt x="5740399" y="1196975"/>
                </a:lnTo>
                <a:lnTo>
                  <a:pt x="5454649" y="409575"/>
                </a:lnTo>
                <a:lnTo>
                  <a:pt x="5454649" y="1214437"/>
                </a:lnTo>
                <a:lnTo>
                  <a:pt x="5221286" y="1214437"/>
                </a:lnTo>
                <a:close/>
                <a:moveTo>
                  <a:pt x="4098924" y="0"/>
                </a:moveTo>
                <a:lnTo>
                  <a:pt x="4968874" y="0"/>
                </a:lnTo>
                <a:lnTo>
                  <a:pt x="4968874" y="220663"/>
                </a:lnTo>
                <a:lnTo>
                  <a:pt x="4340224" y="220663"/>
                </a:lnTo>
                <a:lnTo>
                  <a:pt x="4340224" y="473075"/>
                </a:lnTo>
                <a:lnTo>
                  <a:pt x="4895849" y="473075"/>
                </a:lnTo>
                <a:lnTo>
                  <a:pt x="4895849" y="690562"/>
                </a:lnTo>
                <a:lnTo>
                  <a:pt x="4340224" y="690562"/>
                </a:lnTo>
                <a:lnTo>
                  <a:pt x="4340224" y="993775"/>
                </a:lnTo>
                <a:lnTo>
                  <a:pt x="4968874" y="993775"/>
                </a:lnTo>
                <a:lnTo>
                  <a:pt x="4968874" y="1214437"/>
                </a:lnTo>
                <a:lnTo>
                  <a:pt x="4098924" y="1214437"/>
                </a:lnTo>
                <a:close/>
                <a:moveTo>
                  <a:pt x="3079749" y="0"/>
                </a:moveTo>
                <a:lnTo>
                  <a:pt x="3321049" y="0"/>
                </a:lnTo>
                <a:lnTo>
                  <a:pt x="3321049" y="984250"/>
                </a:lnTo>
                <a:lnTo>
                  <a:pt x="3871912" y="984250"/>
                </a:lnTo>
                <a:lnTo>
                  <a:pt x="3871912" y="1214437"/>
                </a:lnTo>
                <a:lnTo>
                  <a:pt x="3079749" y="1214437"/>
                </a:lnTo>
                <a:close/>
                <a:moveTo>
                  <a:pt x="1989138" y="0"/>
                </a:moveTo>
                <a:cubicBezTo>
                  <a:pt x="1989138" y="0"/>
                  <a:pt x="1989138" y="0"/>
                  <a:pt x="2465639" y="0"/>
                </a:cubicBezTo>
                <a:cubicBezTo>
                  <a:pt x="2735357" y="0"/>
                  <a:pt x="2897188" y="146454"/>
                  <a:pt x="2897188" y="392045"/>
                </a:cubicBezTo>
                <a:cubicBezTo>
                  <a:pt x="2897188" y="639889"/>
                  <a:pt x="2735357" y="786342"/>
                  <a:pt x="2465639" y="786342"/>
                </a:cubicBezTo>
                <a:cubicBezTo>
                  <a:pt x="2465639" y="786342"/>
                  <a:pt x="2465639" y="786342"/>
                  <a:pt x="2227389" y="786342"/>
                </a:cubicBezTo>
                <a:cubicBezTo>
                  <a:pt x="2227389" y="786342"/>
                  <a:pt x="2227389" y="786342"/>
                  <a:pt x="2227389" y="1214437"/>
                </a:cubicBezTo>
                <a:cubicBezTo>
                  <a:pt x="2227389" y="1214437"/>
                  <a:pt x="2227389" y="1214437"/>
                  <a:pt x="1989138" y="1214437"/>
                </a:cubicBezTo>
                <a:cubicBezTo>
                  <a:pt x="1989138" y="1214437"/>
                  <a:pt x="1989138" y="1214437"/>
                  <a:pt x="1989138" y="0"/>
                </a:cubicBezTo>
                <a:close/>
                <a:moveTo>
                  <a:pt x="520699" y="0"/>
                </a:moveTo>
                <a:lnTo>
                  <a:pt x="833436" y="0"/>
                </a:lnTo>
                <a:lnTo>
                  <a:pt x="1135061" y="823912"/>
                </a:lnTo>
                <a:lnTo>
                  <a:pt x="1439862" y="0"/>
                </a:lnTo>
                <a:lnTo>
                  <a:pt x="1736724" y="0"/>
                </a:lnTo>
                <a:lnTo>
                  <a:pt x="1736724" y="1214437"/>
                </a:lnTo>
                <a:lnTo>
                  <a:pt x="1503362" y="1214437"/>
                </a:lnTo>
                <a:lnTo>
                  <a:pt x="1503362" y="419100"/>
                </a:lnTo>
                <a:lnTo>
                  <a:pt x="1216024" y="1196975"/>
                </a:lnTo>
                <a:lnTo>
                  <a:pt x="1039812" y="1196975"/>
                </a:lnTo>
                <a:lnTo>
                  <a:pt x="754062" y="409575"/>
                </a:lnTo>
                <a:lnTo>
                  <a:pt x="754062" y="1214437"/>
                </a:lnTo>
                <a:lnTo>
                  <a:pt x="520699" y="1214437"/>
                </a:lnTo>
                <a:close/>
                <a:moveTo>
                  <a:pt x="25400" y="0"/>
                </a:moveTo>
                <a:lnTo>
                  <a:pt x="268288" y="0"/>
                </a:lnTo>
                <a:lnTo>
                  <a:pt x="268288" y="1214437"/>
                </a:lnTo>
                <a:lnTo>
                  <a:pt x="25400" y="121443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GB" dirty="0"/>
              <a:t> </a:t>
            </a:r>
          </a:p>
        </p:txBody>
      </p:sp>
      <p:sp>
        <p:nvSpPr>
          <p:cNvPr id="13" name="Date_GeneralDate" hidden="1">
            <a:extLst>
              <a:ext uri="{FF2B5EF4-FFF2-40B4-BE49-F238E27FC236}">
                <a16:creationId xmlns:a16="http://schemas.microsoft.com/office/drawing/2014/main" id="{649F2878-DF75-476E-9321-0911D8D1FC2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3F726890-A6E3-4403-8B5F-B63FA3CC0E22}" type="datetime1">
              <a:rPr lang="en-US" smtClean="0"/>
              <a:t>2/25/2022</a:t>
            </a:fld>
            <a:endParaRPr lang="en-GB" dirty="0"/>
          </a:p>
        </p:txBody>
      </p:sp>
      <p:sp>
        <p:nvSpPr>
          <p:cNvPr id="14" name="FLD_PresentationTitle" hidden="1">
            <a:extLst>
              <a:ext uri="{FF2B5EF4-FFF2-40B4-BE49-F238E27FC236}">
                <a16:creationId xmlns:a16="http://schemas.microsoft.com/office/drawing/2014/main" id="{336355EA-6FA5-4B9D-B232-E77EBE1CA6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 anchor="t" anchorCtr="0"/>
          <a:lstStyle>
            <a:lvl1pPr algn="l">
              <a:defRPr sz="100">
                <a:noFill/>
              </a:defRPr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15" name="Slide Number Placeholder 5" hidden="1">
            <a:extLst>
              <a:ext uri="{FF2B5EF4-FFF2-40B4-BE49-F238E27FC236}">
                <a16:creationId xmlns:a16="http://schemas.microsoft.com/office/drawing/2014/main" id="{A280B4D8-6669-4983-ACDA-5286F766EC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anchor="t" anchorCtr="0"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3D81281-2A14-4E3E-B226-3377EDFCB739}"/>
              </a:ext>
            </a:extLst>
          </p:cNvPr>
          <p:cNvSpPr txBox="1"/>
          <p:nvPr userDrawn="1"/>
        </p:nvSpPr>
        <p:spPr>
          <a:xfrm>
            <a:off x="8944357" y="6492630"/>
            <a:ext cx="609141" cy="124650"/>
          </a:xfrm>
          <a:prstGeom prst="rect">
            <a:avLst/>
          </a:prstGeom>
          <a:noFill/>
          <a:ln w="6350">
            <a:noFill/>
            <a:prstDash val="sysDash"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900" dirty="0">
                <a:solidFill>
                  <a:schemeClr val="tx1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70691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 Box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ktangel 14">
            <a:extLst>
              <a:ext uri="{FF2B5EF4-FFF2-40B4-BE49-F238E27FC236}">
                <a16:creationId xmlns:a16="http://schemas.microsoft.com/office/drawing/2014/main" id="{30A3B4BE-E8CF-4315-A7DB-E771E6EF198E}"/>
              </a:ext>
            </a:extLst>
          </p:cNvPr>
          <p:cNvSpPr/>
          <p:nvPr userDrawn="1"/>
        </p:nvSpPr>
        <p:spPr>
          <a:xfrm>
            <a:off x="7148400" y="1627190"/>
            <a:ext cx="2757600" cy="5230800"/>
          </a:xfrm>
          <a:prstGeom prst="rect">
            <a:avLst/>
          </a:prstGeom>
          <a:solidFill>
            <a:srgbClr val="F3F2F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en-GB" sz="1100" noProof="0" dirty="0" err="1">
              <a:solidFill>
                <a:srgbClr val="2F363B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EAAE5C6-2755-4F4E-A878-43F56B65E9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2257" y="272257"/>
            <a:ext cx="8240140" cy="692336"/>
          </a:xfrm>
        </p:spPr>
        <p:txBody>
          <a:bodyPr/>
          <a:lstStyle>
            <a:lvl1pPr>
              <a:defRPr>
                <a:solidFill>
                  <a:srgbClr val="1F2023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4" name="Pladsholder til tekst 2">
            <a:extLst>
              <a:ext uri="{FF2B5EF4-FFF2-40B4-BE49-F238E27FC236}">
                <a16:creationId xmlns:a16="http://schemas.microsoft.com/office/drawing/2014/main" id="{0191184A-EA12-4A43-A548-EF516D82ECD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300452" y="1778173"/>
            <a:ext cx="2332497" cy="453848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134F504F-A2DE-4572-9711-6650D6AA4E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4" y="6502395"/>
            <a:ext cx="6744111" cy="106116"/>
          </a:xfrm>
        </p:spPr>
        <p:txBody>
          <a:bodyPr rIns="0" anchor="t" anchorCtr="0"/>
          <a:lstStyle>
            <a:lvl1pPr marL="0" indent="0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39303" indent="-139303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lphaU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742950" rtl="0" eaLnBrk="1" latinLnBrk="0" hangingPunct="1">
              <a:defRPr lang="en-GB" sz="894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Notes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9240DFA-E6CC-48C6-9045-36E6CF1B045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9383" y="6504110"/>
            <a:ext cx="1978862" cy="106116"/>
          </a:xfrm>
        </p:spPr>
        <p:txBody>
          <a:bodyPr rIns="0"/>
          <a:lstStyle>
            <a:lvl1pPr algn="r">
              <a:defRPr sz="650">
                <a:solidFill>
                  <a:srgbClr val="1F2023"/>
                </a:solidFill>
              </a:defRPr>
            </a:lvl1pPr>
            <a:lvl2pPr>
              <a:defRPr sz="650"/>
            </a:lvl2pPr>
            <a:lvl3pPr>
              <a:defRPr sz="650"/>
            </a:lvl3pPr>
            <a:lvl4pPr>
              <a:defRPr sz="650"/>
            </a:lvl4pPr>
            <a:lvl5pPr>
              <a:defRPr sz="650"/>
            </a:lvl5pPr>
          </a:lstStyle>
          <a:p>
            <a:pPr lvl="0"/>
            <a:r>
              <a:rPr lang="en-GB" dirty="0"/>
              <a:t>Tracker</a:t>
            </a:r>
          </a:p>
        </p:txBody>
      </p:sp>
      <p:sp>
        <p:nvSpPr>
          <p:cNvPr id="9" name="Date_GeneralDate" hidden="1">
            <a:extLst>
              <a:ext uri="{FF2B5EF4-FFF2-40B4-BE49-F238E27FC236}">
                <a16:creationId xmlns:a16="http://schemas.microsoft.com/office/drawing/2014/main" id="{6908E312-5010-42EE-8694-8788FA4ED6F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69875" y="6978509"/>
            <a:ext cx="0" cy="0"/>
          </a:xfrm>
        </p:spPr>
        <p:txBody>
          <a:bodyPr/>
          <a:lstStyle>
            <a:lvl1pPr algn="l">
              <a:defRPr sz="100" cap="all" spc="163" baseline="0">
                <a:solidFill>
                  <a:schemeClr val="bg2"/>
                </a:solidFill>
              </a:defRPr>
            </a:lvl1pPr>
          </a:lstStyle>
          <a:p>
            <a:fld id="{95F1BEB8-0833-4CFF-AD26-1AD6BE263AB9}" type="datetime1">
              <a:rPr lang="en-US" smtClean="0"/>
              <a:t>2/25/2022</a:t>
            </a:fld>
            <a:endParaRPr lang="en-GB" dirty="0"/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6DED64DC-9C54-4963-8104-456D03A2C81E}"/>
              </a:ext>
            </a:extLst>
          </p:cNvPr>
          <p:cNvSpPr txBox="1">
            <a:spLocks/>
          </p:cNvSpPr>
          <p:nvPr userDrawn="1"/>
        </p:nvSpPr>
        <p:spPr>
          <a:xfrm>
            <a:off x="9378938" y="6496424"/>
            <a:ext cx="255600" cy="1116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r" defTabSz="914400" rtl="0" eaLnBrk="1" latinLnBrk="0" hangingPunct="1">
              <a:defRPr sz="650" kern="1200" spc="0" baseline="0">
                <a:solidFill>
                  <a:srgbClr val="2F363B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650" smtClean="0">
                <a:solidFill>
                  <a:srgbClr val="1F2023"/>
                </a:solidFill>
              </a:rPr>
              <a:pPr/>
              <a:t>‹#›</a:t>
            </a:fld>
            <a:endParaRPr lang="en-GB" sz="650" dirty="0">
              <a:solidFill>
                <a:srgbClr val="1F20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3426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 Box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8C0BC593-88F5-4BB6-A4DB-DF070A7F512A}"/>
              </a:ext>
            </a:extLst>
          </p:cNvPr>
          <p:cNvSpPr/>
          <p:nvPr userDrawn="1"/>
        </p:nvSpPr>
        <p:spPr>
          <a:xfrm>
            <a:off x="0" y="5063872"/>
            <a:ext cx="9907200" cy="1792800"/>
          </a:xfrm>
          <a:prstGeom prst="rect">
            <a:avLst/>
          </a:prstGeom>
          <a:solidFill>
            <a:srgbClr val="F3F2F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en-GB" sz="1100" noProof="0" dirty="0" err="1">
              <a:solidFill>
                <a:srgbClr val="2F363B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7EAAE5C6-2755-4F4E-A878-43F56B65E9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2257" y="272257"/>
            <a:ext cx="8240140" cy="692336"/>
          </a:xfrm>
        </p:spPr>
        <p:txBody>
          <a:bodyPr/>
          <a:lstStyle>
            <a:lvl1pPr>
              <a:defRPr>
                <a:solidFill>
                  <a:srgbClr val="1F2023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5" name="Pladsholder til tekst 2">
            <a:extLst>
              <a:ext uri="{FF2B5EF4-FFF2-40B4-BE49-F238E27FC236}">
                <a16:creationId xmlns:a16="http://schemas.microsoft.com/office/drawing/2014/main" id="{70307FA8-343A-49F8-8A05-FF81EEFEA35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69874" y="5214856"/>
            <a:ext cx="4546601" cy="11018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Pladsholder til tekst 3">
            <a:extLst>
              <a:ext uri="{FF2B5EF4-FFF2-40B4-BE49-F238E27FC236}">
                <a16:creationId xmlns:a16="http://schemas.microsoft.com/office/drawing/2014/main" id="{FCCEAA0A-BD2E-414E-B8BD-A9A06D2A59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087938" y="5214856"/>
            <a:ext cx="4546601" cy="11018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134F504F-A2DE-4572-9711-6650D6AA4E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4" y="6502395"/>
            <a:ext cx="6744111" cy="106116"/>
          </a:xfrm>
        </p:spPr>
        <p:txBody>
          <a:bodyPr rIns="0" anchor="t" anchorCtr="0"/>
          <a:lstStyle>
            <a:lvl1pPr marL="0" indent="0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39303" indent="-139303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lphaU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742950" rtl="0" eaLnBrk="1" latinLnBrk="0" hangingPunct="1">
              <a:defRPr lang="en-GB" sz="894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Notes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9240DFA-E6CC-48C6-9045-36E6CF1B045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9383" y="6504110"/>
            <a:ext cx="1978862" cy="106116"/>
          </a:xfrm>
        </p:spPr>
        <p:txBody>
          <a:bodyPr rIns="0"/>
          <a:lstStyle>
            <a:lvl1pPr algn="r">
              <a:defRPr sz="650">
                <a:solidFill>
                  <a:srgbClr val="1F2023"/>
                </a:solidFill>
              </a:defRPr>
            </a:lvl1pPr>
            <a:lvl2pPr>
              <a:defRPr sz="650"/>
            </a:lvl2pPr>
            <a:lvl3pPr>
              <a:defRPr sz="650"/>
            </a:lvl3pPr>
            <a:lvl4pPr>
              <a:defRPr sz="650"/>
            </a:lvl4pPr>
            <a:lvl5pPr>
              <a:defRPr sz="650"/>
            </a:lvl5pPr>
          </a:lstStyle>
          <a:p>
            <a:pPr lvl="0"/>
            <a:r>
              <a:rPr lang="en-GB" dirty="0"/>
              <a:t>Tracker</a:t>
            </a:r>
          </a:p>
        </p:txBody>
      </p:sp>
      <p:sp>
        <p:nvSpPr>
          <p:cNvPr id="9" name="Date_GeneralDate" hidden="1">
            <a:extLst>
              <a:ext uri="{FF2B5EF4-FFF2-40B4-BE49-F238E27FC236}">
                <a16:creationId xmlns:a16="http://schemas.microsoft.com/office/drawing/2014/main" id="{6908E312-5010-42EE-8694-8788FA4ED6F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69875" y="6978509"/>
            <a:ext cx="0" cy="0"/>
          </a:xfrm>
        </p:spPr>
        <p:txBody>
          <a:bodyPr/>
          <a:lstStyle>
            <a:lvl1pPr algn="l">
              <a:defRPr sz="100" cap="all" spc="163" baseline="0">
                <a:solidFill>
                  <a:schemeClr val="bg2"/>
                </a:solidFill>
              </a:defRPr>
            </a:lvl1pPr>
          </a:lstStyle>
          <a:p>
            <a:fld id="{0E34B196-09BB-4F43-9F79-BDEFD8E35395}" type="datetime1">
              <a:rPr lang="en-US" smtClean="0"/>
              <a:t>2/25/2022</a:t>
            </a:fld>
            <a:endParaRPr lang="en-GB" dirty="0"/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A902AC58-73A2-452C-99E0-CDE39F509B2D}"/>
              </a:ext>
            </a:extLst>
          </p:cNvPr>
          <p:cNvSpPr txBox="1">
            <a:spLocks/>
          </p:cNvSpPr>
          <p:nvPr userDrawn="1"/>
        </p:nvSpPr>
        <p:spPr>
          <a:xfrm>
            <a:off x="9378938" y="6496424"/>
            <a:ext cx="255600" cy="1116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r" defTabSz="914400" rtl="0" eaLnBrk="1" latinLnBrk="0" hangingPunct="1">
              <a:defRPr sz="650" kern="1200" spc="0" baseline="0">
                <a:solidFill>
                  <a:srgbClr val="2F363B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650" smtClean="0">
                <a:solidFill>
                  <a:srgbClr val="1F2023"/>
                </a:solidFill>
              </a:rPr>
              <a:pPr/>
              <a:t>‹#›</a:t>
            </a:fld>
            <a:endParaRPr lang="en-GB" sz="650" dirty="0">
              <a:solidFill>
                <a:srgbClr val="1F20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1640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mall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DCBA12CA-ADA2-4F73-9B88-D50DC1FCE512}"/>
              </a:ext>
            </a:extLst>
          </p:cNvPr>
          <p:cNvSpPr/>
          <p:nvPr userDrawn="1"/>
        </p:nvSpPr>
        <p:spPr>
          <a:xfrm>
            <a:off x="545529" y="3313866"/>
            <a:ext cx="6978315" cy="3544135"/>
          </a:xfrm>
          <a:prstGeom prst="rect">
            <a:avLst/>
          </a:prstGeom>
          <a:solidFill>
            <a:srgbClr val="E4B73B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100" noProof="0" dirty="0" err="1">
              <a:solidFill>
                <a:schemeClr val="tx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CA92447-F633-484C-865A-7E00514C7F7C}"/>
              </a:ext>
            </a:extLst>
          </p:cNvPr>
          <p:cNvSpPr/>
          <p:nvPr userDrawn="1"/>
        </p:nvSpPr>
        <p:spPr>
          <a:xfrm>
            <a:off x="0" y="2136618"/>
            <a:ext cx="6581869" cy="4721382"/>
          </a:xfrm>
          <a:prstGeom prst="rect">
            <a:avLst/>
          </a:prstGeom>
          <a:solidFill>
            <a:srgbClr val="30373B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n-GB" sz="1000" noProof="0" dirty="0">
              <a:solidFill>
                <a:srgbClr val="2F363B"/>
              </a:solidFill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CDAB66FF-3B85-4BEC-B050-88BADAE9CC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9875" y="3313864"/>
            <a:ext cx="4546600" cy="3002799"/>
          </a:xfrm>
          <a:solidFill>
            <a:srgbClr val="30373B"/>
          </a:solidFill>
        </p:spPr>
        <p:txBody>
          <a:bodyPr lIns="0" tIns="0" rIns="0"/>
          <a:lstStyle>
            <a:lvl1pPr>
              <a:lnSpc>
                <a:spcPct val="83000"/>
              </a:lnSpc>
              <a:defRPr sz="4800" cap="all" baseline="0">
                <a:solidFill>
                  <a:srgbClr val="F8F5E7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54A347B2-2B04-4976-8493-17E06C8319C5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auto">
          <a:xfrm rot="5400000">
            <a:off x="9382133" y="400810"/>
            <a:ext cx="350168" cy="154638"/>
          </a:xfrm>
          <a:custGeom>
            <a:avLst/>
            <a:gdLst>
              <a:gd name="connsiteX0" fmla="*/ 242136 w 350168"/>
              <a:gd name="connsiteY0" fmla="*/ 154638 h 154638"/>
              <a:gd name="connsiteX1" fmla="*/ 242136 w 350168"/>
              <a:gd name="connsiteY1" fmla="*/ 141700 h 154638"/>
              <a:gd name="connsiteX2" fmla="*/ 350168 w 350168"/>
              <a:gd name="connsiteY2" fmla="*/ 141700 h 154638"/>
              <a:gd name="connsiteX3" fmla="*/ 350168 w 350168"/>
              <a:gd name="connsiteY3" fmla="*/ 154638 h 154638"/>
              <a:gd name="connsiteX4" fmla="*/ 62944 w 350168"/>
              <a:gd name="connsiteY4" fmla="*/ 154337 h 154638"/>
              <a:gd name="connsiteX5" fmla="*/ 62944 w 350168"/>
              <a:gd name="connsiteY5" fmla="*/ 0 h 154638"/>
              <a:gd name="connsiteX6" fmla="*/ 102688 w 350168"/>
              <a:gd name="connsiteY6" fmla="*/ 0 h 154638"/>
              <a:gd name="connsiteX7" fmla="*/ 141020 w 350168"/>
              <a:gd name="connsiteY7" fmla="*/ 104707 h 154638"/>
              <a:gd name="connsiteX8" fmla="*/ 179755 w 350168"/>
              <a:gd name="connsiteY8" fmla="*/ 0 h 154638"/>
              <a:gd name="connsiteX9" fmla="*/ 217481 w 350168"/>
              <a:gd name="connsiteY9" fmla="*/ 0 h 154638"/>
              <a:gd name="connsiteX10" fmla="*/ 217481 w 350168"/>
              <a:gd name="connsiteY10" fmla="*/ 154337 h 154638"/>
              <a:gd name="connsiteX11" fmla="*/ 187825 w 350168"/>
              <a:gd name="connsiteY11" fmla="*/ 154337 h 154638"/>
              <a:gd name="connsiteX12" fmla="*/ 187825 w 350168"/>
              <a:gd name="connsiteY12" fmla="*/ 53263 h 154638"/>
              <a:gd name="connsiteX13" fmla="*/ 151309 w 350168"/>
              <a:gd name="connsiteY13" fmla="*/ 152117 h 154638"/>
              <a:gd name="connsiteX14" fmla="*/ 128915 w 350168"/>
              <a:gd name="connsiteY14" fmla="*/ 152117 h 154638"/>
              <a:gd name="connsiteX15" fmla="*/ 92601 w 350168"/>
              <a:gd name="connsiteY15" fmla="*/ 52051 h 154638"/>
              <a:gd name="connsiteX16" fmla="*/ 92601 w 350168"/>
              <a:gd name="connsiteY16" fmla="*/ 154337 h 154638"/>
              <a:gd name="connsiteX17" fmla="*/ 0 w 350168"/>
              <a:gd name="connsiteY17" fmla="*/ 154337 h 154638"/>
              <a:gd name="connsiteX18" fmla="*/ 0 w 350168"/>
              <a:gd name="connsiteY18" fmla="*/ 0 h 154638"/>
              <a:gd name="connsiteX19" fmla="*/ 30867 w 350168"/>
              <a:gd name="connsiteY19" fmla="*/ 0 h 154638"/>
              <a:gd name="connsiteX20" fmla="*/ 30867 w 350168"/>
              <a:gd name="connsiteY20" fmla="*/ 154337 h 154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50168" h="154638">
                <a:moveTo>
                  <a:pt x="242136" y="154638"/>
                </a:moveTo>
                <a:lnTo>
                  <a:pt x="242136" y="141700"/>
                </a:lnTo>
                <a:lnTo>
                  <a:pt x="350168" y="141700"/>
                </a:lnTo>
                <a:lnTo>
                  <a:pt x="350168" y="154638"/>
                </a:lnTo>
                <a:close/>
                <a:moveTo>
                  <a:pt x="62944" y="154337"/>
                </a:moveTo>
                <a:lnTo>
                  <a:pt x="62944" y="0"/>
                </a:lnTo>
                <a:lnTo>
                  <a:pt x="102688" y="0"/>
                </a:lnTo>
                <a:lnTo>
                  <a:pt x="141020" y="104707"/>
                </a:lnTo>
                <a:lnTo>
                  <a:pt x="179755" y="0"/>
                </a:lnTo>
                <a:lnTo>
                  <a:pt x="217481" y="0"/>
                </a:lnTo>
                <a:lnTo>
                  <a:pt x="217481" y="154337"/>
                </a:lnTo>
                <a:lnTo>
                  <a:pt x="187825" y="154337"/>
                </a:lnTo>
                <a:lnTo>
                  <a:pt x="187825" y="53263"/>
                </a:lnTo>
                <a:lnTo>
                  <a:pt x="151309" y="152117"/>
                </a:lnTo>
                <a:lnTo>
                  <a:pt x="128915" y="152117"/>
                </a:lnTo>
                <a:lnTo>
                  <a:pt x="92601" y="52051"/>
                </a:lnTo>
                <a:lnTo>
                  <a:pt x="92601" y="154337"/>
                </a:lnTo>
                <a:close/>
                <a:moveTo>
                  <a:pt x="0" y="154337"/>
                </a:moveTo>
                <a:lnTo>
                  <a:pt x="0" y="0"/>
                </a:lnTo>
                <a:lnTo>
                  <a:pt x="30867" y="0"/>
                </a:lnTo>
                <a:lnTo>
                  <a:pt x="30867" y="15433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16" name="Date_GeneralDate" hidden="1">
            <a:extLst>
              <a:ext uri="{FF2B5EF4-FFF2-40B4-BE49-F238E27FC236}">
                <a16:creationId xmlns:a16="http://schemas.microsoft.com/office/drawing/2014/main" id="{EBCC8B2D-A669-40E9-8FE9-23DB9EFDC1C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A6B992C7-6634-439D-B315-9D42978D1A9F}" type="datetime1">
              <a:rPr lang="en-US" smtClean="0"/>
              <a:t>2/25/2022</a:t>
            </a:fld>
            <a:endParaRPr lang="en-GB" dirty="0"/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84A24983-3FE3-44E0-B262-30F59419DD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4" y="6502395"/>
            <a:ext cx="6744111" cy="106116"/>
          </a:xfrm>
        </p:spPr>
        <p:txBody>
          <a:bodyPr rIns="0" anchor="t" anchorCtr="0"/>
          <a:lstStyle>
            <a:lvl1pPr marL="0" indent="0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39303" indent="-139303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lphaU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742950" rtl="0" eaLnBrk="1" latinLnBrk="0" hangingPunct="1">
              <a:defRPr lang="en-GB" sz="894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Not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BFBB7034-9D4A-4ED7-8413-EED87722C6C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9383" y="6504110"/>
            <a:ext cx="1978862" cy="106116"/>
          </a:xfrm>
        </p:spPr>
        <p:txBody>
          <a:bodyPr rIns="0"/>
          <a:lstStyle>
            <a:lvl1pPr algn="r">
              <a:defRPr sz="650">
                <a:solidFill>
                  <a:srgbClr val="1F2023"/>
                </a:solidFill>
              </a:defRPr>
            </a:lvl1pPr>
            <a:lvl2pPr>
              <a:defRPr sz="650"/>
            </a:lvl2pPr>
            <a:lvl3pPr>
              <a:defRPr sz="650"/>
            </a:lvl3pPr>
            <a:lvl4pPr>
              <a:defRPr sz="650"/>
            </a:lvl4pPr>
            <a:lvl5pPr>
              <a:defRPr sz="650"/>
            </a:lvl5pPr>
          </a:lstStyle>
          <a:p>
            <a:pPr lvl="0"/>
            <a:r>
              <a:rPr lang="en-GB" dirty="0"/>
              <a:t>Tracker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D7F13B33-C34D-4F21-8983-11FD855011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70000" y="2635200"/>
            <a:ext cx="4546800" cy="446400"/>
          </a:xfrm>
        </p:spPr>
        <p:txBody>
          <a:bodyPr rIns="0" anchor="b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800">
                <a:solidFill>
                  <a:srgbClr val="F8F5E7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894">
                <a:solidFill>
                  <a:schemeClr val="accent2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9pPr>
          </a:lstStyle>
          <a:p>
            <a:r>
              <a:rPr lang="en-GB" dirty="0"/>
              <a:t>01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41B5CDB0-06FB-41E9-B30A-1B612BDB975B}"/>
              </a:ext>
            </a:extLst>
          </p:cNvPr>
          <p:cNvSpPr txBox="1">
            <a:spLocks/>
          </p:cNvSpPr>
          <p:nvPr userDrawn="1"/>
        </p:nvSpPr>
        <p:spPr>
          <a:xfrm>
            <a:off x="9378938" y="6496424"/>
            <a:ext cx="255600" cy="1116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r" defTabSz="914400" rtl="0" eaLnBrk="1" latinLnBrk="0" hangingPunct="1">
              <a:defRPr sz="650" kern="1200" spc="0" baseline="0">
                <a:solidFill>
                  <a:srgbClr val="2F363B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650" smtClean="0">
                <a:solidFill>
                  <a:srgbClr val="1F2023"/>
                </a:solidFill>
              </a:rPr>
              <a:pPr/>
              <a:t>‹#›</a:t>
            </a:fld>
            <a:endParaRPr lang="en-GB" sz="650" dirty="0">
              <a:solidFill>
                <a:srgbClr val="1F20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7330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E917AF-569C-4E83-8E2D-56013EA7AA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8388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5" imgW="408" imgH="408" progId="TCLayout.ActiveDocument.1">
                  <p:embed/>
                </p:oleObj>
              </mc:Choice>
              <mc:Fallback>
                <p:oleObj name="think-cell Slide" r:id="rId5" imgW="408" imgH="4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E917AF-569C-4E83-8E2D-56013EA7AA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7E59AFDB-E223-470E-8D22-64189D0DE859}"/>
              </a:ext>
            </a:extLst>
          </p:cNvPr>
          <p:cNvSpPr/>
          <p:nvPr userDrawn="1"/>
        </p:nvSpPr>
        <p:spPr>
          <a:xfrm>
            <a:off x="545529" y="3313866"/>
            <a:ext cx="6978315" cy="3544135"/>
          </a:xfrm>
          <a:prstGeom prst="rect">
            <a:avLst/>
          </a:prstGeom>
          <a:solidFill>
            <a:srgbClr val="8AA29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100" noProof="0" dirty="0" err="1">
              <a:solidFill>
                <a:srgbClr val="1F2023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3AEB493-9A07-4D62-BC33-B44675629FCD}"/>
              </a:ext>
            </a:extLst>
          </p:cNvPr>
          <p:cNvSpPr/>
          <p:nvPr userDrawn="1"/>
        </p:nvSpPr>
        <p:spPr>
          <a:xfrm>
            <a:off x="0" y="2136618"/>
            <a:ext cx="6581869" cy="4721382"/>
          </a:xfrm>
          <a:prstGeom prst="rect">
            <a:avLst/>
          </a:prstGeom>
          <a:solidFill>
            <a:srgbClr val="E2DE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n-GB" sz="1000" noProof="0" dirty="0">
              <a:solidFill>
                <a:srgbClr val="2F363B"/>
              </a:solidFill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A400803-DD4C-4741-BA21-295DF4FBBD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9874" y="3313864"/>
            <a:ext cx="4546601" cy="3002800"/>
          </a:xfrm>
          <a:noFill/>
        </p:spPr>
        <p:txBody>
          <a:bodyPr vert="horz" lIns="0" tIns="0" rIns="0"/>
          <a:lstStyle>
            <a:lvl1pPr>
              <a:lnSpc>
                <a:spcPct val="83000"/>
              </a:lnSpc>
              <a:defRPr sz="4800" cap="all" baseline="0">
                <a:solidFill>
                  <a:srgbClr val="30373B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4026F2F-C254-4600-867F-F877C37EA6DD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 rot="5400000">
            <a:off x="9382133" y="400810"/>
            <a:ext cx="350168" cy="154638"/>
          </a:xfrm>
          <a:custGeom>
            <a:avLst/>
            <a:gdLst>
              <a:gd name="connsiteX0" fmla="*/ 242136 w 350168"/>
              <a:gd name="connsiteY0" fmla="*/ 154638 h 154638"/>
              <a:gd name="connsiteX1" fmla="*/ 242136 w 350168"/>
              <a:gd name="connsiteY1" fmla="*/ 141700 h 154638"/>
              <a:gd name="connsiteX2" fmla="*/ 350168 w 350168"/>
              <a:gd name="connsiteY2" fmla="*/ 141700 h 154638"/>
              <a:gd name="connsiteX3" fmla="*/ 350168 w 350168"/>
              <a:gd name="connsiteY3" fmla="*/ 154638 h 154638"/>
              <a:gd name="connsiteX4" fmla="*/ 62944 w 350168"/>
              <a:gd name="connsiteY4" fmla="*/ 154337 h 154638"/>
              <a:gd name="connsiteX5" fmla="*/ 62944 w 350168"/>
              <a:gd name="connsiteY5" fmla="*/ 0 h 154638"/>
              <a:gd name="connsiteX6" fmla="*/ 102688 w 350168"/>
              <a:gd name="connsiteY6" fmla="*/ 0 h 154638"/>
              <a:gd name="connsiteX7" fmla="*/ 141020 w 350168"/>
              <a:gd name="connsiteY7" fmla="*/ 104707 h 154638"/>
              <a:gd name="connsiteX8" fmla="*/ 179755 w 350168"/>
              <a:gd name="connsiteY8" fmla="*/ 0 h 154638"/>
              <a:gd name="connsiteX9" fmla="*/ 217481 w 350168"/>
              <a:gd name="connsiteY9" fmla="*/ 0 h 154638"/>
              <a:gd name="connsiteX10" fmla="*/ 217481 w 350168"/>
              <a:gd name="connsiteY10" fmla="*/ 154337 h 154638"/>
              <a:gd name="connsiteX11" fmla="*/ 187825 w 350168"/>
              <a:gd name="connsiteY11" fmla="*/ 154337 h 154638"/>
              <a:gd name="connsiteX12" fmla="*/ 187825 w 350168"/>
              <a:gd name="connsiteY12" fmla="*/ 53263 h 154638"/>
              <a:gd name="connsiteX13" fmla="*/ 151309 w 350168"/>
              <a:gd name="connsiteY13" fmla="*/ 152117 h 154638"/>
              <a:gd name="connsiteX14" fmla="*/ 128915 w 350168"/>
              <a:gd name="connsiteY14" fmla="*/ 152117 h 154638"/>
              <a:gd name="connsiteX15" fmla="*/ 92601 w 350168"/>
              <a:gd name="connsiteY15" fmla="*/ 52051 h 154638"/>
              <a:gd name="connsiteX16" fmla="*/ 92601 w 350168"/>
              <a:gd name="connsiteY16" fmla="*/ 154337 h 154638"/>
              <a:gd name="connsiteX17" fmla="*/ 0 w 350168"/>
              <a:gd name="connsiteY17" fmla="*/ 154337 h 154638"/>
              <a:gd name="connsiteX18" fmla="*/ 0 w 350168"/>
              <a:gd name="connsiteY18" fmla="*/ 0 h 154638"/>
              <a:gd name="connsiteX19" fmla="*/ 30867 w 350168"/>
              <a:gd name="connsiteY19" fmla="*/ 0 h 154638"/>
              <a:gd name="connsiteX20" fmla="*/ 30867 w 350168"/>
              <a:gd name="connsiteY20" fmla="*/ 154337 h 154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50168" h="154638">
                <a:moveTo>
                  <a:pt x="242136" y="154638"/>
                </a:moveTo>
                <a:lnTo>
                  <a:pt x="242136" y="141700"/>
                </a:lnTo>
                <a:lnTo>
                  <a:pt x="350168" y="141700"/>
                </a:lnTo>
                <a:lnTo>
                  <a:pt x="350168" y="154638"/>
                </a:lnTo>
                <a:close/>
                <a:moveTo>
                  <a:pt x="62944" y="154337"/>
                </a:moveTo>
                <a:lnTo>
                  <a:pt x="62944" y="0"/>
                </a:lnTo>
                <a:lnTo>
                  <a:pt x="102688" y="0"/>
                </a:lnTo>
                <a:lnTo>
                  <a:pt x="141020" y="104707"/>
                </a:lnTo>
                <a:lnTo>
                  <a:pt x="179755" y="0"/>
                </a:lnTo>
                <a:lnTo>
                  <a:pt x="217481" y="0"/>
                </a:lnTo>
                <a:lnTo>
                  <a:pt x="217481" y="154337"/>
                </a:lnTo>
                <a:lnTo>
                  <a:pt x="187825" y="154337"/>
                </a:lnTo>
                <a:lnTo>
                  <a:pt x="187825" y="53263"/>
                </a:lnTo>
                <a:lnTo>
                  <a:pt x="151309" y="152117"/>
                </a:lnTo>
                <a:lnTo>
                  <a:pt x="128915" y="152117"/>
                </a:lnTo>
                <a:lnTo>
                  <a:pt x="92601" y="52051"/>
                </a:lnTo>
                <a:lnTo>
                  <a:pt x="92601" y="154337"/>
                </a:lnTo>
                <a:close/>
                <a:moveTo>
                  <a:pt x="0" y="154337"/>
                </a:moveTo>
                <a:lnTo>
                  <a:pt x="0" y="0"/>
                </a:lnTo>
                <a:lnTo>
                  <a:pt x="30867" y="0"/>
                </a:lnTo>
                <a:lnTo>
                  <a:pt x="30867" y="15433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>
              <a:solidFill>
                <a:srgbClr val="30373B"/>
              </a:solidFill>
            </a:endParaRPr>
          </a:p>
        </p:txBody>
      </p:sp>
      <p:sp>
        <p:nvSpPr>
          <p:cNvPr id="15" name="Date_GeneralDate" hidden="1">
            <a:extLst>
              <a:ext uri="{FF2B5EF4-FFF2-40B4-BE49-F238E27FC236}">
                <a16:creationId xmlns:a16="http://schemas.microsoft.com/office/drawing/2014/main" id="{468647FE-6C52-44F1-BA7A-3E3EAE4AEFB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24DE7E4B-D8DB-4808-A54B-D0DC3EA24473}" type="datetime1">
              <a:rPr lang="en-US" smtClean="0"/>
              <a:t>2/25/2022</a:t>
            </a:fld>
            <a:endParaRPr lang="en-GB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86543865-3BC1-4935-95C1-E497FFC7549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9874" y="6502395"/>
            <a:ext cx="6744111" cy="106116"/>
          </a:xfrm>
        </p:spPr>
        <p:txBody>
          <a:bodyPr rIns="0" anchor="t" anchorCtr="0"/>
          <a:lstStyle>
            <a:lvl1pPr marL="0" indent="0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39303" indent="-139303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lphaU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742950" rtl="0" eaLnBrk="1" latinLnBrk="0" hangingPunct="1">
              <a:defRPr lang="en-GB" sz="894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Not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5A4369CD-5E24-463F-81D4-A841AD7848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9383" y="6504110"/>
            <a:ext cx="1978862" cy="106116"/>
          </a:xfrm>
        </p:spPr>
        <p:txBody>
          <a:bodyPr rIns="0"/>
          <a:lstStyle>
            <a:lvl1pPr algn="r">
              <a:defRPr sz="650">
                <a:solidFill>
                  <a:srgbClr val="1F2023"/>
                </a:solidFill>
              </a:defRPr>
            </a:lvl1pPr>
            <a:lvl2pPr>
              <a:defRPr sz="650"/>
            </a:lvl2pPr>
            <a:lvl3pPr>
              <a:defRPr sz="650"/>
            </a:lvl3pPr>
            <a:lvl4pPr>
              <a:defRPr sz="650"/>
            </a:lvl4pPr>
            <a:lvl5pPr>
              <a:defRPr sz="650"/>
            </a:lvl5pPr>
          </a:lstStyle>
          <a:p>
            <a:pPr lvl="0"/>
            <a:r>
              <a:rPr lang="en-GB" dirty="0"/>
              <a:t>Tracker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82CA8D50-15A3-40DF-841C-92CF977F081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70000" y="2635200"/>
            <a:ext cx="4546800" cy="446400"/>
          </a:xfrm>
        </p:spPr>
        <p:txBody>
          <a:bodyPr rIns="0" anchor="b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800">
                <a:solidFill>
                  <a:srgbClr val="30373B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894">
                <a:solidFill>
                  <a:schemeClr val="accent2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9pPr>
          </a:lstStyle>
          <a:p>
            <a:r>
              <a:rPr lang="en-GB" dirty="0"/>
              <a:t>01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BF3C1682-21F9-4439-9B5D-DC3712E655A4}"/>
              </a:ext>
            </a:extLst>
          </p:cNvPr>
          <p:cNvSpPr txBox="1">
            <a:spLocks/>
          </p:cNvSpPr>
          <p:nvPr userDrawn="1"/>
        </p:nvSpPr>
        <p:spPr>
          <a:xfrm>
            <a:off x="9378938" y="6496424"/>
            <a:ext cx="255600" cy="1116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r" defTabSz="914400" rtl="0" eaLnBrk="1" latinLnBrk="0" hangingPunct="1">
              <a:defRPr sz="650" kern="1200" spc="0" baseline="0">
                <a:solidFill>
                  <a:srgbClr val="2F363B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650" smtClean="0">
                <a:solidFill>
                  <a:srgbClr val="1F2023"/>
                </a:solidFill>
              </a:rPr>
              <a:pPr/>
              <a:t>‹#›</a:t>
            </a:fld>
            <a:endParaRPr lang="en-GB" sz="650" dirty="0">
              <a:solidFill>
                <a:srgbClr val="1F20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9047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Imag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8956EEE-EB95-47F5-8FCE-00894DE9DB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5087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8956EEE-EB95-47F5-8FCE-00894DE9DB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B40B7F21-6889-46F7-BB5C-8FDE3B947050}"/>
              </a:ext>
            </a:extLst>
          </p:cNvPr>
          <p:cNvSpPr/>
          <p:nvPr userDrawn="1"/>
        </p:nvSpPr>
        <p:spPr>
          <a:xfrm>
            <a:off x="0" y="0"/>
            <a:ext cx="7139587" cy="5498510"/>
          </a:xfrm>
          <a:prstGeom prst="rect">
            <a:avLst/>
          </a:prstGeom>
          <a:solidFill>
            <a:srgbClr val="30373B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n-GB" sz="1000" noProof="0" dirty="0">
              <a:solidFill>
                <a:srgbClr val="2F363B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949D33-2E01-4246-97EA-A41F8450A0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2256" y="1637532"/>
            <a:ext cx="4818062" cy="3942085"/>
          </a:xfrm>
          <a:noFill/>
        </p:spPr>
        <p:txBody>
          <a:bodyPr vert="horz" lIns="0" tIns="0" rIns="0"/>
          <a:lstStyle>
            <a:lvl1pPr>
              <a:lnSpc>
                <a:spcPct val="80000"/>
              </a:lnSpc>
              <a:defRPr sz="7200" cap="all" baseline="0">
                <a:solidFill>
                  <a:srgbClr val="F8F5E7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D28A0F75-809B-475F-9625-96536868000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087937" y="3313867"/>
            <a:ext cx="4818064" cy="3544134"/>
          </a:xfrm>
          <a:custGeom>
            <a:avLst/>
            <a:gdLst>
              <a:gd name="connsiteX0" fmla="*/ 2051650 w 4818064"/>
              <a:gd name="connsiteY0" fmla="*/ 0 h 3544134"/>
              <a:gd name="connsiteX1" fmla="*/ 4818064 w 4818064"/>
              <a:gd name="connsiteY1" fmla="*/ 0 h 3544134"/>
              <a:gd name="connsiteX2" fmla="*/ 4818064 w 4818064"/>
              <a:gd name="connsiteY2" fmla="*/ 3544134 h 3544134"/>
              <a:gd name="connsiteX3" fmla="*/ 0 w 4818064"/>
              <a:gd name="connsiteY3" fmla="*/ 3544134 h 3544134"/>
              <a:gd name="connsiteX4" fmla="*/ 0 w 4818064"/>
              <a:gd name="connsiteY4" fmla="*/ 2184643 h 3544134"/>
              <a:gd name="connsiteX5" fmla="*/ 2051650 w 4818064"/>
              <a:gd name="connsiteY5" fmla="*/ 2184643 h 3544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18064" h="3544134">
                <a:moveTo>
                  <a:pt x="2051650" y="0"/>
                </a:moveTo>
                <a:lnTo>
                  <a:pt x="4818064" y="0"/>
                </a:lnTo>
                <a:lnTo>
                  <a:pt x="4818064" y="3544134"/>
                </a:lnTo>
                <a:lnTo>
                  <a:pt x="0" y="3544134"/>
                </a:lnTo>
                <a:lnTo>
                  <a:pt x="0" y="2184643"/>
                </a:lnTo>
                <a:lnTo>
                  <a:pt x="2051650" y="2184643"/>
                </a:lnTo>
                <a:close/>
              </a:path>
            </a:pathLst>
          </a:custGeom>
          <a:solidFill>
            <a:srgbClr val="F3F2F0"/>
          </a:solidFill>
        </p:spPr>
        <p:txBody>
          <a:bodyPr wrap="square" tIns="0" rIns="792000" anchor="ctr" anchorCtr="0">
            <a:noAutofit/>
          </a:bodyPr>
          <a:lstStyle>
            <a:lvl1pPr marL="0" indent="0" algn="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2" name="Date_GeneralDate" hidden="1">
            <a:extLst>
              <a:ext uri="{FF2B5EF4-FFF2-40B4-BE49-F238E27FC236}">
                <a16:creationId xmlns:a16="http://schemas.microsoft.com/office/drawing/2014/main" id="{72F84A8E-04B6-4AFB-8124-0C737CA3AA6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598A7ED6-3E23-485A-9D80-D7A916B70A56}" type="datetime1">
              <a:rPr lang="en-US" smtClean="0"/>
              <a:t>2/25/2022</a:t>
            </a:fld>
            <a:endParaRPr lang="en-GB" dirty="0"/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2A57E2F6-7A9F-41E2-8D7F-40B6A933644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4" y="6502395"/>
            <a:ext cx="6744111" cy="106116"/>
          </a:xfrm>
        </p:spPr>
        <p:txBody>
          <a:bodyPr rIns="0" anchor="t" anchorCtr="0"/>
          <a:lstStyle>
            <a:lvl1pPr marL="0" indent="0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39303" indent="-139303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lphaU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742950" rtl="0" eaLnBrk="1" latinLnBrk="0" hangingPunct="1">
              <a:defRPr lang="en-GB" sz="894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Note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869A39D-F552-456B-98AA-EA2E96DAAF7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9383" y="6504110"/>
            <a:ext cx="1978862" cy="106116"/>
          </a:xfrm>
        </p:spPr>
        <p:txBody>
          <a:bodyPr rIns="0"/>
          <a:lstStyle>
            <a:lvl1pPr algn="r">
              <a:defRPr sz="650">
                <a:solidFill>
                  <a:srgbClr val="1F2023"/>
                </a:solidFill>
              </a:defRPr>
            </a:lvl1pPr>
            <a:lvl2pPr>
              <a:defRPr sz="650"/>
            </a:lvl2pPr>
            <a:lvl3pPr>
              <a:defRPr sz="650"/>
            </a:lvl3pPr>
            <a:lvl4pPr>
              <a:defRPr sz="650"/>
            </a:lvl4pPr>
            <a:lvl5pPr>
              <a:defRPr sz="650"/>
            </a:lvl5pPr>
          </a:lstStyle>
          <a:p>
            <a:pPr lvl="0"/>
            <a:r>
              <a:rPr lang="en-GB" dirty="0"/>
              <a:t>Tracker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CFF4527F-65EB-4F46-A2FA-0DBCB954E07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72381" y="986400"/>
            <a:ext cx="4546800" cy="446400"/>
          </a:xfrm>
        </p:spPr>
        <p:txBody>
          <a:bodyPr rIns="0" anchor="b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800">
                <a:solidFill>
                  <a:srgbClr val="F8F5E7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894">
                <a:solidFill>
                  <a:schemeClr val="accent2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9pPr>
          </a:lstStyle>
          <a:p>
            <a:r>
              <a:rPr lang="en-GB" dirty="0"/>
              <a:t>01</a:t>
            </a:r>
          </a:p>
        </p:txBody>
      </p:sp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279034CF-2E6B-4BB0-801D-FC0CDDEE8AC7}"/>
              </a:ext>
            </a:extLst>
          </p:cNvPr>
          <p:cNvSpPr txBox="1">
            <a:spLocks/>
          </p:cNvSpPr>
          <p:nvPr userDrawn="1"/>
        </p:nvSpPr>
        <p:spPr>
          <a:xfrm>
            <a:off x="9378938" y="6496424"/>
            <a:ext cx="255600" cy="1116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r" defTabSz="914400" rtl="0" eaLnBrk="1" latinLnBrk="0" hangingPunct="1">
              <a:defRPr sz="650" kern="1200" spc="0" baseline="0">
                <a:solidFill>
                  <a:srgbClr val="2F363B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650" smtClean="0">
                <a:solidFill>
                  <a:srgbClr val="1F2023"/>
                </a:solidFill>
              </a:rPr>
              <a:pPr/>
              <a:t>‹#›</a:t>
            </a:fld>
            <a:endParaRPr lang="en-GB" sz="650" dirty="0">
              <a:solidFill>
                <a:srgbClr val="1F20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5705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Imag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0384F1C-2B49-4C73-BAAB-8F80AD9887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30396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0384F1C-2B49-4C73-BAAB-8F80AD9887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B40B7F21-6889-46F7-BB5C-8FDE3B947050}"/>
              </a:ext>
            </a:extLst>
          </p:cNvPr>
          <p:cNvSpPr/>
          <p:nvPr userDrawn="1"/>
        </p:nvSpPr>
        <p:spPr>
          <a:xfrm>
            <a:off x="0" y="0"/>
            <a:ext cx="7139587" cy="5498510"/>
          </a:xfrm>
          <a:prstGeom prst="rect">
            <a:avLst/>
          </a:prstGeom>
          <a:solidFill>
            <a:srgbClr val="F8F5E7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n-GB" sz="1000" noProof="0" dirty="0">
              <a:solidFill>
                <a:srgbClr val="2F363B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949D33-2E01-4246-97EA-A41F8450A0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2256" y="1635154"/>
            <a:ext cx="4818062" cy="3942085"/>
          </a:xfrm>
          <a:noFill/>
        </p:spPr>
        <p:txBody>
          <a:bodyPr vert="horz" lIns="0" tIns="0" rIns="0"/>
          <a:lstStyle>
            <a:lvl1pPr>
              <a:lnSpc>
                <a:spcPct val="80000"/>
              </a:lnSpc>
              <a:defRPr sz="7200" cap="all" baseline="0">
                <a:solidFill>
                  <a:srgbClr val="30373B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A59E3657-65EB-4AC9-A889-2F2DCA5DEF1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087937" y="3313867"/>
            <a:ext cx="4818064" cy="3544134"/>
          </a:xfrm>
          <a:custGeom>
            <a:avLst/>
            <a:gdLst>
              <a:gd name="connsiteX0" fmla="*/ 2051650 w 4818064"/>
              <a:gd name="connsiteY0" fmla="*/ 0 h 3544134"/>
              <a:gd name="connsiteX1" fmla="*/ 4818064 w 4818064"/>
              <a:gd name="connsiteY1" fmla="*/ 0 h 3544134"/>
              <a:gd name="connsiteX2" fmla="*/ 4818064 w 4818064"/>
              <a:gd name="connsiteY2" fmla="*/ 3544134 h 3544134"/>
              <a:gd name="connsiteX3" fmla="*/ 0 w 4818064"/>
              <a:gd name="connsiteY3" fmla="*/ 3544134 h 3544134"/>
              <a:gd name="connsiteX4" fmla="*/ 0 w 4818064"/>
              <a:gd name="connsiteY4" fmla="*/ 2184643 h 3544134"/>
              <a:gd name="connsiteX5" fmla="*/ 2051650 w 4818064"/>
              <a:gd name="connsiteY5" fmla="*/ 2184643 h 3544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18064" h="3544134">
                <a:moveTo>
                  <a:pt x="2051650" y="0"/>
                </a:moveTo>
                <a:lnTo>
                  <a:pt x="4818064" y="0"/>
                </a:lnTo>
                <a:lnTo>
                  <a:pt x="4818064" y="3544134"/>
                </a:lnTo>
                <a:lnTo>
                  <a:pt x="0" y="3544134"/>
                </a:lnTo>
                <a:lnTo>
                  <a:pt x="0" y="2184643"/>
                </a:lnTo>
                <a:lnTo>
                  <a:pt x="2051650" y="2184643"/>
                </a:lnTo>
                <a:close/>
              </a:path>
            </a:pathLst>
          </a:custGeom>
          <a:solidFill>
            <a:srgbClr val="F3F2F0"/>
          </a:solidFill>
        </p:spPr>
        <p:txBody>
          <a:bodyPr wrap="square" tIns="0" rIns="792000" anchor="ctr" anchorCtr="0">
            <a:noAutofit/>
          </a:bodyPr>
          <a:lstStyle>
            <a:lvl1pPr marL="0" indent="0" algn="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2" name="Date_GeneralDate" hidden="1">
            <a:extLst>
              <a:ext uri="{FF2B5EF4-FFF2-40B4-BE49-F238E27FC236}">
                <a16:creationId xmlns:a16="http://schemas.microsoft.com/office/drawing/2014/main" id="{3B47F6AE-B5F8-41F1-A04D-A62B205BB83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955829E1-31C4-4316-8A73-723D94D230B7}" type="datetime1">
              <a:rPr lang="en-US" smtClean="0"/>
              <a:t>2/25/2022</a:t>
            </a:fld>
            <a:endParaRPr lang="en-GB" dirty="0"/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AAD0613F-D90D-4B42-8B85-F0BFD67C75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4" y="6502395"/>
            <a:ext cx="6744111" cy="106116"/>
          </a:xfrm>
        </p:spPr>
        <p:txBody>
          <a:bodyPr rIns="0" anchor="t" anchorCtr="0"/>
          <a:lstStyle>
            <a:lvl1pPr marL="0" indent="0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39303" indent="-139303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lphaU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742950" rtl="0" eaLnBrk="1" latinLnBrk="0" hangingPunct="1">
              <a:defRPr lang="en-GB" sz="894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Note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39019BB-4948-420F-B138-15E662A37A7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9383" y="6504110"/>
            <a:ext cx="1978862" cy="106116"/>
          </a:xfrm>
        </p:spPr>
        <p:txBody>
          <a:bodyPr rIns="0"/>
          <a:lstStyle>
            <a:lvl1pPr algn="r">
              <a:defRPr sz="650">
                <a:solidFill>
                  <a:srgbClr val="1F2023"/>
                </a:solidFill>
              </a:defRPr>
            </a:lvl1pPr>
            <a:lvl2pPr>
              <a:defRPr sz="650"/>
            </a:lvl2pPr>
            <a:lvl3pPr>
              <a:defRPr sz="650"/>
            </a:lvl3pPr>
            <a:lvl4pPr>
              <a:defRPr sz="650"/>
            </a:lvl4pPr>
            <a:lvl5pPr>
              <a:defRPr sz="650"/>
            </a:lvl5pPr>
          </a:lstStyle>
          <a:p>
            <a:pPr lvl="0"/>
            <a:r>
              <a:rPr lang="en-GB" dirty="0"/>
              <a:t>Tracker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D2429F2-5800-4003-9624-72D1351D36D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72381" y="986400"/>
            <a:ext cx="4546800" cy="446400"/>
          </a:xfrm>
        </p:spPr>
        <p:txBody>
          <a:bodyPr rIns="0" anchor="b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800">
                <a:solidFill>
                  <a:srgbClr val="30373B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894">
                <a:solidFill>
                  <a:schemeClr val="accent2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9pPr>
          </a:lstStyle>
          <a:p>
            <a:r>
              <a:rPr lang="en-GB" dirty="0"/>
              <a:t>01</a:t>
            </a:r>
          </a:p>
        </p:txBody>
      </p:sp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1845E595-7591-402F-8913-735F5221D494}"/>
              </a:ext>
            </a:extLst>
          </p:cNvPr>
          <p:cNvSpPr txBox="1">
            <a:spLocks/>
          </p:cNvSpPr>
          <p:nvPr userDrawn="1"/>
        </p:nvSpPr>
        <p:spPr>
          <a:xfrm>
            <a:off x="9378938" y="6496424"/>
            <a:ext cx="255600" cy="1116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r" defTabSz="914400" rtl="0" eaLnBrk="1" latinLnBrk="0" hangingPunct="1">
              <a:defRPr sz="650" kern="1200" spc="0" baseline="0">
                <a:solidFill>
                  <a:srgbClr val="2F363B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650" smtClean="0">
                <a:solidFill>
                  <a:srgbClr val="1F2023"/>
                </a:solidFill>
              </a:rPr>
              <a:pPr/>
              <a:t>‹#›</a:t>
            </a:fld>
            <a:endParaRPr lang="en-GB" sz="650" dirty="0">
              <a:solidFill>
                <a:srgbClr val="1F20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3756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7231CA1-CB08-4842-BBE8-CD837FC1BE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53984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5" imgW="408" imgH="408" progId="TCLayout.ActiveDocument.1">
                  <p:embed/>
                </p:oleObj>
              </mc:Choice>
              <mc:Fallback>
                <p:oleObj name="think-cell Slide" r:id="rId5" imgW="408" imgH="40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7231CA1-CB08-4842-BBE8-CD837FC1BE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B40B7F21-6889-46F7-BB5C-8FDE3B947050}"/>
              </a:ext>
            </a:extLst>
          </p:cNvPr>
          <p:cNvSpPr/>
          <p:nvPr userDrawn="1"/>
        </p:nvSpPr>
        <p:spPr>
          <a:xfrm>
            <a:off x="2" y="0"/>
            <a:ext cx="9905998" cy="6858000"/>
          </a:xfrm>
          <a:prstGeom prst="rect">
            <a:avLst/>
          </a:prstGeom>
          <a:solidFill>
            <a:srgbClr val="30373B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500" tIns="58500" rIns="58500" bIns="58500" rtlCol="0" anchor="t" anchorCtr="0"/>
          <a:lstStyle/>
          <a:p>
            <a:pPr algn="l"/>
            <a:endParaRPr lang="en-GB" sz="813" noProof="0" dirty="0">
              <a:solidFill>
                <a:srgbClr val="2F363B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949D33-2E01-4246-97EA-A41F8450A0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7850" y="2228850"/>
            <a:ext cx="7710300" cy="2823894"/>
          </a:xfrm>
          <a:noFill/>
        </p:spPr>
        <p:txBody>
          <a:bodyPr vert="horz" lIns="0" tIns="0" rIns="0"/>
          <a:lstStyle>
            <a:lvl1pPr>
              <a:lnSpc>
                <a:spcPct val="83000"/>
              </a:lnSpc>
              <a:defRPr sz="5850" cap="all" baseline="0">
                <a:solidFill>
                  <a:srgbClr val="F8F5E7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3" name="Freeform: Shape 13">
            <a:extLst>
              <a:ext uri="{FF2B5EF4-FFF2-40B4-BE49-F238E27FC236}">
                <a16:creationId xmlns:a16="http://schemas.microsoft.com/office/drawing/2014/main" id="{F1E411B7-9176-498E-B9E2-2DE05B18027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 rot="5400000">
            <a:off x="9382133" y="400810"/>
            <a:ext cx="350168" cy="154638"/>
          </a:xfrm>
          <a:custGeom>
            <a:avLst/>
            <a:gdLst>
              <a:gd name="connsiteX0" fmla="*/ 242136 w 350168"/>
              <a:gd name="connsiteY0" fmla="*/ 154638 h 154638"/>
              <a:gd name="connsiteX1" fmla="*/ 242136 w 350168"/>
              <a:gd name="connsiteY1" fmla="*/ 141700 h 154638"/>
              <a:gd name="connsiteX2" fmla="*/ 350168 w 350168"/>
              <a:gd name="connsiteY2" fmla="*/ 141700 h 154638"/>
              <a:gd name="connsiteX3" fmla="*/ 350168 w 350168"/>
              <a:gd name="connsiteY3" fmla="*/ 154638 h 154638"/>
              <a:gd name="connsiteX4" fmla="*/ 62944 w 350168"/>
              <a:gd name="connsiteY4" fmla="*/ 154337 h 154638"/>
              <a:gd name="connsiteX5" fmla="*/ 62944 w 350168"/>
              <a:gd name="connsiteY5" fmla="*/ 0 h 154638"/>
              <a:gd name="connsiteX6" fmla="*/ 102688 w 350168"/>
              <a:gd name="connsiteY6" fmla="*/ 0 h 154638"/>
              <a:gd name="connsiteX7" fmla="*/ 141020 w 350168"/>
              <a:gd name="connsiteY7" fmla="*/ 104707 h 154638"/>
              <a:gd name="connsiteX8" fmla="*/ 179755 w 350168"/>
              <a:gd name="connsiteY8" fmla="*/ 0 h 154638"/>
              <a:gd name="connsiteX9" fmla="*/ 217481 w 350168"/>
              <a:gd name="connsiteY9" fmla="*/ 0 h 154638"/>
              <a:gd name="connsiteX10" fmla="*/ 217481 w 350168"/>
              <a:gd name="connsiteY10" fmla="*/ 154337 h 154638"/>
              <a:gd name="connsiteX11" fmla="*/ 187825 w 350168"/>
              <a:gd name="connsiteY11" fmla="*/ 154337 h 154638"/>
              <a:gd name="connsiteX12" fmla="*/ 187825 w 350168"/>
              <a:gd name="connsiteY12" fmla="*/ 53263 h 154638"/>
              <a:gd name="connsiteX13" fmla="*/ 151309 w 350168"/>
              <a:gd name="connsiteY13" fmla="*/ 152117 h 154638"/>
              <a:gd name="connsiteX14" fmla="*/ 128915 w 350168"/>
              <a:gd name="connsiteY14" fmla="*/ 152117 h 154638"/>
              <a:gd name="connsiteX15" fmla="*/ 92601 w 350168"/>
              <a:gd name="connsiteY15" fmla="*/ 52051 h 154638"/>
              <a:gd name="connsiteX16" fmla="*/ 92601 w 350168"/>
              <a:gd name="connsiteY16" fmla="*/ 154337 h 154638"/>
              <a:gd name="connsiteX17" fmla="*/ 0 w 350168"/>
              <a:gd name="connsiteY17" fmla="*/ 154337 h 154638"/>
              <a:gd name="connsiteX18" fmla="*/ 0 w 350168"/>
              <a:gd name="connsiteY18" fmla="*/ 0 h 154638"/>
              <a:gd name="connsiteX19" fmla="*/ 30867 w 350168"/>
              <a:gd name="connsiteY19" fmla="*/ 0 h 154638"/>
              <a:gd name="connsiteX20" fmla="*/ 30867 w 350168"/>
              <a:gd name="connsiteY20" fmla="*/ 154337 h 154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50168" h="154638">
                <a:moveTo>
                  <a:pt x="242136" y="154638"/>
                </a:moveTo>
                <a:lnTo>
                  <a:pt x="242136" y="141700"/>
                </a:lnTo>
                <a:lnTo>
                  <a:pt x="350168" y="141700"/>
                </a:lnTo>
                <a:lnTo>
                  <a:pt x="350168" y="154638"/>
                </a:lnTo>
                <a:close/>
                <a:moveTo>
                  <a:pt x="62944" y="154337"/>
                </a:moveTo>
                <a:lnTo>
                  <a:pt x="62944" y="0"/>
                </a:lnTo>
                <a:lnTo>
                  <a:pt x="102688" y="0"/>
                </a:lnTo>
                <a:lnTo>
                  <a:pt x="141020" y="104707"/>
                </a:lnTo>
                <a:lnTo>
                  <a:pt x="179755" y="0"/>
                </a:lnTo>
                <a:lnTo>
                  <a:pt x="217481" y="0"/>
                </a:lnTo>
                <a:lnTo>
                  <a:pt x="217481" y="154337"/>
                </a:lnTo>
                <a:lnTo>
                  <a:pt x="187825" y="154337"/>
                </a:lnTo>
                <a:lnTo>
                  <a:pt x="187825" y="53263"/>
                </a:lnTo>
                <a:lnTo>
                  <a:pt x="151309" y="152117"/>
                </a:lnTo>
                <a:lnTo>
                  <a:pt x="128915" y="152117"/>
                </a:lnTo>
                <a:lnTo>
                  <a:pt x="92601" y="52051"/>
                </a:lnTo>
                <a:lnTo>
                  <a:pt x="92601" y="154337"/>
                </a:lnTo>
                <a:close/>
                <a:moveTo>
                  <a:pt x="0" y="154337"/>
                </a:moveTo>
                <a:lnTo>
                  <a:pt x="0" y="0"/>
                </a:lnTo>
                <a:lnTo>
                  <a:pt x="30867" y="0"/>
                </a:lnTo>
                <a:lnTo>
                  <a:pt x="30867" y="15433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10" name="Date_GeneralDate" hidden="1">
            <a:extLst>
              <a:ext uri="{FF2B5EF4-FFF2-40B4-BE49-F238E27FC236}">
                <a16:creationId xmlns:a16="http://schemas.microsoft.com/office/drawing/2014/main" id="{2FE83F57-F57F-4919-AE4C-5C6E98678D7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5FC0D15E-2B73-42FD-9F1F-6074BF7A5DDE}" type="datetime1">
              <a:rPr lang="en-US" smtClean="0"/>
              <a:t>2/25/2022</a:t>
            </a:fld>
            <a:endParaRPr lang="en-GB" dirty="0"/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63D9665C-B7E6-4B35-A0AB-230AA73AD9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4" y="6502395"/>
            <a:ext cx="6744111" cy="106116"/>
          </a:xfrm>
        </p:spPr>
        <p:txBody>
          <a:bodyPr rIns="0" anchor="t" anchorCtr="0"/>
          <a:lstStyle>
            <a:lvl1pPr marL="0" indent="0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650" kern="1200" dirty="0" smtClean="0">
                <a:solidFill>
                  <a:srgbClr val="FCFBF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39303" indent="-139303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lphaU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742950" rtl="0" eaLnBrk="1" latinLnBrk="0" hangingPunct="1">
              <a:defRPr lang="en-GB" sz="894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Not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E8482A2-DDB8-496F-B351-4888137FB9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9383" y="6504110"/>
            <a:ext cx="1978862" cy="106116"/>
          </a:xfrm>
        </p:spPr>
        <p:txBody>
          <a:bodyPr rIns="0"/>
          <a:lstStyle>
            <a:lvl1pPr algn="r">
              <a:defRPr sz="650">
                <a:solidFill>
                  <a:srgbClr val="FCFBF5"/>
                </a:solidFill>
              </a:defRPr>
            </a:lvl1pPr>
            <a:lvl2pPr>
              <a:defRPr sz="650"/>
            </a:lvl2pPr>
            <a:lvl3pPr>
              <a:defRPr sz="650"/>
            </a:lvl3pPr>
            <a:lvl4pPr>
              <a:defRPr sz="650"/>
            </a:lvl4pPr>
            <a:lvl5pPr>
              <a:defRPr sz="650"/>
            </a:lvl5pPr>
          </a:lstStyle>
          <a:p>
            <a:pPr lvl="0"/>
            <a:r>
              <a:rPr lang="en-GB" dirty="0"/>
              <a:t>Tracker</a:t>
            </a: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43354BA6-FDD5-4221-BE74-6982B5FD9503}"/>
              </a:ext>
            </a:extLst>
          </p:cNvPr>
          <p:cNvSpPr txBox="1">
            <a:spLocks/>
          </p:cNvSpPr>
          <p:nvPr userDrawn="1"/>
        </p:nvSpPr>
        <p:spPr>
          <a:xfrm>
            <a:off x="9378938" y="6496424"/>
            <a:ext cx="255600" cy="1116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r" defTabSz="914400" rtl="0" eaLnBrk="1" latinLnBrk="0" hangingPunct="1">
              <a:defRPr sz="650" kern="1200" spc="0" baseline="0">
                <a:solidFill>
                  <a:srgbClr val="2F363B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650" smtClean="0">
                <a:solidFill>
                  <a:srgbClr val="F8F5E7"/>
                </a:solidFill>
              </a:rPr>
              <a:pPr/>
              <a:t>‹#›</a:t>
            </a:fld>
            <a:endParaRPr lang="en-GB" sz="650" dirty="0">
              <a:solidFill>
                <a:srgbClr val="F8F5E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8550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ar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836F09E-195B-4183-B88D-7088152ECF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58083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5" imgW="408" imgH="408" progId="TCLayout.ActiveDocument.1">
                  <p:embed/>
                </p:oleObj>
              </mc:Choice>
              <mc:Fallback>
                <p:oleObj name="think-cell Slide" r:id="rId5" imgW="408" imgH="40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836F09E-195B-4183-B88D-7088152ECF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B40B7F21-6889-46F7-BB5C-8FDE3B947050}"/>
              </a:ext>
            </a:extLst>
          </p:cNvPr>
          <p:cNvSpPr/>
          <p:nvPr userDrawn="1"/>
        </p:nvSpPr>
        <p:spPr>
          <a:xfrm>
            <a:off x="2" y="0"/>
            <a:ext cx="9905998" cy="6858000"/>
          </a:xfrm>
          <a:prstGeom prst="rect">
            <a:avLst/>
          </a:prstGeom>
          <a:solidFill>
            <a:srgbClr val="40615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500" tIns="58500" rIns="58500" bIns="58500" rtlCol="0" anchor="t" anchorCtr="0"/>
          <a:lstStyle/>
          <a:p>
            <a:pPr algn="l"/>
            <a:endParaRPr lang="en-GB" sz="813" noProof="0" dirty="0">
              <a:solidFill>
                <a:srgbClr val="2F363B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949D33-2E01-4246-97EA-A41F8450A0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7850" y="2228850"/>
            <a:ext cx="7710300" cy="2823894"/>
          </a:xfrm>
          <a:noFill/>
        </p:spPr>
        <p:txBody>
          <a:bodyPr vert="horz" lIns="0" tIns="0" rIns="0"/>
          <a:lstStyle>
            <a:lvl1pPr>
              <a:lnSpc>
                <a:spcPct val="83000"/>
              </a:lnSpc>
              <a:defRPr sz="5850" cap="all" baseline="0">
                <a:solidFill>
                  <a:srgbClr val="F8F5E7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3" name="Freeform: Shape 13">
            <a:extLst>
              <a:ext uri="{FF2B5EF4-FFF2-40B4-BE49-F238E27FC236}">
                <a16:creationId xmlns:a16="http://schemas.microsoft.com/office/drawing/2014/main" id="{F1E411B7-9176-498E-B9E2-2DE05B18027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 rot="5400000">
            <a:off x="9382133" y="400810"/>
            <a:ext cx="350168" cy="154638"/>
          </a:xfrm>
          <a:custGeom>
            <a:avLst/>
            <a:gdLst>
              <a:gd name="connsiteX0" fmla="*/ 242136 w 350168"/>
              <a:gd name="connsiteY0" fmla="*/ 154638 h 154638"/>
              <a:gd name="connsiteX1" fmla="*/ 242136 w 350168"/>
              <a:gd name="connsiteY1" fmla="*/ 141700 h 154638"/>
              <a:gd name="connsiteX2" fmla="*/ 350168 w 350168"/>
              <a:gd name="connsiteY2" fmla="*/ 141700 h 154638"/>
              <a:gd name="connsiteX3" fmla="*/ 350168 w 350168"/>
              <a:gd name="connsiteY3" fmla="*/ 154638 h 154638"/>
              <a:gd name="connsiteX4" fmla="*/ 62944 w 350168"/>
              <a:gd name="connsiteY4" fmla="*/ 154337 h 154638"/>
              <a:gd name="connsiteX5" fmla="*/ 62944 w 350168"/>
              <a:gd name="connsiteY5" fmla="*/ 0 h 154638"/>
              <a:gd name="connsiteX6" fmla="*/ 102688 w 350168"/>
              <a:gd name="connsiteY6" fmla="*/ 0 h 154638"/>
              <a:gd name="connsiteX7" fmla="*/ 141020 w 350168"/>
              <a:gd name="connsiteY7" fmla="*/ 104707 h 154638"/>
              <a:gd name="connsiteX8" fmla="*/ 179755 w 350168"/>
              <a:gd name="connsiteY8" fmla="*/ 0 h 154638"/>
              <a:gd name="connsiteX9" fmla="*/ 217481 w 350168"/>
              <a:gd name="connsiteY9" fmla="*/ 0 h 154638"/>
              <a:gd name="connsiteX10" fmla="*/ 217481 w 350168"/>
              <a:gd name="connsiteY10" fmla="*/ 154337 h 154638"/>
              <a:gd name="connsiteX11" fmla="*/ 187825 w 350168"/>
              <a:gd name="connsiteY11" fmla="*/ 154337 h 154638"/>
              <a:gd name="connsiteX12" fmla="*/ 187825 w 350168"/>
              <a:gd name="connsiteY12" fmla="*/ 53263 h 154638"/>
              <a:gd name="connsiteX13" fmla="*/ 151309 w 350168"/>
              <a:gd name="connsiteY13" fmla="*/ 152117 h 154638"/>
              <a:gd name="connsiteX14" fmla="*/ 128915 w 350168"/>
              <a:gd name="connsiteY14" fmla="*/ 152117 h 154638"/>
              <a:gd name="connsiteX15" fmla="*/ 92601 w 350168"/>
              <a:gd name="connsiteY15" fmla="*/ 52051 h 154638"/>
              <a:gd name="connsiteX16" fmla="*/ 92601 w 350168"/>
              <a:gd name="connsiteY16" fmla="*/ 154337 h 154638"/>
              <a:gd name="connsiteX17" fmla="*/ 0 w 350168"/>
              <a:gd name="connsiteY17" fmla="*/ 154337 h 154638"/>
              <a:gd name="connsiteX18" fmla="*/ 0 w 350168"/>
              <a:gd name="connsiteY18" fmla="*/ 0 h 154638"/>
              <a:gd name="connsiteX19" fmla="*/ 30867 w 350168"/>
              <a:gd name="connsiteY19" fmla="*/ 0 h 154638"/>
              <a:gd name="connsiteX20" fmla="*/ 30867 w 350168"/>
              <a:gd name="connsiteY20" fmla="*/ 154337 h 154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50168" h="154638">
                <a:moveTo>
                  <a:pt x="242136" y="154638"/>
                </a:moveTo>
                <a:lnTo>
                  <a:pt x="242136" y="141700"/>
                </a:lnTo>
                <a:lnTo>
                  <a:pt x="350168" y="141700"/>
                </a:lnTo>
                <a:lnTo>
                  <a:pt x="350168" y="154638"/>
                </a:lnTo>
                <a:close/>
                <a:moveTo>
                  <a:pt x="62944" y="154337"/>
                </a:moveTo>
                <a:lnTo>
                  <a:pt x="62944" y="0"/>
                </a:lnTo>
                <a:lnTo>
                  <a:pt x="102688" y="0"/>
                </a:lnTo>
                <a:lnTo>
                  <a:pt x="141020" y="104707"/>
                </a:lnTo>
                <a:lnTo>
                  <a:pt x="179755" y="0"/>
                </a:lnTo>
                <a:lnTo>
                  <a:pt x="217481" y="0"/>
                </a:lnTo>
                <a:lnTo>
                  <a:pt x="217481" y="154337"/>
                </a:lnTo>
                <a:lnTo>
                  <a:pt x="187825" y="154337"/>
                </a:lnTo>
                <a:lnTo>
                  <a:pt x="187825" y="53263"/>
                </a:lnTo>
                <a:lnTo>
                  <a:pt x="151309" y="152117"/>
                </a:lnTo>
                <a:lnTo>
                  <a:pt x="128915" y="152117"/>
                </a:lnTo>
                <a:lnTo>
                  <a:pt x="92601" y="52051"/>
                </a:lnTo>
                <a:lnTo>
                  <a:pt x="92601" y="154337"/>
                </a:lnTo>
                <a:close/>
                <a:moveTo>
                  <a:pt x="0" y="154337"/>
                </a:moveTo>
                <a:lnTo>
                  <a:pt x="0" y="0"/>
                </a:lnTo>
                <a:lnTo>
                  <a:pt x="30867" y="0"/>
                </a:lnTo>
                <a:lnTo>
                  <a:pt x="30867" y="15433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10" name="Date_GeneralDate" hidden="1">
            <a:extLst>
              <a:ext uri="{FF2B5EF4-FFF2-40B4-BE49-F238E27FC236}">
                <a16:creationId xmlns:a16="http://schemas.microsoft.com/office/drawing/2014/main" id="{2FE83F57-F57F-4919-AE4C-5C6E98678D7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5FC0D15E-2B73-42FD-9F1F-6074BF7A5DDE}" type="datetime1">
              <a:rPr lang="en-US" smtClean="0"/>
              <a:t>2/25/2022</a:t>
            </a:fld>
            <a:endParaRPr lang="en-GB" dirty="0"/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63D9665C-B7E6-4B35-A0AB-230AA73AD9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4" y="6502395"/>
            <a:ext cx="6744111" cy="106116"/>
          </a:xfrm>
        </p:spPr>
        <p:txBody>
          <a:bodyPr rIns="0" anchor="t" anchorCtr="0"/>
          <a:lstStyle>
            <a:lvl1pPr marL="0" indent="0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650" kern="1200" dirty="0" smtClean="0">
                <a:solidFill>
                  <a:srgbClr val="FCFBF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39303" indent="-139303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lphaU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742950" rtl="0" eaLnBrk="1" latinLnBrk="0" hangingPunct="1">
              <a:defRPr lang="en-GB" sz="894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Not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E8482A2-DDB8-496F-B351-4888137FB9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9383" y="6504110"/>
            <a:ext cx="1978862" cy="106116"/>
          </a:xfrm>
        </p:spPr>
        <p:txBody>
          <a:bodyPr rIns="0"/>
          <a:lstStyle>
            <a:lvl1pPr algn="r">
              <a:defRPr sz="650">
                <a:solidFill>
                  <a:srgbClr val="FCFBF5"/>
                </a:solidFill>
              </a:defRPr>
            </a:lvl1pPr>
            <a:lvl2pPr>
              <a:defRPr sz="650"/>
            </a:lvl2pPr>
            <a:lvl3pPr>
              <a:defRPr sz="650"/>
            </a:lvl3pPr>
            <a:lvl4pPr>
              <a:defRPr sz="650"/>
            </a:lvl4pPr>
            <a:lvl5pPr>
              <a:defRPr sz="650"/>
            </a:lvl5pPr>
          </a:lstStyle>
          <a:p>
            <a:pPr lvl="0"/>
            <a:r>
              <a:rPr lang="en-GB" dirty="0"/>
              <a:t>Tracker</a:t>
            </a: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B97510D5-2633-47EB-B6B9-F736DEDBACFF}"/>
              </a:ext>
            </a:extLst>
          </p:cNvPr>
          <p:cNvSpPr txBox="1">
            <a:spLocks/>
          </p:cNvSpPr>
          <p:nvPr userDrawn="1"/>
        </p:nvSpPr>
        <p:spPr>
          <a:xfrm>
            <a:off x="9378938" y="6496424"/>
            <a:ext cx="255600" cy="1116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r" defTabSz="914400" rtl="0" eaLnBrk="1" latinLnBrk="0" hangingPunct="1">
              <a:defRPr sz="650" kern="1200" spc="0" baseline="0">
                <a:solidFill>
                  <a:srgbClr val="2F363B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650" smtClean="0">
                <a:solidFill>
                  <a:srgbClr val="F8F5E7"/>
                </a:solidFill>
              </a:rPr>
              <a:pPr/>
              <a:t>‹#›</a:t>
            </a:fld>
            <a:endParaRPr lang="en-GB" sz="650" dirty="0">
              <a:solidFill>
                <a:srgbClr val="F8F5E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4253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Win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836F09E-195B-4183-B88D-7088152ECF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8589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5" imgW="408" imgH="408" progId="TCLayout.ActiveDocument.1">
                  <p:embed/>
                </p:oleObj>
              </mc:Choice>
              <mc:Fallback>
                <p:oleObj name="think-cell Slide" r:id="rId5" imgW="408" imgH="40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836F09E-195B-4183-B88D-7088152ECF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B40B7F21-6889-46F7-BB5C-8FDE3B947050}"/>
              </a:ext>
            </a:extLst>
          </p:cNvPr>
          <p:cNvSpPr/>
          <p:nvPr userDrawn="1"/>
        </p:nvSpPr>
        <p:spPr>
          <a:xfrm>
            <a:off x="2" y="0"/>
            <a:ext cx="9905998" cy="6858000"/>
          </a:xfrm>
          <a:prstGeom prst="rect">
            <a:avLst/>
          </a:prstGeom>
          <a:solidFill>
            <a:srgbClr val="893E45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500" tIns="58500" rIns="58500" bIns="58500" rtlCol="0" anchor="t" anchorCtr="0"/>
          <a:lstStyle/>
          <a:p>
            <a:pPr algn="l"/>
            <a:endParaRPr lang="en-GB" sz="813" noProof="0" dirty="0">
              <a:solidFill>
                <a:srgbClr val="2F363B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949D33-2E01-4246-97EA-A41F8450A0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7850" y="2228850"/>
            <a:ext cx="7710300" cy="2823894"/>
          </a:xfrm>
          <a:noFill/>
        </p:spPr>
        <p:txBody>
          <a:bodyPr vert="horz" lIns="0" tIns="0" rIns="0"/>
          <a:lstStyle>
            <a:lvl1pPr>
              <a:lnSpc>
                <a:spcPct val="83000"/>
              </a:lnSpc>
              <a:defRPr sz="5850" cap="all" baseline="0">
                <a:solidFill>
                  <a:srgbClr val="F8F5E7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3" name="Freeform: Shape 13">
            <a:extLst>
              <a:ext uri="{FF2B5EF4-FFF2-40B4-BE49-F238E27FC236}">
                <a16:creationId xmlns:a16="http://schemas.microsoft.com/office/drawing/2014/main" id="{F1E411B7-9176-498E-B9E2-2DE05B18027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 rot="5400000">
            <a:off x="9382133" y="400810"/>
            <a:ext cx="350168" cy="154638"/>
          </a:xfrm>
          <a:custGeom>
            <a:avLst/>
            <a:gdLst>
              <a:gd name="connsiteX0" fmla="*/ 242136 w 350168"/>
              <a:gd name="connsiteY0" fmla="*/ 154638 h 154638"/>
              <a:gd name="connsiteX1" fmla="*/ 242136 w 350168"/>
              <a:gd name="connsiteY1" fmla="*/ 141700 h 154638"/>
              <a:gd name="connsiteX2" fmla="*/ 350168 w 350168"/>
              <a:gd name="connsiteY2" fmla="*/ 141700 h 154638"/>
              <a:gd name="connsiteX3" fmla="*/ 350168 w 350168"/>
              <a:gd name="connsiteY3" fmla="*/ 154638 h 154638"/>
              <a:gd name="connsiteX4" fmla="*/ 62944 w 350168"/>
              <a:gd name="connsiteY4" fmla="*/ 154337 h 154638"/>
              <a:gd name="connsiteX5" fmla="*/ 62944 w 350168"/>
              <a:gd name="connsiteY5" fmla="*/ 0 h 154638"/>
              <a:gd name="connsiteX6" fmla="*/ 102688 w 350168"/>
              <a:gd name="connsiteY6" fmla="*/ 0 h 154638"/>
              <a:gd name="connsiteX7" fmla="*/ 141020 w 350168"/>
              <a:gd name="connsiteY7" fmla="*/ 104707 h 154638"/>
              <a:gd name="connsiteX8" fmla="*/ 179755 w 350168"/>
              <a:gd name="connsiteY8" fmla="*/ 0 h 154638"/>
              <a:gd name="connsiteX9" fmla="*/ 217481 w 350168"/>
              <a:gd name="connsiteY9" fmla="*/ 0 h 154638"/>
              <a:gd name="connsiteX10" fmla="*/ 217481 w 350168"/>
              <a:gd name="connsiteY10" fmla="*/ 154337 h 154638"/>
              <a:gd name="connsiteX11" fmla="*/ 187825 w 350168"/>
              <a:gd name="connsiteY11" fmla="*/ 154337 h 154638"/>
              <a:gd name="connsiteX12" fmla="*/ 187825 w 350168"/>
              <a:gd name="connsiteY12" fmla="*/ 53263 h 154638"/>
              <a:gd name="connsiteX13" fmla="*/ 151309 w 350168"/>
              <a:gd name="connsiteY13" fmla="*/ 152117 h 154638"/>
              <a:gd name="connsiteX14" fmla="*/ 128915 w 350168"/>
              <a:gd name="connsiteY14" fmla="*/ 152117 h 154638"/>
              <a:gd name="connsiteX15" fmla="*/ 92601 w 350168"/>
              <a:gd name="connsiteY15" fmla="*/ 52051 h 154638"/>
              <a:gd name="connsiteX16" fmla="*/ 92601 w 350168"/>
              <a:gd name="connsiteY16" fmla="*/ 154337 h 154638"/>
              <a:gd name="connsiteX17" fmla="*/ 0 w 350168"/>
              <a:gd name="connsiteY17" fmla="*/ 154337 h 154638"/>
              <a:gd name="connsiteX18" fmla="*/ 0 w 350168"/>
              <a:gd name="connsiteY18" fmla="*/ 0 h 154638"/>
              <a:gd name="connsiteX19" fmla="*/ 30867 w 350168"/>
              <a:gd name="connsiteY19" fmla="*/ 0 h 154638"/>
              <a:gd name="connsiteX20" fmla="*/ 30867 w 350168"/>
              <a:gd name="connsiteY20" fmla="*/ 154337 h 154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50168" h="154638">
                <a:moveTo>
                  <a:pt x="242136" y="154638"/>
                </a:moveTo>
                <a:lnTo>
                  <a:pt x="242136" y="141700"/>
                </a:lnTo>
                <a:lnTo>
                  <a:pt x="350168" y="141700"/>
                </a:lnTo>
                <a:lnTo>
                  <a:pt x="350168" y="154638"/>
                </a:lnTo>
                <a:close/>
                <a:moveTo>
                  <a:pt x="62944" y="154337"/>
                </a:moveTo>
                <a:lnTo>
                  <a:pt x="62944" y="0"/>
                </a:lnTo>
                <a:lnTo>
                  <a:pt x="102688" y="0"/>
                </a:lnTo>
                <a:lnTo>
                  <a:pt x="141020" y="104707"/>
                </a:lnTo>
                <a:lnTo>
                  <a:pt x="179755" y="0"/>
                </a:lnTo>
                <a:lnTo>
                  <a:pt x="217481" y="0"/>
                </a:lnTo>
                <a:lnTo>
                  <a:pt x="217481" y="154337"/>
                </a:lnTo>
                <a:lnTo>
                  <a:pt x="187825" y="154337"/>
                </a:lnTo>
                <a:lnTo>
                  <a:pt x="187825" y="53263"/>
                </a:lnTo>
                <a:lnTo>
                  <a:pt x="151309" y="152117"/>
                </a:lnTo>
                <a:lnTo>
                  <a:pt x="128915" y="152117"/>
                </a:lnTo>
                <a:lnTo>
                  <a:pt x="92601" y="52051"/>
                </a:lnTo>
                <a:lnTo>
                  <a:pt x="92601" y="154337"/>
                </a:lnTo>
                <a:close/>
                <a:moveTo>
                  <a:pt x="0" y="154337"/>
                </a:moveTo>
                <a:lnTo>
                  <a:pt x="0" y="0"/>
                </a:lnTo>
                <a:lnTo>
                  <a:pt x="30867" y="0"/>
                </a:lnTo>
                <a:lnTo>
                  <a:pt x="30867" y="15433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10" name="Date_GeneralDate" hidden="1">
            <a:extLst>
              <a:ext uri="{FF2B5EF4-FFF2-40B4-BE49-F238E27FC236}">
                <a16:creationId xmlns:a16="http://schemas.microsoft.com/office/drawing/2014/main" id="{2FE83F57-F57F-4919-AE4C-5C6E98678D7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5FC0D15E-2B73-42FD-9F1F-6074BF7A5DDE}" type="datetime1">
              <a:rPr lang="en-US" smtClean="0"/>
              <a:t>2/25/2022</a:t>
            </a:fld>
            <a:endParaRPr lang="en-GB" dirty="0"/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63D9665C-B7E6-4B35-A0AB-230AA73AD9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4" y="6502395"/>
            <a:ext cx="6744111" cy="106116"/>
          </a:xfrm>
        </p:spPr>
        <p:txBody>
          <a:bodyPr rIns="0" anchor="t" anchorCtr="0"/>
          <a:lstStyle>
            <a:lvl1pPr marL="0" indent="0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650" kern="1200" dirty="0" smtClean="0">
                <a:solidFill>
                  <a:srgbClr val="FCFBF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39303" indent="-139303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lphaU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742950" rtl="0" eaLnBrk="1" latinLnBrk="0" hangingPunct="1">
              <a:defRPr lang="en-GB" sz="894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Not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E8482A2-DDB8-496F-B351-4888137FB9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9383" y="6504110"/>
            <a:ext cx="1978862" cy="106116"/>
          </a:xfrm>
        </p:spPr>
        <p:txBody>
          <a:bodyPr rIns="0"/>
          <a:lstStyle>
            <a:lvl1pPr algn="r">
              <a:defRPr sz="650">
                <a:solidFill>
                  <a:srgbClr val="FCFBF5"/>
                </a:solidFill>
              </a:defRPr>
            </a:lvl1pPr>
            <a:lvl2pPr>
              <a:defRPr sz="650"/>
            </a:lvl2pPr>
            <a:lvl3pPr>
              <a:defRPr sz="650"/>
            </a:lvl3pPr>
            <a:lvl4pPr>
              <a:defRPr sz="650"/>
            </a:lvl4pPr>
            <a:lvl5pPr>
              <a:defRPr sz="650"/>
            </a:lvl5pPr>
          </a:lstStyle>
          <a:p>
            <a:pPr lvl="0"/>
            <a:r>
              <a:rPr lang="en-GB" dirty="0"/>
              <a:t>Tracker</a:t>
            </a: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B97510D5-2633-47EB-B6B9-F736DEDBACFF}"/>
              </a:ext>
            </a:extLst>
          </p:cNvPr>
          <p:cNvSpPr txBox="1">
            <a:spLocks/>
          </p:cNvSpPr>
          <p:nvPr userDrawn="1"/>
        </p:nvSpPr>
        <p:spPr>
          <a:xfrm>
            <a:off x="9378938" y="6496424"/>
            <a:ext cx="255600" cy="1116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r" defTabSz="914400" rtl="0" eaLnBrk="1" latinLnBrk="0" hangingPunct="1">
              <a:defRPr sz="650" kern="1200" spc="0" baseline="0">
                <a:solidFill>
                  <a:srgbClr val="2F363B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650" smtClean="0">
                <a:solidFill>
                  <a:srgbClr val="F8F5E7"/>
                </a:solidFill>
              </a:rPr>
              <a:pPr/>
              <a:t>‹#›</a:t>
            </a:fld>
            <a:endParaRPr lang="en-GB" sz="650" dirty="0">
              <a:solidFill>
                <a:srgbClr val="F8F5E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9060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673D57F-D042-44F6-A255-2A91C27AAE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3755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673D57F-D042-44F6-A255-2A91C27AAE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2949D33-2E01-4246-97EA-A41F8450A0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7850" y="2228850"/>
            <a:ext cx="7710300" cy="2823894"/>
          </a:xfrm>
          <a:noFill/>
        </p:spPr>
        <p:txBody>
          <a:bodyPr vert="horz" lIns="0" tIns="0" rIns="0"/>
          <a:lstStyle>
            <a:lvl1pPr>
              <a:lnSpc>
                <a:spcPct val="83000"/>
              </a:lnSpc>
              <a:defRPr sz="5850" cap="all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7" name="Date_GeneralDate" hidden="1">
            <a:extLst>
              <a:ext uri="{FF2B5EF4-FFF2-40B4-BE49-F238E27FC236}">
                <a16:creationId xmlns:a16="http://schemas.microsoft.com/office/drawing/2014/main" id="{BF234924-99E7-45C1-8DE2-61303ACA7E4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9715A1B3-3630-4BAD-9C89-643EA989022F}" type="datetime1">
              <a:rPr lang="en-US" smtClean="0"/>
              <a:t>2/25/2022</a:t>
            </a:fld>
            <a:endParaRPr lang="en-GB" dirty="0"/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D009E80D-2147-4BBB-8420-968C489EF2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4" y="6502395"/>
            <a:ext cx="6744111" cy="106116"/>
          </a:xfrm>
        </p:spPr>
        <p:txBody>
          <a:bodyPr rIns="0" anchor="t" anchorCtr="0"/>
          <a:lstStyle>
            <a:lvl1pPr marL="0" indent="0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39303" indent="-139303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lphaU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742950" rtl="0" eaLnBrk="1" latinLnBrk="0" hangingPunct="1">
              <a:defRPr lang="en-GB" sz="894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Not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9322F81-C609-45A5-8EA6-B775EFE3646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9383" y="6504110"/>
            <a:ext cx="1978862" cy="106116"/>
          </a:xfrm>
        </p:spPr>
        <p:txBody>
          <a:bodyPr rIns="0"/>
          <a:lstStyle>
            <a:lvl1pPr algn="r">
              <a:defRPr sz="650">
                <a:solidFill>
                  <a:srgbClr val="1F2023"/>
                </a:solidFill>
              </a:defRPr>
            </a:lvl1pPr>
            <a:lvl2pPr>
              <a:defRPr sz="650"/>
            </a:lvl2pPr>
            <a:lvl3pPr>
              <a:defRPr sz="650"/>
            </a:lvl3pPr>
            <a:lvl4pPr>
              <a:defRPr sz="650"/>
            </a:lvl4pPr>
            <a:lvl5pPr>
              <a:defRPr sz="650"/>
            </a:lvl5pPr>
          </a:lstStyle>
          <a:p>
            <a:pPr lvl="0"/>
            <a:r>
              <a:rPr lang="en-GB" dirty="0"/>
              <a:t>Tracker</a:t>
            </a:r>
          </a:p>
        </p:txBody>
      </p:sp>
    </p:spTree>
    <p:extLst>
      <p:ext uri="{BB962C8B-B14F-4D97-AF65-F5344CB8AC3E}">
        <p14:creationId xmlns:p14="http://schemas.microsoft.com/office/powerpoint/2010/main" val="2438647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Logo Image Dark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637DB59-CD95-4E32-B1A6-2483313A29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976523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408" imgH="408" progId="TCLayout.ActiveDocument.1">
                  <p:embed/>
                </p:oleObj>
              </mc:Choice>
              <mc:Fallback>
                <p:oleObj name="think-cell Slide" r:id="rId5" imgW="408" imgH="4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637DB59-CD95-4E32-B1A6-2483313A29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object 2">
            <a:extLst>
              <a:ext uri="{FF2B5EF4-FFF2-40B4-BE49-F238E27FC236}">
                <a16:creationId xmlns:a16="http://schemas.microsoft.com/office/drawing/2014/main" id="{A81EE220-AC53-4153-A0FE-1F2219FBF428}"/>
              </a:ext>
            </a:extLst>
          </p:cNvPr>
          <p:cNvSpPr/>
          <p:nvPr userDrawn="1"/>
        </p:nvSpPr>
        <p:spPr>
          <a:xfrm>
            <a:off x="3452116" y="0"/>
            <a:ext cx="6453884" cy="6858000"/>
          </a:xfrm>
          <a:custGeom>
            <a:avLst/>
            <a:gdLst/>
            <a:ahLst/>
            <a:cxnLst/>
            <a:rect l="l" t="t" r="r" b="b"/>
            <a:pathLst>
              <a:path w="20104100" h="11308715">
                <a:moveTo>
                  <a:pt x="0" y="11308556"/>
                </a:moveTo>
                <a:lnTo>
                  <a:pt x="20104099" y="11308556"/>
                </a:lnTo>
                <a:lnTo>
                  <a:pt x="20104099" y="0"/>
                </a:lnTo>
                <a:lnTo>
                  <a:pt x="0" y="0"/>
                </a:lnTo>
                <a:lnTo>
                  <a:pt x="0" y="11308556"/>
                </a:lnTo>
                <a:close/>
              </a:path>
            </a:pathLst>
          </a:custGeom>
          <a:solidFill>
            <a:srgbClr val="E0BCA6"/>
          </a:solidFill>
        </p:spPr>
        <p:txBody>
          <a:bodyPr wrap="square" lIns="0" tIns="0" rIns="0" bIns="0" rtlCol="0"/>
          <a:lstStyle/>
          <a:p>
            <a:pPr marL="0" marR="0" lvl="0" indent="0" defTabSz="4505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87" b="0" i="0" u="none" strike="noStrike" kern="0" cap="none" spc="0" normalizeH="0" baseline="0" noProof="0" dirty="0">
              <a:ln>
                <a:noFill/>
              </a:ln>
              <a:solidFill>
                <a:srgbClr val="2F363B"/>
              </a:solidFill>
              <a:effectLst/>
              <a:uLnTx/>
              <a:uFillTx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8FF8D86-B4F2-440A-9986-8206DC5C5D54}"/>
              </a:ext>
            </a:extLst>
          </p:cNvPr>
          <p:cNvSpPr/>
          <p:nvPr userDrawn="1"/>
        </p:nvSpPr>
        <p:spPr>
          <a:xfrm>
            <a:off x="0" y="0"/>
            <a:ext cx="8554911" cy="5502275"/>
          </a:xfrm>
          <a:prstGeom prst="rect">
            <a:avLst/>
          </a:prstGeom>
          <a:solidFill>
            <a:srgbClr val="30373B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 algn="l"/>
            <a:endParaRPr lang="en-GB" sz="1000" noProof="0" dirty="0">
              <a:solidFill>
                <a:srgbClr val="2F363B"/>
              </a:solidFill>
            </a:endParaRPr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32CBD7CE-0C91-4290-9606-0942684C465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452117" y="4011117"/>
            <a:ext cx="6453884" cy="2846883"/>
          </a:xfrm>
          <a:solidFill>
            <a:srgbClr val="F3F2F0"/>
          </a:solidFill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da-DK" dirty="0"/>
            </a:lvl1pPr>
          </a:lstStyle>
          <a:p>
            <a:pPr lvl="0" algn="ctr">
              <a:buNone/>
            </a:pPr>
            <a:r>
              <a:rPr lang="en-GB" dirty="0"/>
              <a:t>Click icon to add picture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28390A0B-0148-4E4A-997F-3FF133263F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69875" y="4011117"/>
            <a:ext cx="2816225" cy="1003221"/>
          </a:xfrm>
        </p:spPr>
        <p:txBody>
          <a:bodyPr rIns="360000" anchor="t" anchorCtr="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975">
                <a:solidFill>
                  <a:srgbClr val="F8F5E7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894">
                <a:solidFill>
                  <a:srgbClr val="2F363B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49585976-AA21-42CB-B82F-826F945242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5" y="5014338"/>
            <a:ext cx="2816226" cy="210634"/>
          </a:xfrm>
        </p:spPr>
        <p:txBody>
          <a:bodyPr rIns="0" anchor="b" anchorCtr="0"/>
          <a:lstStyle>
            <a:lvl1pPr>
              <a:defRPr sz="900">
                <a:solidFill>
                  <a:srgbClr val="F8F5E7"/>
                </a:solidFill>
              </a:defRPr>
            </a:lvl1pPr>
            <a:lvl5pPr>
              <a:defRPr/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2F6935FD-E8E7-4B35-B4B1-C7059310FDE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2256" y="539750"/>
            <a:ext cx="5841813" cy="3194064"/>
          </a:xfrm>
        </p:spPr>
        <p:txBody>
          <a:bodyPr vert="horz" anchor="t" anchorCtr="0">
            <a:noAutofit/>
          </a:bodyPr>
          <a:lstStyle>
            <a:lvl1pPr algn="l">
              <a:lnSpc>
                <a:spcPct val="83000"/>
              </a:lnSpc>
              <a:defRPr sz="6500" cap="all" baseline="0">
                <a:solidFill>
                  <a:srgbClr val="F8F5E7"/>
                </a:solidFill>
                <a:latin typeface="Impact" panose="020B080603090205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A8E36132-A534-4EFF-8A7F-F188BAB49D88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 rot="5400000">
            <a:off x="8861146" y="788544"/>
            <a:ext cx="1258889" cy="287891"/>
          </a:xfrm>
          <a:custGeom>
            <a:avLst/>
            <a:gdLst>
              <a:gd name="connsiteX0" fmla="*/ 6778122 w 9905999"/>
              <a:gd name="connsiteY0" fmla="*/ 2222531 h 2265361"/>
              <a:gd name="connsiteX1" fmla="*/ 7135812 w 9905999"/>
              <a:gd name="connsiteY1" fmla="*/ 2222531 h 2265361"/>
              <a:gd name="connsiteX2" fmla="*/ 7135812 w 9905999"/>
              <a:gd name="connsiteY2" fmla="*/ 2265361 h 2265361"/>
              <a:gd name="connsiteX3" fmla="*/ 6778122 w 9905999"/>
              <a:gd name="connsiteY3" fmla="*/ 2265361 h 2265361"/>
              <a:gd name="connsiteX4" fmla="*/ 6778122 w 9905999"/>
              <a:gd name="connsiteY4" fmla="*/ 2222531 h 2265361"/>
              <a:gd name="connsiteX5" fmla="*/ 6449676 w 9905999"/>
              <a:gd name="connsiteY5" fmla="*/ 1769427 h 2265361"/>
              <a:gd name="connsiteX6" fmla="*/ 6449676 w 9905999"/>
              <a:gd name="connsiteY6" fmla="*/ 1965546 h 2265361"/>
              <a:gd name="connsiteX7" fmla="*/ 6575655 w 9905999"/>
              <a:gd name="connsiteY7" fmla="*/ 1965546 h 2265361"/>
              <a:gd name="connsiteX8" fmla="*/ 6679138 w 9905999"/>
              <a:gd name="connsiteY8" fmla="*/ 1864105 h 2265361"/>
              <a:gd name="connsiteX9" fmla="*/ 6575655 w 9905999"/>
              <a:gd name="connsiteY9" fmla="*/ 1769427 h 2265361"/>
              <a:gd name="connsiteX10" fmla="*/ 6449676 w 9905999"/>
              <a:gd name="connsiteY10" fmla="*/ 1769427 h 2265361"/>
              <a:gd name="connsiteX11" fmla="*/ 5021164 w 9905999"/>
              <a:gd name="connsiteY11" fmla="*/ 1769427 h 2265361"/>
              <a:gd name="connsiteX12" fmla="*/ 5021164 w 9905999"/>
              <a:gd name="connsiteY12" fmla="*/ 1949767 h 2265361"/>
              <a:gd name="connsiteX13" fmla="*/ 5158391 w 9905999"/>
              <a:gd name="connsiteY13" fmla="*/ 1949767 h 2265361"/>
              <a:gd name="connsiteX14" fmla="*/ 5261874 w 9905999"/>
              <a:gd name="connsiteY14" fmla="*/ 1859597 h 2265361"/>
              <a:gd name="connsiteX15" fmla="*/ 5158391 w 9905999"/>
              <a:gd name="connsiteY15" fmla="*/ 1769427 h 2265361"/>
              <a:gd name="connsiteX16" fmla="*/ 5021164 w 9905999"/>
              <a:gd name="connsiteY16" fmla="*/ 1769427 h 2265361"/>
              <a:gd name="connsiteX17" fmla="*/ 5597068 w 9905999"/>
              <a:gd name="connsiteY17" fmla="*/ 1762664 h 2265361"/>
              <a:gd name="connsiteX18" fmla="*/ 5504834 w 9905999"/>
              <a:gd name="connsiteY18" fmla="*/ 1800986 h 2265361"/>
              <a:gd name="connsiteX19" fmla="*/ 5459841 w 9905999"/>
              <a:gd name="connsiteY19" fmla="*/ 1967800 h 2265361"/>
              <a:gd name="connsiteX20" fmla="*/ 5504834 w 9905999"/>
              <a:gd name="connsiteY20" fmla="*/ 2132361 h 2265361"/>
              <a:gd name="connsiteX21" fmla="*/ 5597068 w 9905999"/>
              <a:gd name="connsiteY21" fmla="*/ 2170683 h 2265361"/>
              <a:gd name="connsiteX22" fmla="*/ 5691552 w 9905999"/>
              <a:gd name="connsiteY22" fmla="*/ 2132361 h 2265361"/>
              <a:gd name="connsiteX23" fmla="*/ 5734295 w 9905999"/>
              <a:gd name="connsiteY23" fmla="*/ 1967800 h 2265361"/>
              <a:gd name="connsiteX24" fmla="*/ 5691552 w 9905999"/>
              <a:gd name="connsiteY24" fmla="*/ 1800986 h 2265361"/>
              <a:gd name="connsiteX25" fmla="*/ 5597068 w 9905999"/>
              <a:gd name="connsiteY25" fmla="*/ 1762664 h 2265361"/>
              <a:gd name="connsiteX26" fmla="*/ 654642 w 9905999"/>
              <a:gd name="connsiteY26" fmla="*/ 1762664 h 2265361"/>
              <a:gd name="connsiteX27" fmla="*/ 560157 w 9905999"/>
              <a:gd name="connsiteY27" fmla="*/ 1800986 h 2265361"/>
              <a:gd name="connsiteX28" fmla="*/ 517414 w 9905999"/>
              <a:gd name="connsiteY28" fmla="*/ 1967800 h 2265361"/>
              <a:gd name="connsiteX29" fmla="*/ 560157 w 9905999"/>
              <a:gd name="connsiteY29" fmla="*/ 2132361 h 2265361"/>
              <a:gd name="connsiteX30" fmla="*/ 654642 w 9905999"/>
              <a:gd name="connsiteY30" fmla="*/ 2170683 h 2265361"/>
              <a:gd name="connsiteX31" fmla="*/ 746876 w 9905999"/>
              <a:gd name="connsiteY31" fmla="*/ 2132361 h 2265361"/>
              <a:gd name="connsiteX32" fmla="*/ 791868 w 9905999"/>
              <a:gd name="connsiteY32" fmla="*/ 1967800 h 2265361"/>
              <a:gd name="connsiteX33" fmla="*/ 746876 w 9905999"/>
              <a:gd name="connsiteY33" fmla="*/ 1800986 h 2265361"/>
              <a:gd name="connsiteX34" fmla="*/ 654642 w 9905999"/>
              <a:gd name="connsiteY34" fmla="*/ 1762664 h 2265361"/>
              <a:gd name="connsiteX35" fmla="*/ 6386687 w 9905999"/>
              <a:gd name="connsiteY35" fmla="*/ 1710816 h 2265361"/>
              <a:gd name="connsiteX36" fmla="*/ 6575655 w 9905999"/>
              <a:gd name="connsiteY36" fmla="*/ 1710816 h 2265361"/>
              <a:gd name="connsiteX37" fmla="*/ 6706134 w 9905999"/>
              <a:gd name="connsiteY37" fmla="*/ 1755901 h 2265361"/>
              <a:gd name="connsiteX38" fmla="*/ 6744377 w 9905999"/>
              <a:gd name="connsiteY38" fmla="*/ 1864105 h 2265361"/>
              <a:gd name="connsiteX39" fmla="*/ 6701634 w 9905999"/>
              <a:gd name="connsiteY39" fmla="*/ 1981326 h 2265361"/>
              <a:gd name="connsiteX40" fmla="*/ 6577905 w 9905999"/>
              <a:gd name="connsiteY40" fmla="*/ 2024157 h 2265361"/>
              <a:gd name="connsiteX41" fmla="*/ 6449676 w 9905999"/>
              <a:gd name="connsiteY41" fmla="*/ 2024157 h 2265361"/>
              <a:gd name="connsiteX42" fmla="*/ 6449676 w 9905999"/>
              <a:gd name="connsiteY42" fmla="*/ 2222531 h 2265361"/>
              <a:gd name="connsiteX43" fmla="*/ 6386687 w 9905999"/>
              <a:gd name="connsiteY43" fmla="*/ 2222531 h 2265361"/>
              <a:gd name="connsiteX44" fmla="*/ 6386687 w 9905999"/>
              <a:gd name="connsiteY44" fmla="*/ 1710816 h 2265361"/>
              <a:gd name="connsiteX45" fmla="*/ 5889520 w 9905999"/>
              <a:gd name="connsiteY45" fmla="*/ 1710816 h 2265361"/>
              <a:gd name="connsiteX46" fmla="*/ 5954759 w 9905999"/>
              <a:gd name="connsiteY46" fmla="*/ 1710816 h 2265361"/>
              <a:gd name="connsiteX47" fmla="*/ 5954759 w 9905999"/>
              <a:gd name="connsiteY47" fmla="*/ 2035428 h 2265361"/>
              <a:gd name="connsiteX48" fmla="*/ 6076239 w 9905999"/>
              <a:gd name="connsiteY48" fmla="*/ 2172937 h 2265361"/>
              <a:gd name="connsiteX49" fmla="*/ 6199968 w 9905999"/>
              <a:gd name="connsiteY49" fmla="*/ 2035428 h 2265361"/>
              <a:gd name="connsiteX50" fmla="*/ 6199968 w 9905999"/>
              <a:gd name="connsiteY50" fmla="*/ 1710816 h 2265361"/>
              <a:gd name="connsiteX51" fmla="*/ 6262957 w 9905999"/>
              <a:gd name="connsiteY51" fmla="*/ 1710816 h 2265361"/>
              <a:gd name="connsiteX52" fmla="*/ 6262957 w 9905999"/>
              <a:gd name="connsiteY52" fmla="*/ 2035428 h 2265361"/>
              <a:gd name="connsiteX53" fmla="*/ 6076239 w 9905999"/>
              <a:gd name="connsiteY53" fmla="*/ 2231547 h 2265361"/>
              <a:gd name="connsiteX54" fmla="*/ 5889520 w 9905999"/>
              <a:gd name="connsiteY54" fmla="*/ 2035428 h 2265361"/>
              <a:gd name="connsiteX55" fmla="*/ 5889520 w 9905999"/>
              <a:gd name="connsiteY55" fmla="*/ 1710816 h 2265361"/>
              <a:gd name="connsiteX56" fmla="*/ 4958174 w 9905999"/>
              <a:gd name="connsiteY56" fmla="*/ 1710816 h 2265361"/>
              <a:gd name="connsiteX57" fmla="*/ 5158391 w 9905999"/>
              <a:gd name="connsiteY57" fmla="*/ 1710816 h 2265361"/>
              <a:gd name="connsiteX58" fmla="*/ 5288869 w 9905999"/>
              <a:gd name="connsiteY58" fmla="*/ 1755901 h 2265361"/>
              <a:gd name="connsiteX59" fmla="*/ 5329363 w 9905999"/>
              <a:gd name="connsiteY59" fmla="*/ 1859597 h 2265361"/>
              <a:gd name="connsiteX60" fmla="*/ 5288869 w 9905999"/>
              <a:gd name="connsiteY60" fmla="*/ 1961038 h 2265361"/>
              <a:gd name="connsiteX61" fmla="*/ 5228130 w 9905999"/>
              <a:gd name="connsiteY61" fmla="*/ 1997106 h 2265361"/>
              <a:gd name="connsiteX62" fmla="*/ 5331612 w 9905999"/>
              <a:gd name="connsiteY62" fmla="*/ 2222531 h 2265361"/>
              <a:gd name="connsiteX63" fmla="*/ 5259624 w 9905999"/>
              <a:gd name="connsiteY63" fmla="*/ 2222531 h 2265361"/>
              <a:gd name="connsiteX64" fmla="*/ 5162890 w 9905999"/>
              <a:gd name="connsiteY64" fmla="*/ 2010631 h 2265361"/>
              <a:gd name="connsiteX65" fmla="*/ 5021164 w 9905999"/>
              <a:gd name="connsiteY65" fmla="*/ 2010631 h 2265361"/>
              <a:gd name="connsiteX66" fmla="*/ 5021164 w 9905999"/>
              <a:gd name="connsiteY66" fmla="*/ 2222531 h 2265361"/>
              <a:gd name="connsiteX67" fmla="*/ 4958174 w 9905999"/>
              <a:gd name="connsiteY67" fmla="*/ 2222531 h 2265361"/>
              <a:gd name="connsiteX68" fmla="*/ 4958174 w 9905999"/>
              <a:gd name="connsiteY68" fmla="*/ 1710816 h 2265361"/>
              <a:gd name="connsiteX69" fmla="*/ 3309199 w 9905999"/>
              <a:gd name="connsiteY69" fmla="*/ 1710816 h 2265361"/>
              <a:gd name="connsiteX70" fmla="*/ 3381187 w 9905999"/>
              <a:gd name="connsiteY70" fmla="*/ 1710816 h 2265361"/>
              <a:gd name="connsiteX71" fmla="*/ 3633145 w 9905999"/>
              <a:gd name="connsiteY71" fmla="*/ 2123344 h 2265361"/>
              <a:gd name="connsiteX72" fmla="*/ 3633145 w 9905999"/>
              <a:gd name="connsiteY72" fmla="*/ 1710816 h 2265361"/>
              <a:gd name="connsiteX73" fmla="*/ 3693885 w 9905999"/>
              <a:gd name="connsiteY73" fmla="*/ 1710816 h 2265361"/>
              <a:gd name="connsiteX74" fmla="*/ 3693885 w 9905999"/>
              <a:gd name="connsiteY74" fmla="*/ 2222531 h 2265361"/>
              <a:gd name="connsiteX75" fmla="*/ 3621897 w 9905999"/>
              <a:gd name="connsiteY75" fmla="*/ 2222531 h 2265361"/>
              <a:gd name="connsiteX76" fmla="*/ 3372188 w 9905999"/>
              <a:gd name="connsiteY76" fmla="*/ 1810003 h 2265361"/>
              <a:gd name="connsiteX77" fmla="*/ 3372188 w 9905999"/>
              <a:gd name="connsiteY77" fmla="*/ 2222531 h 2265361"/>
              <a:gd name="connsiteX78" fmla="*/ 3309199 w 9905999"/>
              <a:gd name="connsiteY78" fmla="*/ 2222531 h 2265361"/>
              <a:gd name="connsiteX79" fmla="*/ 3309199 w 9905999"/>
              <a:gd name="connsiteY79" fmla="*/ 1710816 h 2265361"/>
              <a:gd name="connsiteX80" fmla="*/ 3106732 w 9905999"/>
              <a:gd name="connsiteY80" fmla="*/ 1710816 h 2265361"/>
              <a:gd name="connsiteX81" fmla="*/ 3171971 w 9905999"/>
              <a:gd name="connsiteY81" fmla="*/ 1710816 h 2265361"/>
              <a:gd name="connsiteX82" fmla="*/ 3171971 w 9905999"/>
              <a:gd name="connsiteY82" fmla="*/ 2222531 h 2265361"/>
              <a:gd name="connsiteX83" fmla="*/ 3106732 w 9905999"/>
              <a:gd name="connsiteY83" fmla="*/ 2222531 h 2265361"/>
              <a:gd name="connsiteX84" fmla="*/ 3106732 w 9905999"/>
              <a:gd name="connsiteY84" fmla="*/ 1710816 h 2265361"/>
              <a:gd name="connsiteX85" fmla="*/ 2663557 w 9905999"/>
              <a:gd name="connsiteY85" fmla="*/ 1710816 h 2265361"/>
              <a:gd name="connsiteX86" fmla="*/ 3032495 w 9905999"/>
              <a:gd name="connsiteY86" fmla="*/ 1710816 h 2265361"/>
              <a:gd name="connsiteX87" fmla="*/ 3032495 w 9905999"/>
              <a:gd name="connsiteY87" fmla="*/ 1769427 h 2265361"/>
              <a:gd name="connsiteX88" fmla="*/ 2879521 w 9905999"/>
              <a:gd name="connsiteY88" fmla="*/ 1769427 h 2265361"/>
              <a:gd name="connsiteX89" fmla="*/ 2879521 w 9905999"/>
              <a:gd name="connsiteY89" fmla="*/ 2222531 h 2265361"/>
              <a:gd name="connsiteX90" fmla="*/ 2814282 w 9905999"/>
              <a:gd name="connsiteY90" fmla="*/ 2222531 h 2265361"/>
              <a:gd name="connsiteX91" fmla="*/ 2814282 w 9905999"/>
              <a:gd name="connsiteY91" fmla="*/ 1769427 h 2265361"/>
              <a:gd name="connsiteX92" fmla="*/ 2663557 w 9905999"/>
              <a:gd name="connsiteY92" fmla="*/ 1769427 h 2265361"/>
              <a:gd name="connsiteX93" fmla="*/ 2663557 w 9905999"/>
              <a:gd name="connsiteY93" fmla="*/ 1710816 h 2265361"/>
              <a:gd name="connsiteX94" fmla="*/ 2416099 w 9905999"/>
              <a:gd name="connsiteY94" fmla="*/ 1710816 h 2265361"/>
              <a:gd name="connsiteX95" fmla="*/ 2481338 w 9905999"/>
              <a:gd name="connsiteY95" fmla="*/ 1710816 h 2265361"/>
              <a:gd name="connsiteX96" fmla="*/ 2481338 w 9905999"/>
              <a:gd name="connsiteY96" fmla="*/ 2163920 h 2265361"/>
              <a:gd name="connsiteX97" fmla="*/ 2726547 w 9905999"/>
              <a:gd name="connsiteY97" fmla="*/ 2163920 h 2265361"/>
              <a:gd name="connsiteX98" fmla="*/ 2726547 w 9905999"/>
              <a:gd name="connsiteY98" fmla="*/ 2222531 h 2265361"/>
              <a:gd name="connsiteX99" fmla="*/ 2416099 w 9905999"/>
              <a:gd name="connsiteY99" fmla="*/ 2222531 h 2265361"/>
              <a:gd name="connsiteX100" fmla="*/ 2416099 w 9905999"/>
              <a:gd name="connsiteY100" fmla="*/ 1710816 h 2265361"/>
              <a:gd name="connsiteX101" fmla="*/ 1918931 w 9905999"/>
              <a:gd name="connsiteY101" fmla="*/ 1710816 h 2265361"/>
              <a:gd name="connsiteX102" fmla="*/ 1984171 w 9905999"/>
              <a:gd name="connsiteY102" fmla="*/ 1710816 h 2265361"/>
              <a:gd name="connsiteX103" fmla="*/ 1984171 w 9905999"/>
              <a:gd name="connsiteY103" fmla="*/ 2035428 h 2265361"/>
              <a:gd name="connsiteX104" fmla="*/ 2105651 w 9905999"/>
              <a:gd name="connsiteY104" fmla="*/ 2172937 h 2265361"/>
              <a:gd name="connsiteX105" fmla="*/ 2229380 w 9905999"/>
              <a:gd name="connsiteY105" fmla="*/ 2035428 h 2265361"/>
              <a:gd name="connsiteX106" fmla="*/ 2229380 w 9905999"/>
              <a:gd name="connsiteY106" fmla="*/ 1710816 h 2265361"/>
              <a:gd name="connsiteX107" fmla="*/ 2292369 w 9905999"/>
              <a:gd name="connsiteY107" fmla="*/ 1710816 h 2265361"/>
              <a:gd name="connsiteX108" fmla="*/ 2292369 w 9905999"/>
              <a:gd name="connsiteY108" fmla="*/ 2035428 h 2265361"/>
              <a:gd name="connsiteX109" fmla="*/ 2105651 w 9905999"/>
              <a:gd name="connsiteY109" fmla="*/ 2231547 h 2265361"/>
              <a:gd name="connsiteX110" fmla="*/ 1918931 w 9905999"/>
              <a:gd name="connsiteY110" fmla="*/ 2035428 h 2265361"/>
              <a:gd name="connsiteX111" fmla="*/ 1918931 w 9905999"/>
              <a:gd name="connsiteY111" fmla="*/ 1710816 h 2265361"/>
              <a:gd name="connsiteX112" fmla="*/ 960591 w 9905999"/>
              <a:gd name="connsiteY112" fmla="*/ 1710816 h 2265361"/>
              <a:gd name="connsiteX113" fmla="*/ 1032578 w 9905999"/>
              <a:gd name="connsiteY113" fmla="*/ 1710816 h 2265361"/>
              <a:gd name="connsiteX114" fmla="*/ 1284537 w 9905999"/>
              <a:gd name="connsiteY114" fmla="*/ 2123344 h 2265361"/>
              <a:gd name="connsiteX115" fmla="*/ 1284537 w 9905999"/>
              <a:gd name="connsiteY115" fmla="*/ 1710816 h 2265361"/>
              <a:gd name="connsiteX116" fmla="*/ 1345276 w 9905999"/>
              <a:gd name="connsiteY116" fmla="*/ 1710816 h 2265361"/>
              <a:gd name="connsiteX117" fmla="*/ 1345276 w 9905999"/>
              <a:gd name="connsiteY117" fmla="*/ 2222531 h 2265361"/>
              <a:gd name="connsiteX118" fmla="*/ 1273289 w 9905999"/>
              <a:gd name="connsiteY118" fmla="*/ 2222531 h 2265361"/>
              <a:gd name="connsiteX119" fmla="*/ 1023580 w 9905999"/>
              <a:gd name="connsiteY119" fmla="*/ 1810003 h 2265361"/>
              <a:gd name="connsiteX120" fmla="*/ 1023580 w 9905999"/>
              <a:gd name="connsiteY120" fmla="*/ 2222531 h 2265361"/>
              <a:gd name="connsiteX121" fmla="*/ 960591 w 9905999"/>
              <a:gd name="connsiteY121" fmla="*/ 2222531 h 2265361"/>
              <a:gd name="connsiteX122" fmla="*/ 960591 w 9905999"/>
              <a:gd name="connsiteY122" fmla="*/ 1710816 h 2265361"/>
              <a:gd name="connsiteX123" fmla="*/ 5597068 w 9905999"/>
              <a:gd name="connsiteY123" fmla="*/ 1701799 h 2265361"/>
              <a:gd name="connsiteX124" fmla="*/ 5736545 w 9905999"/>
              <a:gd name="connsiteY124" fmla="*/ 1755901 h 2265361"/>
              <a:gd name="connsiteX125" fmla="*/ 5801784 w 9905999"/>
              <a:gd name="connsiteY125" fmla="*/ 1967800 h 2265361"/>
              <a:gd name="connsiteX126" fmla="*/ 5736545 w 9905999"/>
              <a:gd name="connsiteY126" fmla="*/ 2177446 h 2265361"/>
              <a:gd name="connsiteX127" fmla="*/ 5597068 w 9905999"/>
              <a:gd name="connsiteY127" fmla="*/ 2233802 h 2265361"/>
              <a:gd name="connsiteX128" fmla="*/ 5459841 w 9905999"/>
              <a:gd name="connsiteY128" fmla="*/ 2177446 h 2265361"/>
              <a:gd name="connsiteX129" fmla="*/ 5394602 w 9905999"/>
              <a:gd name="connsiteY129" fmla="*/ 1967800 h 2265361"/>
              <a:gd name="connsiteX130" fmla="*/ 5459841 w 9905999"/>
              <a:gd name="connsiteY130" fmla="*/ 1755901 h 2265361"/>
              <a:gd name="connsiteX131" fmla="*/ 5597068 w 9905999"/>
              <a:gd name="connsiteY131" fmla="*/ 1701799 h 2265361"/>
              <a:gd name="connsiteX132" fmla="*/ 4645477 w 9905999"/>
              <a:gd name="connsiteY132" fmla="*/ 1701799 h 2265361"/>
              <a:gd name="connsiteX133" fmla="*/ 4791702 w 9905999"/>
              <a:gd name="connsiteY133" fmla="*/ 1758155 h 2265361"/>
              <a:gd name="connsiteX134" fmla="*/ 4834445 w 9905999"/>
              <a:gd name="connsiteY134" fmla="*/ 1859597 h 2265361"/>
              <a:gd name="connsiteX135" fmla="*/ 4766956 w 9905999"/>
              <a:gd name="connsiteY135" fmla="*/ 1859597 h 2265361"/>
              <a:gd name="connsiteX136" fmla="*/ 4744460 w 9905999"/>
              <a:gd name="connsiteY136" fmla="*/ 1803240 h 2265361"/>
              <a:gd name="connsiteX137" fmla="*/ 4645477 w 9905999"/>
              <a:gd name="connsiteY137" fmla="*/ 1762664 h 2265361"/>
              <a:gd name="connsiteX138" fmla="*/ 4550992 w 9905999"/>
              <a:gd name="connsiteY138" fmla="*/ 1800986 h 2265361"/>
              <a:gd name="connsiteX139" fmla="*/ 4506000 w 9905999"/>
              <a:gd name="connsiteY139" fmla="*/ 1967800 h 2265361"/>
              <a:gd name="connsiteX140" fmla="*/ 4553242 w 9905999"/>
              <a:gd name="connsiteY140" fmla="*/ 2134615 h 2265361"/>
              <a:gd name="connsiteX141" fmla="*/ 4645477 w 9905999"/>
              <a:gd name="connsiteY141" fmla="*/ 2172937 h 2265361"/>
              <a:gd name="connsiteX142" fmla="*/ 4737711 w 9905999"/>
              <a:gd name="connsiteY142" fmla="*/ 2136869 h 2265361"/>
              <a:gd name="connsiteX143" fmla="*/ 4780454 w 9905999"/>
              <a:gd name="connsiteY143" fmla="*/ 2006123 h 2265361"/>
              <a:gd name="connsiteX144" fmla="*/ 4645477 w 9905999"/>
              <a:gd name="connsiteY144" fmla="*/ 2006123 h 2265361"/>
              <a:gd name="connsiteX145" fmla="*/ 4645477 w 9905999"/>
              <a:gd name="connsiteY145" fmla="*/ 1947512 h 2265361"/>
              <a:gd name="connsiteX146" fmla="*/ 4838944 w 9905999"/>
              <a:gd name="connsiteY146" fmla="*/ 1947512 h 2265361"/>
              <a:gd name="connsiteX147" fmla="*/ 4838944 w 9905999"/>
              <a:gd name="connsiteY147" fmla="*/ 2222531 h 2265361"/>
              <a:gd name="connsiteX148" fmla="*/ 4793952 w 9905999"/>
              <a:gd name="connsiteY148" fmla="*/ 2222531 h 2265361"/>
              <a:gd name="connsiteX149" fmla="*/ 4782704 w 9905999"/>
              <a:gd name="connsiteY149" fmla="*/ 2161666 h 2265361"/>
              <a:gd name="connsiteX150" fmla="*/ 4645477 w 9905999"/>
              <a:gd name="connsiteY150" fmla="*/ 2233802 h 2265361"/>
              <a:gd name="connsiteX151" fmla="*/ 4506000 w 9905999"/>
              <a:gd name="connsiteY151" fmla="*/ 2179700 h 2265361"/>
              <a:gd name="connsiteX152" fmla="*/ 4440761 w 9905999"/>
              <a:gd name="connsiteY152" fmla="*/ 1967800 h 2265361"/>
              <a:gd name="connsiteX153" fmla="*/ 4506000 w 9905999"/>
              <a:gd name="connsiteY153" fmla="*/ 1755901 h 2265361"/>
              <a:gd name="connsiteX154" fmla="*/ 4645477 w 9905999"/>
              <a:gd name="connsiteY154" fmla="*/ 1701799 h 2265361"/>
              <a:gd name="connsiteX155" fmla="*/ 4002083 w 9905999"/>
              <a:gd name="connsiteY155" fmla="*/ 1701799 h 2265361"/>
              <a:gd name="connsiteX156" fmla="*/ 4148309 w 9905999"/>
              <a:gd name="connsiteY156" fmla="*/ 1758155 h 2265361"/>
              <a:gd name="connsiteX157" fmla="*/ 4193302 w 9905999"/>
              <a:gd name="connsiteY157" fmla="*/ 1859597 h 2265361"/>
              <a:gd name="connsiteX158" fmla="*/ 4125813 w 9905999"/>
              <a:gd name="connsiteY158" fmla="*/ 1859597 h 2265361"/>
              <a:gd name="connsiteX159" fmla="*/ 4103317 w 9905999"/>
              <a:gd name="connsiteY159" fmla="*/ 1803240 h 2265361"/>
              <a:gd name="connsiteX160" fmla="*/ 4002083 w 9905999"/>
              <a:gd name="connsiteY160" fmla="*/ 1762664 h 2265361"/>
              <a:gd name="connsiteX161" fmla="*/ 3909849 w 9905999"/>
              <a:gd name="connsiteY161" fmla="*/ 1800986 h 2265361"/>
              <a:gd name="connsiteX162" fmla="*/ 3864856 w 9905999"/>
              <a:gd name="connsiteY162" fmla="*/ 1967800 h 2265361"/>
              <a:gd name="connsiteX163" fmla="*/ 3909849 w 9905999"/>
              <a:gd name="connsiteY163" fmla="*/ 2134615 h 2265361"/>
              <a:gd name="connsiteX164" fmla="*/ 4002083 w 9905999"/>
              <a:gd name="connsiteY164" fmla="*/ 2172937 h 2265361"/>
              <a:gd name="connsiteX165" fmla="*/ 4094318 w 9905999"/>
              <a:gd name="connsiteY165" fmla="*/ 2136869 h 2265361"/>
              <a:gd name="connsiteX166" fmla="*/ 4139311 w 9905999"/>
              <a:gd name="connsiteY166" fmla="*/ 2006123 h 2265361"/>
              <a:gd name="connsiteX167" fmla="*/ 4002083 w 9905999"/>
              <a:gd name="connsiteY167" fmla="*/ 2006123 h 2265361"/>
              <a:gd name="connsiteX168" fmla="*/ 4002083 w 9905999"/>
              <a:gd name="connsiteY168" fmla="*/ 1947512 h 2265361"/>
              <a:gd name="connsiteX169" fmla="*/ 4197801 w 9905999"/>
              <a:gd name="connsiteY169" fmla="*/ 1947512 h 2265361"/>
              <a:gd name="connsiteX170" fmla="*/ 4197801 w 9905999"/>
              <a:gd name="connsiteY170" fmla="*/ 2222531 h 2265361"/>
              <a:gd name="connsiteX171" fmla="*/ 4152808 w 9905999"/>
              <a:gd name="connsiteY171" fmla="*/ 2222531 h 2265361"/>
              <a:gd name="connsiteX172" fmla="*/ 4141560 w 9905999"/>
              <a:gd name="connsiteY172" fmla="*/ 2161666 h 2265361"/>
              <a:gd name="connsiteX173" fmla="*/ 4002083 w 9905999"/>
              <a:gd name="connsiteY173" fmla="*/ 2233802 h 2265361"/>
              <a:gd name="connsiteX174" fmla="*/ 3864856 w 9905999"/>
              <a:gd name="connsiteY174" fmla="*/ 2179700 h 2265361"/>
              <a:gd name="connsiteX175" fmla="*/ 3797367 w 9905999"/>
              <a:gd name="connsiteY175" fmla="*/ 1967800 h 2265361"/>
              <a:gd name="connsiteX176" fmla="*/ 3864856 w 9905999"/>
              <a:gd name="connsiteY176" fmla="*/ 1755901 h 2265361"/>
              <a:gd name="connsiteX177" fmla="*/ 4002083 w 9905999"/>
              <a:gd name="connsiteY177" fmla="*/ 1701799 h 2265361"/>
              <a:gd name="connsiteX178" fmla="*/ 1642228 w 9905999"/>
              <a:gd name="connsiteY178" fmla="*/ 1701799 h 2265361"/>
              <a:gd name="connsiteX179" fmla="*/ 1774955 w 9905999"/>
              <a:gd name="connsiteY179" fmla="*/ 1749138 h 2265361"/>
              <a:gd name="connsiteX180" fmla="*/ 1824447 w 9905999"/>
              <a:gd name="connsiteY180" fmla="*/ 1859597 h 2265361"/>
              <a:gd name="connsiteX181" fmla="*/ 1756958 w 9905999"/>
              <a:gd name="connsiteY181" fmla="*/ 1859597 h 2265361"/>
              <a:gd name="connsiteX182" fmla="*/ 1732212 w 9905999"/>
              <a:gd name="connsiteY182" fmla="*/ 1796478 h 2265361"/>
              <a:gd name="connsiteX183" fmla="*/ 1639978 w 9905999"/>
              <a:gd name="connsiteY183" fmla="*/ 1760410 h 2265361"/>
              <a:gd name="connsiteX184" fmla="*/ 1549993 w 9905999"/>
              <a:gd name="connsiteY184" fmla="*/ 1796478 h 2265361"/>
              <a:gd name="connsiteX185" fmla="*/ 1529746 w 9905999"/>
              <a:gd name="connsiteY185" fmla="*/ 1850580 h 2265361"/>
              <a:gd name="connsiteX186" fmla="*/ 1606234 w 9905999"/>
              <a:gd name="connsiteY186" fmla="*/ 1922716 h 2265361"/>
              <a:gd name="connsiteX187" fmla="*/ 1691719 w 9905999"/>
              <a:gd name="connsiteY187" fmla="*/ 1936241 h 2265361"/>
              <a:gd name="connsiteX188" fmla="*/ 1833445 w 9905999"/>
              <a:gd name="connsiteY188" fmla="*/ 2082767 h 2265361"/>
              <a:gd name="connsiteX189" fmla="*/ 1790703 w 9905999"/>
              <a:gd name="connsiteY189" fmla="*/ 2181954 h 2265361"/>
              <a:gd name="connsiteX190" fmla="*/ 1644477 w 9905999"/>
              <a:gd name="connsiteY190" fmla="*/ 2231547 h 2265361"/>
              <a:gd name="connsiteX191" fmla="*/ 1498251 w 9905999"/>
              <a:gd name="connsiteY191" fmla="*/ 2184208 h 2265361"/>
              <a:gd name="connsiteX192" fmla="*/ 1444260 w 9905999"/>
              <a:gd name="connsiteY192" fmla="*/ 2060225 h 2265361"/>
              <a:gd name="connsiteX193" fmla="*/ 1509499 w 9905999"/>
              <a:gd name="connsiteY193" fmla="*/ 2060225 h 2265361"/>
              <a:gd name="connsiteX194" fmla="*/ 1545494 w 9905999"/>
              <a:gd name="connsiteY194" fmla="*/ 2141378 h 2265361"/>
              <a:gd name="connsiteX195" fmla="*/ 1644477 w 9905999"/>
              <a:gd name="connsiteY195" fmla="*/ 2172937 h 2265361"/>
              <a:gd name="connsiteX196" fmla="*/ 1738962 w 9905999"/>
              <a:gd name="connsiteY196" fmla="*/ 2143632 h 2265361"/>
              <a:gd name="connsiteX197" fmla="*/ 1765956 w 9905999"/>
              <a:gd name="connsiteY197" fmla="*/ 2082767 h 2265361"/>
              <a:gd name="connsiteX198" fmla="*/ 1680471 w 9905999"/>
              <a:gd name="connsiteY198" fmla="*/ 2001614 h 2265361"/>
              <a:gd name="connsiteX199" fmla="*/ 1599484 w 9905999"/>
              <a:gd name="connsiteY199" fmla="*/ 1988089 h 2265361"/>
              <a:gd name="connsiteX200" fmla="*/ 1462257 w 9905999"/>
              <a:gd name="connsiteY200" fmla="*/ 1852834 h 2265361"/>
              <a:gd name="connsiteX201" fmla="*/ 1507249 w 9905999"/>
              <a:gd name="connsiteY201" fmla="*/ 1751393 h 2265361"/>
              <a:gd name="connsiteX202" fmla="*/ 1642228 w 9905999"/>
              <a:gd name="connsiteY202" fmla="*/ 1701799 h 2265361"/>
              <a:gd name="connsiteX203" fmla="*/ 654642 w 9905999"/>
              <a:gd name="connsiteY203" fmla="*/ 1701799 h 2265361"/>
              <a:gd name="connsiteX204" fmla="*/ 791868 w 9905999"/>
              <a:gd name="connsiteY204" fmla="*/ 1755901 h 2265361"/>
              <a:gd name="connsiteX205" fmla="*/ 857108 w 9905999"/>
              <a:gd name="connsiteY205" fmla="*/ 1967800 h 2265361"/>
              <a:gd name="connsiteX206" fmla="*/ 791868 w 9905999"/>
              <a:gd name="connsiteY206" fmla="*/ 2177446 h 2265361"/>
              <a:gd name="connsiteX207" fmla="*/ 654642 w 9905999"/>
              <a:gd name="connsiteY207" fmla="*/ 2233802 h 2265361"/>
              <a:gd name="connsiteX208" fmla="*/ 515164 w 9905999"/>
              <a:gd name="connsiteY208" fmla="*/ 2177446 h 2265361"/>
              <a:gd name="connsiteX209" fmla="*/ 449925 w 9905999"/>
              <a:gd name="connsiteY209" fmla="*/ 1967800 h 2265361"/>
              <a:gd name="connsiteX210" fmla="*/ 515164 w 9905999"/>
              <a:gd name="connsiteY210" fmla="*/ 1755901 h 2265361"/>
              <a:gd name="connsiteX211" fmla="*/ 654642 w 9905999"/>
              <a:gd name="connsiteY211" fmla="*/ 1701799 h 2265361"/>
              <a:gd name="connsiteX212" fmla="*/ 202466 w 9905999"/>
              <a:gd name="connsiteY212" fmla="*/ 1701799 h 2265361"/>
              <a:gd name="connsiteX213" fmla="*/ 339693 w 9905999"/>
              <a:gd name="connsiteY213" fmla="*/ 1753647 h 2265361"/>
              <a:gd name="connsiteX214" fmla="*/ 389185 w 9905999"/>
              <a:gd name="connsiteY214" fmla="*/ 1870868 h 2265361"/>
              <a:gd name="connsiteX215" fmla="*/ 323946 w 9905999"/>
              <a:gd name="connsiteY215" fmla="*/ 1870868 h 2265361"/>
              <a:gd name="connsiteX216" fmla="*/ 294701 w 9905999"/>
              <a:gd name="connsiteY216" fmla="*/ 1798732 h 2265361"/>
              <a:gd name="connsiteX217" fmla="*/ 202466 w 9905999"/>
              <a:gd name="connsiteY217" fmla="*/ 1762664 h 2265361"/>
              <a:gd name="connsiteX218" fmla="*/ 110232 w 9905999"/>
              <a:gd name="connsiteY218" fmla="*/ 1800986 h 2265361"/>
              <a:gd name="connsiteX219" fmla="*/ 67489 w 9905999"/>
              <a:gd name="connsiteY219" fmla="*/ 1967800 h 2265361"/>
              <a:gd name="connsiteX220" fmla="*/ 110232 w 9905999"/>
              <a:gd name="connsiteY220" fmla="*/ 2132361 h 2265361"/>
              <a:gd name="connsiteX221" fmla="*/ 202466 w 9905999"/>
              <a:gd name="connsiteY221" fmla="*/ 2172937 h 2265361"/>
              <a:gd name="connsiteX222" fmla="*/ 296951 w 9905999"/>
              <a:gd name="connsiteY222" fmla="*/ 2132361 h 2265361"/>
              <a:gd name="connsiteX223" fmla="*/ 323946 w 9905999"/>
              <a:gd name="connsiteY223" fmla="*/ 2060225 h 2265361"/>
              <a:gd name="connsiteX224" fmla="*/ 391435 w 9905999"/>
              <a:gd name="connsiteY224" fmla="*/ 2060225 h 2265361"/>
              <a:gd name="connsiteX225" fmla="*/ 339693 w 9905999"/>
              <a:gd name="connsiteY225" fmla="*/ 2177446 h 2265361"/>
              <a:gd name="connsiteX226" fmla="*/ 202466 w 9905999"/>
              <a:gd name="connsiteY226" fmla="*/ 2233802 h 2265361"/>
              <a:gd name="connsiteX227" fmla="*/ 65239 w 9905999"/>
              <a:gd name="connsiteY227" fmla="*/ 2177446 h 2265361"/>
              <a:gd name="connsiteX228" fmla="*/ 0 w 9905999"/>
              <a:gd name="connsiteY228" fmla="*/ 1967800 h 2265361"/>
              <a:gd name="connsiteX229" fmla="*/ 65239 w 9905999"/>
              <a:gd name="connsiteY229" fmla="*/ 1755901 h 2265361"/>
              <a:gd name="connsiteX230" fmla="*/ 202466 w 9905999"/>
              <a:gd name="connsiteY230" fmla="*/ 1701799 h 2265361"/>
              <a:gd name="connsiteX231" fmla="*/ 2227389 w 9905999"/>
              <a:gd name="connsiteY231" fmla="*/ 214047 h 2265361"/>
              <a:gd name="connsiteX232" fmla="*/ 2227389 w 9905999"/>
              <a:gd name="connsiteY232" fmla="*/ 574548 h 2265361"/>
              <a:gd name="connsiteX233" fmla="*/ 2456649 w 9905999"/>
              <a:gd name="connsiteY233" fmla="*/ 574548 h 2265361"/>
              <a:gd name="connsiteX234" fmla="*/ 2654442 w 9905999"/>
              <a:gd name="connsiteY234" fmla="*/ 394298 h 2265361"/>
              <a:gd name="connsiteX235" fmla="*/ 2456649 w 9905999"/>
              <a:gd name="connsiteY235" fmla="*/ 214047 h 2265361"/>
              <a:gd name="connsiteX236" fmla="*/ 2227389 w 9905999"/>
              <a:gd name="connsiteY236" fmla="*/ 214047 h 2265361"/>
              <a:gd name="connsiteX237" fmla="*/ 8961436 w 9905999"/>
              <a:gd name="connsiteY237" fmla="*/ 0 h 2265361"/>
              <a:gd name="connsiteX238" fmla="*/ 9905999 w 9905999"/>
              <a:gd name="connsiteY238" fmla="*/ 0 h 2265361"/>
              <a:gd name="connsiteX239" fmla="*/ 9905999 w 9905999"/>
              <a:gd name="connsiteY239" fmla="*/ 225425 h 2265361"/>
              <a:gd name="connsiteX240" fmla="*/ 9555161 w 9905999"/>
              <a:gd name="connsiteY240" fmla="*/ 225425 h 2265361"/>
              <a:gd name="connsiteX241" fmla="*/ 9555161 w 9905999"/>
              <a:gd name="connsiteY241" fmla="*/ 1214437 h 2265361"/>
              <a:gd name="connsiteX242" fmla="*/ 9315449 w 9905999"/>
              <a:gd name="connsiteY242" fmla="*/ 1214437 h 2265361"/>
              <a:gd name="connsiteX243" fmla="*/ 9315449 w 9905999"/>
              <a:gd name="connsiteY243" fmla="*/ 225425 h 2265361"/>
              <a:gd name="connsiteX244" fmla="*/ 8961436 w 9905999"/>
              <a:gd name="connsiteY244" fmla="*/ 225425 h 2265361"/>
              <a:gd name="connsiteX245" fmla="*/ 7785099 w 9905999"/>
              <a:gd name="connsiteY245" fmla="*/ 0 h 2265361"/>
              <a:gd name="connsiteX246" fmla="*/ 8035924 w 9905999"/>
              <a:gd name="connsiteY246" fmla="*/ 0 h 2265361"/>
              <a:gd name="connsiteX247" fmla="*/ 8037512 w 9905999"/>
              <a:gd name="connsiteY247" fmla="*/ 3175 h 2265361"/>
              <a:gd name="connsiteX248" fmla="*/ 8523286 w 9905999"/>
              <a:gd name="connsiteY248" fmla="*/ 774700 h 2265361"/>
              <a:gd name="connsiteX249" fmla="*/ 8523286 w 9905999"/>
              <a:gd name="connsiteY249" fmla="*/ 0 h 2265361"/>
              <a:gd name="connsiteX250" fmla="*/ 8759824 w 9905999"/>
              <a:gd name="connsiteY250" fmla="*/ 0 h 2265361"/>
              <a:gd name="connsiteX251" fmla="*/ 8759824 w 9905999"/>
              <a:gd name="connsiteY251" fmla="*/ 1214437 h 2265361"/>
              <a:gd name="connsiteX252" fmla="*/ 8518524 w 9905999"/>
              <a:gd name="connsiteY252" fmla="*/ 1214437 h 2265361"/>
              <a:gd name="connsiteX253" fmla="*/ 8024812 w 9905999"/>
              <a:gd name="connsiteY253" fmla="*/ 425450 h 2265361"/>
              <a:gd name="connsiteX254" fmla="*/ 8024812 w 9905999"/>
              <a:gd name="connsiteY254" fmla="*/ 1214437 h 2265361"/>
              <a:gd name="connsiteX255" fmla="*/ 7785099 w 9905999"/>
              <a:gd name="connsiteY255" fmla="*/ 1214437 h 2265361"/>
              <a:gd name="connsiteX256" fmla="*/ 6665911 w 9905999"/>
              <a:gd name="connsiteY256" fmla="*/ 0 h 2265361"/>
              <a:gd name="connsiteX257" fmla="*/ 7535861 w 9905999"/>
              <a:gd name="connsiteY257" fmla="*/ 0 h 2265361"/>
              <a:gd name="connsiteX258" fmla="*/ 7535861 w 9905999"/>
              <a:gd name="connsiteY258" fmla="*/ 220663 h 2265361"/>
              <a:gd name="connsiteX259" fmla="*/ 6905624 w 9905999"/>
              <a:gd name="connsiteY259" fmla="*/ 220663 h 2265361"/>
              <a:gd name="connsiteX260" fmla="*/ 6905624 w 9905999"/>
              <a:gd name="connsiteY260" fmla="*/ 473075 h 2265361"/>
              <a:gd name="connsiteX261" fmla="*/ 7459661 w 9905999"/>
              <a:gd name="connsiteY261" fmla="*/ 473075 h 2265361"/>
              <a:gd name="connsiteX262" fmla="*/ 7459661 w 9905999"/>
              <a:gd name="connsiteY262" fmla="*/ 690562 h 2265361"/>
              <a:gd name="connsiteX263" fmla="*/ 6905624 w 9905999"/>
              <a:gd name="connsiteY263" fmla="*/ 690562 h 2265361"/>
              <a:gd name="connsiteX264" fmla="*/ 6905624 w 9905999"/>
              <a:gd name="connsiteY264" fmla="*/ 993775 h 2265361"/>
              <a:gd name="connsiteX265" fmla="*/ 7535861 w 9905999"/>
              <a:gd name="connsiteY265" fmla="*/ 993775 h 2265361"/>
              <a:gd name="connsiteX266" fmla="*/ 7535861 w 9905999"/>
              <a:gd name="connsiteY266" fmla="*/ 1214437 h 2265361"/>
              <a:gd name="connsiteX267" fmla="*/ 6665911 w 9905999"/>
              <a:gd name="connsiteY267" fmla="*/ 1214437 h 2265361"/>
              <a:gd name="connsiteX268" fmla="*/ 5221286 w 9905999"/>
              <a:gd name="connsiteY268" fmla="*/ 0 h 2265361"/>
              <a:gd name="connsiteX269" fmla="*/ 5534024 w 9905999"/>
              <a:gd name="connsiteY269" fmla="*/ 0 h 2265361"/>
              <a:gd name="connsiteX270" fmla="*/ 5835649 w 9905999"/>
              <a:gd name="connsiteY270" fmla="*/ 823912 h 2265361"/>
              <a:gd name="connsiteX271" fmla="*/ 6142037 w 9905999"/>
              <a:gd name="connsiteY271" fmla="*/ 0 h 2265361"/>
              <a:gd name="connsiteX272" fmla="*/ 6438899 w 9905999"/>
              <a:gd name="connsiteY272" fmla="*/ 0 h 2265361"/>
              <a:gd name="connsiteX273" fmla="*/ 6438899 w 9905999"/>
              <a:gd name="connsiteY273" fmla="*/ 1214437 h 2265361"/>
              <a:gd name="connsiteX274" fmla="*/ 6203949 w 9905999"/>
              <a:gd name="connsiteY274" fmla="*/ 1214437 h 2265361"/>
              <a:gd name="connsiteX275" fmla="*/ 6203949 w 9905999"/>
              <a:gd name="connsiteY275" fmla="*/ 419100 h 2265361"/>
              <a:gd name="connsiteX276" fmla="*/ 5916612 w 9905999"/>
              <a:gd name="connsiteY276" fmla="*/ 1196975 h 2265361"/>
              <a:gd name="connsiteX277" fmla="*/ 5740399 w 9905999"/>
              <a:gd name="connsiteY277" fmla="*/ 1196975 h 2265361"/>
              <a:gd name="connsiteX278" fmla="*/ 5454649 w 9905999"/>
              <a:gd name="connsiteY278" fmla="*/ 409575 h 2265361"/>
              <a:gd name="connsiteX279" fmla="*/ 5454649 w 9905999"/>
              <a:gd name="connsiteY279" fmla="*/ 1214437 h 2265361"/>
              <a:gd name="connsiteX280" fmla="*/ 5221286 w 9905999"/>
              <a:gd name="connsiteY280" fmla="*/ 1214437 h 2265361"/>
              <a:gd name="connsiteX281" fmla="*/ 4098924 w 9905999"/>
              <a:gd name="connsiteY281" fmla="*/ 0 h 2265361"/>
              <a:gd name="connsiteX282" fmla="*/ 4968874 w 9905999"/>
              <a:gd name="connsiteY282" fmla="*/ 0 h 2265361"/>
              <a:gd name="connsiteX283" fmla="*/ 4968874 w 9905999"/>
              <a:gd name="connsiteY283" fmla="*/ 220663 h 2265361"/>
              <a:gd name="connsiteX284" fmla="*/ 4340224 w 9905999"/>
              <a:gd name="connsiteY284" fmla="*/ 220663 h 2265361"/>
              <a:gd name="connsiteX285" fmla="*/ 4340224 w 9905999"/>
              <a:gd name="connsiteY285" fmla="*/ 473075 h 2265361"/>
              <a:gd name="connsiteX286" fmla="*/ 4895849 w 9905999"/>
              <a:gd name="connsiteY286" fmla="*/ 473075 h 2265361"/>
              <a:gd name="connsiteX287" fmla="*/ 4895849 w 9905999"/>
              <a:gd name="connsiteY287" fmla="*/ 690562 h 2265361"/>
              <a:gd name="connsiteX288" fmla="*/ 4340224 w 9905999"/>
              <a:gd name="connsiteY288" fmla="*/ 690562 h 2265361"/>
              <a:gd name="connsiteX289" fmla="*/ 4340224 w 9905999"/>
              <a:gd name="connsiteY289" fmla="*/ 993775 h 2265361"/>
              <a:gd name="connsiteX290" fmla="*/ 4968874 w 9905999"/>
              <a:gd name="connsiteY290" fmla="*/ 993775 h 2265361"/>
              <a:gd name="connsiteX291" fmla="*/ 4968874 w 9905999"/>
              <a:gd name="connsiteY291" fmla="*/ 1214437 h 2265361"/>
              <a:gd name="connsiteX292" fmla="*/ 4098924 w 9905999"/>
              <a:gd name="connsiteY292" fmla="*/ 1214437 h 2265361"/>
              <a:gd name="connsiteX293" fmla="*/ 3079749 w 9905999"/>
              <a:gd name="connsiteY293" fmla="*/ 0 h 2265361"/>
              <a:gd name="connsiteX294" fmla="*/ 3321049 w 9905999"/>
              <a:gd name="connsiteY294" fmla="*/ 0 h 2265361"/>
              <a:gd name="connsiteX295" fmla="*/ 3321049 w 9905999"/>
              <a:gd name="connsiteY295" fmla="*/ 984250 h 2265361"/>
              <a:gd name="connsiteX296" fmla="*/ 3871912 w 9905999"/>
              <a:gd name="connsiteY296" fmla="*/ 984250 h 2265361"/>
              <a:gd name="connsiteX297" fmla="*/ 3871912 w 9905999"/>
              <a:gd name="connsiteY297" fmla="*/ 1214437 h 2265361"/>
              <a:gd name="connsiteX298" fmla="*/ 3079749 w 9905999"/>
              <a:gd name="connsiteY298" fmla="*/ 1214437 h 2265361"/>
              <a:gd name="connsiteX299" fmla="*/ 1989138 w 9905999"/>
              <a:gd name="connsiteY299" fmla="*/ 0 h 2265361"/>
              <a:gd name="connsiteX300" fmla="*/ 2465639 w 9905999"/>
              <a:gd name="connsiteY300" fmla="*/ 0 h 2265361"/>
              <a:gd name="connsiteX301" fmla="*/ 2897188 w 9905999"/>
              <a:gd name="connsiteY301" fmla="*/ 392045 h 2265361"/>
              <a:gd name="connsiteX302" fmla="*/ 2465639 w 9905999"/>
              <a:gd name="connsiteY302" fmla="*/ 786342 h 2265361"/>
              <a:gd name="connsiteX303" fmla="*/ 2227389 w 9905999"/>
              <a:gd name="connsiteY303" fmla="*/ 786342 h 2265361"/>
              <a:gd name="connsiteX304" fmla="*/ 2227389 w 9905999"/>
              <a:gd name="connsiteY304" fmla="*/ 1214437 h 2265361"/>
              <a:gd name="connsiteX305" fmla="*/ 1989138 w 9905999"/>
              <a:gd name="connsiteY305" fmla="*/ 1214437 h 2265361"/>
              <a:gd name="connsiteX306" fmla="*/ 1989138 w 9905999"/>
              <a:gd name="connsiteY306" fmla="*/ 0 h 2265361"/>
              <a:gd name="connsiteX307" fmla="*/ 520699 w 9905999"/>
              <a:gd name="connsiteY307" fmla="*/ 0 h 2265361"/>
              <a:gd name="connsiteX308" fmla="*/ 833436 w 9905999"/>
              <a:gd name="connsiteY308" fmla="*/ 0 h 2265361"/>
              <a:gd name="connsiteX309" fmla="*/ 1135061 w 9905999"/>
              <a:gd name="connsiteY309" fmla="*/ 823912 h 2265361"/>
              <a:gd name="connsiteX310" fmla="*/ 1439862 w 9905999"/>
              <a:gd name="connsiteY310" fmla="*/ 0 h 2265361"/>
              <a:gd name="connsiteX311" fmla="*/ 1736724 w 9905999"/>
              <a:gd name="connsiteY311" fmla="*/ 0 h 2265361"/>
              <a:gd name="connsiteX312" fmla="*/ 1736724 w 9905999"/>
              <a:gd name="connsiteY312" fmla="*/ 1214437 h 2265361"/>
              <a:gd name="connsiteX313" fmla="*/ 1503362 w 9905999"/>
              <a:gd name="connsiteY313" fmla="*/ 1214437 h 2265361"/>
              <a:gd name="connsiteX314" fmla="*/ 1503362 w 9905999"/>
              <a:gd name="connsiteY314" fmla="*/ 419100 h 2265361"/>
              <a:gd name="connsiteX315" fmla="*/ 1216024 w 9905999"/>
              <a:gd name="connsiteY315" fmla="*/ 1196975 h 2265361"/>
              <a:gd name="connsiteX316" fmla="*/ 1039812 w 9905999"/>
              <a:gd name="connsiteY316" fmla="*/ 1196975 h 2265361"/>
              <a:gd name="connsiteX317" fmla="*/ 754062 w 9905999"/>
              <a:gd name="connsiteY317" fmla="*/ 409575 h 2265361"/>
              <a:gd name="connsiteX318" fmla="*/ 754062 w 9905999"/>
              <a:gd name="connsiteY318" fmla="*/ 1214437 h 2265361"/>
              <a:gd name="connsiteX319" fmla="*/ 520699 w 9905999"/>
              <a:gd name="connsiteY319" fmla="*/ 1214437 h 2265361"/>
              <a:gd name="connsiteX320" fmla="*/ 25400 w 9905999"/>
              <a:gd name="connsiteY320" fmla="*/ 0 h 2265361"/>
              <a:gd name="connsiteX321" fmla="*/ 268288 w 9905999"/>
              <a:gd name="connsiteY321" fmla="*/ 0 h 2265361"/>
              <a:gd name="connsiteX322" fmla="*/ 268288 w 9905999"/>
              <a:gd name="connsiteY322" fmla="*/ 1214437 h 2265361"/>
              <a:gd name="connsiteX323" fmla="*/ 25400 w 9905999"/>
              <a:gd name="connsiteY323" fmla="*/ 1214437 h 22653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</a:cxnLst>
            <a:rect l="l" t="t" r="r" b="b"/>
            <a:pathLst>
              <a:path w="9905999" h="2265361">
                <a:moveTo>
                  <a:pt x="6778122" y="2222531"/>
                </a:moveTo>
                <a:cubicBezTo>
                  <a:pt x="6778122" y="2222531"/>
                  <a:pt x="6778122" y="2222531"/>
                  <a:pt x="7135812" y="2222531"/>
                </a:cubicBezTo>
                <a:lnTo>
                  <a:pt x="7135812" y="2265361"/>
                </a:lnTo>
                <a:cubicBezTo>
                  <a:pt x="7135812" y="2265361"/>
                  <a:pt x="7135812" y="2265361"/>
                  <a:pt x="6778122" y="2265361"/>
                </a:cubicBezTo>
                <a:cubicBezTo>
                  <a:pt x="6778122" y="2265361"/>
                  <a:pt x="6778122" y="2265361"/>
                  <a:pt x="6778122" y="2222531"/>
                </a:cubicBezTo>
                <a:close/>
                <a:moveTo>
                  <a:pt x="6449676" y="1769427"/>
                </a:moveTo>
                <a:cubicBezTo>
                  <a:pt x="6449676" y="1769427"/>
                  <a:pt x="6449676" y="1769427"/>
                  <a:pt x="6449676" y="1965546"/>
                </a:cubicBezTo>
                <a:cubicBezTo>
                  <a:pt x="6449676" y="1965546"/>
                  <a:pt x="6449676" y="1965546"/>
                  <a:pt x="6575655" y="1965546"/>
                </a:cubicBezTo>
                <a:cubicBezTo>
                  <a:pt x="6643144" y="1965546"/>
                  <a:pt x="6679138" y="1933987"/>
                  <a:pt x="6679138" y="1864105"/>
                </a:cubicBezTo>
                <a:cubicBezTo>
                  <a:pt x="6679138" y="1800986"/>
                  <a:pt x="6638645" y="1769427"/>
                  <a:pt x="6575655" y="1769427"/>
                </a:cubicBezTo>
                <a:cubicBezTo>
                  <a:pt x="6575655" y="1769427"/>
                  <a:pt x="6575655" y="1769427"/>
                  <a:pt x="6449676" y="1769427"/>
                </a:cubicBezTo>
                <a:close/>
                <a:moveTo>
                  <a:pt x="5021164" y="1769427"/>
                </a:moveTo>
                <a:cubicBezTo>
                  <a:pt x="5021164" y="1769427"/>
                  <a:pt x="5021164" y="1769427"/>
                  <a:pt x="5021164" y="1949767"/>
                </a:cubicBezTo>
                <a:cubicBezTo>
                  <a:pt x="5021164" y="1949767"/>
                  <a:pt x="5021164" y="1949767"/>
                  <a:pt x="5158391" y="1949767"/>
                </a:cubicBezTo>
                <a:cubicBezTo>
                  <a:pt x="5219131" y="1949767"/>
                  <a:pt x="5261874" y="1924970"/>
                  <a:pt x="5261874" y="1859597"/>
                </a:cubicBezTo>
                <a:cubicBezTo>
                  <a:pt x="5261874" y="1794223"/>
                  <a:pt x="5219131" y="1769427"/>
                  <a:pt x="5158391" y="1769427"/>
                </a:cubicBezTo>
                <a:cubicBezTo>
                  <a:pt x="5158391" y="1769427"/>
                  <a:pt x="5158391" y="1769427"/>
                  <a:pt x="5021164" y="1769427"/>
                </a:cubicBezTo>
                <a:close/>
                <a:moveTo>
                  <a:pt x="5597068" y="1762664"/>
                </a:moveTo>
                <a:cubicBezTo>
                  <a:pt x="5563324" y="1762664"/>
                  <a:pt x="5529579" y="1776189"/>
                  <a:pt x="5504834" y="1800986"/>
                </a:cubicBezTo>
                <a:cubicBezTo>
                  <a:pt x="5462091" y="1843817"/>
                  <a:pt x="5459841" y="1913699"/>
                  <a:pt x="5459841" y="1967800"/>
                </a:cubicBezTo>
                <a:cubicBezTo>
                  <a:pt x="5459841" y="2019648"/>
                  <a:pt x="5462091" y="2089530"/>
                  <a:pt x="5504834" y="2132361"/>
                </a:cubicBezTo>
                <a:cubicBezTo>
                  <a:pt x="5529579" y="2159412"/>
                  <a:pt x="5563324" y="2170683"/>
                  <a:pt x="5597068" y="2170683"/>
                </a:cubicBezTo>
                <a:cubicBezTo>
                  <a:pt x="5633062" y="2170683"/>
                  <a:pt x="5666807" y="2159412"/>
                  <a:pt x="5691552" y="2132361"/>
                </a:cubicBezTo>
                <a:cubicBezTo>
                  <a:pt x="5732046" y="2089530"/>
                  <a:pt x="5734295" y="2019648"/>
                  <a:pt x="5734295" y="1967800"/>
                </a:cubicBezTo>
                <a:cubicBezTo>
                  <a:pt x="5734295" y="1913699"/>
                  <a:pt x="5732046" y="1843817"/>
                  <a:pt x="5691552" y="1800986"/>
                </a:cubicBezTo>
                <a:cubicBezTo>
                  <a:pt x="5666807" y="1776189"/>
                  <a:pt x="5633062" y="1762664"/>
                  <a:pt x="5597068" y="1762664"/>
                </a:cubicBezTo>
                <a:close/>
                <a:moveTo>
                  <a:pt x="654642" y="1762664"/>
                </a:moveTo>
                <a:cubicBezTo>
                  <a:pt x="618647" y="1762664"/>
                  <a:pt x="584903" y="1776189"/>
                  <a:pt x="560157" y="1800986"/>
                </a:cubicBezTo>
                <a:cubicBezTo>
                  <a:pt x="519664" y="1843817"/>
                  <a:pt x="517414" y="1913699"/>
                  <a:pt x="517414" y="1967800"/>
                </a:cubicBezTo>
                <a:cubicBezTo>
                  <a:pt x="517414" y="2019648"/>
                  <a:pt x="519664" y="2089530"/>
                  <a:pt x="560157" y="2132361"/>
                </a:cubicBezTo>
                <a:cubicBezTo>
                  <a:pt x="584903" y="2159412"/>
                  <a:pt x="618647" y="2170683"/>
                  <a:pt x="654642" y="2170683"/>
                </a:cubicBezTo>
                <a:cubicBezTo>
                  <a:pt x="688386" y="2170683"/>
                  <a:pt x="722130" y="2159412"/>
                  <a:pt x="746876" y="2132361"/>
                </a:cubicBezTo>
                <a:cubicBezTo>
                  <a:pt x="789619" y="2089530"/>
                  <a:pt x="791868" y="2019648"/>
                  <a:pt x="791868" y="1967800"/>
                </a:cubicBezTo>
                <a:cubicBezTo>
                  <a:pt x="791868" y="1913699"/>
                  <a:pt x="789619" y="1843817"/>
                  <a:pt x="746876" y="1800986"/>
                </a:cubicBezTo>
                <a:cubicBezTo>
                  <a:pt x="722130" y="1776189"/>
                  <a:pt x="688386" y="1762664"/>
                  <a:pt x="654642" y="1762664"/>
                </a:cubicBezTo>
                <a:close/>
                <a:moveTo>
                  <a:pt x="6386687" y="1710816"/>
                </a:moveTo>
                <a:cubicBezTo>
                  <a:pt x="6386687" y="1710816"/>
                  <a:pt x="6386687" y="1710816"/>
                  <a:pt x="6575655" y="1710816"/>
                </a:cubicBezTo>
                <a:cubicBezTo>
                  <a:pt x="6636395" y="1710816"/>
                  <a:pt x="6679138" y="1726596"/>
                  <a:pt x="6706134" y="1755901"/>
                </a:cubicBezTo>
                <a:cubicBezTo>
                  <a:pt x="6730880" y="1782952"/>
                  <a:pt x="6744377" y="1821274"/>
                  <a:pt x="6744377" y="1864105"/>
                </a:cubicBezTo>
                <a:cubicBezTo>
                  <a:pt x="6744377" y="1915953"/>
                  <a:pt x="6730880" y="1954275"/>
                  <a:pt x="6701634" y="1981326"/>
                </a:cubicBezTo>
                <a:cubicBezTo>
                  <a:pt x="6674639" y="2008377"/>
                  <a:pt x="6634146" y="2024157"/>
                  <a:pt x="6577905" y="2024157"/>
                </a:cubicBezTo>
                <a:cubicBezTo>
                  <a:pt x="6577905" y="2024157"/>
                  <a:pt x="6577905" y="2024157"/>
                  <a:pt x="6449676" y="2024157"/>
                </a:cubicBezTo>
                <a:cubicBezTo>
                  <a:pt x="6449676" y="2024157"/>
                  <a:pt x="6449676" y="2024157"/>
                  <a:pt x="6449676" y="2222531"/>
                </a:cubicBezTo>
                <a:cubicBezTo>
                  <a:pt x="6449676" y="2222531"/>
                  <a:pt x="6449676" y="2222531"/>
                  <a:pt x="6386687" y="2222531"/>
                </a:cubicBezTo>
                <a:cubicBezTo>
                  <a:pt x="6386687" y="2222531"/>
                  <a:pt x="6386687" y="2222531"/>
                  <a:pt x="6386687" y="1710816"/>
                </a:cubicBezTo>
                <a:close/>
                <a:moveTo>
                  <a:pt x="5889520" y="1710816"/>
                </a:moveTo>
                <a:cubicBezTo>
                  <a:pt x="5889520" y="1710816"/>
                  <a:pt x="5889520" y="1710816"/>
                  <a:pt x="5954759" y="1710816"/>
                </a:cubicBezTo>
                <a:cubicBezTo>
                  <a:pt x="5954759" y="1710816"/>
                  <a:pt x="5954759" y="1710816"/>
                  <a:pt x="5954759" y="2035428"/>
                </a:cubicBezTo>
                <a:cubicBezTo>
                  <a:pt x="5954759" y="2118835"/>
                  <a:pt x="5988503" y="2172937"/>
                  <a:pt x="6076239" y="2172937"/>
                </a:cubicBezTo>
                <a:cubicBezTo>
                  <a:pt x="6166224" y="2172937"/>
                  <a:pt x="6199968" y="2118835"/>
                  <a:pt x="6199968" y="2035428"/>
                </a:cubicBezTo>
                <a:cubicBezTo>
                  <a:pt x="6199968" y="2035428"/>
                  <a:pt x="6199968" y="2035428"/>
                  <a:pt x="6199968" y="1710816"/>
                </a:cubicBezTo>
                <a:cubicBezTo>
                  <a:pt x="6199968" y="1710816"/>
                  <a:pt x="6199968" y="1710816"/>
                  <a:pt x="6262957" y="1710816"/>
                </a:cubicBezTo>
                <a:cubicBezTo>
                  <a:pt x="6262957" y="1710816"/>
                  <a:pt x="6262957" y="1710816"/>
                  <a:pt x="6262957" y="2035428"/>
                </a:cubicBezTo>
                <a:cubicBezTo>
                  <a:pt x="6262957" y="2163920"/>
                  <a:pt x="6190969" y="2231547"/>
                  <a:pt x="6076239" y="2231547"/>
                </a:cubicBezTo>
                <a:cubicBezTo>
                  <a:pt x="5961508" y="2231547"/>
                  <a:pt x="5889520" y="2163920"/>
                  <a:pt x="5889520" y="2035428"/>
                </a:cubicBezTo>
                <a:cubicBezTo>
                  <a:pt x="5889520" y="2035428"/>
                  <a:pt x="5889520" y="2035428"/>
                  <a:pt x="5889520" y="1710816"/>
                </a:cubicBezTo>
                <a:close/>
                <a:moveTo>
                  <a:pt x="4958174" y="1710816"/>
                </a:moveTo>
                <a:cubicBezTo>
                  <a:pt x="4958174" y="1710816"/>
                  <a:pt x="4958174" y="1710816"/>
                  <a:pt x="5158391" y="1710816"/>
                </a:cubicBezTo>
                <a:cubicBezTo>
                  <a:pt x="5219131" y="1710816"/>
                  <a:pt x="5259624" y="1726596"/>
                  <a:pt x="5288869" y="1755901"/>
                </a:cubicBezTo>
                <a:cubicBezTo>
                  <a:pt x="5313615" y="1782952"/>
                  <a:pt x="5329363" y="1814512"/>
                  <a:pt x="5329363" y="1859597"/>
                </a:cubicBezTo>
                <a:cubicBezTo>
                  <a:pt x="5329363" y="1904682"/>
                  <a:pt x="5313615" y="1936241"/>
                  <a:pt x="5288869" y="1961038"/>
                </a:cubicBezTo>
                <a:cubicBezTo>
                  <a:pt x="5275372" y="1976817"/>
                  <a:pt x="5252875" y="1990343"/>
                  <a:pt x="5228130" y="1997106"/>
                </a:cubicBezTo>
                <a:cubicBezTo>
                  <a:pt x="5228130" y="1997106"/>
                  <a:pt x="5228130" y="1997106"/>
                  <a:pt x="5331612" y="2222531"/>
                </a:cubicBezTo>
                <a:lnTo>
                  <a:pt x="5259624" y="2222531"/>
                </a:lnTo>
                <a:cubicBezTo>
                  <a:pt x="5259624" y="2222531"/>
                  <a:pt x="5259624" y="2222531"/>
                  <a:pt x="5162890" y="2010631"/>
                </a:cubicBezTo>
                <a:cubicBezTo>
                  <a:pt x="5162890" y="2010631"/>
                  <a:pt x="5162890" y="2010631"/>
                  <a:pt x="5021164" y="2010631"/>
                </a:cubicBezTo>
                <a:cubicBezTo>
                  <a:pt x="5021164" y="2010631"/>
                  <a:pt x="5021164" y="2010631"/>
                  <a:pt x="5021164" y="2222531"/>
                </a:cubicBezTo>
                <a:cubicBezTo>
                  <a:pt x="5021164" y="2222531"/>
                  <a:pt x="5021164" y="2222531"/>
                  <a:pt x="4958174" y="2222531"/>
                </a:cubicBezTo>
                <a:cubicBezTo>
                  <a:pt x="4958174" y="2222531"/>
                  <a:pt x="4958174" y="2222531"/>
                  <a:pt x="4958174" y="1710816"/>
                </a:cubicBezTo>
                <a:close/>
                <a:moveTo>
                  <a:pt x="3309199" y="1710816"/>
                </a:moveTo>
                <a:cubicBezTo>
                  <a:pt x="3309199" y="1710816"/>
                  <a:pt x="3309199" y="1710816"/>
                  <a:pt x="3381187" y="1710816"/>
                </a:cubicBezTo>
                <a:cubicBezTo>
                  <a:pt x="3381187" y="1710816"/>
                  <a:pt x="3381187" y="1710816"/>
                  <a:pt x="3633145" y="2123344"/>
                </a:cubicBezTo>
                <a:cubicBezTo>
                  <a:pt x="3633145" y="2123344"/>
                  <a:pt x="3633145" y="2123344"/>
                  <a:pt x="3633145" y="1710816"/>
                </a:cubicBezTo>
                <a:cubicBezTo>
                  <a:pt x="3633145" y="1710816"/>
                  <a:pt x="3633145" y="1710816"/>
                  <a:pt x="3693885" y="1710816"/>
                </a:cubicBezTo>
                <a:cubicBezTo>
                  <a:pt x="3693885" y="1710816"/>
                  <a:pt x="3693885" y="1710816"/>
                  <a:pt x="3693885" y="2222531"/>
                </a:cubicBezTo>
                <a:lnTo>
                  <a:pt x="3621897" y="2222531"/>
                </a:lnTo>
                <a:cubicBezTo>
                  <a:pt x="3621897" y="2222531"/>
                  <a:pt x="3621897" y="2222531"/>
                  <a:pt x="3372188" y="1810003"/>
                </a:cubicBezTo>
                <a:cubicBezTo>
                  <a:pt x="3372188" y="1810003"/>
                  <a:pt x="3372188" y="1810003"/>
                  <a:pt x="3372188" y="2222531"/>
                </a:cubicBezTo>
                <a:cubicBezTo>
                  <a:pt x="3372188" y="2222531"/>
                  <a:pt x="3372188" y="2222531"/>
                  <a:pt x="3309199" y="2222531"/>
                </a:cubicBezTo>
                <a:cubicBezTo>
                  <a:pt x="3309199" y="2222531"/>
                  <a:pt x="3309199" y="2222531"/>
                  <a:pt x="3309199" y="1710816"/>
                </a:cubicBezTo>
                <a:close/>
                <a:moveTo>
                  <a:pt x="3106732" y="1710816"/>
                </a:moveTo>
                <a:cubicBezTo>
                  <a:pt x="3106732" y="1710816"/>
                  <a:pt x="3106732" y="1710816"/>
                  <a:pt x="3171971" y="1710816"/>
                </a:cubicBezTo>
                <a:lnTo>
                  <a:pt x="3171971" y="2222531"/>
                </a:lnTo>
                <a:cubicBezTo>
                  <a:pt x="3171971" y="2222531"/>
                  <a:pt x="3171971" y="2222531"/>
                  <a:pt x="3106732" y="2222531"/>
                </a:cubicBezTo>
                <a:cubicBezTo>
                  <a:pt x="3106732" y="2222531"/>
                  <a:pt x="3106732" y="2222531"/>
                  <a:pt x="3106732" y="1710816"/>
                </a:cubicBezTo>
                <a:close/>
                <a:moveTo>
                  <a:pt x="2663557" y="1710816"/>
                </a:moveTo>
                <a:cubicBezTo>
                  <a:pt x="2663557" y="1710816"/>
                  <a:pt x="2663557" y="1710816"/>
                  <a:pt x="3032495" y="1710816"/>
                </a:cubicBezTo>
                <a:cubicBezTo>
                  <a:pt x="3032495" y="1710816"/>
                  <a:pt x="3032495" y="1710816"/>
                  <a:pt x="3032495" y="1769427"/>
                </a:cubicBezTo>
                <a:lnTo>
                  <a:pt x="2879521" y="1769427"/>
                </a:lnTo>
                <a:cubicBezTo>
                  <a:pt x="2879521" y="1769427"/>
                  <a:pt x="2879521" y="1769427"/>
                  <a:pt x="2879521" y="2222531"/>
                </a:cubicBezTo>
                <a:cubicBezTo>
                  <a:pt x="2879521" y="2222531"/>
                  <a:pt x="2879521" y="2222531"/>
                  <a:pt x="2814282" y="2222531"/>
                </a:cubicBezTo>
                <a:cubicBezTo>
                  <a:pt x="2814282" y="2222531"/>
                  <a:pt x="2814282" y="2222531"/>
                  <a:pt x="2814282" y="1769427"/>
                </a:cubicBezTo>
                <a:cubicBezTo>
                  <a:pt x="2814282" y="1769427"/>
                  <a:pt x="2814282" y="1769427"/>
                  <a:pt x="2663557" y="1769427"/>
                </a:cubicBezTo>
                <a:cubicBezTo>
                  <a:pt x="2663557" y="1769427"/>
                  <a:pt x="2663557" y="1769427"/>
                  <a:pt x="2663557" y="1710816"/>
                </a:cubicBezTo>
                <a:close/>
                <a:moveTo>
                  <a:pt x="2416099" y="1710816"/>
                </a:moveTo>
                <a:cubicBezTo>
                  <a:pt x="2416099" y="1710816"/>
                  <a:pt x="2416099" y="1710816"/>
                  <a:pt x="2481338" y="1710816"/>
                </a:cubicBezTo>
                <a:cubicBezTo>
                  <a:pt x="2481338" y="1710816"/>
                  <a:pt x="2481338" y="1710816"/>
                  <a:pt x="2481338" y="2163920"/>
                </a:cubicBezTo>
                <a:cubicBezTo>
                  <a:pt x="2481338" y="2163920"/>
                  <a:pt x="2481338" y="2163920"/>
                  <a:pt x="2726547" y="2163920"/>
                </a:cubicBezTo>
                <a:cubicBezTo>
                  <a:pt x="2726547" y="2163920"/>
                  <a:pt x="2726547" y="2163920"/>
                  <a:pt x="2726547" y="2222531"/>
                </a:cubicBezTo>
                <a:lnTo>
                  <a:pt x="2416099" y="2222531"/>
                </a:lnTo>
                <a:cubicBezTo>
                  <a:pt x="2416099" y="2222531"/>
                  <a:pt x="2416099" y="2222531"/>
                  <a:pt x="2416099" y="1710816"/>
                </a:cubicBezTo>
                <a:close/>
                <a:moveTo>
                  <a:pt x="1918931" y="1710816"/>
                </a:moveTo>
                <a:cubicBezTo>
                  <a:pt x="1918931" y="1710816"/>
                  <a:pt x="1918931" y="1710816"/>
                  <a:pt x="1984171" y="1710816"/>
                </a:cubicBezTo>
                <a:cubicBezTo>
                  <a:pt x="1984171" y="1710816"/>
                  <a:pt x="1984171" y="1710816"/>
                  <a:pt x="1984171" y="2035428"/>
                </a:cubicBezTo>
                <a:cubicBezTo>
                  <a:pt x="1984171" y="2118835"/>
                  <a:pt x="2017916" y="2172937"/>
                  <a:pt x="2105651" y="2172937"/>
                </a:cubicBezTo>
                <a:cubicBezTo>
                  <a:pt x="2195636" y="2172937"/>
                  <a:pt x="2229380" y="2118835"/>
                  <a:pt x="2229380" y="2035428"/>
                </a:cubicBezTo>
                <a:cubicBezTo>
                  <a:pt x="2229380" y="2035428"/>
                  <a:pt x="2229380" y="2035428"/>
                  <a:pt x="2229380" y="1710816"/>
                </a:cubicBezTo>
                <a:cubicBezTo>
                  <a:pt x="2229380" y="1710816"/>
                  <a:pt x="2229380" y="1710816"/>
                  <a:pt x="2292369" y="1710816"/>
                </a:cubicBezTo>
                <a:cubicBezTo>
                  <a:pt x="2292369" y="1710816"/>
                  <a:pt x="2292369" y="1710816"/>
                  <a:pt x="2292369" y="2035428"/>
                </a:cubicBezTo>
                <a:cubicBezTo>
                  <a:pt x="2292369" y="2163920"/>
                  <a:pt x="2220382" y="2231547"/>
                  <a:pt x="2105651" y="2231547"/>
                </a:cubicBezTo>
                <a:cubicBezTo>
                  <a:pt x="1990920" y="2231547"/>
                  <a:pt x="1918931" y="2163920"/>
                  <a:pt x="1918931" y="2035428"/>
                </a:cubicBezTo>
                <a:cubicBezTo>
                  <a:pt x="1918931" y="2035428"/>
                  <a:pt x="1918931" y="2035428"/>
                  <a:pt x="1918931" y="1710816"/>
                </a:cubicBezTo>
                <a:close/>
                <a:moveTo>
                  <a:pt x="960591" y="1710816"/>
                </a:moveTo>
                <a:cubicBezTo>
                  <a:pt x="960591" y="1710816"/>
                  <a:pt x="960591" y="1710816"/>
                  <a:pt x="1032578" y="1710816"/>
                </a:cubicBezTo>
                <a:cubicBezTo>
                  <a:pt x="1032578" y="1710816"/>
                  <a:pt x="1032578" y="1710816"/>
                  <a:pt x="1284537" y="2123344"/>
                </a:cubicBezTo>
                <a:cubicBezTo>
                  <a:pt x="1284537" y="2123344"/>
                  <a:pt x="1284537" y="2123344"/>
                  <a:pt x="1284537" y="1710816"/>
                </a:cubicBezTo>
                <a:cubicBezTo>
                  <a:pt x="1284537" y="1710816"/>
                  <a:pt x="1284537" y="1710816"/>
                  <a:pt x="1345276" y="1710816"/>
                </a:cubicBezTo>
                <a:cubicBezTo>
                  <a:pt x="1345276" y="1710816"/>
                  <a:pt x="1345276" y="1710816"/>
                  <a:pt x="1345276" y="2222531"/>
                </a:cubicBezTo>
                <a:lnTo>
                  <a:pt x="1273289" y="2222531"/>
                </a:lnTo>
                <a:cubicBezTo>
                  <a:pt x="1273289" y="2222531"/>
                  <a:pt x="1273289" y="2222531"/>
                  <a:pt x="1023580" y="1810003"/>
                </a:cubicBezTo>
                <a:cubicBezTo>
                  <a:pt x="1023580" y="1810003"/>
                  <a:pt x="1023580" y="1810003"/>
                  <a:pt x="1023580" y="2222531"/>
                </a:cubicBezTo>
                <a:cubicBezTo>
                  <a:pt x="1023580" y="2222531"/>
                  <a:pt x="1023580" y="2222531"/>
                  <a:pt x="960591" y="2222531"/>
                </a:cubicBezTo>
                <a:cubicBezTo>
                  <a:pt x="960591" y="2222531"/>
                  <a:pt x="960591" y="2222531"/>
                  <a:pt x="960591" y="1710816"/>
                </a:cubicBezTo>
                <a:close/>
                <a:moveTo>
                  <a:pt x="5597068" y="1701799"/>
                </a:moveTo>
                <a:cubicBezTo>
                  <a:pt x="5648810" y="1701799"/>
                  <a:pt x="5698301" y="1719833"/>
                  <a:pt x="5736545" y="1755901"/>
                </a:cubicBezTo>
                <a:cubicBezTo>
                  <a:pt x="5790536" y="1810003"/>
                  <a:pt x="5801784" y="1884393"/>
                  <a:pt x="5801784" y="1967800"/>
                </a:cubicBezTo>
                <a:cubicBezTo>
                  <a:pt x="5801784" y="2048953"/>
                  <a:pt x="5790536" y="2123344"/>
                  <a:pt x="5736545" y="2177446"/>
                </a:cubicBezTo>
                <a:cubicBezTo>
                  <a:pt x="5698301" y="2213514"/>
                  <a:pt x="5648810" y="2233802"/>
                  <a:pt x="5597068" y="2233802"/>
                </a:cubicBezTo>
                <a:cubicBezTo>
                  <a:pt x="5547576" y="2233802"/>
                  <a:pt x="5495835" y="2213514"/>
                  <a:pt x="5459841" y="2177446"/>
                </a:cubicBezTo>
                <a:cubicBezTo>
                  <a:pt x="5403600" y="2123344"/>
                  <a:pt x="5394602" y="2048953"/>
                  <a:pt x="5394602" y="1967800"/>
                </a:cubicBezTo>
                <a:cubicBezTo>
                  <a:pt x="5394602" y="1884393"/>
                  <a:pt x="5403600" y="1810003"/>
                  <a:pt x="5459841" y="1755901"/>
                </a:cubicBezTo>
                <a:cubicBezTo>
                  <a:pt x="5495835" y="1719833"/>
                  <a:pt x="5547576" y="1701799"/>
                  <a:pt x="5597068" y="1701799"/>
                </a:cubicBezTo>
                <a:close/>
                <a:moveTo>
                  <a:pt x="4645477" y="1701799"/>
                </a:moveTo>
                <a:cubicBezTo>
                  <a:pt x="4701717" y="1701799"/>
                  <a:pt x="4755708" y="1722087"/>
                  <a:pt x="4791702" y="1758155"/>
                </a:cubicBezTo>
                <a:cubicBezTo>
                  <a:pt x="4816448" y="1785206"/>
                  <a:pt x="4832195" y="1816766"/>
                  <a:pt x="4834445" y="1859597"/>
                </a:cubicBezTo>
                <a:cubicBezTo>
                  <a:pt x="4834445" y="1859597"/>
                  <a:pt x="4834445" y="1859597"/>
                  <a:pt x="4766956" y="1859597"/>
                </a:cubicBezTo>
                <a:cubicBezTo>
                  <a:pt x="4764707" y="1834800"/>
                  <a:pt x="4757958" y="1819020"/>
                  <a:pt x="4744460" y="1803240"/>
                </a:cubicBezTo>
                <a:cubicBezTo>
                  <a:pt x="4721964" y="1773935"/>
                  <a:pt x="4685970" y="1762664"/>
                  <a:pt x="4645477" y="1762664"/>
                </a:cubicBezTo>
                <a:cubicBezTo>
                  <a:pt x="4609482" y="1762664"/>
                  <a:pt x="4575738" y="1776189"/>
                  <a:pt x="4550992" y="1800986"/>
                </a:cubicBezTo>
                <a:cubicBezTo>
                  <a:pt x="4510499" y="1843817"/>
                  <a:pt x="4506000" y="1913699"/>
                  <a:pt x="4506000" y="1967800"/>
                </a:cubicBezTo>
                <a:cubicBezTo>
                  <a:pt x="4506000" y="2017394"/>
                  <a:pt x="4510499" y="2091784"/>
                  <a:pt x="4553242" y="2134615"/>
                </a:cubicBezTo>
                <a:cubicBezTo>
                  <a:pt x="4577988" y="2161666"/>
                  <a:pt x="4609482" y="2172937"/>
                  <a:pt x="4645477" y="2172937"/>
                </a:cubicBezTo>
                <a:cubicBezTo>
                  <a:pt x="4681471" y="2172937"/>
                  <a:pt x="4715215" y="2159412"/>
                  <a:pt x="4737711" y="2136869"/>
                </a:cubicBezTo>
                <a:cubicBezTo>
                  <a:pt x="4771456" y="2103055"/>
                  <a:pt x="4780454" y="2053462"/>
                  <a:pt x="4780454" y="2006123"/>
                </a:cubicBezTo>
                <a:cubicBezTo>
                  <a:pt x="4780454" y="2006123"/>
                  <a:pt x="4780454" y="2006123"/>
                  <a:pt x="4645477" y="2006123"/>
                </a:cubicBezTo>
                <a:cubicBezTo>
                  <a:pt x="4645477" y="2006123"/>
                  <a:pt x="4645477" y="2006123"/>
                  <a:pt x="4645477" y="1947512"/>
                </a:cubicBezTo>
                <a:cubicBezTo>
                  <a:pt x="4645477" y="1947512"/>
                  <a:pt x="4645477" y="1947512"/>
                  <a:pt x="4838944" y="1947512"/>
                </a:cubicBezTo>
                <a:cubicBezTo>
                  <a:pt x="4838944" y="1947512"/>
                  <a:pt x="4838944" y="1947512"/>
                  <a:pt x="4838944" y="2222531"/>
                </a:cubicBezTo>
                <a:lnTo>
                  <a:pt x="4793952" y="2222531"/>
                </a:lnTo>
                <a:cubicBezTo>
                  <a:pt x="4793952" y="2222531"/>
                  <a:pt x="4793952" y="2222531"/>
                  <a:pt x="4782704" y="2161666"/>
                </a:cubicBezTo>
                <a:cubicBezTo>
                  <a:pt x="4757958" y="2204497"/>
                  <a:pt x="4701717" y="2233802"/>
                  <a:pt x="4645477" y="2233802"/>
                </a:cubicBezTo>
                <a:cubicBezTo>
                  <a:pt x="4593735" y="2233802"/>
                  <a:pt x="4544243" y="2215768"/>
                  <a:pt x="4506000" y="2179700"/>
                </a:cubicBezTo>
                <a:cubicBezTo>
                  <a:pt x="4454258" y="2130106"/>
                  <a:pt x="4440761" y="2057970"/>
                  <a:pt x="4440761" y="1967800"/>
                </a:cubicBezTo>
                <a:cubicBezTo>
                  <a:pt x="4440761" y="1884393"/>
                  <a:pt x="4452009" y="1810003"/>
                  <a:pt x="4506000" y="1755901"/>
                </a:cubicBezTo>
                <a:cubicBezTo>
                  <a:pt x="4544243" y="1719833"/>
                  <a:pt x="4593735" y="1701799"/>
                  <a:pt x="4645477" y="1701799"/>
                </a:cubicBezTo>
                <a:close/>
                <a:moveTo>
                  <a:pt x="4002083" y="1701799"/>
                </a:moveTo>
                <a:cubicBezTo>
                  <a:pt x="4060574" y="1701799"/>
                  <a:pt x="4112315" y="1722087"/>
                  <a:pt x="4148309" y="1758155"/>
                </a:cubicBezTo>
                <a:cubicBezTo>
                  <a:pt x="4173055" y="1785206"/>
                  <a:pt x="4191052" y="1816766"/>
                  <a:pt x="4193302" y="1859597"/>
                </a:cubicBezTo>
                <a:cubicBezTo>
                  <a:pt x="4193302" y="1859597"/>
                  <a:pt x="4193302" y="1859597"/>
                  <a:pt x="4125813" y="1859597"/>
                </a:cubicBezTo>
                <a:cubicBezTo>
                  <a:pt x="4123563" y="1834800"/>
                  <a:pt x="4114565" y="1819020"/>
                  <a:pt x="4103317" y="1803240"/>
                </a:cubicBezTo>
                <a:cubicBezTo>
                  <a:pt x="4078571" y="1773935"/>
                  <a:pt x="4044826" y="1762664"/>
                  <a:pt x="4002083" y="1762664"/>
                </a:cubicBezTo>
                <a:cubicBezTo>
                  <a:pt x="3968339" y="1762664"/>
                  <a:pt x="3934595" y="1776189"/>
                  <a:pt x="3909849" y="1800986"/>
                </a:cubicBezTo>
                <a:cubicBezTo>
                  <a:pt x="3867106" y="1843817"/>
                  <a:pt x="3864856" y="1913699"/>
                  <a:pt x="3864856" y="1967800"/>
                </a:cubicBezTo>
                <a:cubicBezTo>
                  <a:pt x="3864856" y="2017394"/>
                  <a:pt x="3867106" y="2091784"/>
                  <a:pt x="3909849" y="2134615"/>
                </a:cubicBezTo>
                <a:cubicBezTo>
                  <a:pt x="3934595" y="2161666"/>
                  <a:pt x="3968339" y="2172937"/>
                  <a:pt x="4002083" y="2172937"/>
                </a:cubicBezTo>
                <a:cubicBezTo>
                  <a:pt x="4038077" y="2172937"/>
                  <a:pt x="4071822" y="2159412"/>
                  <a:pt x="4094318" y="2136869"/>
                </a:cubicBezTo>
                <a:cubicBezTo>
                  <a:pt x="4130312" y="2103055"/>
                  <a:pt x="4139311" y="2053462"/>
                  <a:pt x="4139311" y="2006123"/>
                </a:cubicBezTo>
                <a:cubicBezTo>
                  <a:pt x="4139311" y="2006123"/>
                  <a:pt x="4139311" y="2006123"/>
                  <a:pt x="4002083" y="2006123"/>
                </a:cubicBezTo>
                <a:cubicBezTo>
                  <a:pt x="4002083" y="2006123"/>
                  <a:pt x="4002083" y="2006123"/>
                  <a:pt x="4002083" y="1947512"/>
                </a:cubicBezTo>
                <a:cubicBezTo>
                  <a:pt x="4002083" y="1947512"/>
                  <a:pt x="4002083" y="1947512"/>
                  <a:pt x="4197801" y="1947512"/>
                </a:cubicBezTo>
                <a:cubicBezTo>
                  <a:pt x="4197801" y="1947512"/>
                  <a:pt x="4197801" y="1947512"/>
                  <a:pt x="4197801" y="2222531"/>
                </a:cubicBezTo>
                <a:lnTo>
                  <a:pt x="4152808" y="2222531"/>
                </a:lnTo>
                <a:cubicBezTo>
                  <a:pt x="4152808" y="2222531"/>
                  <a:pt x="4152808" y="2222531"/>
                  <a:pt x="4141560" y="2161666"/>
                </a:cubicBezTo>
                <a:cubicBezTo>
                  <a:pt x="4116814" y="2204497"/>
                  <a:pt x="4060574" y="2233802"/>
                  <a:pt x="4002083" y="2233802"/>
                </a:cubicBezTo>
                <a:cubicBezTo>
                  <a:pt x="3950342" y="2233802"/>
                  <a:pt x="3900850" y="2215768"/>
                  <a:pt x="3864856" y="2179700"/>
                </a:cubicBezTo>
                <a:cubicBezTo>
                  <a:pt x="3813115" y="2130106"/>
                  <a:pt x="3797367" y="2057970"/>
                  <a:pt x="3797367" y="1967800"/>
                </a:cubicBezTo>
                <a:cubicBezTo>
                  <a:pt x="3797367" y="1884393"/>
                  <a:pt x="3808616" y="1810003"/>
                  <a:pt x="3864856" y="1755901"/>
                </a:cubicBezTo>
                <a:cubicBezTo>
                  <a:pt x="3900850" y="1719833"/>
                  <a:pt x="3950342" y="1701799"/>
                  <a:pt x="4002083" y="1701799"/>
                </a:cubicBezTo>
                <a:close/>
                <a:moveTo>
                  <a:pt x="1642228" y="1701799"/>
                </a:moveTo>
                <a:cubicBezTo>
                  <a:pt x="1691719" y="1701799"/>
                  <a:pt x="1741211" y="1717579"/>
                  <a:pt x="1774955" y="1749138"/>
                </a:cubicBezTo>
                <a:cubicBezTo>
                  <a:pt x="1806450" y="1780698"/>
                  <a:pt x="1822198" y="1816766"/>
                  <a:pt x="1824447" y="1859597"/>
                </a:cubicBezTo>
                <a:cubicBezTo>
                  <a:pt x="1824447" y="1859597"/>
                  <a:pt x="1824447" y="1859597"/>
                  <a:pt x="1756958" y="1859597"/>
                </a:cubicBezTo>
                <a:cubicBezTo>
                  <a:pt x="1754708" y="1834800"/>
                  <a:pt x="1745710" y="1812257"/>
                  <a:pt x="1732212" y="1796478"/>
                </a:cubicBezTo>
                <a:cubicBezTo>
                  <a:pt x="1711966" y="1773935"/>
                  <a:pt x="1680471" y="1760410"/>
                  <a:pt x="1639978" y="1760410"/>
                </a:cubicBezTo>
                <a:cubicBezTo>
                  <a:pt x="1603983" y="1760410"/>
                  <a:pt x="1572489" y="1769427"/>
                  <a:pt x="1549993" y="1796478"/>
                </a:cubicBezTo>
                <a:cubicBezTo>
                  <a:pt x="1536494" y="1810003"/>
                  <a:pt x="1529746" y="1828037"/>
                  <a:pt x="1529746" y="1850580"/>
                </a:cubicBezTo>
                <a:cubicBezTo>
                  <a:pt x="1529746" y="1897919"/>
                  <a:pt x="1567989" y="1918207"/>
                  <a:pt x="1606234" y="1922716"/>
                </a:cubicBezTo>
                <a:cubicBezTo>
                  <a:pt x="1635478" y="1927224"/>
                  <a:pt x="1662474" y="1931733"/>
                  <a:pt x="1691719" y="1936241"/>
                </a:cubicBezTo>
                <a:cubicBezTo>
                  <a:pt x="1774955" y="1949767"/>
                  <a:pt x="1833445" y="2001614"/>
                  <a:pt x="1833445" y="2082767"/>
                </a:cubicBezTo>
                <a:cubicBezTo>
                  <a:pt x="1833445" y="2125598"/>
                  <a:pt x="1815448" y="2157157"/>
                  <a:pt x="1790703" y="2181954"/>
                </a:cubicBezTo>
                <a:cubicBezTo>
                  <a:pt x="1754708" y="2215768"/>
                  <a:pt x="1698468" y="2231547"/>
                  <a:pt x="1644477" y="2231547"/>
                </a:cubicBezTo>
                <a:cubicBezTo>
                  <a:pt x="1581488" y="2231547"/>
                  <a:pt x="1531996" y="2215768"/>
                  <a:pt x="1498251" y="2184208"/>
                </a:cubicBezTo>
                <a:cubicBezTo>
                  <a:pt x="1466757" y="2152649"/>
                  <a:pt x="1444260" y="2109818"/>
                  <a:pt x="1444260" y="2060225"/>
                </a:cubicBezTo>
                <a:cubicBezTo>
                  <a:pt x="1444260" y="2060225"/>
                  <a:pt x="1444260" y="2060225"/>
                  <a:pt x="1509499" y="2060225"/>
                </a:cubicBezTo>
                <a:cubicBezTo>
                  <a:pt x="1509499" y="2091784"/>
                  <a:pt x="1525247" y="2121089"/>
                  <a:pt x="1545494" y="2141378"/>
                </a:cubicBezTo>
                <a:cubicBezTo>
                  <a:pt x="1570239" y="2163920"/>
                  <a:pt x="1608483" y="2172937"/>
                  <a:pt x="1644477" y="2172937"/>
                </a:cubicBezTo>
                <a:cubicBezTo>
                  <a:pt x="1682720" y="2172937"/>
                  <a:pt x="1716465" y="2166174"/>
                  <a:pt x="1738962" y="2143632"/>
                </a:cubicBezTo>
                <a:cubicBezTo>
                  <a:pt x="1754708" y="2130106"/>
                  <a:pt x="1765956" y="2109818"/>
                  <a:pt x="1765956" y="2082767"/>
                </a:cubicBezTo>
                <a:cubicBezTo>
                  <a:pt x="1765956" y="2044445"/>
                  <a:pt x="1741211" y="2010631"/>
                  <a:pt x="1680471" y="2001614"/>
                </a:cubicBezTo>
                <a:cubicBezTo>
                  <a:pt x="1680471" y="2001614"/>
                  <a:pt x="1680471" y="2001614"/>
                  <a:pt x="1599484" y="1988089"/>
                </a:cubicBezTo>
                <a:cubicBezTo>
                  <a:pt x="1522997" y="1976817"/>
                  <a:pt x="1462257" y="1933987"/>
                  <a:pt x="1462257" y="1852834"/>
                </a:cubicBezTo>
                <a:cubicBezTo>
                  <a:pt x="1462257" y="1814512"/>
                  <a:pt x="1480254" y="1778444"/>
                  <a:pt x="1507249" y="1751393"/>
                </a:cubicBezTo>
                <a:cubicBezTo>
                  <a:pt x="1543244" y="1717579"/>
                  <a:pt x="1588236" y="1701799"/>
                  <a:pt x="1642228" y="1701799"/>
                </a:cubicBezTo>
                <a:close/>
                <a:moveTo>
                  <a:pt x="654642" y="1701799"/>
                </a:moveTo>
                <a:cubicBezTo>
                  <a:pt x="704133" y="1701799"/>
                  <a:pt x="755874" y="1719833"/>
                  <a:pt x="791868" y="1755901"/>
                </a:cubicBezTo>
                <a:cubicBezTo>
                  <a:pt x="848110" y="1810003"/>
                  <a:pt x="857108" y="1884393"/>
                  <a:pt x="857108" y="1967800"/>
                </a:cubicBezTo>
                <a:cubicBezTo>
                  <a:pt x="857108" y="2048953"/>
                  <a:pt x="848110" y="2123344"/>
                  <a:pt x="791868" y="2177446"/>
                </a:cubicBezTo>
                <a:cubicBezTo>
                  <a:pt x="755874" y="2213514"/>
                  <a:pt x="704133" y="2233802"/>
                  <a:pt x="654642" y="2233802"/>
                </a:cubicBezTo>
                <a:cubicBezTo>
                  <a:pt x="602900" y="2233802"/>
                  <a:pt x="553408" y="2213514"/>
                  <a:pt x="515164" y="2177446"/>
                </a:cubicBezTo>
                <a:cubicBezTo>
                  <a:pt x="461173" y="2123344"/>
                  <a:pt x="449925" y="2048953"/>
                  <a:pt x="449925" y="1967800"/>
                </a:cubicBezTo>
                <a:cubicBezTo>
                  <a:pt x="449925" y="1884393"/>
                  <a:pt x="461173" y="1810003"/>
                  <a:pt x="515164" y="1755901"/>
                </a:cubicBezTo>
                <a:cubicBezTo>
                  <a:pt x="553408" y="1719833"/>
                  <a:pt x="602900" y="1701799"/>
                  <a:pt x="654642" y="1701799"/>
                </a:cubicBezTo>
                <a:close/>
                <a:moveTo>
                  <a:pt x="202466" y="1701799"/>
                </a:moveTo>
                <a:cubicBezTo>
                  <a:pt x="258707" y="1701799"/>
                  <a:pt x="308199" y="1722087"/>
                  <a:pt x="339693" y="1753647"/>
                </a:cubicBezTo>
                <a:cubicBezTo>
                  <a:pt x="368939" y="1782952"/>
                  <a:pt x="386936" y="1823529"/>
                  <a:pt x="389185" y="1870868"/>
                </a:cubicBezTo>
                <a:cubicBezTo>
                  <a:pt x="389185" y="1870868"/>
                  <a:pt x="389185" y="1870868"/>
                  <a:pt x="323946" y="1870868"/>
                </a:cubicBezTo>
                <a:cubicBezTo>
                  <a:pt x="321697" y="1841563"/>
                  <a:pt x="312698" y="1819020"/>
                  <a:pt x="294701" y="1798732"/>
                </a:cubicBezTo>
                <a:cubicBezTo>
                  <a:pt x="274454" y="1776189"/>
                  <a:pt x="240710" y="1762664"/>
                  <a:pt x="202466" y="1762664"/>
                </a:cubicBezTo>
                <a:cubicBezTo>
                  <a:pt x="168722" y="1762664"/>
                  <a:pt x="134978" y="1776189"/>
                  <a:pt x="110232" y="1800986"/>
                </a:cubicBezTo>
                <a:cubicBezTo>
                  <a:pt x="67489" y="1843817"/>
                  <a:pt x="67489" y="1913699"/>
                  <a:pt x="67489" y="1967800"/>
                </a:cubicBezTo>
                <a:cubicBezTo>
                  <a:pt x="67489" y="2019648"/>
                  <a:pt x="67489" y="2089530"/>
                  <a:pt x="110232" y="2132361"/>
                </a:cubicBezTo>
                <a:cubicBezTo>
                  <a:pt x="134978" y="2159412"/>
                  <a:pt x="168722" y="2172937"/>
                  <a:pt x="202466" y="2172937"/>
                </a:cubicBezTo>
                <a:cubicBezTo>
                  <a:pt x="240710" y="2172937"/>
                  <a:pt x="276704" y="2154903"/>
                  <a:pt x="296951" y="2132361"/>
                </a:cubicBezTo>
                <a:cubicBezTo>
                  <a:pt x="312698" y="2114327"/>
                  <a:pt x="323946" y="2087276"/>
                  <a:pt x="323946" y="2060225"/>
                </a:cubicBezTo>
                <a:cubicBezTo>
                  <a:pt x="323946" y="2060225"/>
                  <a:pt x="323946" y="2060225"/>
                  <a:pt x="391435" y="2060225"/>
                </a:cubicBezTo>
                <a:cubicBezTo>
                  <a:pt x="389185" y="2107564"/>
                  <a:pt x="368939" y="2148140"/>
                  <a:pt x="339693" y="2177446"/>
                </a:cubicBezTo>
                <a:cubicBezTo>
                  <a:pt x="308199" y="2209005"/>
                  <a:pt x="258707" y="2233802"/>
                  <a:pt x="202466" y="2233802"/>
                </a:cubicBezTo>
                <a:cubicBezTo>
                  <a:pt x="150725" y="2233802"/>
                  <a:pt x="101233" y="2213514"/>
                  <a:pt x="65239" y="2177446"/>
                </a:cubicBezTo>
                <a:cubicBezTo>
                  <a:pt x="8999" y="2123344"/>
                  <a:pt x="0" y="2048953"/>
                  <a:pt x="0" y="1967800"/>
                </a:cubicBezTo>
                <a:cubicBezTo>
                  <a:pt x="0" y="1884393"/>
                  <a:pt x="8999" y="1810003"/>
                  <a:pt x="65239" y="1755901"/>
                </a:cubicBezTo>
                <a:cubicBezTo>
                  <a:pt x="101233" y="1719833"/>
                  <a:pt x="150725" y="1701799"/>
                  <a:pt x="202466" y="1701799"/>
                </a:cubicBezTo>
                <a:close/>
                <a:moveTo>
                  <a:pt x="2227389" y="214047"/>
                </a:moveTo>
                <a:cubicBezTo>
                  <a:pt x="2227389" y="214047"/>
                  <a:pt x="2227389" y="214047"/>
                  <a:pt x="2227389" y="574548"/>
                </a:cubicBezTo>
                <a:cubicBezTo>
                  <a:pt x="2227389" y="574548"/>
                  <a:pt x="2227389" y="574548"/>
                  <a:pt x="2456649" y="574548"/>
                </a:cubicBezTo>
                <a:cubicBezTo>
                  <a:pt x="2584765" y="574548"/>
                  <a:pt x="2654442" y="509207"/>
                  <a:pt x="2654442" y="394298"/>
                </a:cubicBezTo>
                <a:cubicBezTo>
                  <a:pt x="2654442" y="277135"/>
                  <a:pt x="2584765" y="214047"/>
                  <a:pt x="2456649" y="214047"/>
                </a:cubicBezTo>
                <a:cubicBezTo>
                  <a:pt x="2456649" y="214047"/>
                  <a:pt x="2456649" y="214047"/>
                  <a:pt x="2227389" y="214047"/>
                </a:cubicBezTo>
                <a:close/>
                <a:moveTo>
                  <a:pt x="8961436" y="0"/>
                </a:moveTo>
                <a:lnTo>
                  <a:pt x="9905999" y="0"/>
                </a:lnTo>
                <a:lnTo>
                  <a:pt x="9905999" y="225425"/>
                </a:lnTo>
                <a:lnTo>
                  <a:pt x="9555161" y="225425"/>
                </a:lnTo>
                <a:lnTo>
                  <a:pt x="9555161" y="1214437"/>
                </a:lnTo>
                <a:lnTo>
                  <a:pt x="9315449" y="1214437"/>
                </a:lnTo>
                <a:lnTo>
                  <a:pt x="9315449" y="225425"/>
                </a:lnTo>
                <a:lnTo>
                  <a:pt x="8961436" y="225425"/>
                </a:lnTo>
                <a:close/>
                <a:moveTo>
                  <a:pt x="7785099" y="0"/>
                </a:moveTo>
                <a:lnTo>
                  <a:pt x="8035924" y="0"/>
                </a:lnTo>
                <a:lnTo>
                  <a:pt x="8037512" y="3175"/>
                </a:lnTo>
                <a:lnTo>
                  <a:pt x="8523286" y="774700"/>
                </a:lnTo>
                <a:lnTo>
                  <a:pt x="8523286" y="0"/>
                </a:lnTo>
                <a:lnTo>
                  <a:pt x="8759824" y="0"/>
                </a:lnTo>
                <a:lnTo>
                  <a:pt x="8759824" y="1214437"/>
                </a:lnTo>
                <a:lnTo>
                  <a:pt x="8518524" y="1214437"/>
                </a:lnTo>
                <a:lnTo>
                  <a:pt x="8024812" y="425450"/>
                </a:lnTo>
                <a:lnTo>
                  <a:pt x="8024812" y="1214437"/>
                </a:lnTo>
                <a:lnTo>
                  <a:pt x="7785099" y="1214437"/>
                </a:lnTo>
                <a:close/>
                <a:moveTo>
                  <a:pt x="6665911" y="0"/>
                </a:moveTo>
                <a:lnTo>
                  <a:pt x="7535861" y="0"/>
                </a:lnTo>
                <a:lnTo>
                  <a:pt x="7535861" y="220663"/>
                </a:lnTo>
                <a:lnTo>
                  <a:pt x="6905624" y="220663"/>
                </a:lnTo>
                <a:lnTo>
                  <a:pt x="6905624" y="473075"/>
                </a:lnTo>
                <a:lnTo>
                  <a:pt x="7459661" y="473075"/>
                </a:lnTo>
                <a:lnTo>
                  <a:pt x="7459661" y="690562"/>
                </a:lnTo>
                <a:lnTo>
                  <a:pt x="6905624" y="690562"/>
                </a:lnTo>
                <a:lnTo>
                  <a:pt x="6905624" y="993775"/>
                </a:lnTo>
                <a:lnTo>
                  <a:pt x="7535861" y="993775"/>
                </a:lnTo>
                <a:lnTo>
                  <a:pt x="7535861" y="1214437"/>
                </a:lnTo>
                <a:lnTo>
                  <a:pt x="6665911" y="1214437"/>
                </a:lnTo>
                <a:close/>
                <a:moveTo>
                  <a:pt x="5221286" y="0"/>
                </a:moveTo>
                <a:lnTo>
                  <a:pt x="5534024" y="0"/>
                </a:lnTo>
                <a:lnTo>
                  <a:pt x="5835649" y="823912"/>
                </a:lnTo>
                <a:lnTo>
                  <a:pt x="6142037" y="0"/>
                </a:lnTo>
                <a:lnTo>
                  <a:pt x="6438899" y="0"/>
                </a:lnTo>
                <a:lnTo>
                  <a:pt x="6438899" y="1214437"/>
                </a:lnTo>
                <a:lnTo>
                  <a:pt x="6203949" y="1214437"/>
                </a:lnTo>
                <a:lnTo>
                  <a:pt x="6203949" y="419100"/>
                </a:lnTo>
                <a:lnTo>
                  <a:pt x="5916612" y="1196975"/>
                </a:lnTo>
                <a:lnTo>
                  <a:pt x="5740399" y="1196975"/>
                </a:lnTo>
                <a:lnTo>
                  <a:pt x="5454649" y="409575"/>
                </a:lnTo>
                <a:lnTo>
                  <a:pt x="5454649" y="1214437"/>
                </a:lnTo>
                <a:lnTo>
                  <a:pt x="5221286" y="1214437"/>
                </a:lnTo>
                <a:close/>
                <a:moveTo>
                  <a:pt x="4098924" y="0"/>
                </a:moveTo>
                <a:lnTo>
                  <a:pt x="4968874" y="0"/>
                </a:lnTo>
                <a:lnTo>
                  <a:pt x="4968874" y="220663"/>
                </a:lnTo>
                <a:lnTo>
                  <a:pt x="4340224" y="220663"/>
                </a:lnTo>
                <a:lnTo>
                  <a:pt x="4340224" y="473075"/>
                </a:lnTo>
                <a:lnTo>
                  <a:pt x="4895849" y="473075"/>
                </a:lnTo>
                <a:lnTo>
                  <a:pt x="4895849" y="690562"/>
                </a:lnTo>
                <a:lnTo>
                  <a:pt x="4340224" y="690562"/>
                </a:lnTo>
                <a:lnTo>
                  <a:pt x="4340224" y="993775"/>
                </a:lnTo>
                <a:lnTo>
                  <a:pt x="4968874" y="993775"/>
                </a:lnTo>
                <a:lnTo>
                  <a:pt x="4968874" y="1214437"/>
                </a:lnTo>
                <a:lnTo>
                  <a:pt x="4098924" y="1214437"/>
                </a:lnTo>
                <a:close/>
                <a:moveTo>
                  <a:pt x="3079749" y="0"/>
                </a:moveTo>
                <a:lnTo>
                  <a:pt x="3321049" y="0"/>
                </a:lnTo>
                <a:lnTo>
                  <a:pt x="3321049" y="984250"/>
                </a:lnTo>
                <a:lnTo>
                  <a:pt x="3871912" y="984250"/>
                </a:lnTo>
                <a:lnTo>
                  <a:pt x="3871912" y="1214437"/>
                </a:lnTo>
                <a:lnTo>
                  <a:pt x="3079749" y="1214437"/>
                </a:lnTo>
                <a:close/>
                <a:moveTo>
                  <a:pt x="1989138" y="0"/>
                </a:moveTo>
                <a:cubicBezTo>
                  <a:pt x="1989138" y="0"/>
                  <a:pt x="1989138" y="0"/>
                  <a:pt x="2465639" y="0"/>
                </a:cubicBezTo>
                <a:cubicBezTo>
                  <a:pt x="2735357" y="0"/>
                  <a:pt x="2897188" y="146454"/>
                  <a:pt x="2897188" y="392045"/>
                </a:cubicBezTo>
                <a:cubicBezTo>
                  <a:pt x="2897188" y="639889"/>
                  <a:pt x="2735357" y="786342"/>
                  <a:pt x="2465639" y="786342"/>
                </a:cubicBezTo>
                <a:cubicBezTo>
                  <a:pt x="2465639" y="786342"/>
                  <a:pt x="2465639" y="786342"/>
                  <a:pt x="2227389" y="786342"/>
                </a:cubicBezTo>
                <a:cubicBezTo>
                  <a:pt x="2227389" y="786342"/>
                  <a:pt x="2227389" y="786342"/>
                  <a:pt x="2227389" y="1214437"/>
                </a:cubicBezTo>
                <a:cubicBezTo>
                  <a:pt x="2227389" y="1214437"/>
                  <a:pt x="2227389" y="1214437"/>
                  <a:pt x="1989138" y="1214437"/>
                </a:cubicBezTo>
                <a:cubicBezTo>
                  <a:pt x="1989138" y="1214437"/>
                  <a:pt x="1989138" y="1214437"/>
                  <a:pt x="1989138" y="0"/>
                </a:cubicBezTo>
                <a:close/>
                <a:moveTo>
                  <a:pt x="520699" y="0"/>
                </a:moveTo>
                <a:lnTo>
                  <a:pt x="833436" y="0"/>
                </a:lnTo>
                <a:lnTo>
                  <a:pt x="1135061" y="823912"/>
                </a:lnTo>
                <a:lnTo>
                  <a:pt x="1439862" y="0"/>
                </a:lnTo>
                <a:lnTo>
                  <a:pt x="1736724" y="0"/>
                </a:lnTo>
                <a:lnTo>
                  <a:pt x="1736724" y="1214437"/>
                </a:lnTo>
                <a:lnTo>
                  <a:pt x="1503362" y="1214437"/>
                </a:lnTo>
                <a:lnTo>
                  <a:pt x="1503362" y="419100"/>
                </a:lnTo>
                <a:lnTo>
                  <a:pt x="1216024" y="1196975"/>
                </a:lnTo>
                <a:lnTo>
                  <a:pt x="1039812" y="1196975"/>
                </a:lnTo>
                <a:lnTo>
                  <a:pt x="754062" y="409575"/>
                </a:lnTo>
                <a:lnTo>
                  <a:pt x="754062" y="1214437"/>
                </a:lnTo>
                <a:lnTo>
                  <a:pt x="520699" y="1214437"/>
                </a:lnTo>
                <a:close/>
                <a:moveTo>
                  <a:pt x="25400" y="0"/>
                </a:moveTo>
                <a:lnTo>
                  <a:pt x="268288" y="0"/>
                </a:lnTo>
                <a:lnTo>
                  <a:pt x="268288" y="1214437"/>
                </a:lnTo>
                <a:lnTo>
                  <a:pt x="25400" y="121443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GB" dirty="0"/>
              <a:t> </a:t>
            </a:r>
          </a:p>
        </p:txBody>
      </p:sp>
      <p:sp>
        <p:nvSpPr>
          <p:cNvPr id="14" name="Date_GeneralDate" hidden="1">
            <a:extLst>
              <a:ext uri="{FF2B5EF4-FFF2-40B4-BE49-F238E27FC236}">
                <a16:creationId xmlns:a16="http://schemas.microsoft.com/office/drawing/2014/main" id="{9406085A-C43F-4E5C-98B7-50CF54CDE2E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8BD39C50-7102-48AE-B44A-7A5D58E05617}" type="datetime1">
              <a:rPr lang="en-US" smtClean="0"/>
              <a:t>2/25/2022</a:t>
            </a:fld>
            <a:endParaRPr lang="en-GB" dirty="0"/>
          </a:p>
        </p:txBody>
      </p:sp>
      <p:sp>
        <p:nvSpPr>
          <p:cNvPr id="15" name="FLD_PresentationTitle" hidden="1">
            <a:extLst>
              <a:ext uri="{FF2B5EF4-FFF2-40B4-BE49-F238E27FC236}">
                <a16:creationId xmlns:a16="http://schemas.microsoft.com/office/drawing/2014/main" id="{980D4307-1E30-40BF-9A20-A045D172AA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 anchor="t" anchorCtr="0"/>
          <a:lstStyle>
            <a:lvl1pPr algn="l">
              <a:defRPr sz="100">
                <a:noFill/>
              </a:defRPr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16" name="Slide Number Placeholder 5" hidden="1">
            <a:extLst>
              <a:ext uri="{FF2B5EF4-FFF2-40B4-BE49-F238E27FC236}">
                <a16:creationId xmlns:a16="http://schemas.microsoft.com/office/drawing/2014/main" id="{8A49A16C-AA42-42D1-A77B-CEC2D6C356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anchor="t" anchorCtr="0"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8003F94-3A20-45FE-9AD7-1F0518FF10DF}"/>
              </a:ext>
            </a:extLst>
          </p:cNvPr>
          <p:cNvSpPr txBox="1"/>
          <p:nvPr userDrawn="1"/>
        </p:nvSpPr>
        <p:spPr>
          <a:xfrm>
            <a:off x="278928" y="6505496"/>
            <a:ext cx="609141" cy="124650"/>
          </a:xfrm>
          <a:prstGeom prst="rect">
            <a:avLst/>
          </a:prstGeom>
          <a:noFill/>
          <a:ln w="6350">
            <a:noFill/>
            <a:prstDash val="sysDash"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900" dirty="0">
                <a:solidFill>
                  <a:schemeClr val="tx1"/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628439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igh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9FF57FE-D41E-41C0-8633-337F24FD50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6107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5" imgW="408" imgH="408" progId="TCLayout.ActiveDocument.1">
                  <p:embed/>
                </p:oleObj>
              </mc:Choice>
              <mc:Fallback>
                <p:oleObj name="think-cell Slide" r:id="rId5" imgW="408" imgH="408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9FF57FE-D41E-41C0-8633-337F24FD50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DC2F9E70-01DA-4282-B3CD-6B56BBE02E87}"/>
              </a:ext>
            </a:extLst>
          </p:cNvPr>
          <p:cNvSpPr/>
          <p:nvPr userDrawn="1"/>
        </p:nvSpPr>
        <p:spPr>
          <a:xfrm>
            <a:off x="2" y="0"/>
            <a:ext cx="9905998" cy="6858000"/>
          </a:xfrm>
          <a:prstGeom prst="rect">
            <a:avLst/>
          </a:prstGeom>
          <a:solidFill>
            <a:srgbClr val="8AA29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500" tIns="58500" rIns="58500" bIns="58500" rtlCol="0" anchor="t" anchorCtr="0"/>
          <a:lstStyle/>
          <a:p>
            <a:pPr algn="l"/>
            <a:endParaRPr lang="en-GB" sz="813" noProof="0" dirty="0">
              <a:solidFill>
                <a:srgbClr val="2F363B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949D33-2E01-4246-97EA-A41F8450A0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7850" y="2228850"/>
            <a:ext cx="7710300" cy="2823894"/>
          </a:xfrm>
          <a:noFill/>
        </p:spPr>
        <p:txBody>
          <a:bodyPr vert="horz" lIns="0" tIns="0" rIns="0"/>
          <a:lstStyle>
            <a:lvl1pPr>
              <a:lnSpc>
                <a:spcPct val="83000"/>
              </a:lnSpc>
              <a:defRPr sz="5850" cap="all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7" name="Date_GeneralDate" hidden="1">
            <a:extLst>
              <a:ext uri="{FF2B5EF4-FFF2-40B4-BE49-F238E27FC236}">
                <a16:creationId xmlns:a16="http://schemas.microsoft.com/office/drawing/2014/main" id="{BF234924-99E7-45C1-8DE2-61303ACA7E4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9715A1B3-3630-4BAD-9C89-643EA989022F}" type="datetime1">
              <a:rPr lang="en-US" smtClean="0"/>
              <a:t>2/25/2022</a:t>
            </a:fld>
            <a:endParaRPr lang="en-GB" dirty="0"/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D009E80D-2147-4BBB-8420-968C489EF2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4" y="6502395"/>
            <a:ext cx="6744111" cy="106116"/>
          </a:xfrm>
        </p:spPr>
        <p:txBody>
          <a:bodyPr rIns="0" anchor="t" anchorCtr="0"/>
          <a:lstStyle>
            <a:lvl1pPr marL="0" indent="0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39303" indent="-139303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lphaU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742950" rtl="0" eaLnBrk="1" latinLnBrk="0" hangingPunct="1">
              <a:defRPr lang="en-GB" sz="894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Not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9322F81-C609-45A5-8EA6-B775EFE3646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9383" y="6504110"/>
            <a:ext cx="1978862" cy="106116"/>
          </a:xfrm>
        </p:spPr>
        <p:txBody>
          <a:bodyPr rIns="0"/>
          <a:lstStyle>
            <a:lvl1pPr algn="r">
              <a:defRPr sz="650">
                <a:solidFill>
                  <a:srgbClr val="1F2023"/>
                </a:solidFill>
              </a:defRPr>
            </a:lvl1pPr>
            <a:lvl2pPr>
              <a:defRPr sz="650"/>
            </a:lvl2pPr>
            <a:lvl3pPr>
              <a:defRPr sz="650"/>
            </a:lvl3pPr>
            <a:lvl4pPr>
              <a:defRPr sz="650"/>
            </a:lvl4pPr>
            <a:lvl5pPr>
              <a:defRPr sz="650"/>
            </a:lvl5pPr>
          </a:lstStyle>
          <a:p>
            <a:pPr lvl="0"/>
            <a:r>
              <a:rPr lang="en-GB" dirty="0"/>
              <a:t>Tracker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8A1B70B9-3F42-4914-BEE7-21D102BBB2C2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 rot="5400000">
            <a:off x="9382133" y="400810"/>
            <a:ext cx="350168" cy="154638"/>
          </a:xfrm>
          <a:custGeom>
            <a:avLst/>
            <a:gdLst>
              <a:gd name="connsiteX0" fmla="*/ 242136 w 350168"/>
              <a:gd name="connsiteY0" fmla="*/ 154638 h 154638"/>
              <a:gd name="connsiteX1" fmla="*/ 242136 w 350168"/>
              <a:gd name="connsiteY1" fmla="*/ 141700 h 154638"/>
              <a:gd name="connsiteX2" fmla="*/ 350168 w 350168"/>
              <a:gd name="connsiteY2" fmla="*/ 141700 h 154638"/>
              <a:gd name="connsiteX3" fmla="*/ 350168 w 350168"/>
              <a:gd name="connsiteY3" fmla="*/ 154638 h 154638"/>
              <a:gd name="connsiteX4" fmla="*/ 62944 w 350168"/>
              <a:gd name="connsiteY4" fmla="*/ 154337 h 154638"/>
              <a:gd name="connsiteX5" fmla="*/ 62944 w 350168"/>
              <a:gd name="connsiteY5" fmla="*/ 0 h 154638"/>
              <a:gd name="connsiteX6" fmla="*/ 102688 w 350168"/>
              <a:gd name="connsiteY6" fmla="*/ 0 h 154638"/>
              <a:gd name="connsiteX7" fmla="*/ 141020 w 350168"/>
              <a:gd name="connsiteY7" fmla="*/ 104707 h 154638"/>
              <a:gd name="connsiteX8" fmla="*/ 179755 w 350168"/>
              <a:gd name="connsiteY8" fmla="*/ 0 h 154638"/>
              <a:gd name="connsiteX9" fmla="*/ 217481 w 350168"/>
              <a:gd name="connsiteY9" fmla="*/ 0 h 154638"/>
              <a:gd name="connsiteX10" fmla="*/ 217481 w 350168"/>
              <a:gd name="connsiteY10" fmla="*/ 154337 h 154638"/>
              <a:gd name="connsiteX11" fmla="*/ 187825 w 350168"/>
              <a:gd name="connsiteY11" fmla="*/ 154337 h 154638"/>
              <a:gd name="connsiteX12" fmla="*/ 187825 w 350168"/>
              <a:gd name="connsiteY12" fmla="*/ 53263 h 154638"/>
              <a:gd name="connsiteX13" fmla="*/ 151309 w 350168"/>
              <a:gd name="connsiteY13" fmla="*/ 152117 h 154638"/>
              <a:gd name="connsiteX14" fmla="*/ 128915 w 350168"/>
              <a:gd name="connsiteY14" fmla="*/ 152117 h 154638"/>
              <a:gd name="connsiteX15" fmla="*/ 92601 w 350168"/>
              <a:gd name="connsiteY15" fmla="*/ 52051 h 154638"/>
              <a:gd name="connsiteX16" fmla="*/ 92601 w 350168"/>
              <a:gd name="connsiteY16" fmla="*/ 154337 h 154638"/>
              <a:gd name="connsiteX17" fmla="*/ 0 w 350168"/>
              <a:gd name="connsiteY17" fmla="*/ 154337 h 154638"/>
              <a:gd name="connsiteX18" fmla="*/ 0 w 350168"/>
              <a:gd name="connsiteY18" fmla="*/ 0 h 154638"/>
              <a:gd name="connsiteX19" fmla="*/ 30867 w 350168"/>
              <a:gd name="connsiteY19" fmla="*/ 0 h 154638"/>
              <a:gd name="connsiteX20" fmla="*/ 30867 w 350168"/>
              <a:gd name="connsiteY20" fmla="*/ 154337 h 154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50168" h="154638">
                <a:moveTo>
                  <a:pt x="242136" y="154638"/>
                </a:moveTo>
                <a:lnTo>
                  <a:pt x="242136" y="141700"/>
                </a:lnTo>
                <a:lnTo>
                  <a:pt x="350168" y="141700"/>
                </a:lnTo>
                <a:lnTo>
                  <a:pt x="350168" y="154638"/>
                </a:lnTo>
                <a:close/>
                <a:moveTo>
                  <a:pt x="62944" y="154337"/>
                </a:moveTo>
                <a:lnTo>
                  <a:pt x="62944" y="0"/>
                </a:lnTo>
                <a:lnTo>
                  <a:pt x="102688" y="0"/>
                </a:lnTo>
                <a:lnTo>
                  <a:pt x="141020" y="104707"/>
                </a:lnTo>
                <a:lnTo>
                  <a:pt x="179755" y="0"/>
                </a:lnTo>
                <a:lnTo>
                  <a:pt x="217481" y="0"/>
                </a:lnTo>
                <a:lnTo>
                  <a:pt x="217481" y="154337"/>
                </a:lnTo>
                <a:lnTo>
                  <a:pt x="187825" y="154337"/>
                </a:lnTo>
                <a:lnTo>
                  <a:pt x="187825" y="53263"/>
                </a:lnTo>
                <a:lnTo>
                  <a:pt x="151309" y="152117"/>
                </a:lnTo>
                <a:lnTo>
                  <a:pt x="128915" y="152117"/>
                </a:lnTo>
                <a:lnTo>
                  <a:pt x="92601" y="52051"/>
                </a:lnTo>
                <a:lnTo>
                  <a:pt x="92601" y="154337"/>
                </a:lnTo>
                <a:close/>
                <a:moveTo>
                  <a:pt x="0" y="154337"/>
                </a:moveTo>
                <a:lnTo>
                  <a:pt x="0" y="0"/>
                </a:lnTo>
                <a:lnTo>
                  <a:pt x="30867" y="0"/>
                </a:lnTo>
                <a:lnTo>
                  <a:pt x="30867" y="15433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/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B750D5A1-5790-47F8-98CC-45D0B43D7778}"/>
              </a:ext>
            </a:extLst>
          </p:cNvPr>
          <p:cNvSpPr txBox="1">
            <a:spLocks/>
          </p:cNvSpPr>
          <p:nvPr userDrawn="1"/>
        </p:nvSpPr>
        <p:spPr>
          <a:xfrm>
            <a:off x="9378938" y="6496424"/>
            <a:ext cx="255600" cy="1116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r" defTabSz="914400" rtl="0" eaLnBrk="1" latinLnBrk="0" hangingPunct="1">
              <a:defRPr sz="650" kern="1200" spc="0" baseline="0">
                <a:solidFill>
                  <a:srgbClr val="2F363B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650" smtClean="0">
                <a:solidFill>
                  <a:srgbClr val="1F2023"/>
                </a:solidFill>
              </a:rPr>
              <a:pPr/>
              <a:t>‹#›</a:t>
            </a:fld>
            <a:endParaRPr lang="en-GB" sz="650" dirty="0">
              <a:solidFill>
                <a:srgbClr val="1F20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2637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9FF57FE-D41E-41C0-8633-337F24FD50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7134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5" imgW="408" imgH="408" progId="TCLayout.ActiveDocument.1">
                  <p:embed/>
                </p:oleObj>
              </mc:Choice>
              <mc:Fallback>
                <p:oleObj name="think-cell Slide" r:id="rId5" imgW="408" imgH="408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9FF57FE-D41E-41C0-8633-337F24FD50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DC2F9E70-01DA-4282-B3CD-6B56BBE02E87}"/>
              </a:ext>
            </a:extLst>
          </p:cNvPr>
          <p:cNvSpPr/>
          <p:nvPr userDrawn="1"/>
        </p:nvSpPr>
        <p:spPr>
          <a:xfrm>
            <a:off x="2" y="0"/>
            <a:ext cx="9905998" cy="6858000"/>
          </a:xfrm>
          <a:prstGeom prst="rect">
            <a:avLst/>
          </a:prstGeom>
          <a:solidFill>
            <a:srgbClr val="E4B73B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500" tIns="58500" rIns="58500" bIns="58500" rtlCol="0" anchor="t" anchorCtr="0"/>
          <a:lstStyle/>
          <a:p>
            <a:pPr algn="l"/>
            <a:endParaRPr lang="en-GB" sz="813" noProof="0" dirty="0">
              <a:solidFill>
                <a:srgbClr val="2F363B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949D33-2E01-4246-97EA-A41F8450A0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7850" y="2228850"/>
            <a:ext cx="7710300" cy="2823894"/>
          </a:xfrm>
          <a:noFill/>
        </p:spPr>
        <p:txBody>
          <a:bodyPr vert="horz" lIns="0" tIns="0" rIns="0"/>
          <a:lstStyle>
            <a:lvl1pPr>
              <a:lnSpc>
                <a:spcPct val="83000"/>
              </a:lnSpc>
              <a:defRPr sz="5850" cap="all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7" name="Date_GeneralDate" hidden="1">
            <a:extLst>
              <a:ext uri="{FF2B5EF4-FFF2-40B4-BE49-F238E27FC236}">
                <a16:creationId xmlns:a16="http://schemas.microsoft.com/office/drawing/2014/main" id="{BF234924-99E7-45C1-8DE2-61303ACA7E4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9715A1B3-3630-4BAD-9C89-643EA989022F}" type="datetime1">
              <a:rPr lang="en-US" smtClean="0"/>
              <a:t>2/25/2022</a:t>
            </a:fld>
            <a:endParaRPr lang="en-GB" dirty="0"/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D009E80D-2147-4BBB-8420-968C489EF2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4" y="6502395"/>
            <a:ext cx="6744111" cy="106116"/>
          </a:xfrm>
        </p:spPr>
        <p:txBody>
          <a:bodyPr rIns="0" anchor="t" anchorCtr="0"/>
          <a:lstStyle>
            <a:lvl1pPr marL="0" indent="0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39303" indent="-139303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lphaU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742950" rtl="0" eaLnBrk="1" latinLnBrk="0" hangingPunct="1">
              <a:defRPr lang="en-GB" sz="894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Not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9322F81-C609-45A5-8EA6-B775EFE3646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9383" y="6504110"/>
            <a:ext cx="1978862" cy="106116"/>
          </a:xfrm>
        </p:spPr>
        <p:txBody>
          <a:bodyPr rIns="0"/>
          <a:lstStyle>
            <a:lvl1pPr algn="r">
              <a:defRPr sz="650">
                <a:solidFill>
                  <a:srgbClr val="1F2023"/>
                </a:solidFill>
              </a:defRPr>
            </a:lvl1pPr>
            <a:lvl2pPr>
              <a:defRPr sz="650"/>
            </a:lvl2pPr>
            <a:lvl3pPr>
              <a:defRPr sz="650"/>
            </a:lvl3pPr>
            <a:lvl4pPr>
              <a:defRPr sz="650"/>
            </a:lvl4pPr>
            <a:lvl5pPr>
              <a:defRPr sz="650"/>
            </a:lvl5pPr>
          </a:lstStyle>
          <a:p>
            <a:pPr lvl="0"/>
            <a:r>
              <a:rPr lang="en-GB" dirty="0"/>
              <a:t>Tracker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8A1B70B9-3F42-4914-BEE7-21D102BBB2C2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 rot="5400000">
            <a:off x="9382133" y="400810"/>
            <a:ext cx="350168" cy="154638"/>
          </a:xfrm>
          <a:custGeom>
            <a:avLst/>
            <a:gdLst>
              <a:gd name="connsiteX0" fmla="*/ 242136 w 350168"/>
              <a:gd name="connsiteY0" fmla="*/ 154638 h 154638"/>
              <a:gd name="connsiteX1" fmla="*/ 242136 w 350168"/>
              <a:gd name="connsiteY1" fmla="*/ 141700 h 154638"/>
              <a:gd name="connsiteX2" fmla="*/ 350168 w 350168"/>
              <a:gd name="connsiteY2" fmla="*/ 141700 h 154638"/>
              <a:gd name="connsiteX3" fmla="*/ 350168 w 350168"/>
              <a:gd name="connsiteY3" fmla="*/ 154638 h 154638"/>
              <a:gd name="connsiteX4" fmla="*/ 62944 w 350168"/>
              <a:gd name="connsiteY4" fmla="*/ 154337 h 154638"/>
              <a:gd name="connsiteX5" fmla="*/ 62944 w 350168"/>
              <a:gd name="connsiteY5" fmla="*/ 0 h 154638"/>
              <a:gd name="connsiteX6" fmla="*/ 102688 w 350168"/>
              <a:gd name="connsiteY6" fmla="*/ 0 h 154638"/>
              <a:gd name="connsiteX7" fmla="*/ 141020 w 350168"/>
              <a:gd name="connsiteY7" fmla="*/ 104707 h 154638"/>
              <a:gd name="connsiteX8" fmla="*/ 179755 w 350168"/>
              <a:gd name="connsiteY8" fmla="*/ 0 h 154638"/>
              <a:gd name="connsiteX9" fmla="*/ 217481 w 350168"/>
              <a:gd name="connsiteY9" fmla="*/ 0 h 154638"/>
              <a:gd name="connsiteX10" fmla="*/ 217481 w 350168"/>
              <a:gd name="connsiteY10" fmla="*/ 154337 h 154638"/>
              <a:gd name="connsiteX11" fmla="*/ 187825 w 350168"/>
              <a:gd name="connsiteY11" fmla="*/ 154337 h 154638"/>
              <a:gd name="connsiteX12" fmla="*/ 187825 w 350168"/>
              <a:gd name="connsiteY12" fmla="*/ 53263 h 154638"/>
              <a:gd name="connsiteX13" fmla="*/ 151309 w 350168"/>
              <a:gd name="connsiteY13" fmla="*/ 152117 h 154638"/>
              <a:gd name="connsiteX14" fmla="*/ 128915 w 350168"/>
              <a:gd name="connsiteY14" fmla="*/ 152117 h 154638"/>
              <a:gd name="connsiteX15" fmla="*/ 92601 w 350168"/>
              <a:gd name="connsiteY15" fmla="*/ 52051 h 154638"/>
              <a:gd name="connsiteX16" fmla="*/ 92601 w 350168"/>
              <a:gd name="connsiteY16" fmla="*/ 154337 h 154638"/>
              <a:gd name="connsiteX17" fmla="*/ 0 w 350168"/>
              <a:gd name="connsiteY17" fmla="*/ 154337 h 154638"/>
              <a:gd name="connsiteX18" fmla="*/ 0 w 350168"/>
              <a:gd name="connsiteY18" fmla="*/ 0 h 154638"/>
              <a:gd name="connsiteX19" fmla="*/ 30867 w 350168"/>
              <a:gd name="connsiteY19" fmla="*/ 0 h 154638"/>
              <a:gd name="connsiteX20" fmla="*/ 30867 w 350168"/>
              <a:gd name="connsiteY20" fmla="*/ 154337 h 154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50168" h="154638">
                <a:moveTo>
                  <a:pt x="242136" y="154638"/>
                </a:moveTo>
                <a:lnTo>
                  <a:pt x="242136" y="141700"/>
                </a:lnTo>
                <a:lnTo>
                  <a:pt x="350168" y="141700"/>
                </a:lnTo>
                <a:lnTo>
                  <a:pt x="350168" y="154638"/>
                </a:lnTo>
                <a:close/>
                <a:moveTo>
                  <a:pt x="62944" y="154337"/>
                </a:moveTo>
                <a:lnTo>
                  <a:pt x="62944" y="0"/>
                </a:lnTo>
                <a:lnTo>
                  <a:pt x="102688" y="0"/>
                </a:lnTo>
                <a:lnTo>
                  <a:pt x="141020" y="104707"/>
                </a:lnTo>
                <a:lnTo>
                  <a:pt x="179755" y="0"/>
                </a:lnTo>
                <a:lnTo>
                  <a:pt x="217481" y="0"/>
                </a:lnTo>
                <a:lnTo>
                  <a:pt x="217481" y="154337"/>
                </a:lnTo>
                <a:lnTo>
                  <a:pt x="187825" y="154337"/>
                </a:lnTo>
                <a:lnTo>
                  <a:pt x="187825" y="53263"/>
                </a:lnTo>
                <a:lnTo>
                  <a:pt x="151309" y="152117"/>
                </a:lnTo>
                <a:lnTo>
                  <a:pt x="128915" y="152117"/>
                </a:lnTo>
                <a:lnTo>
                  <a:pt x="92601" y="52051"/>
                </a:lnTo>
                <a:lnTo>
                  <a:pt x="92601" y="154337"/>
                </a:lnTo>
                <a:close/>
                <a:moveTo>
                  <a:pt x="0" y="154337"/>
                </a:moveTo>
                <a:lnTo>
                  <a:pt x="0" y="0"/>
                </a:lnTo>
                <a:lnTo>
                  <a:pt x="30867" y="0"/>
                </a:lnTo>
                <a:lnTo>
                  <a:pt x="30867" y="15433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/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B750D5A1-5790-47F8-98CC-45D0B43D7778}"/>
              </a:ext>
            </a:extLst>
          </p:cNvPr>
          <p:cNvSpPr txBox="1">
            <a:spLocks/>
          </p:cNvSpPr>
          <p:nvPr userDrawn="1"/>
        </p:nvSpPr>
        <p:spPr>
          <a:xfrm>
            <a:off x="9378938" y="6496424"/>
            <a:ext cx="255600" cy="1116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r" defTabSz="914400" rtl="0" eaLnBrk="1" latinLnBrk="0" hangingPunct="1">
              <a:defRPr sz="650" kern="1200" spc="0" baseline="0">
                <a:solidFill>
                  <a:srgbClr val="2F363B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650" smtClean="0">
                <a:solidFill>
                  <a:srgbClr val="1F2023"/>
                </a:solidFill>
              </a:rPr>
              <a:pPr/>
              <a:t>‹#›</a:t>
            </a:fld>
            <a:endParaRPr lang="en-GB" sz="650" dirty="0">
              <a:solidFill>
                <a:srgbClr val="1F20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6392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Pigg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9FF57FE-D41E-41C0-8633-337F24FD50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3682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5" imgW="408" imgH="408" progId="TCLayout.ActiveDocument.1">
                  <p:embed/>
                </p:oleObj>
              </mc:Choice>
              <mc:Fallback>
                <p:oleObj name="think-cell Slide" r:id="rId5" imgW="408" imgH="408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9FF57FE-D41E-41C0-8633-337F24FD50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DC2F9E70-01DA-4282-B3CD-6B56BBE02E87}"/>
              </a:ext>
            </a:extLst>
          </p:cNvPr>
          <p:cNvSpPr/>
          <p:nvPr userDrawn="1"/>
        </p:nvSpPr>
        <p:spPr>
          <a:xfrm>
            <a:off x="2" y="0"/>
            <a:ext cx="9905998" cy="6858000"/>
          </a:xfrm>
          <a:prstGeom prst="rect">
            <a:avLst/>
          </a:prstGeom>
          <a:solidFill>
            <a:srgbClr val="E0BCA6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500" tIns="58500" rIns="58500" bIns="58500" rtlCol="0" anchor="t" anchorCtr="0"/>
          <a:lstStyle/>
          <a:p>
            <a:pPr algn="l"/>
            <a:endParaRPr lang="en-GB" sz="813" noProof="0" dirty="0">
              <a:solidFill>
                <a:srgbClr val="2F363B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949D33-2E01-4246-97EA-A41F8450A0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7850" y="2228850"/>
            <a:ext cx="7710300" cy="2823894"/>
          </a:xfrm>
          <a:noFill/>
        </p:spPr>
        <p:txBody>
          <a:bodyPr vert="horz" lIns="0" tIns="0" rIns="0"/>
          <a:lstStyle>
            <a:lvl1pPr>
              <a:lnSpc>
                <a:spcPct val="83000"/>
              </a:lnSpc>
              <a:defRPr sz="5850" cap="all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7" name="Date_GeneralDate" hidden="1">
            <a:extLst>
              <a:ext uri="{FF2B5EF4-FFF2-40B4-BE49-F238E27FC236}">
                <a16:creationId xmlns:a16="http://schemas.microsoft.com/office/drawing/2014/main" id="{BF234924-99E7-45C1-8DE2-61303ACA7E4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9715A1B3-3630-4BAD-9C89-643EA989022F}" type="datetime1">
              <a:rPr lang="en-US" smtClean="0"/>
              <a:t>2/25/2022</a:t>
            </a:fld>
            <a:endParaRPr lang="en-GB" dirty="0"/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D009E80D-2147-4BBB-8420-968C489EF2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4" y="6502395"/>
            <a:ext cx="6744111" cy="106116"/>
          </a:xfrm>
        </p:spPr>
        <p:txBody>
          <a:bodyPr rIns="0" anchor="t" anchorCtr="0"/>
          <a:lstStyle>
            <a:lvl1pPr marL="0" indent="0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39303" indent="-139303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lphaU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742950" rtl="0" eaLnBrk="1" latinLnBrk="0" hangingPunct="1">
              <a:defRPr lang="en-GB" sz="894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Not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9322F81-C609-45A5-8EA6-B775EFE3646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9383" y="6504110"/>
            <a:ext cx="1978862" cy="106116"/>
          </a:xfrm>
        </p:spPr>
        <p:txBody>
          <a:bodyPr rIns="0"/>
          <a:lstStyle>
            <a:lvl1pPr algn="r">
              <a:defRPr sz="650">
                <a:solidFill>
                  <a:srgbClr val="1F2023"/>
                </a:solidFill>
              </a:defRPr>
            </a:lvl1pPr>
            <a:lvl2pPr>
              <a:defRPr sz="650"/>
            </a:lvl2pPr>
            <a:lvl3pPr>
              <a:defRPr sz="650"/>
            </a:lvl3pPr>
            <a:lvl4pPr>
              <a:defRPr sz="650"/>
            </a:lvl4pPr>
            <a:lvl5pPr>
              <a:defRPr sz="650"/>
            </a:lvl5pPr>
          </a:lstStyle>
          <a:p>
            <a:pPr lvl="0"/>
            <a:r>
              <a:rPr lang="en-GB" dirty="0"/>
              <a:t>Tracker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8A1B70B9-3F42-4914-BEE7-21D102BBB2C2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 rot="5400000">
            <a:off x="9382133" y="400810"/>
            <a:ext cx="350168" cy="154638"/>
          </a:xfrm>
          <a:custGeom>
            <a:avLst/>
            <a:gdLst>
              <a:gd name="connsiteX0" fmla="*/ 242136 w 350168"/>
              <a:gd name="connsiteY0" fmla="*/ 154638 h 154638"/>
              <a:gd name="connsiteX1" fmla="*/ 242136 w 350168"/>
              <a:gd name="connsiteY1" fmla="*/ 141700 h 154638"/>
              <a:gd name="connsiteX2" fmla="*/ 350168 w 350168"/>
              <a:gd name="connsiteY2" fmla="*/ 141700 h 154638"/>
              <a:gd name="connsiteX3" fmla="*/ 350168 w 350168"/>
              <a:gd name="connsiteY3" fmla="*/ 154638 h 154638"/>
              <a:gd name="connsiteX4" fmla="*/ 62944 w 350168"/>
              <a:gd name="connsiteY4" fmla="*/ 154337 h 154638"/>
              <a:gd name="connsiteX5" fmla="*/ 62944 w 350168"/>
              <a:gd name="connsiteY5" fmla="*/ 0 h 154638"/>
              <a:gd name="connsiteX6" fmla="*/ 102688 w 350168"/>
              <a:gd name="connsiteY6" fmla="*/ 0 h 154638"/>
              <a:gd name="connsiteX7" fmla="*/ 141020 w 350168"/>
              <a:gd name="connsiteY7" fmla="*/ 104707 h 154638"/>
              <a:gd name="connsiteX8" fmla="*/ 179755 w 350168"/>
              <a:gd name="connsiteY8" fmla="*/ 0 h 154638"/>
              <a:gd name="connsiteX9" fmla="*/ 217481 w 350168"/>
              <a:gd name="connsiteY9" fmla="*/ 0 h 154638"/>
              <a:gd name="connsiteX10" fmla="*/ 217481 w 350168"/>
              <a:gd name="connsiteY10" fmla="*/ 154337 h 154638"/>
              <a:gd name="connsiteX11" fmla="*/ 187825 w 350168"/>
              <a:gd name="connsiteY11" fmla="*/ 154337 h 154638"/>
              <a:gd name="connsiteX12" fmla="*/ 187825 w 350168"/>
              <a:gd name="connsiteY12" fmla="*/ 53263 h 154638"/>
              <a:gd name="connsiteX13" fmla="*/ 151309 w 350168"/>
              <a:gd name="connsiteY13" fmla="*/ 152117 h 154638"/>
              <a:gd name="connsiteX14" fmla="*/ 128915 w 350168"/>
              <a:gd name="connsiteY14" fmla="*/ 152117 h 154638"/>
              <a:gd name="connsiteX15" fmla="*/ 92601 w 350168"/>
              <a:gd name="connsiteY15" fmla="*/ 52051 h 154638"/>
              <a:gd name="connsiteX16" fmla="*/ 92601 w 350168"/>
              <a:gd name="connsiteY16" fmla="*/ 154337 h 154638"/>
              <a:gd name="connsiteX17" fmla="*/ 0 w 350168"/>
              <a:gd name="connsiteY17" fmla="*/ 154337 h 154638"/>
              <a:gd name="connsiteX18" fmla="*/ 0 w 350168"/>
              <a:gd name="connsiteY18" fmla="*/ 0 h 154638"/>
              <a:gd name="connsiteX19" fmla="*/ 30867 w 350168"/>
              <a:gd name="connsiteY19" fmla="*/ 0 h 154638"/>
              <a:gd name="connsiteX20" fmla="*/ 30867 w 350168"/>
              <a:gd name="connsiteY20" fmla="*/ 154337 h 154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50168" h="154638">
                <a:moveTo>
                  <a:pt x="242136" y="154638"/>
                </a:moveTo>
                <a:lnTo>
                  <a:pt x="242136" y="141700"/>
                </a:lnTo>
                <a:lnTo>
                  <a:pt x="350168" y="141700"/>
                </a:lnTo>
                <a:lnTo>
                  <a:pt x="350168" y="154638"/>
                </a:lnTo>
                <a:close/>
                <a:moveTo>
                  <a:pt x="62944" y="154337"/>
                </a:moveTo>
                <a:lnTo>
                  <a:pt x="62944" y="0"/>
                </a:lnTo>
                <a:lnTo>
                  <a:pt x="102688" y="0"/>
                </a:lnTo>
                <a:lnTo>
                  <a:pt x="141020" y="104707"/>
                </a:lnTo>
                <a:lnTo>
                  <a:pt x="179755" y="0"/>
                </a:lnTo>
                <a:lnTo>
                  <a:pt x="217481" y="0"/>
                </a:lnTo>
                <a:lnTo>
                  <a:pt x="217481" y="154337"/>
                </a:lnTo>
                <a:lnTo>
                  <a:pt x="187825" y="154337"/>
                </a:lnTo>
                <a:lnTo>
                  <a:pt x="187825" y="53263"/>
                </a:lnTo>
                <a:lnTo>
                  <a:pt x="151309" y="152117"/>
                </a:lnTo>
                <a:lnTo>
                  <a:pt x="128915" y="152117"/>
                </a:lnTo>
                <a:lnTo>
                  <a:pt x="92601" y="52051"/>
                </a:lnTo>
                <a:lnTo>
                  <a:pt x="92601" y="154337"/>
                </a:lnTo>
                <a:close/>
                <a:moveTo>
                  <a:pt x="0" y="154337"/>
                </a:moveTo>
                <a:lnTo>
                  <a:pt x="0" y="0"/>
                </a:lnTo>
                <a:lnTo>
                  <a:pt x="30867" y="0"/>
                </a:lnTo>
                <a:lnTo>
                  <a:pt x="30867" y="15433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/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B750D5A1-5790-47F8-98CC-45D0B43D7778}"/>
              </a:ext>
            </a:extLst>
          </p:cNvPr>
          <p:cNvSpPr txBox="1">
            <a:spLocks/>
          </p:cNvSpPr>
          <p:nvPr userDrawn="1"/>
        </p:nvSpPr>
        <p:spPr>
          <a:xfrm>
            <a:off x="9378938" y="6496424"/>
            <a:ext cx="255600" cy="1116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r" defTabSz="914400" rtl="0" eaLnBrk="1" latinLnBrk="0" hangingPunct="1">
              <a:defRPr sz="650" kern="1200" spc="0" baseline="0">
                <a:solidFill>
                  <a:srgbClr val="2F363B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650" smtClean="0">
                <a:solidFill>
                  <a:srgbClr val="1F2023"/>
                </a:solidFill>
              </a:rPr>
              <a:pPr/>
              <a:t>‹#›</a:t>
            </a:fld>
            <a:endParaRPr lang="en-GB" sz="650" dirty="0">
              <a:solidFill>
                <a:srgbClr val="1F20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20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ow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9FF57FE-D41E-41C0-8633-337F24FD50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941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5" imgW="408" imgH="408" progId="TCLayout.ActiveDocument.1">
                  <p:embed/>
                </p:oleObj>
              </mc:Choice>
              <mc:Fallback>
                <p:oleObj name="think-cell Slide" r:id="rId5" imgW="408" imgH="408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9FF57FE-D41E-41C0-8633-337F24FD50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DC2F9E70-01DA-4282-B3CD-6B56BBE02E87}"/>
              </a:ext>
            </a:extLst>
          </p:cNvPr>
          <p:cNvSpPr/>
          <p:nvPr userDrawn="1"/>
        </p:nvSpPr>
        <p:spPr>
          <a:xfrm>
            <a:off x="2" y="0"/>
            <a:ext cx="9905998" cy="6858000"/>
          </a:xfrm>
          <a:prstGeom prst="rect">
            <a:avLst/>
          </a:prstGeom>
          <a:solidFill>
            <a:srgbClr val="9A6E3A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8500" tIns="58500" rIns="58500" bIns="58500" rtlCol="0" anchor="t" anchorCtr="0"/>
          <a:lstStyle/>
          <a:p>
            <a:pPr algn="l"/>
            <a:endParaRPr lang="en-GB" sz="813" noProof="0" dirty="0">
              <a:solidFill>
                <a:srgbClr val="2F363B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949D33-2E01-4246-97EA-A41F8450A0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97850" y="2228850"/>
            <a:ext cx="7710300" cy="2823894"/>
          </a:xfrm>
          <a:noFill/>
        </p:spPr>
        <p:txBody>
          <a:bodyPr vert="horz" lIns="0" tIns="0" rIns="0"/>
          <a:lstStyle>
            <a:lvl1pPr>
              <a:lnSpc>
                <a:spcPct val="83000"/>
              </a:lnSpc>
              <a:defRPr sz="5850" cap="all" baseline="0">
                <a:solidFill>
                  <a:schemeClr val="tx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7" name="Date_GeneralDate" hidden="1">
            <a:extLst>
              <a:ext uri="{FF2B5EF4-FFF2-40B4-BE49-F238E27FC236}">
                <a16:creationId xmlns:a16="http://schemas.microsoft.com/office/drawing/2014/main" id="{BF234924-99E7-45C1-8DE2-61303ACA7E4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9715A1B3-3630-4BAD-9C89-643EA989022F}" type="datetime1">
              <a:rPr lang="en-US" smtClean="0"/>
              <a:t>2/25/2022</a:t>
            </a:fld>
            <a:endParaRPr lang="en-GB" dirty="0"/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D009E80D-2147-4BBB-8420-968C489EF2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4" y="6502395"/>
            <a:ext cx="6744111" cy="106116"/>
          </a:xfrm>
        </p:spPr>
        <p:txBody>
          <a:bodyPr rIns="0" anchor="t" anchorCtr="0"/>
          <a:lstStyle>
            <a:lvl1pPr marL="0" indent="0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39303" indent="-139303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lphaU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742950" rtl="0" eaLnBrk="1" latinLnBrk="0" hangingPunct="1">
              <a:defRPr lang="en-GB" sz="894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Not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9322F81-C609-45A5-8EA6-B775EFE3646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9383" y="6504110"/>
            <a:ext cx="1978862" cy="106116"/>
          </a:xfrm>
        </p:spPr>
        <p:txBody>
          <a:bodyPr rIns="0"/>
          <a:lstStyle>
            <a:lvl1pPr algn="r">
              <a:defRPr sz="650">
                <a:solidFill>
                  <a:srgbClr val="1F2023"/>
                </a:solidFill>
              </a:defRPr>
            </a:lvl1pPr>
            <a:lvl2pPr>
              <a:defRPr sz="650"/>
            </a:lvl2pPr>
            <a:lvl3pPr>
              <a:defRPr sz="650"/>
            </a:lvl3pPr>
            <a:lvl4pPr>
              <a:defRPr sz="650"/>
            </a:lvl4pPr>
            <a:lvl5pPr>
              <a:defRPr sz="650"/>
            </a:lvl5pPr>
          </a:lstStyle>
          <a:p>
            <a:pPr lvl="0"/>
            <a:r>
              <a:rPr lang="en-GB" dirty="0"/>
              <a:t>Tracker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8A1B70B9-3F42-4914-BEE7-21D102BBB2C2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 rot="5400000">
            <a:off x="9382133" y="400810"/>
            <a:ext cx="350168" cy="154638"/>
          </a:xfrm>
          <a:custGeom>
            <a:avLst/>
            <a:gdLst>
              <a:gd name="connsiteX0" fmla="*/ 242136 w 350168"/>
              <a:gd name="connsiteY0" fmla="*/ 154638 h 154638"/>
              <a:gd name="connsiteX1" fmla="*/ 242136 w 350168"/>
              <a:gd name="connsiteY1" fmla="*/ 141700 h 154638"/>
              <a:gd name="connsiteX2" fmla="*/ 350168 w 350168"/>
              <a:gd name="connsiteY2" fmla="*/ 141700 h 154638"/>
              <a:gd name="connsiteX3" fmla="*/ 350168 w 350168"/>
              <a:gd name="connsiteY3" fmla="*/ 154638 h 154638"/>
              <a:gd name="connsiteX4" fmla="*/ 62944 w 350168"/>
              <a:gd name="connsiteY4" fmla="*/ 154337 h 154638"/>
              <a:gd name="connsiteX5" fmla="*/ 62944 w 350168"/>
              <a:gd name="connsiteY5" fmla="*/ 0 h 154638"/>
              <a:gd name="connsiteX6" fmla="*/ 102688 w 350168"/>
              <a:gd name="connsiteY6" fmla="*/ 0 h 154638"/>
              <a:gd name="connsiteX7" fmla="*/ 141020 w 350168"/>
              <a:gd name="connsiteY7" fmla="*/ 104707 h 154638"/>
              <a:gd name="connsiteX8" fmla="*/ 179755 w 350168"/>
              <a:gd name="connsiteY8" fmla="*/ 0 h 154638"/>
              <a:gd name="connsiteX9" fmla="*/ 217481 w 350168"/>
              <a:gd name="connsiteY9" fmla="*/ 0 h 154638"/>
              <a:gd name="connsiteX10" fmla="*/ 217481 w 350168"/>
              <a:gd name="connsiteY10" fmla="*/ 154337 h 154638"/>
              <a:gd name="connsiteX11" fmla="*/ 187825 w 350168"/>
              <a:gd name="connsiteY11" fmla="*/ 154337 h 154638"/>
              <a:gd name="connsiteX12" fmla="*/ 187825 w 350168"/>
              <a:gd name="connsiteY12" fmla="*/ 53263 h 154638"/>
              <a:gd name="connsiteX13" fmla="*/ 151309 w 350168"/>
              <a:gd name="connsiteY13" fmla="*/ 152117 h 154638"/>
              <a:gd name="connsiteX14" fmla="*/ 128915 w 350168"/>
              <a:gd name="connsiteY14" fmla="*/ 152117 h 154638"/>
              <a:gd name="connsiteX15" fmla="*/ 92601 w 350168"/>
              <a:gd name="connsiteY15" fmla="*/ 52051 h 154638"/>
              <a:gd name="connsiteX16" fmla="*/ 92601 w 350168"/>
              <a:gd name="connsiteY16" fmla="*/ 154337 h 154638"/>
              <a:gd name="connsiteX17" fmla="*/ 0 w 350168"/>
              <a:gd name="connsiteY17" fmla="*/ 154337 h 154638"/>
              <a:gd name="connsiteX18" fmla="*/ 0 w 350168"/>
              <a:gd name="connsiteY18" fmla="*/ 0 h 154638"/>
              <a:gd name="connsiteX19" fmla="*/ 30867 w 350168"/>
              <a:gd name="connsiteY19" fmla="*/ 0 h 154638"/>
              <a:gd name="connsiteX20" fmla="*/ 30867 w 350168"/>
              <a:gd name="connsiteY20" fmla="*/ 154337 h 154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50168" h="154638">
                <a:moveTo>
                  <a:pt x="242136" y="154638"/>
                </a:moveTo>
                <a:lnTo>
                  <a:pt x="242136" y="141700"/>
                </a:lnTo>
                <a:lnTo>
                  <a:pt x="350168" y="141700"/>
                </a:lnTo>
                <a:lnTo>
                  <a:pt x="350168" y="154638"/>
                </a:lnTo>
                <a:close/>
                <a:moveTo>
                  <a:pt x="62944" y="154337"/>
                </a:moveTo>
                <a:lnTo>
                  <a:pt x="62944" y="0"/>
                </a:lnTo>
                <a:lnTo>
                  <a:pt x="102688" y="0"/>
                </a:lnTo>
                <a:lnTo>
                  <a:pt x="141020" y="104707"/>
                </a:lnTo>
                <a:lnTo>
                  <a:pt x="179755" y="0"/>
                </a:lnTo>
                <a:lnTo>
                  <a:pt x="217481" y="0"/>
                </a:lnTo>
                <a:lnTo>
                  <a:pt x="217481" y="154337"/>
                </a:lnTo>
                <a:lnTo>
                  <a:pt x="187825" y="154337"/>
                </a:lnTo>
                <a:lnTo>
                  <a:pt x="187825" y="53263"/>
                </a:lnTo>
                <a:lnTo>
                  <a:pt x="151309" y="152117"/>
                </a:lnTo>
                <a:lnTo>
                  <a:pt x="128915" y="152117"/>
                </a:lnTo>
                <a:lnTo>
                  <a:pt x="92601" y="52051"/>
                </a:lnTo>
                <a:lnTo>
                  <a:pt x="92601" y="154337"/>
                </a:lnTo>
                <a:close/>
                <a:moveTo>
                  <a:pt x="0" y="154337"/>
                </a:moveTo>
                <a:lnTo>
                  <a:pt x="0" y="0"/>
                </a:lnTo>
                <a:lnTo>
                  <a:pt x="30867" y="0"/>
                </a:lnTo>
                <a:lnTo>
                  <a:pt x="30867" y="15433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/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B750D5A1-5790-47F8-98CC-45D0B43D7778}"/>
              </a:ext>
            </a:extLst>
          </p:cNvPr>
          <p:cNvSpPr txBox="1">
            <a:spLocks/>
          </p:cNvSpPr>
          <p:nvPr userDrawn="1"/>
        </p:nvSpPr>
        <p:spPr>
          <a:xfrm>
            <a:off x="9378938" y="6496424"/>
            <a:ext cx="255600" cy="1116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r" defTabSz="914400" rtl="0" eaLnBrk="1" latinLnBrk="0" hangingPunct="1">
              <a:defRPr sz="650" kern="1200" spc="0" baseline="0">
                <a:solidFill>
                  <a:srgbClr val="2F363B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650" smtClean="0">
                <a:solidFill>
                  <a:srgbClr val="1F2023"/>
                </a:solidFill>
              </a:rPr>
              <a:pPr/>
              <a:t>‹#›</a:t>
            </a:fld>
            <a:endParaRPr lang="en-GB" sz="650" dirty="0">
              <a:solidFill>
                <a:srgbClr val="1F20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5893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Background Dark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F728B4C-6517-429E-8FE2-069E7D76A6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88945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F728B4C-6517-429E-8FE2-069E7D76A6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13">
            <a:extLst>
              <a:ext uri="{FF2B5EF4-FFF2-40B4-BE49-F238E27FC236}">
                <a16:creationId xmlns:a16="http://schemas.microsoft.com/office/drawing/2014/main" id="{C4CFC32D-2211-4E39-9B91-7B77BE0D101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"/>
            <a:ext cx="9906001" cy="6858000"/>
          </a:xfrm>
          <a:solidFill>
            <a:srgbClr val="F3F2F0"/>
          </a:solidFill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da-DK" dirty="0"/>
            </a:lvl1pPr>
          </a:lstStyle>
          <a:p>
            <a:pPr lvl="0" algn="ctr">
              <a:buNone/>
            </a:pPr>
            <a:r>
              <a:rPr lang="en-GB" dirty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949D33-2E01-4246-97EA-A41F8450A0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2256" y="308592"/>
            <a:ext cx="8855590" cy="1912010"/>
          </a:xfrm>
          <a:noFill/>
        </p:spPr>
        <p:txBody>
          <a:bodyPr vert="horz" lIns="0" tIns="0" rIns="0"/>
          <a:lstStyle>
            <a:lvl1pPr>
              <a:lnSpc>
                <a:spcPct val="80000"/>
              </a:lnSpc>
              <a:defRPr sz="7200" cap="all" baseline="0">
                <a:solidFill>
                  <a:srgbClr val="30373B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0" name="Date_GeneralDate" hidden="1">
            <a:extLst>
              <a:ext uri="{FF2B5EF4-FFF2-40B4-BE49-F238E27FC236}">
                <a16:creationId xmlns:a16="http://schemas.microsoft.com/office/drawing/2014/main" id="{C412D601-3FD7-4BFF-9C9F-D4F2C92A6EB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6B3186EF-2212-4466-A686-FDA592E3A8A2}" type="datetime1">
              <a:rPr lang="en-US" smtClean="0"/>
              <a:t>2/25/2022</a:t>
            </a:fld>
            <a:endParaRPr lang="en-GB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A2E889C3-04FC-42E7-9F88-55398FDB062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4" y="6502395"/>
            <a:ext cx="6744111" cy="106116"/>
          </a:xfrm>
        </p:spPr>
        <p:txBody>
          <a:bodyPr rIns="0" anchor="t" anchorCtr="0"/>
          <a:lstStyle>
            <a:lvl1pPr marL="0" indent="0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39303" indent="-139303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lphaU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742950" rtl="0" eaLnBrk="1" latinLnBrk="0" hangingPunct="1">
              <a:defRPr lang="en-GB" sz="894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Notes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B5D1C3CB-C715-45E0-AC5A-42E060646A3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9383" y="6504110"/>
            <a:ext cx="1978862" cy="106116"/>
          </a:xfrm>
        </p:spPr>
        <p:txBody>
          <a:bodyPr rIns="0"/>
          <a:lstStyle>
            <a:lvl1pPr algn="r">
              <a:defRPr sz="650">
                <a:solidFill>
                  <a:srgbClr val="1F2023"/>
                </a:solidFill>
              </a:defRPr>
            </a:lvl1pPr>
            <a:lvl2pPr>
              <a:defRPr sz="650"/>
            </a:lvl2pPr>
            <a:lvl3pPr>
              <a:defRPr sz="650"/>
            </a:lvl3pPr>
            <a:lvl4pPr>
              <a:defRPr sz="650"/>
            </a:lvl4pPr>
            <a:lvl5pPr>
              <a:defRPr sz="650"/>
            </a:lvl5pPr>
          </a:lstStyle>
          <a:p>
            <a:pPr lvl="0"/>
            <a:r>
              <a:rPr lang="en-GB" dirty="0"/>
              <a:t>Tracker</a:t>
            </a:r>
          </a:p>
        </p:txBody>
      </p:sp>
      <p:sp>
        <p:nvSpPr>
          <p:cNvPr id="11" name="Text Placeholder logo">
            <a:extLst>
              <a:ext uri="{FF2B5EF4-FFF2-40B4-BE49-F238E27FC236}">
                <a16:creationId xmlns:a16="http://schemas.microsoft.com/office/drawing/2014/main" id="{B45C3F2C-0AAF-4C1C-82CA-594BFBB854D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79736" y="303045"/>
            <a:ext cx="154800" cy="349200"/>
          </a:xfrm>
          <a:blipFill>
            <a:blip r:embed="rId6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US" dirty="0"/>
              <a:t>.</a:t>
            </a:r>
            <a:endParaRPr lang="en-GB" dirty="0"/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4DF56A34-A2F3-4400-BBED-60209A6B9DD4}"/>
              </a:ext>
            </a:extLst>
          </p:cNvPr>
          <p:cNvSpPr txBox="1">
            <a:spLocks/>
          </p:cNvSpPr>
          <p:nvPr userDrawn="1"/>
        </p:nvSpPr>
        <p:spPr>
          <a:xfrm>
            <a:off x="9378938" y="6496424"/>
            <a:ext cx="255600" cy="1116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r" defTabSz="914400" rtl="0" eaLnBrk="1" latinLnBrk="0" hangingPunct="1">
              <a:defRPr sz="650" kern="1200" spc="0" baseline="0">
                <a:solidFill>
                  <a:srgbClr val="2F363B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650" smtClean="0">
                <a:solidFill>
                  <a:srgbClr val="1F2023"/>
                </a:solidFill>
              </a:rPr>
              <a:pPr/>
              <a:t>‹#›</a:t>
            </a:fld>
            <a:endParaRPr lang="en-GB" sz="650" dirty="0">
              <a:solidFill>
                <a:srgbClr val="1F20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4405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Background Ligh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C8ABF48-F188-42EB-96EC-D50C21FB81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40237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C8ABF48-F188-42EB-96EC-D50C21FB81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13">
            <a:extLst>
              <a:ext uri="{FF2B5EF4-FFF2-40B4-BE49-F238E27FC236}">
                <a16:creationId xmlns:a16="http://schemas.microsoft.com/office/drawing/2014/main" id="{C4CFC32D-2211-4E39-9B91-7B77BE0D101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"/>
            <a:ext cx="9906001" cy="6858000"/>
          </a:xfrm>
          <a:solidFill>
            <a:srgbClr val="F3F2F0"/>
          </a:solidFill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da-DK" dirty="0"/>
            </a:lvl1pPr>
          </a:lstStyle>
          <a:p>
            <a:pPr lvl="0" algn="ctr">
              <a:buNone/>
            </a:pPr>
            <a:r>
              <a:rPr lang="en-GB" dirty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949D33-2E01-4246-97EA-A41F8450A0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2256" y="302941"/>
            <a:ext cx="8855590" cy="1912010"/>
          </a:xfrm>
          <a:noFill/>
        </p:spPr>
        <p:txBody>
          <a:bodyPr vert="horz" lIns="0" tIns="0" rIns="0"/>
          <a:lstStyle>
            <a:lvl1pPr>
              <a:lnSpc>
                <a:spcPct val="80000"/>
              </a:lnSpc>
              <a:defRPr sz="72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0" name="Date_GeneralDate" hidden="1">
            <a:extLst>
              <a:ext uri="{FF2B5EF4-FFF2-40B4-BE49-F238E27FC236}">
                <a16:creationId xmlns:a16="http://schemas.microsoft.com/office/drawing/2014/main" id="{0FAE2377-E2B0-4140-9CCB-1BC962EBB0E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3B622D86-972D-43A8-8E81-B3E0ACF379F0}" type="datetime1">
              <a:rPr lang="en-US" smtClean="0"/>
              <a:t>2/25/2022</a:t>
            </a:fld>
            <a:endParaRPr lang="en-GB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B0E5CE65-C7F7-444F-9BE6-F6063981EE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4" y="6502395"/>
            <a:ext cx="6744111" cy="106116"/>
          </a:xfrm>
        </p:spPr>
        <p:txBody>
          <a:bodyPr rIns="0" anchor="t" anchorCtr="0"/>
          <a:lstStyle>
            <a:lvl1pPr marL="0" indent="0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39303" indent="-139303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lphaU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742950" rtl="0" eaLnBrk="1" latinLnBrk="0" hangingPunct="1">
              <a:defRPr lang="en-GB" sz="894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Notes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F4EBC252-42D9-4131-8D13-05AF660AEB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9383" y="6504110"/>
            <a:ext cx="1978862" cy="106116"/>
          </a:xfrm>
        </p:spPr>
        <p:txBody>
          <a:bodyPr rIns="0"/>
          <a:lstStyle>
            <a:lvl1pPr algn="r">
              <a:defRPr sz="650">
                <a:solidFill>
                  <a:srgbClr val="1F2023"/>
                </a:solidFill>
              </a:defRPr>
            </a:lvl1pPr>
            <a:lvl2pPr>
              <a:defRPr sz="650"/>
            </a:lvl2pPr>
            <a:lvl3pPr>
              <a:defRPr sz="650"/>
            </a:lvl3pPr>
            <a:lvl4pPr>
              <a:defRPr sz="650"/>
            </a:lvl4pPr>
            <a:lvl5pPr>
              <a:defRPr sz="650"/>
            </a:lvl5pPr>
          </a:lstStyle>
          <a:p>
            <a:pPr lvl="0"/>
            <a:r>
              <a:rPr lang="en-GB" dirty="0"/>
              <a:t>Tracker</a:t>
            </a:r>
          </a:p>
        </p:txBody>
      </p:sp>
      <p:sp>
        <p:nvSpPr>
          <p:cNvPr id="11" name="Text Placeholder logo">
            <a:extLst>
              <a:ext uri="{FF2B5EF4-FFF2-40B4-BE49-F238E27FC236}">
                <a16:creationId xmlns:a16="http://schemas.microsoft.com/office/drawing/2014/main" id="{5A77E448-2BE3-48C5-ABC0-77F3894ECCF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79736" y="303045"/>
            <a:ext cx="154800" cy="349200"/>
          </a:xfrm>
          <a:blipFill>
            <a:blip r:embed="rId6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US" dirty="0"/>
              <a:t>.</a:t>
            </a:r>
            <a:endParaRPr lang="en-GB" dirty="0"/>
          </a:p>
        </p:txBody>
      </p:sp>
      <p:sp>
        <p:nvSpPr>
          <p:cNvPr id="3" name="Footer Placeholder 2" hidden="1">
            <a:extLst>
              <a:ext uri="{FF2B5EF4-FFF2-40B4-BE49-F238E27FC236}">
                <a16:creationId xmlns:a16="http://schemas.microsoft.com/office/drawing/2014/main" id="{69F993DF-A131-47DA-A899-6B31FEA20EA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GB"/>
              <a:t>Footer</a:t>
            </a:r>
            <a:endParaRPr lang="en-GB" dirty="0"/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C272CE66-71DB-48D8-A79F-88374F294E4A}"/>
              </a:ext>
            </a:extLst>
          </p:cNvPr>
          <p:cNvSpPr txBox="1">
            <a:spLocks/>
          </p:cNvSpPr>
          <p:nvPr userDrawn="1"/>
        </p:nvSpPr>
        <p:spPr>
          <a:xfrm>
            <a:off x="9378938" y="6496424"/>
            <a:ext cx="255600" cy="1116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r" defTabSz="914400" rtl="0" eaLnBrk="1" latinLnBrk="0" hangingPunct="1">
              <a:defRPr sz="650" kern="1200" spc="0" baseline="0">
                <a:solidFill>
                  <a:srgbClr val="2F363B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650" smtClean="0">
                <a:solidFill>
                  <a:srgbClr val="1F2023"/>
                </a:solidFill>
              </a:rPr>
              <a:pPr/>
              <a:t>‹#›</a:t>
            </a:fld>
            <a:endParaRPr lang="en-GB" sz="650" dirty="0">
              <a:solidFill>
                <a:srgbClr val="1F20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1961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E631477-0A36-48AD-8A86-6B33026F533B}"/>
              </a:ext>
            </a:extLst>
          </p:cNvPr>
          <p:cNvSpPr/>
          <p:nvPr userDrawn="1"/>
        </p:nvSpPr>
        <p:spPr>
          <a:xfrm>
            <a:off x="0" y="269875"/>
            <a:ext cx="6581868" cy="5148792"/>
          </a:xfrm>
          <a:prstGeom prst="rect">
            <a:avLst/>
          </a:prstGeom>
          <a:solidFill>
            <a:srgbClr val="3037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/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38767680-C6C8-4860-8F6A-B5FF8B3542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1247" y="2092693"/>
            <a:ext cx="4551577" cy="2249014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800">
                <a:solidFill>
                  <a:srgbClr val="F8F5E7"/>
                </a:solidFill>
              </a:defRPr>
            </a:lvl1pPr>
          </a:lstStyle>
          <a:p>
            <a:pPr lvl="0"/>
            <a:r>
              <a:rPr lang="en-GB" dirty="0"/>
              <a:t>Edit Master text sty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B2C56D2-784D-4432-A938-43418D6C4B85}"/>
              </a:ext>
            </a:extLst>
          </p:cNvPr>
          <p:cNvSpPr/>
          <p:nvPr userDrawn="1"/>
        </p:nvSpPr>
        <p:spPr>
          <a:xfrm>
            <a:off x="0" y="0"/>
            <a:ext cx="4816475" cy="1296785"/>
          </a:xfrm>
          <a:prstGeom prst="rect">
            <a:avLst/>
          </a:prstGeom>
          <a:solidFill>
            <a:srgbClr val="40615F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>
              <a:buNone/>
            </a:pPr>
            <a:endParaRPr lang="en-GB" sz="1000" noProof="0" dirty="0">
              <a:solidFill>
                <a:srgbClr val="2F363B"/>
              </a:solidFill>
            </a:endParaRP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E95E46A2-7940-4BAC-9759-942AABFED4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9875" y="4611581"/>
            <a:ext cx="4551577" cy="555412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00">
                <a:solidFill>
                  <a:srgbClr val="F8F5E7"/>
                </a:solidFill>
              </a:defRPr>
            </a:lvl1pPr>
          </a:lstStyle>
          <a:p>
            <a:pPr lvl="0"/>
            <a:r>
              <a:rPr lang="en-GB" dirty="0"/>
              <a:t>Nam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EE78B38-E2FC-4D90-ABDF-B7665592C118}"/>
              </a:ext>
            </a:extLst>
          </p:cNvPr>
          <p:cNvSpPr txBox="1"/>
          <p:nvPr userDrawn="1"/>
        </p:nvSpPr>
        <p:spPr>
          <a:xfrm>
            <a:off x="246008" y="490564"/>
            <a:ext cx="2026391" cy="1329595"/>
          </a:xfrm>
          <a:prstGeom prst="rect">
            <a:avLst/>
          </a:prstGeom>
          <a:noFill/>
          <a:ln w="6350">
            <a:noFill/>
            <a:prstDash val="sysDash"/>
          </a:ln>
        </p:spPr>
        <p:txBody>
          <a:bodyPr wrap="square" lIns="0" tIns="0" rIns="0" bIns="0" rtlCol="0">
            <a:spAutoFit/>
          </a:bodyPr>
          <a:lstStyle/>
          <a:p>
            <a:pPr algn="l">
              <a:buFontTx/>
              <a:buNone/>
            </a:pPr>
            <a:r>
              <a:rPr lang="en-GB" sz="9600" dirty="0">
                <a:solidFill>
                  <a:srgbClr val="F8F5E7"/>
                </a:solidFill>
                <a:latin typeface="Impact" panose="020B0806030902050204" pitchFamily="34" charset="0"/>
              </a:rPr>
              <a:t>«</a:t>
            </a:r>
          </a:p>
        </p:txBody>
      </p:sp>
      <p:sp>
        <p:nvSpPr>
          <p:cNvPr id="14" name="Date_GeneralDate" hidden="1">
            <a:extLst>
              <a:ext uri="{FF2B5EF4-FFF2-40B4-BE49-F238E27FC236}">
                <a16:creationId xmlns:a16="http://schemas.microsoft.com/office/drawing/2014/main" id="{7DC1B9B1-594B-4FB6-921D-AD66151CE69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6793E9EF-9C0F-4780-8649-59486E9E852E}" type="datetime1">
              <a:rPr lang="en-US" smtClean="0"/>
              <a:t>2/25/2022</a:t>
            </a:fld>
            <a:endParaRPr lang="en-GB" dirty="0"/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824DB0EB-3C91-4347-ADB0-7074827664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4" y="6502395"/>
            <a:ext cx="6744111" cy="106116"/>
          </a:xfrm>
        </p:spPr>
        <p:txBody>
          <a:bodyPr rIns="0" anchor="t" anchorCtr="0"/>
          <a:lstStyle>
            <a:lvl1pPr marL="0" indent="0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39303" indent="-139303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lphaU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742950" rtl="0" eaLnBrk="1" latinLnBrk="0" hangingPunct="1">
              <a:defRPr lang="en-GB" sz="894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Note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6ECB54CD-9A70-47F7-9C35-1CCC5948569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9383" y="6504110"/>
            <a:ext cx="1978862" cy="106116"/>
          </a:xfrm>
        </p:spPr>
        <p:txBody>
          <a:bodyPr rIns="0"/>
          <a:lstStyle>
            <a:lvl1pPr algn="r">
              <a:defRPr sz="650">
                <a:solidFill>
                  <a:srgbClr val="1F2023"/>
                </a:solidFill>
              </a:defRPr>
            </a:lvl1pPr>
            <a:lvl2pPr>
              <a:defRPr sz="650"/>
            </a:lvl2pPr>
            <a:lvl3pPr>
              <a:defRPr sz="650"/>
            </a:lvl3pPr>
            <a:lvl4pPr>
              <a:defRPr sz="650"/>
            </a:lvl4pPr>
            <a:lvl5pPr>
              <a:defRPr sz="650"/>
            </a:lvl5pPr>
          </a:lstStyle>
          <a:p>
            <a:pPr lvl="0"/>
            <a:r>
              <a:rPr lang="en-GB" dirty="0"/>
              <a:t>Tracker</a:t>
            </a:r>
          </a:p>
        </p:txBody>
      </p:sp>
    </p:spTree>
    <p:extLst>
      <p:ext uri="{BB962C8B-B14F-4D97-AF65-F5344CB8AC3E}">
        <p14:creationId xmlns:p14="http://schemas.microsoft.com/office/powerpoint/2010/main" val="2997443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38767680-C6C8-4860-8F6A-B5FF8B3542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1247" y="2092693"/>
            <a:ext cx="4551577" cy="2249014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2800">
                <a:solidFill>
                  <a:srgbClr val="30373B"/>
                </a:solidFill>
              </a:defRPr>
            </a:lvl1pPr>
          </a:lstStyle>
          <a:p>
            <a:pPr lvl="0"/>
            <a:r>
              <a:rPr lang="en-GB" dirty="0"/>
              <a:t>Edit Master text sty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B2C56D2-784D-4432-A938-43418D6C4B85}"/>
              </a:ext>
            </a:extLst>
          </p:cNvPr>
          <p:cNvSpPr/>
          <p:nvPr userDrawn="1"/>
        </p:nvSpPr>
        <p:spPr>
          <a:xfrm>
            <a:off x="0" y="0"/>
            <a:ext cx="4816475" cy="1296785"/>
          </a:xfrm>
          <a:prstGeom prst="rect">
            <a:avLst/>
          </a:prstGeom>
          <a:solidFill>
            <a:srgbClr val="F8F5E7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>
              <a:buNone/>
            </a:pPr>
            <a:endParaRPr lang="en-GB" sz="1000" noProof="0" dirty="0">
              <a:solidFill>
                <a:srgbClr val="2F363B"/>
              </a:solidFill>
            </a:endParaRP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E95E46A2-7940-4BAC-9759-942AABFED4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69875" y="4611581"/>
            <a:ext cx="4551577" cy="555412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00">
                <a:solidFill>
                  <a:srgbClr val="30373B"/>
                </a:solidFill>
              </a:defRPr>
            </a:lvl1pPr>
          </a:lstStyle>
          <a:p>
            <a:pPr lvl="0"/>
            <a:r>
              <a:rPr lang="en-GB" dirty="0"/>
              <a:t>Nam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EE78B38-E2FC-4D90-ABDF-B7665592C118}"/>
              </a:ext>
            </a:extLst>
          </p:cNvPr>
          <p:cNvSpPr txBox="1"/>
          <p:nvPr userDrawn="1"/>
        </p:nvSpPr>
        <p:spPr>
          <a:xfrm>
            <a:off x="246008" y="490564"/>
            <a:ext cx="2026391" cy="1329595"/>
          </a:xfrm>
          <a:prstGeom prst="rect">
            <a:avLst/>
          </a:prstGeom>
          <a:noFill/>
          <a:ln w="6350">
            <a:noFill/>
            <a:prstDash val="sysDash"/>
          </a:ln>
        </p:spPr>
        <p:txBody>
          <a:bodyPr wrap="square" lIns="0" tIns="0" rIns="0" bIns="0" rtlCol="0">
            <a:spAutoFit/>
          </a:bodyPr>
          <a:lstStyle/>
          <a:p>
            <a:pPr algn="l">
              <a:buFontTx/>
              <a:buNone/>
            </a:pPr>
            <a:r>
              <a:rPr lang="en-GB" sz="9600" dirty="0">
                <a:solidFill>
                  <a:srgbClr val="30373B"/>
                </a:solidFill>
                <a:latin typeface="Impact" panose="020B0806030902050204" pitchFamily="34" charset="0"/>
              </a:rPr>
              <a:t>«</a:t>
            </a:r>
          </a:p>
        </p:txBody>
      </p:sp>
      <p:sp>
        <p:nvSpPr>
          <p:cNvPr id="14" name="Date_GeneralDate" hidden="1">
            <a:extLst>
              <a:ext uri="{FF2B5EF4-FFF2-40B4-BE49-F238E27FC236}">
                <a16:creationId xmlns:a16="http://schemas.microsoft.com/office/drawing/2014/main" id="{C23B4461-AF34-409D-AC22-EE0AAD2CC06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BE16438D-DB83-4A56-915A-4E9C53BA8E4F}" type="datetime1">
              <a:rPr lang="en-US" smtClean="0"/>
              <a:t>2/25/2022</a:t>
            </a:fld>
            <a:endParaRPr lang="en-GB" dirty="0"/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1844B6E8-8E61-4F73-8ECC-3DB3BF126A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4" y="6502395"/>
            <a:ext cx="6744111" cy="106116"/>
          </a:xfrm>
        </p:spPr>
        <p:txBody>
          <a:bodyPr rIns="0" anchor="t" anchorCtr="0"/>
          <a:lstStyle>
            <a:lvl1pPr marL="0" indent="0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39303" indent="-139303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lphaU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742950" rtl="0" eaLnBrk="1" latinLnBrk="0" hangingPunct="1">
              <a:defRPr lang="en-GB" sz="894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Note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FF55D92C-F4F7-4894-8533-8FB72322031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9383" y="6504110"/>
            <a:ext cx="1978862" cy="106116"/>
          </a:xfrm>
        </p:spPr>
        <p:txBody>
          <a:bodyPr rIns="0"/>
          <a:lstStyle>
            <a:lvl1pPr algn="r">
              <a:defRPr sz="650">
                <a:solidFill>
                  <a:srgbClr val="1F2023"/>
                </a:solidFill>
              </a:defRPr>
            </a:lvl1pPr>
            <a:lvl2pPr>
              <a:defRPr sz="650"/>
            </a:lvl2pPr>
            <a:lvl3pPr>
              <a:defRPr sz="650"/>
            </a:lvl3pPr>
            <a:lvl4pPr>
              <a:defRPr sz="650"/>
            </a:lvl4pPr>
            <a:lvl5pPr>
              <a:defRPr sz="650"/>
            </a:lvl5pPr>
          </a:lstStyle>
          <a:p>
            <a:pPr lvl="0"/>
            <a:r>
              <a:rPr lang="en-GB" dirty="0"/>
              <a:t>Tracker</a:t>
            </a:r>
          </a:p>
        </p:txBody>
      </p:sp>
    </p:spTree>
    <p:extLst>
      <p:ext uri="{BB962C8B-B14F-4D97-AF65-F5344CB8AC3E}">
        <p14:creationId xmlns:p14="http://schemas.microsoft.com/office/powerpoint/2010/main" val="423725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_GeneralDate" hidden="1">
            <a:extLst>
              <a:ext uri="{FF2B5EF4-FFF2-40B4-BE49-F238E27FC236}">
                <a16:creationId xmlns:a16="http://schemas.microsoft.com/office/drawing/2014/main" id="{BE0C3A60-B315-4CCC-948B-3A28762D247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1B1B9951-BCC7-4308-90FA-6E8959875D04}" type="datetime1">
              <a:rPr lang="en-US" smtClean="0"/>
              <a:t>2/25/2022</a:t>
            </a:fld>
            <a:endParaRPr lang="en-GB" dirty="0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8D6D355F-17E4-46C1-8D5B-B53A3E5021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4" y="6502395"/>
            <a:ext cx="6744111" cy="106116"/>
          </a:xfrm>
        </p:spPr>
        <p:txBody>
          <a:bodyPr rIns="0" anchor="t" anchorCtr="0"/>
          <a:lstStyle>
            <a:lvl1pPr marL="0" indent="0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39303" indent="-139303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lphaU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742950" rtl="0" eaLnBrk="1" latinLnBrk="0" hangingPunct="1">
              <a:defRPr lang="en-GB" sz="894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Not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F613617F-0213-43C0-8BC6-F7C548D77CD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9383" y="6504110"/>
            <a:ext cx="1978862" cy="106116"/>
          </a:xfrm>
        </p:spPr>
        <p:txBody>
          <a:bodyPr rIns="0"/>
          <a:lstStyle>
            <a:lvl1pPr algn="r">
              <a:defRPr sz="650">
                <a:solidFill>
                  <a:srgbClr val="1F2023"/>
                </a:solidFill>
              </a:defRPr>
            </a:lvl1pPr>
            <a:lvl2pPr>
              <a:defRPr sz="650"/>
            </a:lvl2pPr>
            <a:lvl3pPr>
              <a:defRPr sz="650"/>
            </a:lvl3pPr>
            <a:lvl4pPr>
              <a:defRPr sz="650"/>
            </a:lvl4pPr>
            <a:lvl5pPr>
              <a:defRPr sz="650"/>
            </a:lvl5pPr>
          </a:lstStyle>
          <a:p>
            <a:pPr lvl="0"/>
            <a:r>
              <a:rPr lang="en-GB" dirty="0"/>
              <a:t>Tracker</a:t>
            </a:r>
          </a:p>
        </p:txBody>
      </p:sp>
    </p:spTree>
    <p:extLst>
      <p:ext uri="{BB962C8B-B14F-4D97-AF65-F5344CB8AC3E}">
        <p14:creationId xmlns:p14="http://schemas.microsoft.com/office/powerpoint/2010/main" val="2843948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4">
            <a:extLst>
              <a:ext uri="{FF2B5EF4-FFF2-40B4-BE49-F238E27FC236}">
                <a16:creationId xmlns:a16="http://schemas.microsoft.com/office/drawing/2014/main" id="{14CC84DE-7E96-42BC-842C-0FB1DFA971FA}"/>
              </a:ext>
            </a:extLst>
          </p:cNvPr>
          <p:cNvSpPr/>
          <p:nvPr userDrawn="1"/>
        </p:nvSpPr>
        <p:spPr>
          <a:xfrm>
            <a:off x="269874" y="280735"/>
            <a:ext cx="9364663" cy="6327775"/>
          </a:xfrm>
          <a:custGeom>
            <a:avLst/>
            <a:gdLst>
              <a:gd name="connsiteX0" fmla="*/ 2157895 w 9586368"/>
              <a:gd name="connsiteY0" fmla="*/ 6461491 h 6479439"/>
              <a:gd name="connsiteX1" fmla="*/ 2167802 w 9586368"/>
              <a:gd name="connsiteY1" fmla="*/ 6461491 h 6479439"/>
              <a:gd name="connsiteX2" fmla="*/ 2171820 w 9586368"/>
              <a:gd name="connsiteY2" fmla="*/ 6465529 h 6479439"/>
              <a:gd name="connsiteX3" fmla="*/ 2171820 w 9586368"/>
              <a:gd name="connsiteY3" fmla="*/ 6475400 h 6479439"/>
              <a:gd name="connsiteX4" fmla="*/ 2167802 w 9586368"/>
              <a:gd name="connsiteY4" fmla="*/ 6479439 h 6479439"/>
              <a:gd name="connsiteX5" fmla="*/ 2157895 w 9586368"/>
              <a:gd name="connsiteY5" fmla="*/ 6479439 h 6479439"/>
              <a:gd name="connsiteX6" fmla="*/ 2153871 w 9586368"/>
              <a:gd name="connsiteY6" fmla="*/ 6475400 h 6479439"/>
              <a:gd name="connsiteX7" fmla="*/ 2153871 w 9586368"/>
              <a:gd name="connsiteY7" fmla="*/ 6465529 h 6479439"/>
              <a:gd name="connsiteX8" fmla="*/ 1918509 w 9586368"/>
              <a:gd name="connsiteY8" fmla="*/ 6461491 h 6479439"/>
              <a:gd name="connsiteX9" fmla="*/ 1928419 w 9586368"/>
              <a:gd name="connsiteY9" fmla="*/ 6461491 h 6479439"/>
              <a:gd name="connsiteX10" fmla="*/ 1932437 w 9586368"/>
              <a:gd name="connsiteY10" fmla="*/ 6465529 h 6479439"/>
              <a:gd name="connsiteX11" fmla="*/ 1932437 w 9586368"/>
              <a:gd name="connsiteY11" fmla="*/ 6475400 h 6479439"/>
              <a:gd name="connsiteX12" fmla="*/ 1928419 w 9586368"/>
              <a:gd name="connsiteY12" fmla="*/ 6479439 h 6479439"/>
              <a:gd name="connsiteX13" fmla="*/ 1918509 w 9586368"/>
              <a:gd name="connsiteY13" fmla="*/ 6479439 h 6479439"/>
              <a:gd name="connsiteX14" fmla="*/ 1914490 w 9586368"/>
              <a:gd name="connsiteY14" fmla="*/ 6475400 h 6479439"/>
              <a:gd name="connsiteX15" fmla="*/ 1914490 w 9586368"/>
              <a:gd name="connsiteY15" fmla="*/ 6465529 h 6479439"/>
              <a:gd name="connsiteX16" fmla="*/ 1679200 w 9586368"/>
              <a:gd name="connsiteY16" fmla="*/ 6461491 h 6479439"/>
              <a:gd name="connsiteX17" fmla="*/ 1689110 w 9586368"/>
              <a:gd name="connsiteY17" fmla="*/ 6461491 h 6479439"/>
              <a:gd name="connsiteX18" fmla="*/ 1693128 w 9586368"/>
              <a:gd name="connsiteY18" fmla="*/ 6465529 h 6479439"/>
              <a:gd name="connsiteX19" fmla="*/ 1693128 w 9586368"/>
              <a:gd name="connsiteY19" fmla="*/ 6475400 h 6479439"/>
              <a:gd name="connsiteX20" fmla="*/ 1689110 w 9586368"/>
              <a:gd name="connsiteY20" fmla="*/ 6479439 h 6479439"/>
              <a:gd name="connsiteX21" fmla="*/ 1679200 w 9586368"/>
              <a:gd name="connsiteY21" fmla="*/ 6479439 h 6479439"/>
              <a:gd name="connsiteX22" fmla="*/ 1675180 w 9586368"/>
              <a:gd name="connsiteY22" fmla="*/ 6475400 h 6479439"/>
              <a:gd name="connsiteX23" fmla="*/ 1675180 w 9586368"/>
              <a:gd name="connsiteY23" fmla="*/ 6465529 h 6479439"/>
              <a:gd name="connsiteX24" fmla="*/ 1439885 w 9586368"/>
              <a:gd name="connsiteY24" fmla="*/ 6461491 h 6479439"/>
              <a:gd name="connsiteX25" fmla="*/ 1449795 w 9586368"/>
              <a:gd name="connsiteY25" fmla="*/ 6461491 h 6479439"/>
              <a:gd name="connsiteX26" fmla="*/ 1453813 w 9586368"/>
              <a:gd name="connsiteY26" fmla="*/ 6465529 h 6479439"/>
              <a:gd name="connsiteX27" fmla="*/ 1453813 w 9586368"/>
              <a:gd name="connsiteY27" fmla="*/ 6475400 h 6479439"/>
              <a:gd name="connsiteX28" fmla="*/ 1449795 w 9586368"/>
              <a:gd name="connsiteY28" fmla="*/ 6479439 h 6479439"/>
              <a:gd name="connsiteX29" fmla="*/ 1439885 w 9586368"/>
              <a:gd name="connsiteY29" fmla="*/ 6479439 h 6479439"/>
              <a:gd name="connsiteX30" fmla="*/ 1435865 w 9586368"/>
              <a:gd name="connsiteY30" fmla="*/ 6475400 h 6479439"/>
              <a:gd name="connsiteX31" fmla="*/ 1435865 w 9586368"/>
              <a:gd name="connsiteY31" fmla="*/ 6465529 h 6479439"/>
              <a:gd name="connsiteX32" fmla="*/ 1200570 w 9586368"/>
              <a:gd name="connsiteY32" fmla="*/ 6461491 h 6479439"/>
              <a:gd name="connsiteX33" fmla="*/ 1210480 w 9586368"/>
              <a:gd name="connsiteY33" fmla="*/ 6461491 h 6479439"/>
              <a:gd name="connsiteX34" fmla="*/ 1214498 w 9586368"/>
              <a:gd name="connsiteY34" fmla="*/ 6465529 h 6479439"/>
              <a:gd name="connsiteX35" fmla="*/ 1214498 w 9586368"/>
              <a:gd name="connsiteY35" fmla="*/ 6475400 h 6479439"/>
              <a:gd name="connsiteX36" fmla="*/ 1210480 w 9586368"/>
              <a:gd name="connsiteY36" fmla="*/ 6479439 h 6479439"/>
              <a:gd name="connsiteX37" fmla="*/ 1200570 w 9586368"/>
              <a:gd name="connsiteY37" fmla="*/ 6479439 h 6479439"/>
              <a:gd name="connsiteX38" fmla="*/ 1196551 w 9586368"/>
              <a:gd name="connsiteY38" fmla="*/ 6475400 h 6479439"/>
              <a:gd name="connsiteX39" fmla="*/ 1196551 w 9586368"/>
              <a:gd name="connsiteY39" fmla="*/ 6465529 h 6479439"/>
              <a:gd name="connsiteX40" fmla="*/ 961257 w 9586368"/>
              <a:gd name="connsiteY40" fmla="*/ 6461491 h 6479439"/>
              <a:gd name="connsiteX41" fmla="*/ 971167 w 9586368"/>
              <a:gd name="connsiteY41" fmla="*/ 6461491 h 6479439"/>
              <a:gd name="connsiteX42" fmla="*/ 975186 w 9586368"/>
              <a:gd name="connsiteY42" fmla="*/ 6465529 h 6479439"/>
              <a:gd name="connsiteX43" fmla="*/ 975186 w 9586368"/>
              <a:gd name="connsiteY43" fmla="*/ 6475400 h 6479439"/>
              <a:gd name="connsiteX44" fmla="*/ 971167 w 9586368"/>
              <a:gd name="connsiteY44" fmla="*/ 6479439 h 6479439"/>
              <a:gd name="connsiteX45" fmla="*/ 961257 w 9586368"/>
              <a:gd name="connsiteY45" fmla="*/ 6479439 h 6479439"/>
              <a:gd name="connsiteX46" fmla="*/ 957238 w 9586368"/>
              <a:gd name="connsiteY46" fmla="*/ 6475400 h 6479439"/>
              <a:gd name="connsiteX47" fmla="*/ 957238 w 9586368"/>
              <a:gd name="connsiteY47" fmla="*/ 6465529 h 6479439"/>
              <a:gd name="connsiteX48" fmla="*/ 9572438 w 9586368"/>
              <a:gd name="connsiteY48" fmla="*/ 6461440 h 6479439"/>
              <a:gd name="connsiteX49" fmla="*/ 9582349 w 9586368"/>
              <a:gd name="connsiteY49" fmla="*/ 6461440 h 6479439"/>
              <a:gd name="connsiteX50" fmla="*/ 9586368 w 9586368"/>
              <a:gd name="connsiteY50" fmla="*/ 6465478 h 6479439"/>
              <a:gd name="connsiteX51" fmla="*/ 9586368 w 9586368"/>
              <a:gd name="connsiteY51" fmla="*/ 6475349 h 6479439"/>
              <a:gd name="connsiteX52" fmla="*/ 9582349 w 9586368"/>
              <a:gd name="connsiteY52" fmla="*/ 6479388 h 6479439"/>
              <a:gd name="connsiteX53" fmla="*/ 9572438 w 9586368"/>
              <a:gd name="connsiteY53" fmla="*/ 6479388 h 6479439"/>
              <a:gd name="connsiteX54" fmla="*/ 9568419 w 9586368"/>
              <a:gd name="connsiteY54" fmla="*/ 6475349 h 6479439"/>
              <a:gd name="connsiteX55" fmla="*/ 9568419 w 9586368"/>
              <a:gd name="connsiteY55" fmla="*/ 6465478 h 6479439"/>
              <a:gd name="connsiteX56" fmla="*/ 9333125 w 9586368"/>
              <a:gd name="connsiteY56" fmla="*/ 6461440 h 6479439"/>
              <a:gd name="connsiteX57" fmla="*/ 9343036 w 9586368"/>
              <a:gd name="connsiteY57" fmla="*/ 6461440 h 6479439"/>
              <a:gd name="connsiteX58" fmla="*/ 9347055 w 9586368"/>
              <a:gd name="connsiteY58" fmla="*/ 6465478 h 6479439"/>
              <a:gd name="connsiteX59" fmla="*/ 9347055 w 9586368"/>
              <a:gd name="connsiteY59" fmla="*/ 6475349 h 6479439"/>
              <a:gd name="connsiteX60" fmla="*/ 9343036 w 9586368"/>
              <a:gd name="connsiteY60" fmla="*/ 6479388 h 6479439"/>
              <a:gd name="connsiteX61" fmla="*/ 9333125 w 9586368"/>
              <a:gd name="connsiteY61" fmla="*/ 6479388 h 6479439"/>
              <a:gd name="connsiteX62" fmla="*/ 9329106 w 9586368"/>
              <a:gd name="connsiteY62" fmla="*/ 6475349 h 6479439"/>
              <a:gd name="connsiteX63" fmla="*/ 9329106 w 9586368"/>
              <a:gd name="connsiteY63" fmla="*/ 6465478 h 6479439"/>
              <a:gd name="connsiteX64" fmla="*/ 9093811 w 9586368"/>
              <a:gd name="connsiteY64" fmla="*/ 6461440 h 6479439"/>
              <a:gd name="connsiteX65" fmla="*/ 9103722 w 9586368"/>
              <a:gd name="connsiteY65" fmla="*/ 6461440 h 6479439"/>
              <a:gd name="connsiteX66" fmla="*/ 9107741 w 9586368"/>
              <a:gd name="connsiteY66" fmla="*/ 6465478 h 6479439"/>
              <a:gd name="connsiteX67" fmla="*/ 9107741 w 9586368"/>
              <a:gd name="connsiteY67" fmla="*/ 6475349 h 6479439"/>
              <a:gd name="connsiteX68" fmla="*/ 9103722 w 9586368"/>
              <a:gd name="connsiteY68" fmla="*/ 6479388 h 6479439"/>
              <a:gd name="connsiteX69" fmla="*/ 9093811 w 9586368"/>
              <a:gd name="connsiteY69" fmla="*/ 6479388 h 6479439"/>
              <a:gd name="connsiteX70" fmla="*/ 9089792 w 9586368"/>
              <a:gd name="connsiteY70" fmla="*/ 6475349 h 6479439"/>
              <a:gd name="connsiteX71" fmla="*/ 9089792 w 9586368"/>
              <a:gd name="connsiteY71" fmla="*/ 6465478 h 6479439"/>
              <a:gd name="connsiteX72" fmla="*/ 8854496 w 9586368"/>
              <a:gd name="connsiteY72" fmla="*/ 6461440 h 6479439"/>
              <a:gd name="connsiteX73" fmla="*/ 8864407 w 9586368"/>
              <a:gd name="connsiteY73" fmla="*/ 6461440 h 6479439"/>
              <a:gd name="connsiteX74" fmla="*/ 8868426 w 9586368"/>
              <a:gd name="connsiteY74" fmla="*/ 6465478 h 6479439"/>
              <a:gd name="connsiteX75" fmla="*/ 8868426 w 9586368"/>
              <a:gd name="connsiteY75" fmla="*/ 6475349 h 6479439"/>
              <a:gd name="connsiteX76" fmla="*/ 8864407 w 9586368"/>
              <a:gd name="connsiteY76" fmla="*/ 6479388 h 6479439"/>
              <a:gd name="connsiteX77" fmla="*/ 8854496 w 9586368"/>
              <a:gd name="connsiteY77" fmla="*/ 6479388 h 6479439"/>
              <a:gd name="connsiteX78" fmla="*/ 8850477 w 9586368"/>
              <a:gd name="connsiteY78" fmla="*/ 6475349 h 6479439"/>
              <a:gd name="connsiteX79" fmla="*/ 8850477 w 9586368"/>
              <a:gd name="connsiteY79" fmla="*/ 6465478 h 6479439"/>
              <a:gd name="connsiteX80" fmla="*/ 8615184 w 9586368"/>
              <a:gd name="connsiteY80" fmla="*/ 6461440 h 6479439"/>
              <a:gd name="connsiteX81" fmla="*/ 8625095 w 9586368"/>
              <a:gd name="connsiteY81" fmla="*/ 6461440 h 6479439"/>
              <a:gd name="connsiteX82" fmla="*/ 8629114 w 9586368"/>
              <a:gd name="connsiteY82" fmla="*/ 6465478 h 6479439"/>
              <a:gd name="connsiteX83" fmla="*/ 8629114 w 9586368"/>
              <a:gd name="connsiteY83" fmla="*/ 6475349 h 6479439"/>
              <a:gd name="connsiteX84" fmla="*/ 8625095 w 9586368"/>
              <a:gd name="connsiteY84" fmla="*/ 6479388 h 6479439"/>
              <a:gd name="connsiteX85" fmla="*/ 8615184 w 9586368"/>
              <a:gd name="connsiteY85" fmla="*/ 6479388 h 6479439"/>
              <a:gd name="connsiteX86" fmla="*/ 8611165 w 9586368"/>
              <a:gd name="connsiteY86" fmla="*/ 6475349 h 6479439"/>
              <a:gd name="connsiteX87" fmla="*/ 8611165 w 9586368"/>
              <a:gd name="connsiteY87" fmla="*/ 6465478 h 6479439"/>
              <a:gd name="connsiteX88" fmla="*/ 8375869 w 9586368"/>
              <a:gd name="connsiteY88" fmla="*/ 6461440 h 6479439"/>
              <a:gd name="connsiteX89" fmla="*/ 8385779 w 9586368"/>
              <a:gd name="connsiteY89" fmla="*/ 6461440 h 6479439"/>
              <a:gd name="connsiteX90" fmla="*/ 8389799 w 9586368"/>
              <a:gd name="connsiteY90" fmla="*/ 6465478 h 6479439"/>
              <a:gd name="connsiteX91" fmla="*/ 8389799 w 9586368"/>
              <a:gd name="connsiteY91" fmla="*/ 6475349 h 6479439"/>
              <a:gd name="connsiteX92" fmla="*/ 8385779 w 9586368"/>
              <a:gd name="connsiteY92" fmla="*/ 6479388 h 6479439"/>
              <a:gd name="connsiteX93" fmla="*/ 8375869 w 9586368"/>
              <a:gd name="connsiteY93" fmla="*/ 6479388 h 6479439"/>
              <a:gd name="connsiteX94" fmla="*/ 8371850 w 9586368"/>
              <a:gd name="connsiteY94" fmla="*/ 6475349 h 6479439"/>
              <a:gd name="connsiteX95" fmla="*/ 8371850 w 9586368"/>
              <a:gd name="connsiteY95" fmla="*/ 6465478 h 6479439"/>
              <a:gd name="connsiteX96" fmla="*/ 8136553 w 9586368"/>
              <a:gd name="connsiteY96" fmla="*/ 6461440 h 6479439"/>
              <a:gd name="connsiteX97" fmla="*/ 8146464 w 9586368"/>
              <a:gd name="connsiteY97" fmla="*/ 6461440 h 6479439"/>
              <a:gd name="connsiteX98" fmla="*/ 8150483 w 9586368"/>
              <a:gd name="connsiteY98" fmla="*/ 6465478 h 6479439"/>
              <a:gd name="connsiteX99" fmla="*/ 8150483 w 9586368"/>
              <a:gd name="connsiteY99" fmla="*/ 6475349 h 6479439"/>
              <a:gd name="connsiteX100" fmla="*/ 8146464 w 9586368"/>
              <a:gd name="connsiteY100" fmla="*/ 6479388 h 6479439"/>
              <a:gd name="connsiteX101" fmla="*/ 8136553 w 9586368"/>
              <a:gd name="connsiteY101" fmla="*/ 6479388 h 6479439"/>
              <a:gd name="connsiteX102" fmla="*/ 8132534 w 9586368"/>
              <a:gd name="connsiteY102" fmla="*/ 6475349 h 6479439"/>
              <a:gd name="connsiteX103" fmla="*/ 8132534 w 9586368"/>
              <a:gd name="connsiteY103" fmla="*/ 6465478 h 6479439"/>
              <a:gd name="connsiteX104" fmla="*/ 7897241 w 9586368"/>
              <a:gd name="connsiteY104" fmla="*/ 6461440 h 6479439"/>
              <a:gd name="connsiteX105" fmla="*/ 7907151 w 9586368"/>
              <a:gd name="connsiteY105" fmla="*/ 6461440 h 6479439"/>
              <a:gd name="connsiteX106" fmla="*/ 7911170 w 9586368"/>
              <a:gd name="connsiteY106" fmla="*/ 6465478 h 6479439"/>
              <a:gd name="connsiteX107" fmla="*/ 7911170 w 9586368"/>
              <a:gd name="connsiteY107" fmla="*/ 6475349 h 6479439"/>
              <a:gd name="connsiteX108" fmla="*/ 7907151 w 9586368"/>
              <a:gd name="connsiteY108" fmla="*/ 6479388 h 6479439"/>
              <a:gd name="connsiteX109" fmla="*/ 7897241 w 9586368"/>
              <a:gd name="connsiteY109" fmla="*/ 6479388 h 6479439"/>
              <a:gd name="connsiteX110" fmla="*/ 7893222 w 9586368"/>
              <a:gd name="connsiteY110" fmla="*/ 6475349 h 6479439"/>
              <a:gd name="connsiteX111" fmla="*/ 7893222 w 9586368"/>
              <a:gd name="connsiteY111" fmla="*/ 6465478 h 6479439"/>
              <a:gd name="connsiteX112" fmla="*/ 7657926 w 9586368"/>
              <a:gd name="connsiteY112" fmla="*/ 6461440 h 6479439"/>
              <a:gd name="connsiteX113" fmla="*/ 7667836 w 9586368"/>
              <a:gd name="connsiteY113" fmla="*/ 6461440 h 6479439"/>
              <a:gd name="connsiteX114" fmla="*/ 7671855 w 9586368"/>
              <a:gd name="connsiteY114" fmla="*/ 6465478 h 6479439"/>
              <a:gd name="connsiteX115" fmla="*/ 7671855 w 9586368"/>
              <a:gd name="connsiteY115" fmla="*/ 6475349 h 6479439"/>
              <a:gd name="connsiteX116" fmla="*/ 7667836 w 9586368"/>
              <a:gd name="connsiteY116" fmla="*/ 6479388 h 6479439"/>
              <a:gd name="connsiteX117" fmla="*/ 7657926 w 9586368"/>
              <a:gd name="connsiteY117" fmla="*/ 6479388 h 6479439"/>
              <a:gd name="connsiteX118" fmla="*/ 7653906 w 9586368"/>
              <a:gd name="connsiteY118" fmla="*/ 6475349 h 6479439"/>
              <a:gd name="connsiteX119" fmla="*/ 7653906 w 9586368"/>
              <a:gd name="connsiteY119" fmla="*/ 6465478 h 6479439"/>
              <a:gd name="connsiteX120" fmla="*/ 7418611 w 9586368"/>
              <a:gd name="connsiteY120" fmla="*/ 6461440 h 6479439"/>
              <a:gd name="connsiteX121" fmla="*/ 7428521 w 9586368"/>
              <a:gd name="connsiteY121" fmla="*/ 6461440 h 6479439"/>
              <a:gd name="connsiteX122" fmla="*/ 7432540 w 9586368"/>
              <a:gd name="connsiteY122" fmla="*/ 6465478 h 6479439"/>
              <a:gd name="connsiteX123" fmla="*/ 7432540 w 9586368"/>
              <a:gd name="connsiteY123" fmla="*/ 6475349 h 6479439"/>
              <a:gd name="connsiteX124" fmla="*/ 7428521 w 9586368"/>
              <a:gd name="connsiteY124" fmla="*/ 6479388 h 6479439"/>
              <a:gd name="connsiteX125" fmla="*/ 7418611 w 9586368"/>
              <a:gd name="connsiteY125" fmla="*/ 6479388 h 6479439"/>
              <a:gd name="connsiteX126" fmla="*/ 7414592 w 9586368"/>
              <a:gd name="connsiteY126" fmla="*/ 6475349 h 6479439"/>
              <a:gd name="connsiteX127" fmla="*/ 7414592 w 9586368"/>
              <a:gd name="connsiteY127" fmla="*/ 6465478 h 6479439"/>
              <a:gd name="connsiteX128" fmla="*/ 7179298 w 9586368"/>
              <a:gd name="connsiteY128" fmla="*/ 6461440 h 6479439"/>
              <a:gd name="connsiteX129" fmla="*/ 7189209 w 9586368"/>
              <a:gd name="connsiteY129" fmla="*/ 6461440 h 6479439"/>
              <a:gd name="connsiteX130" fmla="*/ 7193228 w 9586368"/>
              <a:gd name="connsiteY130" fmla="*/ 6465478 h 6479439"/>
              <a:gd name="connsiteX131" fmla="*/ 7193228 w 9586368"/>
              <a:gd name="connsiteY131" fmla="*/ 6475349 h 6479439"/>
              <a:gd name="connsiteX132" fmla="*/ 7189209 w 9586368"/>
              <a:gd name="connsiteY132" fmla="*/ 6479388 h 6479439"/>
              <a:gd name="connsiteX133" fmla="*/ 7179298 w 9586368"/>
              <a:gd name="connsiteY133" fmla="*/ 6479388 h 6479439"/>
              <a:gd name="connsiteX134" fmla="*/ 7175279 w 9586368"/>
              <a:gd name="connsiteY134" fmla="*/ 6475349 h 6479439"/>
              <a:gd name="connsiteX135" fmla="*/ 7175279 w 9586368"/>
              <a:gd name="connsiteY135" fmla="*/ 6465478 h 6479439"/>
              <a:gd name="connsiteX136" fmla="*/ 6939983 w 9586368"/>
              <a:gd name="connsiteY136" fmla="*/ 6461440 h 6479439"/>
              <a:gd name="connsiteX137" fmla="*/ 6949894 w 9586368"/>
              <a:gd name="connsiteY137" fmla="*/ 6461440 h 6479439"/>
              <a:gd name="connsiteX138" fmla="*/ 6953913 w 9586368"/>
              <a:gd name="connsiteY138" fmla="*/ 6465478 h 6479439"/>
              <a:gd name="connsiteX139" fmla="*/ 6953913 w 9586368"/>
              <a:gd name="connsiteY139" fmla="*/ 6475349 h 6479439"/>
              <a:gd name="connsiteX140" fmla="*/ 6949894 w 9586368"/>
              <a:gd name="connsiteY140" fmla="*/ 6479388 h 6479439"/>
              <a:gd name="connsiteX141" fmla="*/ 6939983 w 9586368"/>
              <a:gd name="connsiteY141" fmla="*/ 6479388 h 6479439"/>
              <a:gd name="connsiteX142" fmla="*/ 6935964 w 9586368"/>
              <a:gd name="connsiteY142" fmla="*/ 6475349 h 6479439"/>
              <a:gd name="connsiteX143" fmla="*/ 6935964 w 9586368"/>
              <a:gd name="connsiteY143" fmla="*/ 6465478 h 6479439"/>
              <a:gd name="connsiteX144" fmla="*/ 6700670 w 9586368"/>
              <a:gd name="connsiteY144" fmla="*/ 6461440 h 6479439"/>
              <a:gd name="connsiteX145" fmla="*/ 6710581 w 9586368"/>
              <a:gd name="connsiteY145" fmla="*/ 6461440 h 6479439"/>
              <a:gd name="connsiteX146" fmla="*/ 6714600 w 9586368"/>
              <a:gd name="connsiteY146" fmla="*/ 6465478 h 6479439"/>
              <a:gd name="connsiteX147" fmla="*/ 6714600 w 9586368"/>
              <a:gd name="connsiteY147" fmla="*/ 6475349 h 6479439"/>
              <a:gd name="connsiteX148" fmla="*/ 6710581 w 9586368"/>
              <a:gd name="connsiteY148" fmla="*/ 6479388 h 6479439"/>
              <a:gd name="connsiteX149" fmla="*/ 6700670 w 9586368"/>
              <a:gd name="connsiteY149" fmla="*/ 6479388 h 6479439"/>
              <a:gd name="connsiteX150" fmla="*/ 6696651 w 9586368"/>
              <a:gd name="connsiteY150" fmla="*/ 6475349 h 6479439"/>
              <a:gd name="connsiteX151" fmla="*/ 6696651 w 9586368"/>
              <a:gd name="connsiteY151" fmla="*/ 6465478 h 6479439"/>
              <a:gd name="connsiteX152" fmla="*/ 6461356 w 9586368"/>
              <a:gd name="connsiteY152" fmla="*/ 6461440 h 6479439"/>
              <a:gd name="connsiteX153" fmla="*/ 6471266 w 9586368"/>
              <a:gd name="connsiteY153" fmla="*/ 6461440 h 6479439"/>
              <a:gd name="connsiteX154" fmla="*/ 6475285 w 9586368"/>
              <a:gd name="connsiteY154" fmla="*/ 6465478 h 6479439"/>
              <a:gd name="connsiteX155" fmla="*/ 6475285 w 9586368"/>
              <a:gd name="connsiteY155" fmla="*/ 6475349 h 6479439"/>
              <a:gd name="connsiteX156" fmla="*/ 6471266 w 9586368"/>
              <a:gd name="connsiteY156" fmla="*/ 6479388 h 6479439"/>
              <a:gd name="connsiteX157" fmla="*/ 6461356 w 9586368"/>
              <a:gd name="connsiteY157" fmla="*/ 6479388 h 6479439"/>
              <a:gd name="connsiteX158" fmla="*/ 6457337 w 9586368"/>
              <a:gd name="connsiteY158" fmla="*/ 6475349 h 6479439"/>
              <a:gd name="connsiteX159" fmla="*/ 6457337 w 9586368"/>
              <a:gd name="connsiteY159" fmla="*/ 6465478 h 6479439"/>
              <a:gd name="connsiteX160" fmla="*/ 6222042 w 9586368"/>
              <a:gd name="connsiteY160" fmla="*/ 6461440 h 6479439"/>
              <a:gd name="connsiteX161" fmla="*/ 6231952 w 9586368"/>
              <a:gd name="connsiteY161" fmla="*/ 6461440 h 6479439"/>
              <a:gd name="connsiteX162" fmla="*/ 6235971 w 9586368"/>
              <a:gd name="connsiteY162" fmla="*/ 6465478 h 6479439"/>
              <a:gd name="connsiteX163" fmla="*/ 6235971 w 9586368"/>
              <a:gd name="connsiteY163" fmla="*/ 6475349 h 6479439"/>
              <a:gd name="connsiteX164" fmla="*/ 6231952 w 9586368"/>
              <a:gd name="connsiteY164" fmla="*/ 6479388 h 6479439"/>
              <a:gd name="connsiteX165" fmla="*/ 6222042 w 9586368"/>
              <a:gd name="connsiteY165" fmla="*/ 6479388 h 6479439"/>
              <a:gd name="connsiteX166" fmla="*/ 6218023 w 9586368"/>
              <a:gd name="connsiteY166" fmla="*/ 6475349 h 6479439"/>
              <a:gd name="connsiteX167" fmla="*/ 6218023 w 9586368"/>
              <a:gd name="connsiteY167" fmla="*/ 6465478 h 6479439"/>
              <a:gd name="connsiteX168" fmla="*/ 5982729 w 9586368"/>
              <a:gd name="connsiteY168" fmla="*/ 6461440 h 6479439"/>
              <a:gd name="connsiteX169" fmla="*/ 5992639 w 9586368"/>
              <a:gd name="connsiteY169" fmla="*/ 6461440 h 6479439"/>
              <a:gd name="connsiteX170" fmla="*/ 5996658 w 9586368"/>
              <a:gd name="connsiteY170" fmla="*/ 6465478 h 6479439"/>
              <a:gd name="connsiteX171" fmla="*/ 5996658 w 9586368"/>
              <a:gd name="connsiteY171" fmla="*/ 6475349 h 6479439"/>
              <a:gd name="connsiteX172" fmla="*/ 5992639 w 9586368"/>
              <a:gd name="connsiteY172" fmla="*/ 6479388 h 6479439"/>
              <a:gd name="connsiteX173" fmla="*/ 5982729 w 9586368"/>
              <a:gd name="connsiteY173" fmla="*/ 6479388 h 6479439"/>
              <a:gd name="connsiteX174" fmla="*/ 5978710 w 9586368"/>
              <a:gd name="connsiteY174" fmla="*/ 6475349 h 6479439"/>
              <a:gd name="connsiteX175" fmla="*/ 5978710 w 9586368"/>
              <a:gd name="connsiteY175" fmla="*/ 6465478 h 6479439"/>
              <a:gd name="connsiteX176" fmla="*/ 5743412 w 9586368"/>
              <a:gd name="connsiteY176" fmla="*/ 6461440 h 6479439"/>
              <a:gd name="connsiteX177" fmla="*/ 5753323 w 9586368"/>
              <a:gd name="connsiteY177" fmla="*/ 6461440 h 6479439"/>
              <a:gd name="connsiteX178" fmla="*/ 5757342 w 9586368"/>
              <a:gd name="connsiteY178" fmla="*/ 6465478 h 6479439"/>
              <a:gd name="connsiteX179" fmla="*/ 5757342 w 9586368"/>
              <a:gd name="connsiteY179" fmla="*/ 6475349 h 6479439"/>
              <a:gd name="connsiteX180" fmla="*/ 5753323 w 9586368"/>
              <a:gd name="connsiteY180" fmla="*/ 6479388 h 6479439"/>
              <a:gd name="connsiteX181" fmla="*/ 5743412 w 9586368"/>
              <a:gd name="connsiteY181" fmla="*/ 6479388 h 6479439"/>
              <a:gd name="connsiteX182" fmla="*/ 5739393 w 9586368"/>
              <a:gd name="connsiteY182" fmla="*/ 6475349 h 6479439"/>
              <a:gd name="connsiteX183" fmla="*/ 5739393 w 9586368"/>
              <a:gd name="connsiteY183" fmla="*/ 6465478 h 6479439"/>
              <a:gd name="connsiteX184" fmla="*/ 5504099 w 9586368"/>
              <a:gd name="connsiteY184" fmla="*/ 6461440 h 6479439"/>
              <a:gd name="connsiteX185" fmla="*/ 5514010 w 9586368"/>
              <a:gd name="connsiteY185" fmla="*/ 6461440 h 6479439"/>
              <a:gd name="connsiteX186" fmla="*/ 5518029 w 9586368"/>
              <a:gd name="connsiteY186" fmla="*/ 6465478 h 6479439"/>
              <a:gd name="connsiteX187" fmla="*/ 5518029 w 9586368"/>
              <a:gd name="connsiteY187" fmla="*/ 6475349 h 6479439"/>
              <a:gd name="connsiteX188" fmla="*/ 5514010 w 9586368"/>
              <a:gd name="connsiteY188" fmla="*/ 6479388 h 6479439"/>
              <a:gd name="connsiteX189" fmla="*/ 5504099 w 9586368"/>
              <a:gd name="connsiteY189" fmla="*/ 6479388 h 6479439"/>
              <a:gd name="connsiteX190" fmla="*/ 5500080 w 9586368"/>
              <a:gd name="connsiteY190" fmla="*/ 6475349 h 6479439"/>
              <a:gd name="connsiteX191" fmla="*/ 5500080 w 9586368"/>
              <a:gd name="connsiteY191" fmla="*/ 6465478 h 6479439"/>
              <a:gd name="connsiteX192" fmla="*/ 5264784 w 9586368"/>
              <a:gd name="connsiteY192" fmla="*/ 6461440 h 6479439"/>
              <a:gd name="connsiteX193" fmla="*/ 5274694 w 9586368"/>
              <a:gd name="connsiteY193" fmla="*/ 6461440 h 6479439"/>
              <a:gd name="connsiteX194" fmla="*/ 5278713 w 9586368"/>
              <a:gd name="connsiteY194" fmla="*/ 6465478 h 6479439"/>
              <a:gd name="connsiteX195" fmla="*/ 5278713 w 9586368"/>
              <a:gd name="connsiteY195" fmla="*/ 6475349 h 6479439"/>
              <a:gd name="connsiteX196" fmla="*/ 5274694 w 9586368"/>
              <a:gd name="connsiteY196" fmla="*/ 6479388 h 6479439"/>
              <a:gd name="connsiteX197" fmla="*/ 5264784 w 9586368"/>
              <a:gd name="connsiteY197" fmla="*/ 6479388 h 6479439"/>
              <a:gd name="connsiteX198" fmla="*/ 5260765 w 9586368"/>
              <a:gd name="connsiteY198" fmla="*/ 6475349 h 6479439"/>
              <a:gd name="connsiteX199" fmla="*/ 5260765 w 9586368"/>
              <a:gd name="connsiteY199" fmla="*/ 6465478 h 6479439"/>
              <a:gd name="connsiteX200" fmla="*/ 5025470 w 9586368"/>
              <a:gd name="connsiteY200" fmla="*/ 6461440 h 6479439"/>
              <a:gd name="connsiteX201" fmla="*/ 5035381 w 9586368"/>
              <a:gd name="connsiteY201" fmla="*/ 6461440 h 6479439"/>
              <a:gd name="connsiteX202" fmla="*/ 5039400 w 9586368"/>
              <a:gd name="connsiteY202" fmla="*/ 6465478 h 6479439"/>
              <a:gd name="connsiteX203" fmla="*/ 5039400 w 9586368"/>
              <a:gd name="connsiteY203" fmla="*/ 6475349 h 6479439"/>
              <a:gd name="connsiteX204" fmla="*/ 5035381 w 9586368"/>
              <a:gd name="connsiteY204" fmla="*/ 6479388 h 6479439"/>
              <a:gd name="connsiteX205" fmla="*/ 5025470 w 9586368"/>
              <a:gd name="connsiteY205" fmla="*/ 6479388 h 6479439"/>
              <a:gd name="connsiteX206" fmla="*/ 5021451 w 9586368"/>
              <a:gd name="connsiteY206" fmla="*/ 6475349 h 6479439"/>
              <a:gd name="connsiteX207" fmla="*/ 5021451 w 9586368"/>
              <a:gd name="connsiteY207" fmla="*/ 6465478 h 6479439"/>
              <a:gd name="connsiteX208" fmla="*/ 4786241 w 9586368"/>
              <a:gd name="connsiteY208" fmla="*/ 6461440 h 6479439"/>
              <a:gd name="connsiteX209" fmla="*/ 4796152 w 9586368"/>
              <a:gd name="connsiteY209" fmla="*/ 6461440 h 6479439"/>
              <a:gd name="connsiteX210" fmla="*/ 4800171 w 9586368"/>
              <a:gd name="connsiteY210" fmla="*/ 6465478 h 6479439"/>
              <a:gd name="connsiteX211" fmla="*/ 4800171 w 9586368"/>
              <a:gd name="connsiteY211" fmla="*/ 6475349 h 6479439"/>
              <a:gd name="connsiteX212" fmla="*/ 4796152 w 9586368"/>
              <a:gd name="connsiteY212" fmla="*/ 6479388 h 6479439"/>
              <a:gd name="connsiteX213" fmla="*/ 4786241 w 9586368"/>
              <a:gd name="connsiteY213" fmla="*/ 6479388 h 6479439"/>
              <a:gd name="connsiteX214" fmla="*/ 4782224 w 9586368"/>
              <a:gd name="connsiteY214" fmla="*/ 6475349 h 6479439"/>
              <a:gd name="connsiteX215" fmla="*/ 4782224 w 9586368"/>
              <a:gd name="connsiteY215" fmla="*/ 6465478 h 6479439"/>
              <a:gd name="connsiteX216" fmla="*/ 4546929 w 9586368"/>
              <a:gd name="connsiteY216" fmla="*/ 6461440 h 6479439"/>
              <a:gd name="connsiteX217" fmla="*/ 4556840 w 9586368"/>
              <a:gd name="connsiteY217" fmla="*/ 6461440 h 6479439"/>
              <a:gd name="connsiteX218" fmla="*/ 4560859 w 9586368"/>
              <a:gd name="connsiteY218" fmla="*/ 6465478 h 6479439"/>
              <a:gd name="connsiteX219" fmla="*/ 4560859 w 9586368"/>
              <a:gd name="connsiteY219" fmla="*/ 6475349 h 6479439"/>
              <a:gd name="connsiteX220" fmla="*/ 4556840 w 9586368"/>
              <a:gd name="connsiteY220" fmla="*/ 6479388 h 6479439"/>
              <a:gd name="connsiteX221" fmla="*/ 4546929 w 9586368"/>
              <a:gd name="connsiteY221" fmla="*/ 6479388 h 6479439"/>
              <a:gd name="connsiteX222" fmla="*/ 4542910 w 9586368"/>
              <a:gd name="connsiteY222" fmla="*/ 6475349 h 6479439"/>
              <a:gd name="connsiteX223" fmla="*/ 4542910 w 9586368"/>
              <a:gd name="connsiteY223" fmla="*/ 6465478 h 6479439"/>
              <a:gd name="connsiteX224" fmla="*/ 4307612 w 9586368"/>
              <a:gd name="connsiteY224" fmla="*/ 6461440 h 6479439"/>
              <a:gd name="connsiteX225" fmla="*/ 4317523 w 9586368"/>
              <a:gd name="connsiteY225" fmla="*/ 6461440 h 6479439"/>
              <a:gd name="connsiteX226" fmla="*/ 4321543 w 9586368"/>
              <a:gd name="connsiteY226" fmla="*/ 6465478 h 6479439"/>
              <a:gd name="connsiteX227" fmla="*/ 4321543 w 9586368"/>
              <a:gd name="connsiteY227" fmla="*/ 6475349 h 6479439"/>
              <a:gd name="connsiteX228" fmla="*/ 4317523 w 9586368"/>
              <a:gd name="connsiteY228" fmla="*/ 6479388 h 6479439"/>
              <a:gd name="connsiteX229" fmla="*/ 4307612 w 9586368"/>
              <a:gd name="connsiteY229" fmla="*/ 6479388 h 6479439"/>
              <a:gd name="connsiteX230" fmla="*/ 4303595 w 9586368"/>
              <a:gd name="connsiteY230" fmla="*/ 6475349 h 6479439"/>
              <a:gd name="connsiteX231" fmla="*/ 4303595 w 9586368"/>
              <a:gd name="connsiteY231" fmla="*/ 6465478 h 6479439"/>
              <a:gd name="connsiteX232" fmla="*/ 4068297 w 9586368"/>
              <a:gd name="connsiteY232" fmla="*/ 6461440 h 6479439"/>
              <a:gd name="connsiteX233" fmla="*/ 4078210 w 9586368"/>
              <a:gd name="connsiteY233" fmla="*/ 6461440 h 6479439"/>
              <a:gd name="connsiteX234" fmla="*/ 4082229 w 9586368"/>
              <a:gd name="connsiteY234" fmla="*/ 6465478 h 6479439"/>
              <a:gd name="connsiteX235" fmla="*/ 4082229 w 9586368"/>
              <a:gd name="connsiteY235" fmla="*/ 6475349 h 6479439"/>
              <a:gd name="connsiteX236" fmla="*/ 4078210 w 9586368"/>
              <a:gd name="connsiteY236" fmla="*/ 6479388 h 6479439"/>
              <a:gd name="connsiteX237" fmla="*/ 4068297 w 9586368"/>
              <a:gd name="connsiteY237" fmla="*/ 6479388 h 6479439"/>
              <a:gd name="connsiteX238" fmla="*/ 4064278 w 9586368"/>
              <a:gd name="connsiteY238" fmla="*/ 6475349 h 6479439"/>
              <a:gd name="connsiteX239" fmla="*/ 4064278 w 9586368"/>
              <a:gd name="connsiteY239" fmla="*/ 6465478 h 6479439"/>
              <a:gd name="connsiteX240" fmla="*/ 3828990 w 9586368"/>
              <a:gd name="connsiteY240" fmla="*/ 6461440 h 6479439"/>
              <a:gd name="connsiteX241" fmla="*/ 3838899 w 9586368"/>
              <a:gd name="connsiteY241" fmla="*/ 6461440 h 6479439"/>
              <a:gd name="connsiteX242" fmla="*/ 3842917 w 9586368"/>
              <a:gd name="connsiteY242" fmla="*/ 6465478 h 6479439"/>
              <a:gd name="connsiteX243" fmla="*/ 3842917 w 9586368"/>
              <a:gd name="connsiteY243" fmla="*/ 6475349 h 6479439"/>
              <a:gd name="connsiteX244" fmla="*/ 3838899 w 9586368"/>
              <a:gd name="connsiteY244" fmla="*/ 6479388 h 6479439"/>
              <a:gd name="connsiteX245" fmla="*/ 3828990 w 9586368"/>
              <a:gd name="connsiteY245" fmla="*/ 6479388 h 6479439"/>
              <a:gd name="connsiteX246" fmla="*/ 3824971 w 9586368"/>
              <a:gd name="connsiteY246" fmla="*/ 6475349 h 6479439"/>
              <a:gd name="connsiteX247" fmla="*/ 3824971 w 9586368"/>
              <a:gd name="connsiteY247" fmla="*/ 6465478 h 6479439"/>
              <a:gd name="connsiteX248" fmla="*/ 3589676 w 9586368"/>
              <a:gd name="connsiteY248" fmla="*/ 6461440 h 6479439"/>
              <a:gd name="connsiteX249" fmla="*/ 3599585 w 9586368"/>
              <a:gd name="connsiteY249" fmla="*/ 6461440 h 6479439"/>
              <a:gd name="connsiteX250" fmla="*/ 3603604 w 9586368"/>
              <a:gd name="connsiteY250" fmla="*/ 6465478 h 6479439"/>
              <a:gd name="connsiteX251" fmla="*/ 3603604 w 9586368"/>
              <a:gd name="connsiteY251" fmla="*/ 6475349 h 6479439"/>
              <a:gd name="connsiteX252" fmla="*/ 3599585 w 9586368"/>
              <a:gd name="connsiteY252" fmla="*/ 6479388 h 6479439"/>
              <a:gd name="connsiteX253" fmla="*/ 3589676 w 9586368"/>
              <a:gd name="connsiteY253" fmla="*/ 6479388 h 6479439"/>
              <a:gd name="connsiteX254" fmla="*/ 3585657 w 9586368"/>
              <a:gd name="connsiteY254" fmla="*/ 6475349 h 6479439"/>
              <a:gd name="connsiteX255" fmla="*/ 3585657 w 9586368"/>
              <a:gd name="connsiteY255" fmla="*/ 6465478 h 6479439"/>
              <a:gd name="connsiteX256" fmla="*/ 3350359 w 9586368"/>
              <a:gd name="connsiteY256" fmla="*/ 6461440 h 6479439"/>
              <a:gd name="connsiteX257" fmla="*/ 3360268 w 9586368"/>
              <a:gd name="connsiteY257" fmla="*/ 6461440 h 6479439"/>
              <a:gd name="connsiteX258" fmla="*/ 3364287 w 9586368"/>
              <a:gd name="connsiteY258" fmla="*/ 6465478 h 6479439"/>
              <a:gd name="connsiteX259" fmla="*/ 3364287 w 9586368"/>
              <a:gd name="connsiteY259" fmla="*/ 6475349 h 6479439"/>
              <a:gd name="connsiteX260" fmla="*/ 3360268 w 9586368"/>
              <a:gd name="connsiteY260" fmla="*/ 6479388 h 6479439"/>
              <a:gd name="connsiteX261" fmla="*/ 3350359 w 9586368"/>
              <a:gd name="connsiteY261" fmla="*/ 6479388 h 6479439"/>
              <a:gd name="connsiteX262" fmla="*/ 3346340 w 9586368"/>
              <a:gd name="connsiteY262" fmla="*/ 6475349 h 6479439"/>
              <a:gd name="connsiteX263" fmla="*/ 3346340 w 9586368"/>
              <a:gd name="connsiteY263" fmla="*/ 6465478 h 6479439"/>
              <a:gd name="connsiteX264" fmla="*/ 3111048 w 9586368"/>
              <a:gd name="connsiteY264" fmla="*/ 6461440 h 6479439"/>
              <a:gd name="connsiteX265" fmla="*/ 3120959 w 9586368"/>
              <a:gd name="connsiteY265" fmla="*/ 6461440 h 6479439"/>
              <a:gd name="connsiteX266" fmla="*/ 3124977 w 9586368"/>
              <a:gd name="connsiteY266" fmla="*/ 6465478 h 6479439"/>
              <a:gd name="connsiteX267" fmla="*/ 3124977 w 9586368"/>
              <a:gd name="connsiteY267" fmla="*/ 6475349 h 6479439"/>
              <a:gd name="connsiteX268" fmla="*/ 3120959 w 9586368"/>
              <a:gd name="connsiteY268" fmla="*/ 6479388 h 6479439"/>
              <a:gd name="connsiteX269" fmla="*/ 3111048 w 9586368"/>
              <a:gd name="connsiteY269" fmla="*/ 6479388 h 6479439"/>
              <a:gd name="connsiteX270" fmla="*/ 3107029 w 9586368"/>
              <a:gd name="connsiteY270" fmla="*/ 6475349 h 6479439"/>
              <a:gd name="connsiteX271" fmla="*/ 3107029 w 9586368"/>
              <a:gd name="connsiteY271" fmla="*/ 6465478 h 6479439"/>
              <a:gd name="connsiteX272" fmla="*/ 2871737 w 9586368"/>
              <a:gd name="connsiteY272" fmla="*/ 6461440 h 6479439"/>
              <a:gd name="connsiteX273" fmla="*/ 2881646 w 9586368"/>
              <a:gd name="connsiteY273" fmla="*/ 6461440 h 6479439"/>
              <a:gd name="connsiteX274" fmla="*/ 2885666 w 9586368"/>
              <a:gd name="connsiteY274" fmla="*/ 6465478 h 6479439"/>
              <a:gd name="connsiteX275" fmla="*/ 2885666 w 9586368"/>
              <a:gd name="connsiteY275" fmla="*/ 6475349 h 6479439"/>
              <a:gd name="connsiteX276" fmla="*/ 2881646 w 9586368"/>
              <a:gd name="connsiteY276" fmla="*/ 6479388 h 6479439"/>
              <a:gd name="connsiteX277" fmla="*/ 2871737 w 9586368"/>
              <a:gd name="connsiteY277" fmla="*/ 6479388 h 6479439"/>
              <a:gd name="connsiteX278" fmla="*/ 2867717 w 9586368"/>
              <a:gd name="connsiteY278" fmla="*/ 6475349 h 6479439"/>
              <a:gd name="connsiteX279" fmla="*/ 2867717 w 9586368"/>
              <a:gd name="connsiteY279" fmla="*/ 6465478 h 6479439"/>
              <a:gd name="connsiteX280" fmla="*/ 2632423 w 9586368"/>
              <a:gd name="connsiteY280" fmla="*/ 6461440 h 6479439"/>
              <a:gd name="connsiteX281" fmla="*/ 2642334 w 9586368"/>
              <a:gd name="connsiteY281" fmla="*/ 6461440 h 6479439"/>
              <a:gd name="connsiteX282" fmla="*/ 2646352 w 9586368"/>
              <a:gd name="connsiteY282" fmla="*/ 6465478 h 6479439"/>
              <a:gd name="connsiteX283" fmla="*/ 2646352 w 9586368"/>
              <a:gd name="connsiteY283" fmla="*/ 6475349 h 6479439"/>
              <a:gd name="connsiteX284" fmla="*/ 2642334 w 9586368"/>
              <a:gd name="connsiteY284" fmla="*/ 6479388 h 6479439"/>
              <a:gd name="connsiteX285" fmla="*/ 2632423 w 9586368"/>
              <a:gd name="connsiteY285" fmla="*/ 6479388 h 6479439"/>
              <a:gd name="connsiteX286" fmla="*/ 2628404 w 9586368"/>
              <a:gd name="connsiteY286" fmla="*/ 6475349 h 6479439"/>
              <a:gd name="connsiteX287" fmla="*/ 2628404 w 9586368"/>
              <a:gd name="connsiteY287" fmla="*/ 6465478 h 6479439"/>
              <a:gd name="connsiteX288" fmla="*/ 2393104 w 9586368"/>
              <a:gd name="connsiteY288" fmla="*/ 6461440 h 6479439"/>
              <a:gd name="connsiteX289" fmla="*/ 2403015 w 9586368"/>
              <a:gd name="connsiteY289" fmla="*/ 6461440 h 6479439"/>
              <a:gd name="connsiteX290" fmla="*/ 2407034 w 9586368"/>
              <a:gd name="connsiteY290" fmla="*/ 6465478 h 6479439"/>
              <a:gd name="connsiteX291" fmla="*/ 2407034 w 9586368"/>
              <a:gd name="connsiteY291" fmla="*/ 6475349 h 6479439"/>
              <a:gd name="connsiteX292" fmla="*/ 2403015 w 9586368"/>
              <a:gd name="connsiteY292" fmla="*/ 6479388 h 6479439"/>
              <a:gd name="connsiteX293" fmla="*/ 2393104 w 9586368"/>
              <a:gd name="connsiteY293" fmla="*/ 6479388 h 6479439"/>
              <a:gd name="connsiteX294" fmla="*/ 2389087 w 9586368"/>
              <a:gd name="connsiteY294" fmla="*/ 6475349 h 6479439"/>
              <a:gd name="connsiteX295" fmla="*/ 2389087 w 9586368"/>
              <a:gd name="connsiteY295" fmla="*/ 6465478 h 6479439"/>
              <a:gd name="connsiteX296" fmla="*/ 721958 w 9586368"/>
              <a:gd name="connsiteY296" fmla="*/ 6461440 h 6479439"/>
              <a:gd name="connsiteX297" fmla="*/ 731868 w 9586368"/>
              <a:gd name="connsiteY297" fmla="*/ 6461440 h 6479439"/>
              <a:gd name="connsiteX298" fmla="*/ 735887 w 9586368"/>
              <a:gd name="connsiteY298" fmla="*/ 6465478 h 6479439"/>
              <a:gd name="connsiteX299" fmla="*/ 735887 w 9586368"/>
              <a:gd name="connsiteY299" fmla="*/ 6475349 h 6479439"/>
              <a:gd name="connsiteX300" fmla="*/ 731868 w 9586368"/>
              <a:gd name="connsiteY300" fmla="*/ 6479388 h 6479439"/>
              <a:gd name="connsiteX301" fmla="*/ 721958 w 9586368"/>
              <a:gd name="connsiteY301" fmla="*/ 6479388 h 6479439"/>
              <a:gd name="connsiteX302" fmla="*/ 717939 w 9586368"/>
              <a:gd name="connsiteY302" fmla="*/ 6475349 h 6479439"/>
              <a:gd name="connsiteX303" fmla="*/ 717939 w 9586368"/>
              <a:gd name="connsiteY303" fmla="*/ 6465478 h 6479439"/>
              <a:gd name="connsiteX304" fmla="*/ 482646 w 9586368"/>
              <a:gd name="connsiteY304" fmla="*/ 6461440 h 6479439"/>
              <a:gd name="connsiteX305" fmla="*/ 492556 w 9586368"/>
              <a:gd name="connsiteY305" fmla="*/ 6461440 h 6479439"/>
              <a:gd name="connsiteX306" fmla="*/ 496575 w 9586368"/>
              <a:gd name="connsiteY306" fmla="*/ 6465478 h 6479439"/>
              <a:gd name="connsiteX307" fmla="*/ 496575 w 9586368"/>
              <a:gd name="connsiteY307" fmla="*/ 6475349 h 6479439"/>
              <a:gd name="connsiteX308" fmla="*/ 492556 w 9586368"/>
              <a:gd name="connsiteY308" fmla="*/ 6479388 h 6479439"/>
              <a:gd name="connsiteX309" fmla="*/ 482646 w 9586368"/>
              <a:gd name="connsiteY309" fmla="*/ 6479388 h 6479439"/>
              <a:gd name="connsiteX310" fmla="*/ 478627 w 9586368"/>
              <a:gd name="connsiteY310" fmla="*/ 6475349 h 6479439"/>
              <a:gd name="connsiteX311" fmla="*/ 478627 w 9586368"/>
              <a:gd name="connsiteY311" fmla="*/ 6465478 h 6479439"/>
              <a:gd name="connsiteX312" fmla="*/ 243332 w 9586368"/>
              <a:gd name="connsiteY312" fmla="*/ 6461440 h 6479439"/>
              <a:gd name="connsiteX313" fmla="*/ 253242 w 9586368"/>
              <a:gd name="connsiteY313" fmla="*/ 6461440 h 6479439"/>
              <a:gd name="connsiteX314" fmla="*/ 257261 w 9586368"/>
              <a:gd name="connsiteY314" fmla="*/ 6465478 h 6479439"/>
              <a:gd name="connsiteX315" fmla="*/ 257261 w 9586368"/>
              <a:gd name="connsiteY315" fmla="*/ 6475349 h 6479439"/>
              <a:gd name="connsiteX316" fmla="*/ 253242 w 9586368"/>
              <a:gd name="connsiteY316" fmla="*/ 6479388 h 6479439"/>
              <a:gd name="connsiteX317" fmla="*/ 243332 w 9586368"/>
              <a:gd name="connsiteY317" fmla="*/ 6479388 h 6479439"/>
              <a:gd name="connsiteX318" fmla="*/ 239313 w 9586368"/>
              <a:gd name="connsiteY318" fmla="*/ 6475349 h 6479439"/>
              <a:gd name="connsiteX319" fmla="*/ 239313 w 9586368"/>
              <a:gd name="connsiteY319" fmla="*/ 6465478 h 6479439"/>
              <a:gd name="connsiteX320" fmla="*/ 4019 w 9586368"/>
              <a:gd name="connsiteY320" fmla="*/ 6461440 h 6479439"/>
              <a:gd name="connsiteX321" fmla="*/ 13929 w 9586368"/>
              <a:gd name="connsiteY321" fmla="*/ 6461440 h 6479439"/>
              <a:gd name="connsiteX322" fmla="*/ 17949 w 9586368"/>
              <a:gd name="connsiteY322" fmla="*/ 6465478 h 6479439"/>
              <a:gd name="connsiteX323" fmla="*/ 17949 w 9586368"/>
              <a:gd name="connsiteY323" fmla="*/ 6475349 h 6479439"/>
              <a:gd name="connsiteX324" fmla="*/ 13929 w 9586368"/>
              <a:gd name="connsiteY324" fmla="*/ 6479388 h 6479439"/>
              <a:gd name="connsiteX325" fmla="*/ 4019 w 9586368"/>
              <a:gd name="connsiteY325" fmla="*/ 6479388 h 6479439"/>
              <a:gd name="connsiteX326" fmla="*/ 0 w 9586368"/>
              <a:gd name="connsiteY326" fmla="*/ 6475349 h 6479439"/>
              <a:gd name="connsiteX327" fmla="*/ 0 w 9586368"/>
              <a:gd name="connsiteY327" fmla="*/ 6465478 h 6479439"/>
              <a:gd name="connsiteX328" fmla="*/ 9572438 w 9586368"/>
              <a:gd name="connsiteY328" fmla="*/ 6222160 h 6479439"/>
              <a:gd name="connsiteX329" fmla="*/ 9582349 w 9586368"/>
              <a:gd name="connsiteY329" fmla="*/ 6222160 h 6479439"/>
              <a:gd name="connsiteX330" fmla="*/ 9586368 w 9586368"/>
              <a:gd name="connsiteY330" fmla="*/ 6226198 h 6479439"/>
              <a:gd name="connsiteX331" fmla="*/ 9586368 w 9586368"/>
              <a:gd name="connsiteY331" fmla="*/ 6236069 h 6479439"/>
              <a:gd name="connsiteX332" fmla="*/ 9582349 w 9586368"/>
              <a:gd name="connsiteY332" fmla="*/ 6240109 h 6479439"/>
              <a:gd name="connsiteX333" fmla="*/ 9572438 w 9586368"/>
              <a:gd name="connsiteY333" fmla="*/ 6240109 h 6479439"/>
              <a:gd name="connsiteX334" fmla="*/ 9568419 w 9586368"/>
              <a:gd name="connsiteY334" fmla="*/ 6236069 h 6479439"/>
              <a:gd name="connsiteX335" fmla="*/ 9568419 w 9586368"/>
              <a:gd name="connsiteY335" fmla="*/ 6226198 h 6479439"/>
              <a:gd name="connsiteX336" fmla="*/ 9333125 w 9586368"/>
              <a:gd name="connsiteY336" fmla="*/ 6222160 h 6479439"/>
              <a:gd name="connsiteX337" fmla="*/ 9343036 w 9586368"/>
              <a:gd name="connsiteY337" fmla="*/ 6222160 h 6479439"/>
              <a:gd name="connsiteX338" fmla="*/ 9347055 w 9586368"/>
              <a:gd name="connsiteY338" fmla="*/ 6226198 h 6479439"/>
              <a:gd name="connsiteX339" fmla="*/ 9347055 w 9586368"/>
              <a:gd name="connsiteY339" fmla="*/ 6236069 h 6479439"/>
              <a:gd name="connsiteX340" fmla="*/ 9343036 w 9586368"/>
              <a:gd name="connsiteY340" fmla="*/ 6240109 h 6479439"/>
              <a:gd name="connsiteX341" fmla="*/ 9333125 w 9586368"/>
              <a:gd name="connsiteY341" fmla="*/ 6240109 h 6479439"/>
              <a:gd name="connsiteX342" fmla="*/ 9329106 w 9586368"/>
              <a:gd name="connsiteY342" fmla="*/ 6236069 h 6479439"/>
              <a:gd name="connsiteX343" fmla="*/ 9329106 w 9586368"/>
              <a:gd name="connsiteY343" fmla="*/ 6226198 h 6479439"/>
              <a:gd name="connsiteX344" fmla="*/ 9093811 w 9586368"/>
              <a:gd name="connsiteY344" fmla="*/ 6222160 h 6479439"/>
              <a:gd name="connsiteX345" fmla="*/ 9103722 w 9586368"/>
              <a:gd name="connsiteY345" fmla="*/ 6222160 h 6479439"/>
              <a:gd name="connsiteX346" fmla="*/ 9107741 w 9586368"/>
              <a:gd name="connsiteY346" fmla="*/ 6226198 h 6479439"/>
              <a:gd name="connsiteX347" fmla="*/ 9107741 w 9586368"/>
              <a:gd name="connsiteY347" fmla="*/ 6236069 h 6479439"/>
              <a:gd name="connsiteX348" fmla="*/ 9103722 w 9586368"/>
              <a:gd name="connsiteY348" fmla="*/ 6240109 h 6479439"/>
              <a:gd name="connsiteX349" fmla="*/ 9093811 w 9586368"/>
              <a:gd name="connsiteY349" fmla="*/ 6240109 h 6479439"/>
              <a:gd name="connsiteX350" fmla="*/ 9089792 w 9586368"/>
              <a:gd name="connsiteY350" fmla="*/ 6236069 h 6479439"/>
              <a:gd name="connsiteX351" fmla="*/ 9089792 w 9586368"/>
              <a:gd name="connsiteY351" fmla="*/ 6226198 h 6479439"/>
              <a:gd name="connsiteX352" fmla="*/ 8854496 w 9586368"/>
              <a:gd name="connsiteY352" fmla="*/ 6222160 h 6479439"/>
              <a:gd name="connsiteX353" fmla="*/ 8864407 w 9586368"/>
              <a:gd name="connsiteY353" fmla="*/ 6222160 h 6479439"/>
              <a:gd name="connsiteX354" fmla="*/ 8868426 w 9586368"/>
              <a:gd name="connsiteY354" fmla="*/ 6226198 h 6479439"/>
              <a:gd name="connsiteX355" fmla="*/ 8868426 w 9586368"/>
              <a:gd name="connsiteY355" fmla="*/ 6236069 h 6479439"/>
              <a:gd name="connsiteX356" fmla="*/ 8864407 w 9586368"/>
              <a:gd name="connsiteY356" fmla="*/ 6240109 h 6479439"/>
              <a:gd name="connsiteX357" fmla="*/ 8854496 w 9586368"/>
              <a:gd name="connsiteY357" fmla="*/ 6240109 h 6479439"/>
              <a:gd name="connsiteX358" fmla="*/ 8850477 w 9586368"/>
              <a:gd name="connsiteY358" fmla="*/ 6236069 h 6479439"/>
              <a:gd name="connsiteX359" fmla="*/ 8850477 w 9586368"/>
              <a:gd name="connsiteY359" fmla="*/ 6226198 h 6479439"/>
              <a:gd name="connsiteX360" fmla="*/ 8615184 w 9586368"/>
              <a:gd name="connsiteY360" fmla="*/ 6222160 h 6479439"/>
              <a:gd name="connsiteX361" fmla="*/ 8625095 w 9586368"/>
              <a:gd name="connsiteY361" fmla="*/ 6222160 h 6479439"/>
              <a:gd name="connsiteX362" fmla="*/ 8629114 w 9586368"/>
              <a:gd name="connsiteY362" fmla="*/ 6226198 h 6479439"/>
              <a:gd name="connsiteX363" fmla="*/ 8629114 w 9586368"/>
              <a:gd name="connsiteY363" fmla="*/ 6236069 h 6479439"/>
              <a:gd name="connsiteX364" fmla="*/ 8625095 w 9586368"/>
              <a:gd name="connsiteY364" fmla="*/ 6240109 h 6479439"/>
              <a:gd name="connsiteX365" fmla="*/ 8615184 w 9586368"/>
              <a:gd name="connsiteY365" fmla="*/ 6240109 h 6479439"/>
              <a:gd name="connsiteX366" fmla="*/ 8611165 w 9586368"/>
              <a:gd name="connsiteY366" fmla="*/ 6236069 h 6479439"/>
              <a:gd name="connsiteX367" fmla="*/ 8611165 w 9586368"/>
              <a:gd name="connsiteY367" fmla="*/ 6226198 h 6479439"/>
              <a:gd name="connsiteX368" fmla="*/ 8375869 w 9586368"/>
              <a:gd name="connsiteY368" fmla="*/ 6222160 h 6479439"/>
              <a:gd name="connsiteX369" fmla="*/ 8385779 w 9586368"/>
              <a:gd name="connsiteY369" fmla="*/ 6222160 h 6479439"/>
              <a:gd name="connsiteX370" fmla="*/ 8389799 w 9586368"/>
              <a:gd name="connsiteY370" fmla="*/ 6226198 h 6479439"/>
              <a:gd name="connsiteX371" fmla="*/ 8389799 w 9586368"/>
              <a:gd name="connsiteY371" fmla="*/ 6236069 h 6479439"/>
              <a:gd name="connsiteX372" fmla="*/ 8385779 w 9586368"/>
              <a:gd name="connsiteY372" fmla="*/ 6240109 h 6479439"/>
              <a:gd name="connsiteX373" fmla="*/ 8375869 w 9586368"/>
              <a:gd name="connsiteY373" fmla="*/ 6240109 h 6479439"/>
              <a:gd name="connsiteX374" fmla="*/ 8371850 w 9586368"/>
              <a:gd name="connsiteY374" fmla="*/ 6236069 h 6479439"/>
              <a:gd name="connsiteX375" fmla="*/ 8371850 w 9586368"/>
              <a:gd name="connsiteY375" fmla="*/ 6226198 h 6479439"/>
              <a:gd name="connsiteX376" fmla="*/ 8136553 w 9586368"/>
              <a:gd name="connsiteY376" fmla="*/ 6222160 h 6479439"/>
              <a:gd name="connsiteX377" fmla="*/ 8146464 w 9586368"/>
              <a:gd name="connsiteY377" fmla="*/ 6222160 h 6479439"/>
              <a:gd name="connsiteX378" fmla="*/ 8150483 w 9586368"/>
              <a:gd name="connsiteY378" fmla="*/ 6226198 h 6479439"/>
              <a:gd name="connsiteX379" fmla="*/ 8150483 w 9586368"/>
              <a:gd name="connsiteY379" fmla="*/ 6236069 h 6479439"/>
              <a:gd name="connsiteX380" fmla="*/ 8146464 w 9586368"/>
              <a:gd name="connsiteY380" fmla="*/ 6240109 h 6479439"/>
              <a:gd name="connsiteX381" fmla="*/ 8136553 w 9586368"/>
              <a:gd name="connsiteY381" fmla="*/ 6240109 h 6479439"/>
              <a:gd name="connsiteX382" fmla="*/ 8132534 w 9586368"/>
              <a:gd name="connsiteY382" fmla="*/ 6236069 h 6479439"/>
              <a:gd name="connsiteX383" fmla="*/ 8132534 w 9586368"/>
              <a:gd name="connsiteY383" fmla="*/ 6226198 h 6479439"/>
              <a:gd name="connsiteX384" fmla="*/ 7897241 w 9586368"/>
              <a:gd name="connsiteY384" fmla="*/ 6222160 h 6479439"/>
              <a:gd name="connsiteX385" fmla="*/ 7907151 w 9586368"/>
              <a:gd name="connsiteY385" fmla="*/ 6222160 h 6479439"/>
              <a:gd name="connsiteX386" fmla="*/ 7911170 w 9586368"/>
              <a:gd name="connsiteY386" fmla="*/ 6226198 h 6479439"/>
              <a:gd name="connsiteX387" fmla="*/ 7911170 w 9586368"/>
              <a:gd name="connsiteY387" fmla="*/ 6236069 h 6479439"/>
              <a:gd name="connsiteX388" fmla="*/ 7907151 w 9586368"/>
              <a:gd name="connsiteY388" fmla="*/ 6240109 h 6479439"/>
              <a:gd name="connsiteX389" fmla="*/ 7897241 w 9586368"/>
              <a:gd name="connsiteY389" fmla="*/ 6240109 h 6479439"/>
              <a:gd name="connsiteX390" fmla="*/ 7893222 w 9586368"/>
              <a:gd name="connsiteY390" fmla="*/ 6236069 h 6479439"/>
              <a:gd name="connsiteX391" fmla="*/ 7893222 w 9586368"/>
              <a:gd name="connsiteY391" fmla="*/ 6226198 h 6479439"/>
              <a:gd name="connsiteX392" fmla="*/ 7657926 w 9586368"/>
              <a:gd name="connsiteY392" fmla="*/ 6222160 h 6479439"/>
              <a:gd name="connsiteX393" fmla="*/ 7667836 w 9586368"/>
              <a:gd name="connsiteY393" fmla="*/ 6222160 h 6479439"/>
              <a:gd name="connsiteX394" fmla="*/ 7671855 w 9586368"/>
              <a:gd name="connsiteY394" fmla="*/ 6226198 h 6479439"/>
              <a:gd name="connsiteX395" fmla="*/ 7671855 w 9586368"/>
              <a:gd name="connsiteY395" fmla="*/ 6236069 h 6479439"/>
              <a:gd name="connsiteX396" fmla="*/ 7667836 w 9586368"/>
              <a:gd name="connsiteY396" fmla="*/ 6240109 h 6479439"/>
              <a:gd name="connsiteX397" fmla="*/ 7657926 w 9586368"/>
              <a:gd name="connsiteY397" fmla="*/ 6240109 h 6479439"/>
              <a:gd name="connsiteX398" fmla="*/ 7653906 w 9586368"/>
              <a:gd name="connsiteY398" fmla="*/ 6236069 h 6479439"/>
              <a:gd name="connsiteX399" fmla="*/ 7653906 w 9586368"/>
              <a:gd name="connsiteY399" fmla="*/ 6226198 h 6479439"/>
              <a:gd name="connsiteX400" fmla="*/ 7418611 w 9586368"/>
              <a:gd name="connsiteY400" fmla="*/ 6222160 h 6479439"/>
              <a:gd name="connsiteX401" fmla="*/ 7428521 w 9586368"/>
              <a:gd name="connsiteY401" fmla="*/ 6222160 h 6479439"/>
              <a:gd name="connsiteX402" fmla="*/ 7432540 w 9586368"/>
              <a:gd name="connsiteY402" fmla="*/ 6226198 h 6479439"/>
              <a:gd name="connsiteX403" fmla="*/ 7432540 w 9586368"/>
              <a:gd name="connsiteY403" fmla="*/ 6236069 h 6479439"/>
              <a:gd name="connsiteX404" fmla="*/ 7428521 w 9586368"/>
              <a:gd name="connsiteY404" fmla="*/ 6240109 h 6479439"/>
              <a:gd name="connsiteX405" fmla="*/ 7418611 w 9586368"/>
              <a:gd name="connsiteY405" fmla="*/ 6240109 h 6479439"/>
              <a:gd name="connsiteX406" fmla="*/ 7414592 w 9586368"/>
              <a:gd name="connsiteY406" fmla="*/ 6236069 h 6479439"/>
              <a:gd name="connsiteX407" fmla="*/ 7414592 w 9586368"/>
              <a:gd name="connsiteY407" fmla="*/ 6226198 h 6479439"/>
              <a:gd name="connsiteX408" fmla="*/ 7179298 w 9586368"/>
              <a:gd name="connsiteY408" fmla="*/ 6222160 h 6479439"/>
              <a:gd name="connsiteX409" fmla="*/ 7189209 w 9586368"/>
              <a:gd name="connsiteY409" fmla="*/ 6222160 h 6479439"/>
              <a:gd name="connsiteX410" fmla="*/ 7193228 w 9586368"/>
              <a:gd name="connsiteY410" fmla="*/ 6226198 h 6479439"/>
              <a:gd name="connsiteX411" fmla="*/ 7193228 w 9586368"/>
              <a:gd name="connsiteY411" fmla="*/ 6236069 h 6479439"/>
              <a:gd name="connsiteX412" fmla="*/ 7189209 w 9586368"/>
              <a:gd name="connsiteY412" fmla="*/ 6240109 h 6479439"/>
              <a:gd name="connsiteX413" fmla="*/ 7179298 w 9586368"/>
              <a:gd name="connsiteY413" fmla="*/ 6240109 h 6479439"/>
              <a:gd name="connsiteX414" fmla="*/ 7175279 w 9586368"/>
              <a:gd name="connsiteY414" fmla="*/ 6236069 h 6479439"/>
              <a:gd name="connsiteX415" fmla="*/ 7175279 w 9586368"/>
              <a:gd name="connsiteY415" fmla="*/ 6226198 h 6479439"/>
              <a:gd name="connsiteX416" fmla="*/ 6939983 w 9586368"/>
              <a:gd name="connsiteY416" fmla="*/ 6222160 h 6479439"/>
              <a:gd name="connsiteX417" fmla="*/ 6949894 w 9586368"/>
              <a:gd name="connsiteY417" fmla="*/ 6222160 h 6479439"/>
              <a:gd name="connsiteX418" fmla="*/ 6953913 w 9586368"/>
              <a:gd name="connsiteY418" fmla="*/ 6226198 h 6479439"/>
              <a:gd name="connsiteX419" fmla="*/ 6953913 w 9586368"/>
              <a:gd name="connsiteY419" fmla="*/ 6236069 h 6479439"/>
              <a:gd name="connsiteX420" fmla="*/ 6949894 w 9586368"/>
              <a:gd name="connsiteY420" fmla="*/ 6240109 h 6479439"/>
              <a:gd name="connsiteX421" fmla="*/ 6939983 w 9586368"/>
              <a:gd name="connsiteY421" fmla="*/ 6240109 h 6479439"/>
              <a:gd name="connsiteX422" fmla="*/ 6935964 w 9586368"/>
              <a:gd name="connsiteY422" fmla="*/ 6236069 h 6479439"/>
              <a:gd name="connsiteX423" fmla="*/ 6935964 w 9586368"/>
              <a:gd name="connsiteY423" fmla="*/ 6226198 h 6479439"/>
              <a:gd name="connsiteX424" fmla="*/ 6700670 w 9586368"/>
              <a:gd name="connsiteY424" fmla="*/ 6222160 h 6479439"/>
              <a:gd name="connsiteX425" fmla="*/ 6710581 w 9586368"/>
              <a:gd name="connsiteY425" fmla="*/ 6222160 h 6479439"/>
              <a:gd name="connsiteX426" fmla="*/ 6714600 w 9586368"/>
              <a:gd name="connsiteY426" fmla="*/ 6226198 h 6479439"/>
              <a:gd name="connsiteX427" fmla="*/ 6714600 w 9586368"/>
              <a:gd name="connsiteY427" fmla="*/ 6236069 h 6479439"/>
              <a:gd name="connsiteX428" fmla="*/ 6710581 w 9586368"/>
              <a:gd name="connsiteY428" fmla="*/ 6240109 h 6479439"/>
              <a:gd name="connsiteX429" fmla="*/ 6700670 w 9586368"/>
              <a:gd name="connsiteY429" fmla="*/ 6240109 h 6479439"/>
              <a:gd name="connsiteX430" fmla="*/ 6696651 w 9586368"/>
              <a:gd name="connsiteY430" fmla="*/ 6236069 h 6479439"/>
              <a:gd name="connsiteX431" fmla="*/ 6696651 w 9586368"/>
              <a:gd name="connsiteY431" fmla="*/ 6226198 h 6479439"/>
              <a:gd name="connsiteX432" fmla="*/ 6461356 w 9586368"/>
              <a:gd name="connsiteY432" fmla="*/ 6222160 h 6479439"/>
              <a:gd name="connsiteX433" fmla="*/ 6471266 w 9586368"/>
              <a:gd name="connsiteY433" fmla="*/ 6222160 h 6479439"/>
              <a:gd name="connsiteX434" fmla="*/ 6475285 w 9586368"/>
              <a:gd name="connsiteY434" fmla="*/ 6226198 h 6479439"/>
              <a:gd name="connsiteX435" fmla="*/ 6475285 w 9586368"/>
              <a:gd name="connsiteY435" fmla="*/ 6236069 h 6479439"/>
              <a:gd name="connsiteX436" fmla="*/ 6471266 w 9586368"/>
              <a:gd name="connsiteY436" fmla="*/ 6240109 h 6479439"/>
              <a:gd name="connsiteX437" fmla="*/ 6461356 w 9586368"/>
              <a:gd name="connsiteY437" fmla="*/ 6240109 h 6479439"/>
              <a:gd name="connsiteX438" fmla="*/ 6457337 w 9586368"/>
              <a:gd name="connsiteY438" fmla="*/ 6236069 h 6479439"/>
              <a:gd name="connsiteX439" fmla="*/ 6457337 w 9586368"/>
              <a:gd name="connsiteY439" fmla="*/ 6226198 h 6479439"/>
              <a:gd name="connsiteX440" fmla="*/ 6222042 w 9586368"/>
              <a:gd name="connsiteY440" fmla="*/ 6222160 h 6479439"/>
              <a:gd name="connsiteX441" fmla="*/ 6231952 w 9586368"/>
              <a:gd name="connsiteY441" fmla="*/ 6222160 h 6479439"/>
              <a:gd name="connsiteX442" fmla="*/ 6235971 w 9586368"/>
              <a:gd name="connsiteY442" fmla="*/ 6226198 h 6479439"/>
              <a:gd name="connsiteX443" fmla="*/ 6235971 w 9586368"/>
              <a:gd name="connsiteY443" fmla="*/ 6236069 h 6479439"/>
              <a:gd name="connsiteX444" fmla="*/ 6231952 w 9586368"/>
              <a:gd name="connsiteY444" fmla="*/ 6240109 h 6479439"/>
              <a:gd name="connsiteX445" fmla="*/ 6222042 w 9586368"/>
              <a:gd name="connsiteY445" fmla="*/ 6240109 h 6479439"/>
              <a:gd name="connsiteX446" fmla="*/ 6218023 w 9586368"/>
              <a:gd name="connsiteY446" fmla="*/ 6236069 h 6479439"/>
              <a:gd name="connsiteX447" fmla="*/ 6218023 w 9586368"/>
              <a:gd name="connsiteY447" fmla="*/ 6226198 h 6479439"/>
              <a:gd name="connsiteX448" fmla="*/ 5982729 w 9586368"/>
              <a:gd name="connsiteY448" fmla="*/ 6222160 h 6479439"/>
              <a:gd name="connsiteX449" fmla="*/ 5992639 w 9586368"/>
              <a:gd name="connsiteY449" fmla="*/ 6222160 h 6479439"/>
              <a:gd name="connsiteX450" fmla="*/ 5996658 w 9586368"/>
              <a:gd name="connsiteY450" fmla="*/ 6226198 h 6479439"/>
              <a:gd name="connsiteX451" fmla="*/ 5996658 w 9586368"/>
              <a:gd name="connsiteY451" fmla="*/ 6236069 h 6479439"/>
              <a:gd name="connsiteX452" fmla="*/ 5992639 w 9586368"/>
              <a:gd name="connsiteY452" fmla="*/ 6240109 h 6479439"/>
              <a:gd name="connsiteX453" fmla="*/ 5982729 w 9586368"/>
              <a:gd name="connsiteY453" fmla="*/ 6240109 h 6479439"/>
              <a:gd name="connsiteX454" fmla="*/ 5978710 w 9586368"/>
              <a:gd name="connsiteY454" fmla="*/ 6236069 h 6479439"/>
              <a:gd name="connsiteX455" fmla="*/ 5978710 w 9586368"/>
              <a:gd name="connsiteY455" fmla="*/ 6226198 h 6479439"/>
              <a:gd name="connsiteX456" fmla="*/ 5743412 w 9586368"/>
              <a:gd name="connsiteY456" fmla="*/ 6222160 h 6479439"/>
              <a:gd name="connsiteX457" fmla="*/ 5753323 w 9586368"/>
              <a:gd name="connsiteY457" fmla="*/ 6222160 h 6479439"/>
              <a:gd name="connsiteX458" fmla="*/ 5757342 w 9586368"/>
              <a:gd name="connsiteY458" fmla="*/ 6226198 h 6479439"/>
              <a:gd name="connsiteX459" fmla="*/ 5757342 w 9586368"/>
              <a:gd name="connsiteY459" fmla="*/ 6236069 h 6479439"/>
              <a:gd name="connsiteX460" fmla="*/ 5753323 w 9586368"/>
              <a:gd name="connsiteY460" fmla="*/ 6240109 h 6479439"/>
              <a:gd name="connsiteX461" fmla="*/ 5743412 w 9586368"/>
              <a:gd name="connsiteY461" fmla="*/ 6240109 h 6479439"/>
              <a:gd name="connsiteX462" fmla="*/ 5739393 w 9586368"/>
              <a:gd name="connsiteY462" fmla="*/ 6236069 h 6479439"/>
              <a:gd name="connsiteX463" fmla="*/ 5739393 w 9586368"/>
              <a:gd name="connsiteY463" fmla="*/ 6226198 h 6479439"/>
              <a:gd name="connsiteX464" fmla="*/ 5504099 w 9586368"/>
              <a:gd name="connsiteY464" fmla="*/ 6222160 h 6479439"/>
              <a:gd name="connsiteX465" fmla="*/ 5514010 w 9586368"/>
              <a:gd name="connsiteY465" fmla="*/ 6222160 h 6479439"/>
              <a:gd name="connsiteX466" fmla="*/ 5518029 w 9586368"/>
              <a:gd name="connsiteY466" fmla="*/ 6226198 h 6479439"/>
              <a:gd name="connsiteX467" fmla="*/ 5518029 w 9586368"/>
              <a:gd name="connsiteY467" fmla="*/ 6236069 h 6479439"/>
              <a:gd name="connsiteX468" fmla="*/ 5514010 w 9586368"/>
              <a:gd name="connsiteY468" fmla="*/ 6240109 h 6479439"/>
              <a:gd name="connsiteX469" fmla="*/ 5504099 w 9586368"/>
              <a:gd name="connsiteY469" fmla="*/ 6240109 h 6479439"/>
              <a:gd name="connsiteX470" fmla="*/ 5500080 w 9586368"/>
              <a:gd name="connsiteY470" fmla="*/ 6236069 h 6479439"/>
              <a:gd name="connsiteX471" fmla="*/ 5500080 w 9586368"/>
              <a:gd name="connsiteY471" fmla="*/ 6226198 h 6479439"/>
              <a:gd name="connsiteX472" fmla="*/ 5264784 w 9586368"/>
              <a:gd name="connsiteY472" fmla="*/ 6222160 h 6479439"/>
              <a:gd name="connsiteX473" fmla="*/ 5274694 w 9586368"/>
              <a:gd name="connsiteY473" fmla="*/ 6222160 h 6479439"/>
              <a:gd name="connsiteX474" fmla="*/ 5278713 w 9586368"/>
              <a:gd name="connsiteY474" fmla="*/ 6226198 h 6479439"/>
              <a:gd name="connsiteX475" fmla="*/ 5278713 w 9586368"/>
              <a:gd name="connsiteY475" fmla="*/ 6236069 h 6479439"/>
              <a:gd name="connsiteX476" fmla="*/ 5274694 w 9586368"/>
              <a:gd name="connsiteY476" fmla="*/ 6240109 h 6479439"/>
              <a:gd name="connsiteX477" fmla="*/ 5264784 w 9586368"/>
              <a:gd name="connsiteY477" fmla="*/ 6240109 h 6479439"/>
              <a:gd name="connsiteX478" fmla="*/ 5260765 w 9586368"/>
              <a:gd name="connsiteY478" fmla="*/ 6236069 h 6479439"/>
              <a:gd name="connsiteX479" fmla="*/ 5260765 w 9586368"/>
              <a:gd name="connsiteY479" fmla="*/ 6226198 h 6479439"/>
              <a:gd name="connsiteX480" fmla="*/ 5025470 w 9586368"/>
              <a:gd name="connsiteY480" fmla="*/ 6222160 h 6479439"/>
              <a:gd name="connsiteX481" fmla="*/ 5035381 w 9586368"/>
              <a:gd name="connsiteY481" fmla="*/ 6222160 h 6479439"/>
              <a:gd name="connsiteX482" fmla="*/ 5039400 w 9586368"/>
              <a:gd name="connsiteY482" fmla="*/ 6226198 h 6479439"/>
              <a:gd name="connsiteX483" fmla="*/ 5039400 w 9586368"/>
              <a:gd name="connsiteY483" fmla="*/ 6236069 h 6479439"/>
              <a:gd name="connsiteX484" fmla="*/ 5035381 w 9586368"/>
              <a:gd name="connsiteY484" fmla="*/ 6240109 h 6479439"/>
              <a:gd name="connsiteX485" fmla="*/ 5025470 w 9586368"/>
              <a:gd name="connsiteY485" fmla="*/ 6240109 h 6479439"/>
              <a:gd name="connsiteX486" fmla="*/ 5021451 w 9586368"/>
              <a:gd name="connsiteY486" fmla="*/ 6236069 h 6479439"/>
              <a:gd name="connsiteX487" fmla="*/ 5021451 w 9586368"/>
              <a:gd name="connsiteY487" fmla="*/ 6226198 h 6479439"/>
              <a:gd name="connsiteX488" fmla="*/ 4786241 w 9586368"/>
              <a:gd name="connsiteY488" fmla="*/ 6222160 h 6479439"/>
              <a:gd name="connsiteX489" fmla="*/ 4796152 w 9586368"/>
              <a:gd name="connsiteY489" fmla="*/ 6222160 h 6479439"/>
              <a:gd name="connsiteX490" fmla="*/ 4800171 w 9586368"/>
              <a:gd name="connsiteY490" fmla="*/ 6226198 h 6479439"/>
              <a:gd name="connsiteX491" fmla="*/ 4800171 w 9586368"/>
              <a:gd name="connsiteY491" fmla="*/ 6236069 h 6479439"/>
              <a:gd name="connsiteX492" fmla="*/ 4796152 w 9586368"/>
              <a:gd name="connsiteY492" fmla="*/ 6240109 h 6479439"/>
              <a:gd name="connsiteX493" fmla="*/ 4786241 w 9586368"/>
              <a:gd name="connsiteY493" fmla="*/ 6240109 h 6479439"/>
              <a:gd name="connsiteX494" fmla="*/ 4782224 w 9586368"/>
              <a:gd name="connsiteY494" fmla="*/ 6236069 h 6479439"/>
              <a:gd name="connsiteX495" fmla="*/ 4782224 w 9586368"/>
              <a:gd name="connsiteY495" fmla="*/ 6226198 h 6479439"/>
              <a:gd name="connsiteX496" fmla="*/ 4546929 w 9586368"/>
              <a:gd name="connsiteY496" fmla="*/ 6222160 h 6479439"/>
              <a:gd name="connsiteX497" fmla="*/ 4556840 w 9586368"/>
              <a:gd name="connsiteY497" fmla="*/ 6222160 h 6479439"/>
              <a:gd name="connsiteX498" fmla="*/ 4560859 w 9586368"/>
              <a:gd name="connsiteY498" fmla="*/ 6226198 h 6479439"/>
              <a:gd name="connsiteX499" fmla="*/ 4560859 w 9586368"/>
              <a:gd name="connsiteY499" fmla="*/ 6236069 h 6479439"/>
              <a:gd name="connsiteX500" fmla="*/ 4556840 w 9586368"/>
              <a:gd name="connsiteY500" fmla="*/ 6240109 h 6479439"/>
              <a:gd name="connsiteX501" fmla="*/ 4546929 w 9586368"/>
              <a:gd name="connsiteY501" fmla="*/ 6240109 h 6479439"/>
              <a:gd name="connsiteX502" fmla="*/ 4542910 w 9586368"/>
              <a:gd name="connsiteY502" fmla="*/ 6236069 h 6479439"/>
              <a:gd name="connsiteX503" fmla="*/ 4542910 w 9586368"/>
              <a:gd name="connsiteY503" fmla="*/ 6226198 h 6479439"/>
              <a:gd name="connsiteX504" fmla="*/ 4307612 w 9586368"/>
              <a:gd name="connsiteY504" fmla="*/ 6222160 h 6479439"/>
              <a:gd name="connsiteX505" fmla="*/ 4317523 w 9586368"/>
              <a:gd name="connsiteY505" fmla="*/ 6222160 h 6479439"/>
              <a:gd name="connsiteX506" fmla="*/ 4321543 w 9586368"/>
              <a:gd name="connsiteY506" fmla="*/ 6226198 h 6479439"/>
              <a:gd name="connsiteX507" fmla="*/ 4321543 w 9586368"/>
              <a:gd name="connsiteY507" fmla="*/ 6236069 h 6479439"/>
              <a:gd name="connsiteX508" fmla="*/ 4317523 w 9586368"/>
              <a:gd name="connsiteY508" fmla="*/ 6240109 h 6479439"/>
              <a:gd name="connsiteX509" fmla="*/ 4307612 w 9586368"/>
              <a:gd name="connsiteY509" fmla="*/ 6240109 h 6479439"/>
              <a:gd name="connsiteX510" fmla="*/ 4303595 w 9586368"/>
              <a:gd name="connsiteY510" fmla="*/ 6236069 h 6479439"/>
              <a:gd name="connsiteX511" fmla="*/ 4303595 w 9586368"/>
              <a:gd name="connsiteY511" fmla="*/ 6226198 h 6479439"/>
              <a:gd name="connsiteX512" fmla="*/ 4068297 w 9586368"/>
              <a:gd name="connsiteY512" fmla="*/ 6222160 h 6479439"/>
              <a:gd name="connsiteX513" fmla="*/ 4078210 w 9586368"/>
              <a:gd name="connsiteY513" fmla="*/ 6222160 h 6479439"/>
              <a:gd name="connsiteX514" fmla="*/ 4082229 w 9586368"/>
              <a:gd name="connsiteY514" fmla="*/ 6226198 h 6479439"/>
              <a:gd name="connsiteX515" fmla="*/ 4082229 w 9586368"/>
              <a:gd name="connsiteY515" fmla="*/ 6236069 h 6479439"/>
              <a:gd name="connsiteX516" fmla="*/ 4078210 w 9586368"/>
              <a:gd name="connsiteY516" fmla="*/ 6240109 h 6479439"/>
              <a:gd name="connsiteX517" fmla="*/ 4068297 w 9586368"/>
              <a:gd name="connsiteY517" fmla="*/ 6240109 h 6479439"/>
              <a:gd name="connsiteX518" fmla="*/ 4064278 w 9586368"/>
              <a:gd name="connsiteY518" fmla="*/ 6236069 h 6479439"/>
              <a:gd name="connsiteX519" fmla="*/ 4064278 w 9586368"/>
              <a:gd name="connsiteY519" fmla="*/ 6226198 h 6479439"/>
              <a:gd name="connsiteX520" fmla="*/ 3828990 w 9586368"/>
              <a:gd name="connsiteY520" fmla="*/ 6222160 h 6479439"/>
              <a:gd name="connsiteX521" fmla="*/ 3838899 w 9586368"/>
              <a:gd name="connsiteY521" fmla="*/ 6222160 h 6479439"/>
              <a:gd name="connsiteX522" fmla="*/ 3842917 w 9586368"/>
              <a:gd name="connsiteY522" fmla="*/ 6226198 h 6479439"/>
              <a:gd name="connsiteX523" fmla="*/ 3842917 w 9586368"/>
              <a:gd name="connsiteY523" fmla="*/ 6236069 h 6479439"/>
              <a:gd name="connsiteX524" fmla="*/ 3838899 w 9586368"/>
              <a:gd name="connsiteY524" fmla="*/ 6240109 h 6479439"/>
              <a:gd name="connsiteX525" fmla="*/ 3828990 w 9586368"/>
              <a:gd name="connsiteY525" fmla="*/ 6240109 h 6479439"/>
              <a:gd name="connsiteX526" fmla="*/ 3824971 w 9586368"/>
              <a:gd name="connsiteY526" fmla="*/ 6236069 h 6479439"/>
              <a:gd name="connsiteX527" fmla="*/ 3824971 w 9586368"/>
              <a:gd name="connsiteY527" fmla="*/ 6226198 h 6479439"/>
              <a:gd name="connsiteX528" fmla="*/ 3589676 w 9586368"/>
              <a:gd name="connsiteY528" fmla="*/ 6222160 h 6479439"/>
              <a:gd name="connsiteX529" fmla="*/ 3599585 w 9586368"/>
              <a:gd name="connsiteY529" fmla="*/ 6222160 h 6479439"/>
              <a:gd name="connsiteX530" fmla="*/ 3603604 w 9586368"/>
              <a:gd name="connsiteY530" fmla="*/ 6226198 h 6479439"/>
              <a:gd name="connsiteX531" fmla="*/ 3603604 w 9586368"/>
              <a:gd name="connsiteY531" fmla="*/ 6236069 h 6479439"/>
              <a:gd name="connsiteX532" fmla="*/ 3599585 w 9586368"/>
              <a:gd name="connsiteY532" fmla="*/ 6240109 h 6479439"/>
              <a:gd name="connsiteX533" fmla="*/ 3589676 w 9586368"/>
              <a:gd name="connsiteY533" fmla="*/ 6240109 h 6479439"/>
              <a:gd name="connsiteX534" fmla="*/ 3585657 w 9586368"/>
              <a:gd name="connsiteY534" fmla="*/ 6236069 h 6479439"/>
              <a:gd name="connsiteX535" fmla="*/ 3585657 w 9586368"/>
              <a:gd name="connsiteY535" fmla="*/ 6226198 h 6479439"/>
              <a:gd name="connsiteX536" fmla="*/ 3350359 w 9586368"/>
              <a:gd name="connsiteY536" fmla="*/ 6222160 h 6479439"/>
              <a:gd name="connsiteX537" fmla="*/ 3360268 w 9586368"/>
              <a:gd name="connsiteY537" fmla="*/ 6222160 h 6479439"/>
              <a:gd name="connsiteX538" fmla="*/ 3364287 w 9586368"/>
              <a:gd name="connsiteY538" fmla="*/ 6226198 h 6479439"/>
              <a:gd name="connsiteX539" fmla="*/ 3364287 w 9586368"/>
              <a:gd name="connsiteY539" fmla="*/ 6236069 h 6479439"/>
              <a:gd name="connsiteX540" fmla="*/ 3360268 w 9586368"/>
              <a:gd name="connsiteY540" fmla="*/ 6240109 h 6479439"/>
              <a:gd name="connsiteX541" fmla="*/ 3350359 w 9586368"/>
              <a:gd name="connsiteY541" fmla="*/ 6240109 h 6479439"/>
              <a:gd name="connsiteX542" fmla="*/ 3346340 w 9586368"/>
              <a:gd name="connsiteY542" fmla="*/ 6236069 h 6479439"/>
              <a:gd name="connsiteX543" fmla="*/ 3346340 w 9586368"/>
              <a:gd name="connsiteY543" fmla="*/ 6226198 h 6479439"/>
              <a:gd name="connsiteX544" fmla="*/ 3111048 w 9586368"/>
              <a:gd name="connsiteY544" fmla="*/ 6222160 h 6479439"/>
              <a:gd name="connsiteX545" fmla="*/ 3120959 w 9586368"/>
              <a:gd name="connsiteY545" fmla="*/ 6222160 h 6479439"/>
              <a:gd name="connsiteX546" fmla="*/ 3124977 w 9586368"/>
              <a:gd name="connsiteY546" fmla="*/ 6226198 h 6479439"/>
              <a:gd name="connsiteX547" fmla="*/ 3124977 w 9586368"/>
              <a:gd name="connsiteY547" fmla="*/ 6236069 h 6479439"/>
              <a:gd name="connsiteX548" fmla="*/ 3120959 w 9586368"/>
              <a:gd name="connsiteY548" fmla="*/ 6240109 h 6479439"/>
              <a:gd name="connsiteX549" fmla="*/ 3111048 w 9586368"/>
              <a:gd name="connsiteY549" fmla="*/ 6240109 h 6479439"/>
              <a:gd name="connsiteX550" fmla="*/ 3107029 w 9586368"/>
              <a:gd name="connsiteY550" fmla="*/ 6236069 h 6479439"/>
              <a:gd name="connsiteX551" fmla="*/ 3107029 w 9586368"/>
              <a:gd name="connsiteY551" fmla="*/ 6226198 h 6479439"/>
              <a:gd name="connsiteX552" fmla="*/ 2871737 w 9586368"/>
              <a:gd name="connsiteY552" fmla="*/ 6222160 h 6479439"/>
              <a:gd name="connsiteX553" fmla="*/ 2881646 w 9586368"/>
              <a:gd name="connsiteY553" fmla="*/ 6222160 h 6479439"/>
              <a:gd name="connsiteX554" fmla="*/ 2885666 w 9586368"/>
              <a:gd name="connsiteY554" fmla="*/ 6226198 h 6479439"/>
              <a:gd name="connsiteX555" fmla="*/ 2885666 w 9586368"/>
              <a:gd name="connsiteY555" fmla="*/ 6236069 h 6479439"/>
              <a:gd name="connsiteX556" fmla="*/ 2881646 w 9586368"/>
              <a:gd name="connsiteY556" fmla="*/ 6240109 h 6479439"/>
              <a:gd name="connsiteX557" fmla="*/ 2871737 w 9586368"/>
              <a:gd name="connsiteY557" fmla="*/ 6240109 h 6479439"/>
              <a:gd name="connsiteX558" fmla="*/ 2867717 w 9586368"/>
              <a:gd name="connsiteY558" fmla="*/ 6236069 h 6479439"/>
              <a:gd name="connsiteX559" fmla="*/ 2867717 w 9586368"/>
              <a:gd name="connsiteY559" fmla="*/ 6226198 h 6479439"/>
              <a:gd name="connsiteX560" fmla="*/ 2632423 w 9586368"/>
              <a:gd name="connsiteY560" fmla="*/ 6222160 h 6479439"/>
              <a:gd name="connsiteX561" fmla="*/ 2642334 w 9586368"/>
              <a:gd name="connsiteY561" fmla="*/ 6222160 h 6479439"/>
              <a:gd name="connsiteX562" fmla="*/ 2646352 w 9586368"/>
              <a:gd name="connsiteY562" fmla="*/ 6226198 h 6479439"/>
              <a:gd name="connsiteX563" fmla="*/ 2646352 w 9586368"/>
              <a:gd name="connsiteY563" fmla="*/ 6236069 h 6479439"/>
              <a:gd name="connsiteX564" fmla="*/ 2642334 w 9586368"/>
              <a:gd name="connsiteY564" fmla="*/ 6240109 h 6479439"/>
              <a:gd name="connsiteX565" fmla="*/ 2632423 w 9586368"/>
              <a:gd name="connsiteY565" fmla="*/ 6240109 h 6479439"/>
              <a:gd name="connsiteX566" fmla="*/ 2628404 w 9586368"/>
              <a:gd name="connsiteY566" fmla="*/ 6236069 h 6479439"/>
              <a:gd name="connsiteX567" fmla="*/ 2628404 w 9586368"/>
              <a:gd name="connsiteY567" fmla="*/ 6226198 h 6479439"/>
              <a:gd name="connsiteX568" fmla="*/ 2393104 w 9586368"/>
              <a:gd name="connsiteY568" fmla="*/ 6222160 h 6479439"/>
              <a:gd name="connsiteX569" fmla="*/ 2403015 w 9586368"/>
              <a:gd name="connsiteY569" fmla="*/ 6222160 h 6479439"/>
              <a:gd name="connsiteX570" fmla="*/ 2407034 w 9586368"/>
              <a:gd name="connsiteY570" fmla="*/ 6226198 h 6479439"/>
              <a:gd name="connsiteX571" fmla="*/ 2407034 w 9586368"/>
              <a:gd name="connsiteY571" fmla="*/ 6236069 h 6479439"/>
              <a:gd name="connsiteX572" fmla="*/ 2403015 w 9586368"/>
              <a:gd name="connsiteY572" fmla="*/ 6240109 h 6479439"/>
              <a:gd name="connsiteX573" fmla="*/ 2393104 w 9586368"/>
              <a:gd name="connsiteY573" fmla="*/ 6240109 h 6479439"/>
              <a:gd name="connsiteX574" fmla="*/ 2389087 w 9586368"/>
              <a:gd name="connsiteY574" fmla="*/ 6236069 h 6479439"/>
              <a:gd name="connsiteX575" fmla="*/ 2389087 w 9586368"/>
              <a:gd name="connsiteY575" fmla="*/ 6226198 h 6479439"/>
              <a:gd name="connsiteX576" fmla="*/ 2157818 w 9586368"/>
              <a:gd name="connsiteY576" fmla="*/ 6222160 h 6479439"/>
              <a:gd name="connsiteX577" fmla="*/ 2167728 w 9586368"/>
              <a:gd name="connsiteY577" fmla="*/ 6222160 h 6479439"/>
              <a:gd name="connsiteX578" fmla="*/ 2171746 w 9586368"/>
              <a:gd name="connsiteY578" fmla="*/ 6226198 h 6479439"/>
              <a:gd name="connsiteX579" fmla="*/ 2171746 w 9586368"/>
              <a:gd name="connsiteY579" fmla="*/ 6236069 h 6479439"/>
              <a:gd name="connsiteX580" fmla="*/ 2167728 w 9586368"/>
              <a:gd name="connsiteY580" fmla="*/ 6240109 h 6479439"/>
              <a:gd name="connsiteX581" fmla="*/ 2157818 w 9586368"/>
              <a:gd name="connsiteY581" fmla="*/ 6240109 h 6479439"/>
              <a:gd name="connsiteX582" fmla="*/ 2153799 w 9586368"/>
              <a:gd name="connsiteY582" fmla="*/ 6236069 h 6479439"/>
              <a:gd name="connsiteX583" fmla="*/ 2153799 w 9586368"/>
              <a:gd name="connsiteY583" fmla="*/ 6226198 h 6479439"/>
              <a:gd name="connsiteX584" fmla="*/ 1918509 w 9586368"/>
              <a:gd name="connsiteY584" fmla="*/ 6222160 h 6479439"/>
              <a:gd name="connsiteX585" fmla="*/ 1928419 w 9586368"/>
              <a:gd name="connsiteY585" fmla="*/ 6222160 h 6479439"/>
              <a:gd name="connsiteX586" fmla="*/ 1932438 w 9586368"/>
              <a:gd name="connsiteY586" fmla="*/ 6226198 h 6479439"/>
              <a:gd name="connsiteX587" fmla="*/ 1932438 w 9586368"/>
              <a:gd name="connsiteY587" fmla="*/ 6236069 h 6479439"/>
              <a:gd name="connsiteX588" fmla="*/ 1928419 w 9586368"/>
              <a:gd name="connsiteY588" fmla="*/ 6240109 h 6479439"/>
              <a:gd name="connsiteX589" fmla="*/ 1918509 w 9586368"/>
              <a:gd name="connsiteY589" fmla="*/ 6240109 h 6479439"/>
              <a:gd name="connsiteX590" fmla="*/ 1914490 w 9586368"/>
              <a:gd name="connsiteY590" fmla="*/ 6236069 h 6479439"/>
              <a:gd name="connsiteX591" fmla="*/ 1914490 w 9586368"/>
              <a:gd name="connsiteY591" fmla="*/ 6226198 h 6479439"/>
              <a:gd name="connsiteX592" fmla="*/ 1679200 w 9586368"/>
              <a:gd name="connsiteY592" fmla="*/ 6222160 h 6479439"/>
              <a:gd name="connsiteX593" fmla="*/ 1689110 w 9586368"/>
              <a:gd name="connsiteY593" fmla="*/ 6222160 h 6479439"/>
              <a:gd name="connsiteX594" fmla="*/ 1693129 w 9586368"/>
              <a:gd name="connsiteY594" fmla="*/ 6226198 h 6479439"/>
              <a:gd name="connsiteX595" fmla="*/ 1693129 w 9586368"/>
              <a:gd name="connsiteY595" fmla="*/ 6236069 h 6479439"/>
              <a:gd name="connsiteX596" fmla="*/ 1689110 w 9586368"/>
              <a:gd name="connsiteY596" fmla="*/ 6240109 h 6479439"/>
              <a:gd name="connsiteX597" fmla="*/ 1679200 w 9586368"/>
              <a:gd name="connsiteY597" fmla="*/ 6240109 h 6479439"/>
              <a:gd name="connsiteX598" fmla="*/ 1675182 w 9586368"/>
              <a:gd name="connsiteY598" fmla="*/ 6236069 h 6479439"/>
              <a:gd name="connsiteX599" fmla="*/ 1675182 w 9586368"/>
              <a:gd name="connsiteY599" fmla="*/ 6226198 h 6479439"/>
              <a:gd name="connsiteX600" fmla="*/ 1439885 w 9586368"/>
              <a:gd name="connsiteY600" fmla="*/ 6222160 h 6479439"/>
              <a:gd name="connsiteX601" fmla="*/ 1449795 w 9586368"/>
              <a:gd name="connsiteY601" fmla="*/ 6222160 h 6479439"/>
              <a:gd name="connsiteX602" fmla="*/ 1453814 w 9586368"/>
              <a:gd name="connsiteY602" fmla="*/ 6226198 h 6479439"/>
              <a:gd name="connsiteX603" fmla="*/ 1453814 w 9586368"/>
              <a:gd name="connsiteY603" fmla="*/ 6236069 h 6479439"/>
              <a:gd name="connsiteX604" fmla="*/ 1449795 w 9586368"/>
              <a:gd name="connsiteY604" fmla="*/ 6240109 h 6479439"/>
              <a:gd name="connsiteX605" fmla="*/ 1439885 w 9586368"/>
              <a:gd name="connsiteY605" fmla="*/ 6240109 h 6479439"/>
              <a:gd name="connsiteX606" fmla="*/ 1435866 w 9586368"/>
              <a:gd name="connsiteY606" fmla="*/ 6236069 h 6479439"/>
              <a:gd name="connsiteX607" fmla="*/ 1435866 w 9586368"/>
              <a:gd name="connsiteY607" fmla="*/ 6226198 h 6479439"/>
              <a:gd name="connsiteX608" fmla="*/ 1200570 w 9586368"/>
              <a:gd name="connsiteY608" fmla="*/ 6222160 h 6479439"/>
              <a:gd name="connsiteX609" fmla="*/ 1210481 w 9586368"/>
              <a:gd name="connsiteY609" fmla="*/ 6222160 h 6479439"/>
              <a:gd name="connsiteX610" fmla="*/ 1214499 w 9586368"/>
              <a:gd name="connsiteY610" fmla="*/ 6226198 h 6479439"/>
              <a:gd name="connsiteX611" fmla="*/ 1214499 w 9586368"/>
              <a:gd name="connsiteY611" fmla="*/ 6236069 h 6479439"/>
              <a:gd name="connsiteX612" fmla="*/ 1210481 w 9586368"/>
              <a:gd name="connsiteY612" fmla="*/ 6240109 h 6479439"/>
              <a:gd name="connsiteX613" fmla="*/ 1200570 w 9586368"/>
              <a:gd name="connsiteY613" fmla="*/ 6240109 h 6479439"/>
              <a:gd name="connsiteX614" fmla="*/ 1196551 w 9586368"/>
              <a:gd name="connsiteY614" fmla="*/ 6236069 h 6479439"/>
              <a:gd name="connsiteX615" fmla="*/ 1196551 w 9586368"/>
              <a:gd name="connsiteY615" fmla="*/ 6226198 h 6479439"/>
              <a:gd name="connsiteX616" fmla="*/ 961258 w 9586368"/>
              <a:gd name="connsiteY616" fmla="*/ 6222160 h 6479439"/>
              <a:gd name="connsiteX617" fmla="*/ 971167 w 9586368"/>
              <a:gd name="connsiteY617" fmla="*/ 6222160 h 6479439"/>
              <a:gd name="connsiteX618" fmla="*/ 975186 w 9586368"/>
              <a:gd name="connsiteY618" fmla="*/ 6226198 h 6479439"/>
              <a:gd name="connsiteX619" fmla="*/ 975186 w 9586368"/>
              <a:gd name="connsiteY619" fmla="*/ 6236069 h 6479439"/>
              <a:gd name="connsiteX620" fmla="*/ 971167 w 9586368"/>
              <a:gd name="connsiteY620" fmla="*/ 6240109 h 6479439"/>
              <a:gd name="connsiteX621" fmla="*/ 961258 w 9586368"/>
              <a:gd name="connsiteY621" fmla="*/ 6240109 h 6479439"/>
              <a:gd name="connsiteX622" fmla="*/ 957239 w 9586368"/>
              <a:gd name="connsiteY622" fmla="*/ 6236069 h 6479439"/>
              <a:gd name="connsiteX623" fmla="*/ 957239 w 9586368"/>
              <a:gd name="connsiteY623" fmla="*/ 6226198 h 6479439"/>
              <a:gd name="connsiteX624" fmla="*/ 721959 w 9586368"/>
              <a:gd name="connsiteY624" fmla="*/ 6222160 h 6479439"/>
              <a:gd name="connsiteX625" fmla="*/ 731869 w 9586368"/>
              <a:gd name="connsiteY625" fmla="*/ 6222160 h 6479439"/>
              <a:gd name="connsiteX626" fmla="*/ 735888 w 9586368"/>
              <a:gd name="connsiteY626" fmla="*/ 6226198 h 6479439"/>
              <a:gd name="connsiteX627" fmla="*/ 735888 w 9586368"/>
              <a:gd name="connsiteY627" fmla="*/ 6236069 h 6479439"/>
              <a:gd name="connsiteX628" fmla="*/ 731869 w 9586368"/>
              <a:gd name="connsiteY628" fmla="*/ 6240109 h 6479439"/>
              <a:gd name="connsiteX629" fmla="*/ 721959 w 9586368"/>
              <a:gd name="connsiteY629" fmla="*/ 6240109 h 6479439"/>
              <a:gd name="connsiteX630" fmla="*/ 717940 w 9586368"/>
              <a:gd name="connsiteY630" fmla="*/ 6236069 h 6479439"/>
              <a:gd name="connsiteX631" fmla="*/ 717940 w 9586368"/>
              <a:gd name="connsiteY631" fmla="*/ 6226198 h 6479439"/>
              <a:gd name="connsiteX632" fmla="*/ 482646 w 9586368"/>
              <a:gd name="connsiteY632" fmla="*/ 6222160 h 6479439"/>
              <a:gd name="connsiteX633" fmla="*/ 492557 w 9586368"/>
              <a:gd name="connsiteY633" fmla="*/ 6222160 h 6479439"/>
              <a:gd name="connsiteX634" fmla="*/ 496576 w 9586368"/>
              <a:gd name="connsiteY634" fmla="*/ 6226198 h 6479439"/>
              <a:gd name="connsiteX635" fmla="*/ 496576 w 9586368"/>
              <a:gd name="connsiteY635" fmla="*/ 6236069 h 6479439"/>
              <a:gd name="connsiteX636" fmla="*/ 492557 w 9586368"/>
              <a:gd name="connsiteY636" fmla="*/ 6240109 h 6479439"/>
              <a:gd name="connsiteX637" fmla="*/ 482646 w 9586368"/>
              <a:gd name="connsiteY637" fmla="*/ 6240109 h 6479439"/>
              <a:gd name="connsiteX638" fmla="*/ 478627 w 9586368"/>
              <a:gd name="connsiteY638" fmla="*/ 6236069 h 6479439"/>
              <a:gd name="connsiteX639" fmla="*/ 478627 w 9586368"/>
              <a:gd name="connsiteY639" fmla="*/ 6226198 h 6479439"/>
              <a:gd name="connsiteX640" fmla="*/ 243333 w 9586368"/>
              <a:gd name="connsiteY640" fmla="*/ 6222160 h 6479439"/>
              <a:gd name="connsiteX641" fmla="*/ 253243 w 9586368"/>
              <a:gd name="connsiteY641" fmla="*/ 6222160 h 6479439"/>
              <a:gd name="connsiteX642" fmla="*/ 257263 w 9586368"/>
              <a:gd name="connsiteY642" fmla="*/ 6226198 h 6479439"/>
              <a:gd name="connsiteX643" fmla="*/ 257263 w 9586368"/>
              <a:gd name="connsiteY643" fmla="*/ 6236069 h 6479439"/>
              <a:gd name="connsiteX644" fmla="*/ 253243 w 9586368"/>
              <a:gd name="connsiteY644" fmla="*/ 6240109 h 6479439"/>
              <a:gd name="connsiteX645" fmla="*/ 243333 w 9586368"/>
              <a:gd name="connsiteY645" fmla="*/ 6240109 h 6479439"/>
              <a:gd name="connsiteX646" fmla="*/ 239314 w 9586368"/>
              <a:gd name="connsiteY646" fmla="*/ 6236069 h 6479439"/>
              <a:gd name="connsiteX647" fmla="*/ 239314 w 9586368"/>
              <a:gd name="connsiteY647" fmla="*/ 6226198 h 6479439"/>
              <a:gd name="connsiteX648" fmla="*/ 4020 w 9586368"/>
              <a:gd name="connsiteY648" fmla="*/ 6222160 h 6479439"/>
              <a:gd name="connsiteX649" fmla="*/ 13930 w 9586368"/>
              <a:gd name="connsiteY649" fmla="*/ 6222160 h 6479439"/>
              <a:gd name="connsiteX650" fmla="*/ 17949 w 9586368"/>
              <a:gd name="connsiteY650" fmla="*/ 6226198 h 6479439"/>
              <a:gd name="connsiteX651" fmla="*/ 17949 w 9586368"/>
              <a:gd name="connsiteY651" fmla="*/ 6236069 h 6479439"/>
              <a:gd name="connsiteX652" fmla="*/ 13930 w 9586368"/>
              <a:gd name="connsiteY652" fmla="*/ 6240109 h 6479439"/>
              <a:gd name="connsiteX653" fmla="*/ 4020 w 9586368"/>
              <a:gd name="connsiteY653" fmla="*/ 6240109 h 6479439"/>
              <a:gd name="connsiteX654" fmla="*/ 1 w 9586368"/>
              <a:gd name="connsiteY654" fmla="*/ 6236069 h 6479439"/>
              <a:gd name="connsiteX655" fmla="*/ 1 w 9586368"/>
              <a:gd name="connsiteY655" fmla="*/ 6226198 h 6479439"/>
              <a:gd name="connsiteX656" fmla="*/ 2157818 w 9586368"/>
              <a:gd name="connsiteY656" fmla="*/ 5982881 h 6479439"/>
              <a:gd name="connsiteX657" fmla="*/ 2167728 w 9586368"/>
              <a:gd name="connsiteY657" fmla="*/ 5982881 h 6479439"/>
              <a:gd name="connsiteX658" fmla="*/ 2171747 w 9586368"/>
              <a:gd name="connsiteY658" fmla="*/ 5986919 h 6479439"/>
              <a:gd name="connsiteX659" fmla="*/ 2171747 w 9586368"/>
              <a:gd name="connsiteY659" fmla="*/ 5996790 h 6479439"/>
              <a:gd name="connsiteX660" fmla="*/ 2167728 w 9586368"/>
              <a:gd name="connsiteY660" fmla="*/ 6000829 h 6479439"/>
              <a:gd name="connsiteX661" fmla="*/ 2157818 w 9586368"/>
              <a:gd name="connsiteY661" fmla="*/ 6000829 h 6479439"/>
              <a:gd name="connsiteX662" fmla="*/ 2153799 w 9586368"/>
              <a:gd name="connsiteY662" fmla="*/ 5996790 h 6479439"/>
              <a:gd name="connsiteX663" fmla="*/ 2153799 w 9586368"/>
              <a:gd name="connsiteY663" fmla="*/ 5986919 h 6479439"/>
              <a:gd name="connsiteX664" fmla="*/ 1918509 w 9586368"/>
              <a:gd name="connsiteY664" fmla="*/ 5982881 h 6479439"/>
              <a:gd name="connsiteX665" fmla="*/ 1928420 w 9586368"/>
              <a:gd name="connsiteY665" fmla="*/ 5982881 h 6479439"/>
              <a:gd name="connsiteX666" fmla="*/ 1932438 w 9586368"/>
              <a:gd name="connsiteY666" fmla="*/ 5986919 h 6479439"/>
              <a:gd name="connsiteX667" fmla="*/ 1932438 w 9586368"/>
              <a:gd name="connsiteY667" fmla="*/ 5996790 h 6479439"/>
              <a:gd name="connsiteX668" fmla="*/ 1928420 w 9586368"/>
              <a:gd name="connsiteY668" fmla="*/ 6000829 h 6479439"/>
              <a:gd name="connsiteX669" fmla="*/ 1918509 w 9586368"/>
              <a:gd name="connsiteY669" fmla="*/ 6000829 h 6479439"/>
              <a:gd name="connsiteX670" fmla="*/ 1914490 w 9586368"/>
              <a:gd name="connsiteY670" fmla="*/ 5996790 h 6479439"/>
              <a:gd name="connsiteX671" fmla="*/ 1914490 w 9586368"/>
              <a:gd name="connsiteY671" fmla="*/ 5986919 h 6479439"/>
              <a:gd name="connsiteX672" fmla="*/ 1679201 w 9586368"/>
              <a:gd name="connsiteY672" fmla="*/ 5982881 h 6479439"/>
              <a:gd name="connsiteX673" fmla="*/ 1689111 w 9586368"/>
              <a:gd name="connsiteY673" fmla="*/ 5982881 h 6479439"/>
              <a:gd name="connsiteX674" fmla="*/ 1693129 w 9586368"/>
              <a:gd name="connsiteY674" fmla="*/ 5986919 h 6479439"/>
              <a:gd name="connsiteX675" fmla="*/ 1693129 w 9586368"/>
              <a:gd name="connsiteY675" fmla="*/ 5996790 h 6479439"/>
              <a:gd name="connsiteX676" fmla="*/ 1689111 w 9586368"/>
              <a:gd name="connsiteY676" fmla="*/ 6000829 h 6479439"/>
              <a:gd name="connsiteX677" fmla="*/ 1679201 w 9586368"/>
              <a:gd name="connsiteY677" fmla="*/ 6000829 h 6479439"/>
              <a:gd name="connsiteX678" fmla="*/ 1675182 w 9586368"/>
              <a:gd name="connsiteY678" fmla="*/ 5996790 h 6479439"/>
              <a:gd name="connsiteX679" fmla="*/ 1675182 w 9586368"/>
              <a:gd name="connsiteY679" fmla="*/ 5986919 h 6479439"/>
              <a:gd name="connsiteX680" fmla="*/ 1439886 w 9586368"/>
              <a:gd name="connsiteY680" fmla="*/ 5982881 h 6479439"/>
              <a:gd name="connsiteX681" fmla="*/ 1449796 w 9586368"/>
              <a:gd name="connsiteY681" fmla="*/ 5982881 h 6479439"/>
              <a:gd name="connsiteX682" fmla="*/ 1453814 w 9586368"/>
              <a:gd name="connsiteY682" fmla="*/ 5986919 h 6479439"/>
              <a:gd name="connsiteX683" fmla="*/ 1453814 w 9586368"/>
              <a:gd name="connsiteY683" fmla="*/ 5996790 h 6479439"/>
              <a:gd name="connsiteX684" fmla="*/ 1449796 w 9586368"/>
              <a:gd name="connsiteY684" fmla="*/ 6000829 h 6479439"/>
              <a:gd name="connsiteX685" fmla="*/ 1439886 w 9586368"/>
              <a:gd name="connsiteY685" fmla="*/ 6000829 h 6479439"/>
              <a:gd name="connsiteX686" fmla="*/ 1435866 w 9586368"/>
              <a:gd name="connsiteY686" fmla="*/ 5996790 h 6479439"/>
              <a:gd name="connsiteX687" fmla="*/ 1435866 w 9586368"/>
              <a:gd name="connsiteY687" fmla="*/ 5986919 h 6479439"/>
              <a:gd name="connsiteX688" fmla="*/ 1200571 w 9586368"/>
              <a:gd name="connsiteY688" fmla="*/ 5982881 h 6479439"/>
              <a:gd name="connsiteX689" fmla="*/ 1210481 w 9586368"/>
              <a:gd name="connsiteY689" fmla="*/ 5982881 h 6479439"/>
              <a:gd name="connsiteX690" fmla="*/ 1214500 w 9586368"/>
              <a:gd name="connsiteY690" fmla="*/ 5986919 h 6479439"/>
              <a:gd name="connsiteX691" fmla="*/ 1214500 w 9586368"/>
              <a:gd name="connsiteY691" fmla="*/ 5996790 h 6479439"/>
              <a:gd name="connsiteX692" fmla="*/ 1210481 w 9586368"/>
              <a:gd name="connsiteY692" fmla="*/ 6000829 h 6479439"/>
              <a:gd name="connsiteX693" fmla="*/ 1200571 w 9586368"/>
              <a:gd name="connsiteY693" fmla="*/ 6000829 h 6479439"/>
              <a:gd name="connsiteX694" fmla="*/ 1196553 w 9586368"/>
              <a:gd name="connsiteY694" fmla="*/ 5996790 h 6479439"/>
              <a:gd name="connsiteX695" fmla="*/ 1196553 w 9586368"/>
              <a:gd name="connsiteY695" fmla="*/ 5986919 h 6479439"/>
              <a:gd name="connsiteX696" fmla="*/ 961258 w 9586368"/>
              <a:gd name="connsiteY696" fmla="*/ 5982881 h 6479439"/>
              <a:gd name="connsiteX697" fmla="*/ 971168 w 9586368"/>
              <a:gd name="connsiteY697" fmla="*/ 5982881 h 6479439"/>
              <a:gd name="connsiteX698" fmla="*/ 975187 w 9586368"/>
              <a:gd name="connsiteY698" fmla="*/ 5986919 h 6479439"/>
              <a:gd name="connsiteX699" fmla="*/ 975187 w 9586368"/>
              <a:gd name="connsiteY699" fmla="*/ 5996790 h 6479439"/>
              <a:gd name="connsiteX700" fmla="*/ 971168 w 9586368"/>
              <a:gd name="connsiteY700" fmla="*/ 6000829 h 6479439"/>
              <a:gd name="connsiteX701" fmla="*/ 961258 w 9586368"/>
              <a:gd name="connsiteY701" fmla="*/ 6000829 h 6479439"/>
              <a:gd name="connsiteX702" fmla="*/ 957239 w 9586368"/>
              <a:gd name="connsiteY702" fmla="*/ 5996790 h 6479439"/>
              <a:gd name="connsiteX703" fmla="*/ 957239 w 9586368"/>
              <a:gd name="connsiteY703" fmla="*/ 5986919 h 6479439"/>
              <a:gd name="connsiteX704" fmla="*/ 9572438 w 9586368"/>
              <a:gd name="connsiteY704" fmla="*/ 5982829 h 6479439"/>
              <a:gd name="connsiteX705" fmla="*/ 9582349 w 9586368"/>
              <a:gd name="connsiteY705" fmla="*/ 5982829 h 6479439"/>
              <a:gd name="connsiteX706" fmla="*/ 9586368 w 9586368"/>
              <a:gd name="connsiteY706" fmla="*/ 5986868 h 6479439"/>
              <a:gd name="connsiteX707" fmla="*/ 9586368 w 9586368"/>
              <a:gd name="connsiteY707" fmla="*/ 5996739 h 6479439"/>
              <a:gd name="connsiteX708" fmla="*/ 9582349 w 9586368"/>
              <a:gd name="connsiteY708" fmla="*/ 6000778 h 6479439"/>
              <a:gd name="connsiteX709" fmla="*/ 9572438 w 9586368"/>
              <a:gd name="connsiteY709" fmla="*/ 6000778 h 6479439"/>
              <a:gd name="connsiteX710" fmla="*/ 9568419 w 9586368"/>
              <a:gd name="connsiteY710" fmla="*/ 5996739 h 6479439"/>
              <a:gd name="connsiteX711" fmla="*/ 9568419 w 9586368"/>
              <a:gd name="connsiteY711" fmla="*/ 5986868 h 6479439"/>
              <a:gd name="connsiteX712" fmla="*/ 9333125 w 9586368"/>
              <a:gd name="connsiteY712" fmla="*/ 5982829 h 6479439"/>
              <a:gd name="connsiteX713" fmla="*/ 9343036 w 9586368"/>
              <a:gd name="connsiteY713" fmla="*/ 5982829 h 6479439"/>
              <a:gd name="connsiteX714" fmla="*/ 9347055 w 9586368"/>
              <a:gd name="connsiteY714" fmla="*/ 5986868 h 6479439"/>
              <a:gd name="connsiteX715" fmla="*/ 9347055 w 9586368"/>
              <a:gd name="connsiteY715" fmla="*/ 5996739 h 6479439"/>
              <a:gd name="connsiteX716" fmla="*/ 9343036 w 9586368"/>
              <a:gd name="connsiteY716" fmla="*/ 6000778 h 6479439"/>
              <a:gd name="connsiteX717" fmla="*/ 9333125 w 9586368"/>
              <a:gd name="connsiteY717" fmla="*/ 6000778 h 6479439"/>
              <a:gd name="connsiteX718" fmla="*/ 9329106 w 9586368"/>
              <a:gd name="connsiteY718" fmla="*/ 5996739 h 6479439"/>
              <a:gd name="connsiteX719" fmla="*/ 9329106 w 9586368"/>
              <a:gd name="connsiteY719" fmla="*/ 5986868 h 6479439"/>
              <a:gd name="connsiteX720" fmla="*/ 9093811 w 9586368"/>
              <a:gd name="connsiteY720" fmla="*/ 5982829 h 6479439"/>
              <a:gd name="connsiteX721" fmla="*/ 9103722 w 9586368"/>
              <a:gd name="connsiteY721" fmla="*/ 5982829 h 6479439"/>
              <a:gd name="connsiteX722" fmla="*/ 9107741 w 9586368"/>
              <a:gd name="connsiteY722" fmla="*/ 5986868 h 6479439"/>
              <a:gd name="connsiteX723" fmla="*/ 9107741 w 9586368"/>
              <a:gd name="connsiteY723" fmla="*/ 5996739 h 6479439"/>
              <a:gd name="connsiteX724" fmla="*/ 9103722 w 9586368"/>
              <a:gd name="connsiteY724" fmla="*/ 6000778 h 6479439"/>
              <a:gd name="connsiteX725" fmla="*/ 9093811 w 9586368"/>
              <a:gd name="connsiteY725" fmla="*/ 6000778 h 6479439"/>
              <a:gd name="connsiteX726" fmla="*/ 9089792 w 9586368"/>
              <a:gd name="connsiteY726" fmla="*/ 5996739 h 6479439"/>
              <a:gd name="connsiteX727" fmla="*/ 9089792 w 9586368"/>
              <a:gd name="connsiteY727" fmla="*/ 5986868 h 6479439"/>
              <a:gd name="connsiteX728" fmla="*/ 8854496 w 9586368"/>
              <a:gd name="connsiteY728" fmla="*/ 5982829 h 6479439"/>
              <a:gd name="connsiteX729" fmla="*/ 8864407 w 9586368"/>
              <a:gd name="connsiteY729" fmla="*/ 5982829 h 6479439"/>
              <a:gd name="connsiteX730" fmla="*/ 8868426 w 9586368"/>
              <a:gd name="connsiteY730" fmla="*/ 5986868 h 6479439"/>
              <a:gd name="connsiteX731" fmla="*/ 8868426 w 9586368"/>
              <a:gd name="connsiteY731" fmla="*/ 5996739 h 6479439"/>
              <a:gd name="connsiteX732" fmla="*/ 8864407 w 9586368"/>
              <a:gd name="connsiteY732" fmla="*/ 6000778 h 6479439"/>
              <a:gd name="connsiteX733" fmla="*/ 8854496 w 9586368"/>
              <a:gd name="connsiteY733" fmla="*/ 6000778 h 6479439"/>
              <a:gd name="connsiteX734" fmla="*/ 8850477 w 9586368"/>
              <a:gd name="connsiteY734" fmla="*/ 5996739 h 6479439"/>
              <a:gd name="connsiteX735" fmla="*/ 8850477 w 9586368"/>
              <a:gd name="connsiteY735" fmla="*/ 5986868 h 6479439"/>
              <a:gd name="connsiteX736" fmla="*/ 8615184 w 9586368"/>
              <a:gd name="connsiteY736" fmla="*/ 5982829 h 6479439"/>
              <a:gd name="connsiteX737" fmla="*/ 8625095 w 9586368"/>
              <a:gd name="connsiteY737" fmla="*/ 5982829 h 6479439"/>
              <a:gd name="connsiteX738" fmla="*/ 8629114 w 9586368"/>
              <a:gd name="connsiteY738" fmla="*/ 5986868 h 6479439"/>
              <a:gd name="connsiteX739" fmla="*/ 8629114 w 9586368"/>
              <a:gd name="connsiteY739" fmla="*/ 5996739 h 6479439"/>
              <a:gd name="connsiteX740" fmla="*/ 8625095 w 9586368"/>
              <a:gd name="connsiteY740" fmla="*/ 6000778 h 6479439"/>
              <a:gd name="connsiteX741" fmla="*/ 8615184 w 9586368"/>
              <a:gd name="connsiteY741" fmla="*/ 6000778 h 6479439"/>
              <a:gd name="connsiteX742" fmla="*/ 8611165 w 9586368"/>
              <a:gd name="connsiteY742" fmla="*/ 5996739 h 6479439"/>
              <a:gd name="connsiteX743" fmla="*/ 8611165 w 9586368"/>
              <a:gd name="connsiteY743" fmla="*/ 5986868 h 6479439"/>
              <a:gd name="connsiteX744" fmla="*/ 8375869 w 9586368"/>
              <a:gd name="connsiteY744" fmla="*/ 5982829 h 6479439"/>
              <a:gd name="connsiteX745" fmla="*/ 8385779 w 9586368"/>
              <a:gd name="connsiteY745" fmla="*/ 5982829 h 6479439"/>
              <a:gd name="connsiteX746" fmla="*/ 8389799 w 9586368"/>
              <a:gd name="connsiteY746" fmla="*/ 5986868 h 6479439"/>
              <a:gd name="connsiteX747" fmla="*/ 8389799 w 9586368"/>
              <a:gd name="connsiteY747" fmla="*/ 5996739 h 6479439"/>
              <a:gd name="connsiteX748" fmla="*/ 8385779 w 9586368"/>
              <a:gd name="connsiteY748" fmla="*/ 6000778 h 6479439"/>
              <a:gd name="connsiteX749" fmla="*/ 8375869 w 9586368"/>
              <a:gd name="connsiteY749" fmla="*/ 6000778 h 6479439"/>
              <a:gd name="connsiteX750" fmla="*/ 8371850 w 9586368"/>
              <a:gd name="connsiteY750" fmla="*/ 5996739 h 6479439"/>
              <a:gd name="connsiteX751" fmla="*/ 8371850 w 9586368"/>
              <a:gd name="connsiteY751" fmla="*/ 5986868 h 6479439"/>
              <a:gd name="connsiteX752" fmla="*/ 8136553 w 9586368"/>
              <a:gd name="connsiteY752" fmla="*/ 5982829 h 6479439"/>
              <a:gd name="connsiteX753" fmla="*/ 8146464 w 9586368"/>
              <a:gd name="connsiteY753" fmla="*/ 5982829 h 6479439"/>
              <a:gd name="connsiteX754" fmla="*/ 8150483 w 9586368"/>
              <a:gd name="connsiteY754" fmla="*/ 5986868 h 6479439"/>
              <a:gd name="connsiteX755" fmla="*/ 8150483 w 9586368"/>
              <a:gd name="connsiteY755" fmla="*/ 5996739 h 6479439"/>
              <a:gd name="connsiteX756" fmla="*/ 8146464 w 9586368"/>
              <a:gd name="connsiteY756" fmla="*/ 6000778 h 6479439"/>
              <a:gd name="connsiteX757" fmla="*/ 8136553 w 9586368"/>
              <a:gd name="connsiteY757" fmla="*/ 6000778 h 6479439"/>
              <a:gd name="connsiteX758" fmla="*/ 8132534 w 9586368"/>
              <a:gd name="connsiteY758" fmla="*/ 5996739 h 6479439"/>
              <a:gd name="connsiteX759" fmla="*/ 8132534 w 9586368"/>
              <a:gd name="connsiteY759" fmla="*/ 5986868 h 6479439"/>
              <a:gd name="connsiteX760" fmla="*/ 7897241 w 9586368"/>
              <a:gd name="connsiteY760" fmla="*/ 5982829 h 6479439"/>
              <a:gd name="connsiteX761" fmla="*/ 7907151 w 9586368"/>
              <a:gd name="connsiteY761" fmla="*/ 5982829 h 6479439"/>
              <a:gd name="connsiteX762" fmla="*/ 7911170 w 9586368"/>
              <a:gd name="connsiteY762" fmla="*/ 5986868 h 6479439"/>
              <a:gd name="connsiteX763" fmla="*/ 7911170 w 9586368"/>
              <a:gd name="connsiteY763" fmla="*/ 5996739 h 6479439"/>
              <a:gd name="connsiteX764" fmla="*/ 7907151 w 9586368"/>
              <a:gd name="connsiteY764" fmla="*/ 6000778 h 6479439"/>
              <a:gd name="connsiteX765" fmla="*/ 7897241 w 9586368"/>
              <a:gd name="connsiteY765" fmla="*/ 6000778 h 6479439"/>
              <a:gd name="connsiteX766" fmla="*/ 7893222 w 9586368"/>
              <a:gd name="connsiteY766" fmla="*/ 5996739 h 6479439"/>
              <a:gd name="connsiteX767" fmla="*/ 7893222 w 9586368"/>
              <a:gd name="connsiteY767" fmla="*/ 5986868 h 6479439"/>
              <a:gd name="connsiteX768" fmla="*/ 7657926 w 9586368"/>
              <a:gd name="connsiteY768" fmla="*/ 5982829 h 6479439"/>
              <a:gd name="connsiteX769" fmla="*/ 7667836 w 9586368"/>
              <a:gd name="connsiteY769" fmla="*/ 5982829 h 6479439"/>
              <a:gd name="connsiteX770" fmla="*/ 7671855 w 9586368"/>
              <a:gd name="connsiteY770" fmla="*/ 5986868 h 6479439"/>
              <a:gd name="connsiteX771" fmla="*/ 7671855 w 9586368"/>
              <a:gd name="connsiteY771" fmla="*/ 5996739 h 6479439"/>
              <a:gd name="connsiteX772" fmla="*/ 7667836 w 9586368"/>
              <a:gd name="connsiteY772" fmla="*/ 6000778 h 6479439"/>
              <a:gd name="connsiteX773" fmla="*/ 7657926 w 9586368"/>
              <a:gd name="connsiteY773" fmla="*/ 6000778 h 6479439"/>
              <a:gd name="connsiteX774" fmla="*/ 7653906 w 9586368"/>
              <a:gd name="connsiteY774" fmla="*/ 5996739 h 6479439"/>
              <a:gd name="connsiteX775" fmla="*/ 7653906 w 9586368"/>
              <a:gd name="connsiteY775" fmla="*/ 5986868 h 6479439"/>
              <a:gd name="connsiteX776" fmla="*/ 7418611 w 9586368"/>
              <a:gd name="connsiteY776" fmla="*/ 5982829 h 6479439"/>
              <a:gd name="connsiteX777" fmla="*/ 7428521 w 9586368"/>
              <a:gd name="connsiteY777" fmla="*/ 5982829 h 6479439"/>
              <a:gd name="connsiteX778" fmla="*/ 7432540 w 9586368"/>
              <a:gd name="connsiteY778" fmla="*/ 5986868 h 6479439"/>
              <a:gd name="connsiteX779" fmla="*/ 7432540 w 9586368"/>
              <a:gd name="connsiteY779" fmla="*/ 5996739 h 6479439"/>
              <a:gd name="connsiteX780" fmla="*/ 7428521 w 9586368"/>
              <a:gd name="connsiteY780" fmla="*/ 6000778 h 6479439"/>
              <a:gd name="connsiteX781" fmla="*/ 7418611 w 9586368"/>
              <a:gd name="connsiteY781" fmla="*/ 6000778 h 6479439"/>
              <a:gd name="connsiteX782" fmla="*/ 7414592 w 9586368"/>
              <a:gd name="connsiteY782" fmla="*/ 5996739 h 6479439"/>
              <a:gd name="connsiteX783" fmla="*/ 7414592 w 9586368"/>
              <a:gd name="connsiteY783" fmla="*/ 5986868 h 6479439"/>
              <a:gd name="connsiteX784" fmla="*/ 7179298 w 9586368"/>
              <a:gd name="connsiteY784" fmla="*/ 5982829 h 6479439"/>
              <a:gd name="connsiteX785" fmla="*/ 7189209 w 9586368"/>
              <a:gd name="connsiteY785" fmla="*/ 5982829 h 6479439"/>
              <a:gd name="connsiteX786" fmla="*/ 7193228 w 9586368"/>
              <a:gd name="connsiteY786" fmla="*/ 5986868 h 6479439"/>
              <a:gd name="connsiteX787" fmla="*/ 7193228 w 9586368"/>
              <a:gd name="connsiteY787" fmla="*/ 5996739 h 6479439"/>
              <a:gd name="connsiteX788" fmla="*/ 7189209 w 9586368"/>
              <a:gd name="connsiteY788" fmla="*/ 6000778 h 6479439"/>
              <a:gd name="connsiteX789" fmla="*/ 7179298 w 9586368"/>
              <a:gd name="connsiteY789" fmla="*/ 6000778 h 6479439"/>
              <a:gd name="connsiteX790" fmla="*/ 7175279 w 9586368"/>
              <a:gd name="connsiteY790" fmla="*/ 5996739 h 6479439"/>
              <a:gd name="connsiteX791" fmla="*/ 7175279 w 9586368"/>
              <a:gd name="connsiteY791" fmla="*/ 5986868 h 6479439"/>
              <a:gd name="connsiteX792" fmla="*/ 6939983 w 9586368"/>
              <a:gd name="connsiteY792" fmla="*/ 5982829 h 6479439"/>
              <a:gd name="connsiteX793" fmla="*/ 6949894 w 9586368"/>
              <a:gd name="connsiteY793" fmla="*/ 5982829 h 6479439"/>
              <a:gd name="connsiteX794" fmla="*/ 6953913 w 9586368"/>
              <a:gd name="connsiteY794" fmla="*/ 5986868 h 6479439"/>
              <a:gd name="connsiteX795" fmla="*/ 6953913 w 9586368"/>
              <a:gd name="connsiteY795" fmla="*/ 5996739 h 6479439"/>
              <a:gd name="connsiteX796" fmla="*/ 6949894 w 9586368"/>
              <a:gd name="connsiteY796" fmla="*/ 6000778 h 6479439"/>
              <a:gd name="connsiteX797" fmla="*/ 6939983 w 9586368"/>
              <a:gd name="connsiteY797" fmla="*/ 6000778 h 6479439"/>
              <a:gd name="connsiteX798" fmla="*/ 6935964 w 9586368"/>
              <a:gd name="connsiteY798" fmla="*/ 5996739 h 6479439"/>
              <a:gd name="connsiteX799" fmla="*/ 6935964 w 9586368"/>
              <a:gd name="connsiteY799" fmla="*/ 5986868 h 6479439"/>
              <a:gd name="connsiteX800" fmla="*/ 6700670 w 9586368"/>
              <a:gd name="connsiteY800" fmla="*/ 5982829 h 6479439"/>
              <a:gd name="connsiteX801" fmla="*/ 6710581 w 9586368"/>
              <a:gd name="connsiteY801" fmla="*/ 5982829 h 6479439"/>
              <a:gd name="connsiteX802" fmla="*/ 6714600 w 9586368"/>
              <a:gd name="connsiteY802" fmla="*/ 5986868 h 6479439"/>
              <a:gd name="connsiteX803" fmla="*/ 6714600 w 9586368"/>
              <a:gd name="connsiteY803" fmla="*/ 5996739 h 6479439"/>
              <a:gd name="connsiteX804" fmla="*/ 6710581 w 9586368"/>
              <a:gd name="connsiteY804" fmla="*/ 6000778 h 6479439"/>
              <a:gd name="connsiteX805" fmla="*/ 6700670 w 9586368"/>
              <a:gd name="connsiteY805" fmla="*/ 6000778 h 6479439"/>
              <a:gd name="connsiteX806" fmla="*/ 6696651 w 9586368"/>
              <a:gd name="connsiteY806" fmla="*/ 5996739 h 6479439"/>
              <a:gd name="connsiteX807" fmla="*/ 6696651 w 9586368"/>
              <a:gd name="connsiteY807" fmla="*/ 5986868 h 6479439"/>
              <a:gd name="connsiteX808" fmla="*/ 6461356 w 9586368"/>
              <a:gd name="connsiteY808" fmla="*/ 5982829 h 6479439"/>
              <a:gd name="connsiteX809" fmla="*/ 6471266 w 9586368"/>
              <a:gd name="connsiteY809" fmla="*/ 5982829 h 6479439"/>
              <a:gd name="connsiteX810" fmla="*/ 6475285 w 9586368"/>
              <a:gd name="connsiteY810" fmla="*/ 5986868 h 6479439"/>
              <a:gd name="connsiteX811" fmla="*/ 6475285 w 9586368"/>
              <a:gd name="connsiteY811" fmla="*/ 5996739 h 6479439"/>
              <a:gd name="connsiteX812" fmla="*/ 6471266 w 9586368"/>
              <a:gd name="connsiteY812" fmla="*/ 6000778 h 6479439"/>
              <a:gd name="connsiteX813" fmla="*/ 6461356 w 9586368"/>
              <a:gd name="connsiteY813" fmla="*/ 6000778 h 6479439"/>
              <a:gd name="connsiteX814" fmla="*/ 6457337 w 9586368"/>
              <a:gd name="connsiteY814" fmla="*/ 5996739 h 6479439"/>
              <a:gd name="connsiteX815" fmla="*/ 6457337 w 9586368"/>
              <a:gd name="connsiteY815" fmla="*/ 5986868 h 6479439"/>
              <a:gd name="connsiteX816" fmla="*/ 6222042 w 9586368"/>
              <a:gd name="connsiteY816" fmla="*/ 5982829 h 6479439"/>
              <a:gd name="connsiteX817" fmla="*/ 6231952 w 9586368"/>
              <a:gd name="connsiteY817" fmla="*/ 5982829 h 6479439"/>
              <a:gd name="connsiteX818" fmla="*/ 6235971 w 9586368"/>
              <a:gd name="connsiteY818" fmla="*/ 5986868 h 6479439"/>
              <a:gd name="connsiteX819" fmla="*/ 6235971 w 9586368"/>
              <a:gd name="connsiteY819" fmla="*/ 5996739 h 6479439"/>
              <a:gd name="connsiteX820" fmla="*/ 6231952 w 9586368"/>
              <a:gd name="connsiteY820" fmla="*/ 6000778 h 6479439"/>
              <a:gd name="connsiteX821" fmla="*/ 6222042 w 9586368"/>
              <a:gd name="connsiteY821" fmla="*/ 6000778 h 6479439"/>
              <a:gd name="connsiteX822" fmla="*/ 6218023 w 9586368"/>
              <a:gd name="connsiteY822" fmla="*/ 5996739 h 6479439"/>
              <a:gd name="connsiteX823" fmla="*/ 6218023 w 9586368"/>
              <a:gd name="connsiteY823" fmla="*/ 5986868 h 6479439"/>
              <a:gd name="connsiteX824" fmla="*/ 5982729 w 9586368"/>
              <a:gd name="connsiteY824" fmla="*/ 5982829 h 6479439"/>
              <a:gd name="connsiteX825" fmla="*/ 5992639 w 9586368"/>
              <a:gd name="connsiteY825" fmla="*/ 5982829 h 6479439"/>
              <a:gd name="connsiteX826" fmla="*/ 5996658 w 9586368"/>
              <a:gd name="connsiteY826" fmla="*/ 5986868 h 6479439"/>
              <a:gd name="connsiteX827" fmla="*/ 5996658 w 9586368"/>
              <a:gd name="connsiteY827" fmla="*/ 5996739 h 6479439"/>
              <a:gd name="connsiteX828" fmla="*/ 5992639 w 9586368"/>
              <a:gd name="connsiteY828" fmla="*/ 6000778 h 6479439"/>
              <a:gd name="connsiteX829" fmla="*/ 5982729 w 9586368"/>
              <a:gd name="connsiteY829" fmla="*/ 6000778 h 6479439"/>
              <a:gd name="connsiteX830" fmla="*/ 5978710 w 9586368"/>
              <a:gd name="connsiteY830" fmla="*/ 5996739 h 6479439"/>
              <a:gd name="connsiteX831" fmla="*/ 5978710 w 9586368"/>
              <a:gd name="connsiteY831" fmla="*/ 5986868 h 6479439"/>
              <a:gd name="connsiteX832" fmla="*/ 5743412 w 9586368"/>
              <a:gd name="connsiteY832" fmla="*/ 5982829 h 6479439"/>
              <a:gd name="connsiteX833" fmla="*/ 5753323 w 9586368"/>
              <a:gd name="connsiteY833" fmla="*/ 5982829 h 6479439"/>
              <a:gd name="connsiteX834" fmla="*/ 5757342 w 9586368"/>
              <a:gd name="connsiteY834" fmla="*/ 5986868 h 6479439"/>
              <a:gd name="connsiteX835" fmla="*/ 5757342 w 9586368"/>
              <a:gd name="connsiteY835" fmla="*/ 5996739 h 6479439"/>
              <a:gd name="connsiteX836" fmla="*/ 5753323 w 9586368"/>
              <a:gd name="connsiteY836" fmla="*/ 6000778 h 6479439"/>
              <a:gd name="connsiteX837" fmla="*/ 5743412 w 9586368"/>
              <a:gd name="connsiteY837" fmla="*/ 6000778 h 6479439"/>
              <a:gd name="connsiteX838" fmla="*/ 5739393 w 9586368"/>
              <a:gd name="connsiteY838" fmla="*/ 5996739 h 6479439"/>
              <a:gd name="connsiteX839" fmla="*/ 5739393 w 9586368"/>
              <a:gd name="connsiteY839" fmla="*/ 5986868 h 6479439"/>
              <a:gd name="connsiteX840" fmla="*/ 5504099 w 9586368"/>
              <a:gd name="connsiteY840" fmla="*/ 5982829 h 6479439"/>
              <a:gd name="connsiteX841" fmla="*/ 5514010 w 9586368"/>
              <a:gd name="connsiteY841" fmla="*/ 5982829 h 6479439"/>
              <a:gd name="connsiteX842" fmla="*/ 5518029 w 9586368"/>
              <a:gd name="connsiteY842" fmla="*/ 5986868 h 6479439"/>
              <a:gd name="connsiteX843" fmla="*/ 5518029 w 9586368"/>
              <a:gd name="connsiteY843" fmla="*/ 5996739 h 6479439"/>
              <a:gd name="connsiteX844" fmla="*/ 5514010 w 9586368"/>
              <a:gd name="connsiteY844" fmla="*/ 6000778 h 6479439"/>
              <a:gd name="connsiteX845" fmla="*/ 5504099 w 9586368"/>
              <a:gd name="connsiteY845" fmla="*/ 6000778 h 6479439"/>
              <a:gd name="connsiteX846" fmla="*/ 5500080 w 9586368"/>
              <a:gd name="connsiteY846" fmla="*/ 5996739 h 6479439"/>
              <a:gd name="connsiteX847" fmla="*/ 5500080 w 9586368"/>
              <a:gd name="connsiteY847" fmla="*/ 5986868 h 6479439"/>
              <a:gd name="connsiteX848" fmla="*/ 5264784 w 9586368"/>
              <a:gd name="connsiteY848" fmla="*/ 5982829 h 6479439"/>
              <a:gd name="connsiteX849" fmla="*/ 5274694 w 9586368"/>
              <a:gd name="connsiteY849" fmla="*/ 5982829 h 6479439"/>
              <a:gd name="connsiteX850" fmla="*/ 5278713 w 9586368"/>
              <a:gd name="connsiteY850" fmla="*/ 5986868 h 6479439"/>
              <a:gd name="connsiteX851" fmla="*/ 5278713 w 9586368"/>
              <a:gd name="connsiteY851" fmla="*/ 5996739 h 6479439"/>
              <a:gd name="connsiteX852" fmla="*/ 5274694 w 9586368"/>
              <a:gd name="connsiteY852" fmla="*/ 6000778 h 6479439"/>
              <a:gd name="connsiteX853" fmla="*/ 5264784 w 9586368"/>
              <a:gd name="connsiteY853" fmla="*/ 6000778 h 6479439"/>
              <a:gd name="connsiteX854" fmla="*/ 5260765 w 9586368"/>
              <a:gd name="connsiteY854" fmla="*/ 5996739 h 6479439"/>
              <a:gd name="connsiteX855" fmla="*/ 5260765 w 9586368"/>
              <a:gd name="connsiteY855" fmla="*/ 5986868 h 6479439"/>
              <a:gd name="connsiteX856" fmla="*/ 5025470 w 9586368"/>
              <a:gd name="connsiteY856" fmla="*/ 5982829 h 6479439"/>
              <a:gd name="connsiteX857" fmla="*/ 5035381 w 9586368"/>
              <a:gd name="connsiteY857" fmla="*/ 5982829 h 6479439"/>
              <a:gd name="connsiteX858" fmla="*/ 5039400 w 9586368"/>
              <a:gd name="connsiteY858" fmla="*/ 5986868 h 6479439"/>
              <a:gd name="connsiteX859" fmla="*/ 5039400 w 9586368"/>
              <a:gd name="connsiteY859" fmla="*/ 5996739 h 6479439"/>
              <a:gd name="connsiteX860" fmla="*/ 5035381 w 9586368"/>
              <a:gd name="connsiteY860" fmla="*/ 6000778 h 6479439"/>
              <a:gd name="connsiteX861" fmla="*/ 5025470 w 9586368"/>
              <a:gd name="connsiteY861" fmla="*/ 6000778 h 6479439"/>
              <a:gd name="connsiteX862" fmla="*/ 5021451 w 9586368"/>
              <a:gd name="connsiteY862" fmla="*/ 5996739 h 6479439"/>
              <a:gd name="connsiteX863" fmla="*/ 5021451 w 9586368"/>
              <a:gd name="connsiteY863" fmla="*/ 5986868 h 6479439"/>
              <a:gd name="connsiteX864" fmla="*/ 4786241 w 9586368"/>
              <a:gd name="connsiteY864" fmla="*/ 5982829 h 6479439"/>
              <a:gd name="connsiteX865" fmla="*/ 4796152 w 9586368"/>
              <a:gd name="connsiteY865" fmla="*/ 5982829 h 6479439"/>
              <a:gd name="connsiteX866" fmla="*/ 4800171 w 9586368"/>
              <a:gd name="connsiteY866" fmla="*/ 5986868 h 6479439"/>
              <a:gd name="connsiteX867" fmla="*/ 4800171 w 9586368"/>
              <a:gd name="connsiteY867" fmla="*/ 5996739 h 6479439"/>
              <a:gd name="connsiteX868" fmla="*/ 4796152 w 9586368"/>
              <a:gd name="connsiteY868" fmla="*/ 6000778 h 6479439"/>
              <a:gd name="connsiteX869" fmla="*/ 4786241 w 9586368"/>
              <a:gd name="connsiteY869" fmla="*/ 6000778 h 6479439"/>
              <a:gd name="connsiteX870" fmla="*/ 4782224 w 9586368"/>
              <a:gd name="connsiteY870" fmla="*/ 5996739 h 6479439"/>
              <a:gd name="connsiteX871" fmla="*/ 4782224 w 9586368"/>
              <a:gd name="connsiteY871" fmla="*/ 5986868 h 6479439"/>
              <a:gd name="connsiteX872" fmla="*/ 4546929 w 9586368"/>
              <a:gd name="connsiteY872" fmla="*/ 5982829 h 6479439"/>
              <a:gd name="connsiteX873" fmla="*/ 4556840 w 9586368"/>
              <a:gd name="connsiteY873" fmla="*/ 5982829 h 6479439"/>
              <a:gd name="connsiteX874" fmla="*/ 4560859 w 9586368"/>
              <a:gd name="connsiteY874" fmla="*/ 5986868 h 6479439"/>
              <a:gd name="connsiteX875" fmla="*/ 4560859 w 9586368"/>
              <a:gd name="connsiteY875" fmla="*/ 5996739 h 6479439"/>
              <a:gd name="connsiteX876" fmla="*/ 4556840 w 9586368"/>
              <a:gd name="connsiteY876" fmla="*/ 6000778 h 6479439"/>
              <a:gd name="connsiteX877" fmla="*/ 4546929 w 9586368"/>
              <a:gd name="connsiteY877" fmla="*/ 6000778 h 6479439"/>
              <a:gd name="connsiteX878" fmla="*/ 4542910 w 9586368"/>
              <a:gd name="connsiteY878" fmla="*/ 5996739 h 6479439"/>
              <a:gd name="connsiteX879" fmla="*/ 4542910 w 9586368"/>
              <a:gd name="connsiteY879" fmla="*/ 5986868 h 6479439"/>
              <a:gd name="connsiteX880" fmla="*/ 4307612 w 9586368"/>
              <a:gd name="connsiteY880" fmla="*/ 5982829 h 6479439"/>
              <a:gd name="connsiteX881" fmla="*/ 4317523 w 9586368"/>
              <a:gd name="connsiteY881" fmla="*/ 5982829 h 6479439"/>
              <a:gd name="connsiteX882" fmla="*/ 4321543 w 9586368"/>
              <a:gd name="connsiteY882" fmla="*/ 5986868 h 6479439"/>
              <a:gd name="connsiteX883" fmla="*/ 4321543 w 9586368"/>
              <a:gd name="connsiteY883" fmla="*/ 5996739 h 6479439"/>
              <a:gd name="connsiteX884" fmla="*/ 4317523 w 9586368"/>
              <a:gd name="connsiteY884" fmla="*/ 6000778 h 6479439"/>
              <a:gd name="connsiteX885" fmla="*/ 4307612 w 9586368"/>
              <a:gd name="connsiteY885" fmla="*/ 6000778 h 6479439"/>
              <a:gd name="connsiteX886" fmla="*/ 4303595 w 9586368"/>
              <a:gd name="connsiteY886" fmla="*/ 5996739 h 6479439"/>
              <a:gd name="connsiteX887" fmla="*/ 4303595 w 9586368"/>
              <a:gd name="connsiteY887" fmla="*/ 5986868 h 6479439"/>
              <a:gd name="connsiteX888" fmla="*/ 4068297 w 9586368"/>
              <a:gd name="connsiteY888" fmla="*/ 5982829 h 6479439"/>
              <a:gd name="connsiteX889" fmla="*/ 4078210 w 9586368"/>
              <a:gd name="connsiteY889" fmla="*/ 5982829 h 6479439"/>
              <a:gd name="connsiteX890" fmla="*/ 4082229 w 9586368"/>
              <a:gd name="connsiteY890" fmla="*/ 5986868 h 6479439"/>
              <a:gd name="connsiteX891" fmla="*/ 4082229 w 9586368"/>
              <a:gd name="connsiteY891" fmla="*/ 5996739 h 6479439"/>
              <a:gd name="connsiteX892" fmla="*/ 4078210 w 9586368"/>
              <a:gd name="connsiteY892" fmla="*/ 6000778 h 6479439"/>
              <a:gd name="connsiteX893" fmla="*/ 4068297 w 9586368"/>
              <a:gd name="connsiteY893" fmla="*/ 6000778 h 6479439"/>
              <a:gd name="connsiteX894" fmla="*/ 4064278 w 9586368"/>
              <a:gd name="connsiteY894" fmla="*/ 5996739 h 6479439"/>
              <a:gd name="connsiteX895" fmla="*/ 4064278 w 9586368"/>
              <a:gd name="connsiteY895" fmla="*/ 5986868 h 6479439"/>
              <a:gd name="connsiteX896" fmla="*/ 3828990 w 9586368"/>
              <a:gd name="connsiteY896" fmla="*/ 5982829 h 6479439"/>
              <a:gd name="connsiteX897" fmla="*/ 3838899 w 9586368"/>
              <a:gd name="connsiteY897" fmla="*/ 5982829 h 6479439"/>
              <a:gd name="connsiteX898" fmla="*/ 3842917 w 9586368"/>
              <a:gd name="connsiteY898" fmla="*/ 5986868 h 6479439"/>
              <a:gd name="connsiteX899" fmla="*/ 3842917 w 9586368"/>
              <a:gd name="connsiteY899" fmla="*/ 5996739 h 6479439"/>
              <a:gd name="connsiteX900" fmla="*/ 3838899 w 9586368"/>
              <a:gd name="connsiteY900" fmla="*/ 6000778 h 6479439"/>
              <a:gd name="connsiteX901" fmla="*/ 3828990 w 9586368"/>
              <a:gd name="connsiteY901" fmla="*/ 6000778 h 6479439"/>
              <a:gd name="connsiteX902" fmla="*/ 3824971 w 9586368"/>
              <a:gd name="connsiteY902" fmla="*/ 5996739 h 6479439"/>
              <a:gd name="connsiteX903" fmla="*/ 3824971 w 9586368"/>
              <a:gd name="connsiteY903" fmla="*/ 5986868 h 6479439"/>
              <a:gd name="connsiteX904" fmla="*/ 3589676 w 9586368"/>
              <a:gd name="connsiteY904" fmla="*/ 5982829 h 6479439"/>
              <a:gd name="connsiteX905" fmla="*/ 3599585 w 9586368"/>
              <a:gd name="connsiteY905" fmla="*/ 5982829 h 6479439"/>
              <a:gd name="connsiteX906" fmla="*/ 3603604 w 9586368"/>
              <a:gd name="connsiteY906" fmla="*/ 5986868 h 6479439"/>
              <a:gd name="connsiteX907" fmla="*/ 3603604 w 9586368"/>
              <a:gd name="connsiteY907" fmla="*/ 5996739 h 6479439"/>
              <a:gd name="connsiteX908" fmla="*/ 3599585 w 9586368"/>
              <a:gd name="connsiteY908" fmla="*/ 6000778 h 6479439"/>
              <a:gd name="connsiteX909" fmla="*/ 3589676 w 9586368"/>
              <a:gd name="connsiteY909" fmla="*/ 6000778 h 6479439"/>
              <a:gd name="connsiteX910" fmla="*/ 3585657 w 9586368"/>
              <a:gd name="connsiteY910" fmla="*/ 5996739 h 6479439"/>
              <a:gd name="connsiteX911" fmla="*/ 3585657 w 9586368"/>
              <a:gd name="connsiteY911" fmla="*/ 5986868 h 6479439"/>
              <a:gd name="connsiteX912" fmla="*/ 3350359 w 9586368"/>
              <a:gd name="connsiteY912" fmla="*/ 5982829 h 6479439"/>
              <a:gd name="connsiteX913" fmla="*/ 3360268 w 9586368"/>
              <a:gd name="connsiteY913" fmla="*/ 5982829 h 6479439"/>
              <a:gd name="connsiteX914" fmla="*/ 3364287 w 9586368"/>
              <a:gd name="connsiteY914" fmla="*/ 5986868 h 6479439"/>
              <a:gd name="connsiteX915" fmla="*/ 3364287 w 9586368"/>
              <a:gd name="connsiteY915" fmla="*/ 5996739 h 6479439"/>
              <a:gd name="connsiteX916" fmla="*/ 3360268 w 9586368"/>
              <a:gd name="connsiteY916" fmla="*/ 6000778 h 6479439"/>
              <a:gd name="connsiteX917" fmla="*/ 3350359 w 9586368"/>
              <a:gd name="connsiteY917" fmla="*/ 6000778 h 6479439"/>
              <a:gd name="connsiteX918" fmla="*/ 3346340 w 9586368"/>
              <a:gd name="connsiteY918" fmla="*/ 5996739 h 6479439"/>
              <a:gd name="connsiteX919" fmla="*/ 3346340 w 9586368"/>
              <a:gd name="connsiteY919" fmla="*/ 5986868 h 6479439"/>
              <a:gd name="connsiteX920" fmla="*/ 3111048 w 9586368"/>
              <a:gd name="connsiteY920" fmla="*/ 5982829 h 6479439"/>
              <a:gd name="connsiteX921" fmla="*/ 3120959 w 9586368"/>
              <a:gd name="connsiteY921" fmla="*/ 5982829 h 6479439"/>
              <a:gd name="connsiteX922" fmla="*/ 3124977 w 9586368"/>
              <a:gd name="connsiteY922" fmla="*/ 5986868 h 6479439"/>
              <a:gd name="connsiteX923" fmla="*/ 3124977 w 9586368"/>
              <a:gd name="connsiteY923" fmla="*/ 5996739 h 6479439"/>
              <a:gd name="connsiteX924" fmla="*/ 3120959 w 9586368"/>
              <a:gd name="connsiteY924" fmla="*/ 6000778 h 6479439"/>
              <a:gd name="connsiteX925" fmla="*/ 3111048 w 9586368"/>
              <a:gd name="connsiteY925" fmla="*/ 6000778 h 6479439"/>
              <a:gd name="connsiteX926" fmla="*/ 3107029 w 9586368"/>
              <a:gd name="connsiteY926" fmla="*/ 5996739 h 6479439"/>
              <a:gd name="connsiteX927" fmla="*/ 3107029 w 9586368"/>
              <a:gd name="connsiteY927" fmla="*/ 5986868 h 6479439"/>
              <a:gd name="connsiteX928" fmla="*/ 2871737 w 9586368"/>
              <a:gd name="connsiteY928" fmla="*/ 5982829 h 6479439"/>
              <a:gd name="connsiteX929" fmla="*/ 2881646 w 9586368"/>
              <a:gd name="connsiteY929" fmla="*/ 5982829 h 6479439"/>
              <a:gd name="connsiteX930" fmla="*/ 2885666 w 9586368"/>
              <a:gd name="connsiteY930" fmla="*/ 5986868 h 6479439"/>
              <a:gd name="connsiteX931" fmla="*/ 2885666 w 9586368"/>
              <a:gd name="connsiteY931" fmla="*/ 5996739 h 6479439"/>
              <a:gd name="connsiteX932" fmla="*/ 2881646 w 9586368"/>
              <a:gd name="connsiteY932" fmla="*/ 6000778 h 6479439"/>
              <a:gd name="connsiteX933" fmla="*/ 2871737 w 9586368"/>
              <a:gd name="connsiteY933" fmla="*/ 6000778 h 6479439"/>
              <a:gd name="connsiteX934" fmla="*/ 2867717 w 9586368"/>
              <a:gd name="connsiteY934" fmla="*/ 5996739 h 6479439"/>
              <a:gd name="connsiteX935" fmla="*/ 2867717 w 9586368"/>
              <a:gd name="connsiteY935" fmla="*/ 5986868 h 6479439"/>
              <a:gd name="connsiteX936" fmla="*/ 2632423 w 9586368"/>
              <a:gd name="connsiteY936" fmla="*/ 5982829 h 6479439"/>
              <a:gd name="connsiteX937" fmla="*/ 2642334 w 9586368"/>
              <a:gd name="connsiteY937" fmla="*/ 5982829 h 6479439"/>
              <a:gd name="connsiteX938" fmla="*/ 2646352 w 9586368"/>
              <a:gd name="connsiteY938" fmla="*/ 5986868 h 6479439"/>
              <a:gd name="connsiteX939" fmla="*/ 2646352 w 9586368"/>
              <a:gd name="connsiteY939" fmla="*/ 5996739 h 6479439"/>
              <a:gd name="connsiteX940" fmla="*/ 2642334 w 9586368"/>
              <a:gd name="connsiteY940" fmla="*/ 6000778 h 6479439"/>
              <a:gd name="connsiteX941" fmla="*/ 2632423 w 9586368"/>
              <a:gd name="connsiteY941" fmla="*/ 6000778 h 6479439"/>
              <a:gd name="connsiteX942" fmla="*/ 2628404 w 9586368"/>
              <a:gd name="connsiteY942" fmla="*/ 5996739 h 6479439"/>
              <a:gd name="connsiteX943" fmla="*/ 2628404 w 9586368"/>
              <a:gd name="connsiteY943" fmla="*/ 5986868 h 6479439"/>
              <a:gd name="connsiteX944" fmla="*/ 2393104 w 9586368"/>
              <a:gd name="connsiteY944" fmla="*/ 5982829 h 6479439"/>
              <a:gd name="connsiteX945" fmla="*/ 2403015 w 9586368"/>
              <a:gd name="connsiteY945" fmla="*/ 5982829 h 6479439"/>
              <a:gd name="connsiteX946" fmla="*/ 2407034 w 9586368"/>
              <a:gd name="connsiteY946" fmla="*/ 5986868 h 6479439"/>
              <a:gd name="connsiteX947" fmla="*/ 2407034 w 9586368"/>
              <a:gd name="connsiteY947" fmla="*/ 5996739 h 6479439"/>
              <a:gd name="connsiteX948" fmla="*/ 2403015 w 9586368"/>
              <a:gd name="connsiteY948" fmla="*/ 6000778 h 6479439"/>
              <a:gd name="connsiteX949" fmla="*/ 2393104 w 9586368"/>
              <a:gd name="connsiteY949" fmla="*/ 6000778 h 6479439"/>
              <a:gd name="connsiteX950" fmla="*/ 2389087 w 9586368"/>
              <a:gd name="connsiteY950" fmla="*/ 5996739 h 6479439"/>
              <a:gd name="connsiteX951" fmla="*/ 2389087 w 9586368"/>
              <a:gd name="connsiteY951" fmla="*/ 5986868 h 6479439"/>
              <a:gd name="connsiteX952" fmla="*/ 721960 w 9586368"/>
              <a:gd name="connsiteY952" fmla="*/ 5982829 h 6479439"/>
              <a:gd name="connsiteX953" fmla="*/ 731869 w 9586368"/>
              <a:gd name="connsiteY953" fmla="*/ 5982829 h 6479439"/>
              <a:gd name="connsiteX954" fmla="*/ 735888 w 9586368"/>
              <a:gd name="connsiteY954" fmla="*/ 5986868 h 6479439"/>
              <a:gd name="connsiteX955" fmla="*/ 735888 w 9586368"/>
              <a:gd name="connsiteY955" fmla="*/ 5996739 h 6479439"/>
              <a:gd name="connsiteX956" fmla="*/ 731869 w 9586368"/>
              <a:gd name="connsiteY956" fmla="*/ 6000778 h 6479439"/>
              <a:gd name="connsiteX957" fmla="*/ 721960 w 9586368"/>
              <a:gd name="connsiteY957" fmla="*/ 6000778 h 6479439"/>
              <a:gd name="connsiteX958" fmla="*/ 717940 w 9586368"/>
              <a:gd name="connsiteY958" fmla="*/ 5996739 h 6479439"/>
              <a:gd name="connsiteX959" fmla="*/ 717940 w 9586368"/>
              <a:gd name="connsiteY959" fmla="*/ 5986868 h 6479439"/>
              <a:gd name="connsiteX960" fmla="*/ 482647 w 9586368"/>
              <a:gd name="connsiteY960" fmla="*/ 5982829 h 6479439"/>
              <a:gd name="connsiteX961" fmla="*/ 492557 w 9586368"/>
              <a:gd name="connsiteY961" fmla="*/ 5982829 h 6479439"/>
              <a:gd name="connsiteX962" fmla="*/ 496576 w 9586368"/>
              <a:gd name="connsiteY962" fmla="*/ 5986868 h 6479439"/>
              <a:gd name="connsiteX963" fmla="*/ 496576 w 9586368"/>
              <a:gd name="connsiteY963" fmla="*/ 5996739 h 6479439"/>
              <a:gd name="connsiteX964" fmla="*/ 492557 w 9586368"/>
              <a:gd name="connsiteY964" fmla="*/ 6000778 h 6479439"/>
              <a:gd name="connsiteX965" fmla="*/ 482647 w 9586368"/>
              <a:gd name="connsiteY965" fmla="*/ 6000778 h 6479439"/>
              <a:gd name="connsiteX966" fmla="*/ 478628 w 9586368"/>
              <a:gd name="connsiteY966" fmla="*/ 5996739 h 6479439"/>
              <a:gd name="connsiteX967" fmla="*/ 478628 w 9586368"/>
              <a:gd name="connsiteY967" fmla="*/ 5986868 h 6479439"/>
              <a:gd name="connsiteX968" fmla="*/ 243334 w 9586368"/>
              <a:gd name="connsiteY968" fmla="*/ 5982829 h 6479439"/>
              <a:gd name="connsiteX969" fmla="*/ 253244 w 9586368"/>
              <a:gd name="connsiteY969" fmla="*/ 5982829 h 6479439"/>
              <a:gd name="connsiteX970" fmla="*/ 257263 w 9586368"/>
              <a:gd name="connsiteY970" fmla="*/ 5986868 h 6479439"/>
              <a:gd name="connsiteX971" fmla="*/ 257263 w 9586368"/>
              <a:gd name="connsiteY971" fmla="*/ 5996739 h 6479439"/>
              <a:gd name="connsiteX972" fmla="*/ 253244 w 9586368"/>
              <a:gd name="connsiteY972" fmla="*/ 6000778 h 6479439"/>
              <a:gd name="connsiteX973" fmla="*/ 243334 w 9586368"/>
              <a:gd name="connsiteY973" fmla="*/ 6000778 h 6479439"/>
              <a:gd name="connsiteX974" fmla="*/ 239315 w 9586368"/>
              <a:gd name="connsiteY974" fmla="*/ 5996739 h 6479439"/>
              <a:gd name="connsiteX975" fmla="*/ 239315 w 9586368"/>
              <a:gd name="connsiteY975" fmla="*/ 5986868 h 6479439"/>
              <a:gd name="connsiteX976" fmla="*/ 4021 w 9586368"/>
              <a:gd name="connsiteY976" fmla="*/ 5982829 h 6479439"/>
              <a:gd name="connsiteX977" fmla="*/ 13931 w 9586368"/>
              <a:gd name="connsiteY977" fmla="*/ 5982829 h 6479439"/>
              <a:gd name="connsiteX978" fmla="*/ 17950 w 9586368"/>
              <a:gd name="connsiteY978" fmla="*/ 5986868 h 6479439"/>
              <a:gd name="connsiteX979" fmla="*/ 17950 w 9586368"/>
              <a:gd name="connsiteY979" fmla="*/ 5996739 h 6479439"/>
              <a:gd name="connsiteX980" fmla="*/ 13931 w 9586368"/>
              <a:gd name="connsiteY980" fmla="*/ 6000778 h 6479439"/>
              <a:gd name="connsiteX981" fmla="*/ 4021 w 9586368"/>
              <a:gd name="connsiteY981" fmla="*/ 6000778 h 6479439"/>
              <a:gd name="connsiteX982" fmla="*/ 1 w 9586368"/>
              <a:gd name="connsiteY982" fmla="*/ 5996739 h 6479439"/>
              <a:gd name="connsiteX983" fmla="*/ 1 w 9586368"/>
              <a:gd name="connsiteY983" fmla="*/ 5986868 h 6479439"/>
              <a:gd name="connsiteX984" fmla="*/ 2157818 w 9586368"/>
              <a:gd name="connsiteY984" fmla="*/ 5743551 h 6479439"/>
              <a:gd name="connsiteX985" fmla="*/ 2167728 w 9586368"/>
              <a:gd name="connsiteY985" fmla="*/ 5743551 h 6479439"/>
              <a:gd name="connsiteX986" fmla="*/ 2171747 w 9586368"/>
              <a:gd name="connsiteY986" fmla="*/ 5747589 h 6479439"/>
              <a:gd name="connsiteX987" fmla="*/ 2171747 w 9586368"/>
              <a:gd name="connsiteY987" fmla="*/ 5757460 h 6479439"/>
              <a:gd name="connsiteX988" fmla="*/ 2167728 w 9586368"/>
              <a:gd name="connsiteY988" fmla="*/ 5761499 h 6479439"/>
              <a:gd name="connsiteX989" fmla="*/ 2157818 w 9586368"/>
              <a:gd name="connsiteY989" fmla="*/ 5761499 h 6479439"/>
              <a:gd name="connsiteX990" fmla="*/ 2153799 w 9586368"/>
              <a:gd name="connsiteY990" fmla="*/ 5757460 h 6479439"/>
              <a:gd name="connsiteX991" fmla="*/ 2153799 w 9586368"/>
              <a:gd name="connsiteY991" fmla="*/ 5747589 h 6479439"/>
              <a:gd name="connsiteX992" fmla="*/ 1918510 w 9586368"/>
              <a:gd name="connsiteY992" fmla="*/ 5743551 h 6479439"/>
              <a:gd name="connsiteX993" fmla="*/ 1928420 w 9586368"/>
              <a:gd name="connsiteY993" fmla="*/ 5743551 h 6479439"/>
              <a:gd name="connsiteX994" fmla="*/ 1932438 w 9586368"/>
              <a:gd name="connsiteY994" fmla="*/ 5747589 h 6479439"/>
              <a:gd name="connsiteX995" fmla="*/ 1932438 w 9586368"/>
              <a:gd name="connsiteY995" fmla="*/ 5757460 h 6479439"/>
              <a:gd name="connsiteX996" fmla="*/ 1928420 w 9586368"/>
              <a:gd name="connsiteY996" fmla="*/ 5761499 h 6479439"/>
              <a:gd name="connsiteX997" fmla="*/ 1918510 w 9586368"/>
              <a:gd name="connsiteY997" fmla="*/ 5761499 h 6479439"/>
              <a:gd name="connsiteX998" fmla="*/ 1914490 w 9586368"/>
              <a:gd name="connsiteY998" fmla="*/ 5757460 h 6479439"/>
              <a:gd name="connsiteX999" fmla="*/ 1914490 w 9586368"/>
              <a:gd name="connsiteY999" fmla="*/ 5747589 h 6479439"/>
              <a:gd name="connsiteX1000" fmla="*/ 1679201 w 9586368"/>
              <a:gd name="connsiteY1000" fmla="*/ 5743551 h 6479439"/>
              <a:gd name="connsiteX1001" fmla="*/ 1689112 w 9586368"/>
              <a:gd name="connsiteY1001" fmla="*/ 5743551 h 6479439"/>
              <a:gd name="connsiteX1002" fmla="*/ 1693131 w 9586368"/>
              <a:gd name="connsiteY1002" fmla="*/ 5747589 h 6479439"/>
              <a:gd name="connsiteX1003" fmla="*/ 1693131 w 9586368"/>
              <a:gd name="connsiteY1003" fmla="*/ 5757460 h 6479439"/>
              <a:gd name="connsiteX1004" fmla="*/ 1689112 w 9586368"/>
              <a:gd name="connsiteY1004" fmla="*/ 5761499 h 6479439"/>
              <a:gd name="connsiteX1005" fmla="*/ 1679201 w 9586368"/>
              <a:gd name="connsiteY1005" fmla="*/ 5761499 h 6479439"/>
              <a:gd name="connsiteX1006" fmla="*/ 1675183 w 9586368"/>
              <a:gd name="connsiteY1006" fmla="*/ 5757460 h 6479439"/>
              <a:gd name="connsiteX1007" fmla="*/ 1675183 w 9586368"/>
              <a:gd name="connsiteY1007" fmla="*/ 5747589 h 6479439"/>
              <a:gd name="connsiteX1008" fmla="*/ 1439886 w 9586368"/>
              <a:gd name="connsiteY1008" fmla="*/ 5743551 h 6479439"/>
              <a:gd name="connsiteX1009" fmla="*/ 1449797 w 9586368"/>
              <a:gd name="connsiteY1009" fmla="*/ 5743551 h 6479439"/>
              <a:gd name="connsiteX1010" fmla="*/ 1453815 w 9586368"/>
              <a:gd name="connsiteY1010" fmla="*/ 5747589 h 6479439"/>
              <a:gd name="connsiteX1011" fmla="*/ 1453815 w 9586368"/>
              <a:gd name="connsiteY1011" fmla="*/ 5757460 h 6479439"/>
              <a:gd name="connsiteX1012" fmla="*/ 1449797 w 9586368"/>
              <a:gd name="connsiteY1012" fmla="*/ 5761499 h 6479439"/>
              <a:gd name="connsiteX1013" fmla="*/ 1439886 w 9586368"/>
              <a:gd name="connsiteY1013" fmla="*/ 5761499 h 6479439"/>
              <a:gd name="connsiteX1014" fmla="*/ 1435868 w 9586368"/>
              <a:gd name="connsiteY1014" fmla="*/ 5757460 h 6479439"/>
              <a:gd name="connsiteX1015" fmla="*/ 1435868 w 9586368"/>
              <a:gd name="connsiteY1015" fmla="*/ 5747589 h 6479439"/>
              <a:gd name="connsiteX1016" fmla="*/ 1200572 w 9586368"/>
              <a:gd name="connsiteY1016" fmla="*/ 5743551 h 6479439"/>
              <a:gd name="connsiteX1017" fmla="*/ 1210482 w 9586368"/>
              <a:gd name="connsiteY1017" fmla="*/ 5743551 h 6479439"/>
              <a:gd name="connsiteX1018" fmla="*/ 1214500 w 9586368"/>
              <a:gd name="connsiteY1018" fmla="*/ 5747589 h 6479439"/>
              <a:gd name="connsiteX1019" fmla="*/ 1214500 w 9586368"/>
              <a:gd name="connsiteY1019" fmla="*/ 5757460 h 6479439"/>
              <a:gd name="connsiteX1020" fmla="*/ 1210482 w 9586368"/>
              <a:gd name="connsiteY1020" fmla="*/ 5761499 h 6479439"/>
              <a:gd name="connsiteX1021" fmla="*/ 1200572 w 9586368"/>
              <a:gd name="connsiteY1021" fmla="*/ 5761499 h 6479439"/>
              <a:gd name="connsiteX1022" fmla="*/ 1196553 w 9586368"/>
              <a:gd name="connsiteY1022" fmla="*/ 5757460 h 6479439"/>
              <a:gd name="connsiteX1023" fmla="*/ 1196553 w 9586368"/>
              <a:gd name="connsiteY1023" fmla="*/ 5747589 h 6479439"/>
              <a:gd name="connsiteX1024" fmla="*/ 961259 w 9586368"/>
              <a:gd name="connsiteY1024" fmla="*/ 5743551 h 6479439"/>
              <a:gd name="connsiteX1025" fmla="*/ 971169 w 9586368"/>
              <a:gd name="connsiteY1025" fmla="*/ 5743551 h 6479439"/>
              <a:gd name="connsiteX1026" fmla="*/ 975188 w 9586368"/>
              <a:gd name="connsiteY1026" fmla="*/ 5747589 h 6479439"/>
              <a:gd name="connsiteX1027" fmla="*/ 975188 w 9586368"/>
              <a:gd name="connsiteY1027" fmla="*/ 5757460 h 6479439"/>
              <a:gd name="connsiteX1028" fmla="*/ 971169 w 9586368"/>
              <a:gd name="connsiteY1028" fmla="*/ 5761499 h 6479439"/>
              <a:gd name="connsiteX1029" fmla="*/ 961259 w 9586368"/>
              <a:gd name="connsiteY1029" fmla="*/ 5761499 h 6479439"/>
              <a:gd name="connsiteX1030" fmla="*/ 957240 w 9586368"/>
              <a:gd name="connsiteY1030" fmla="*/ 5757460 h 6479439"/>
              <a:gd name="connsiteX1031" fmla="*/ 957240 w 9586368"/>
              <a:gd name="connsiteY1031" fmla="*/ 5747589 h 6479439"/>
              <a:gd name="connsiteX1032" fmla="*/ 9572438 w 9586368"/>
              <a:gd name="connsiteY1032" fmla="*/ 5743499 h 6479439"/>
              <a:gd name="connsiteX1033" fmla="*/ 9582349 w 9586368"/>
              <a:gd name="connsiteY1033" fmla="*/ 5743499 h 6479439"/>
              <a:gd name="connsiteX1034" fmla="*/ 9586368 w 9586368"/>
              <a:gd name="connsiteY1034" fmla="*/ 5747537 h 6479439"/>
              <a:gd name="connsiteX1035" fmla="*/ 9586368 w 9586368"/>
              <a:gd name="connsiteY1035" fmla="*/ 5757408 h 6479439"/>
              <a:gd name="connsiteX1036" fmla="*/ 9582349 w 9586368"/>
              <a:gd name="connsiteY1036" fmla="*/ 5761447 h 6479439"/>
              <a:gd name="connsiteX1037" fmla="*/ 9572438 w 9586368"/>
              <a:gd name="connsiteY1037" fmla="*/ 5761447 h 6479439"/>
              <a:gd name="connsiteX1038" fmla="*/ 9568419 w 9586368"/>
              <a:gd name="connsiteY1038" fmla="*/ 5757408 h 6479439"/>
              <a:gd name="connsiteX1039" fmla="*/ 9568419 w 9586368"/>
              <a:gd name="connsiteY1039" fmla="*/ 5747537 h 6479439"/>
              <a:gd name="connsiteX1040" fmla="*/ 9333125 w 9586368"/>
              <a:gd name="connsiteY1040" fmla="*/ 5743499 h 6479439"/>
              <a:gd name="connsiteX1041" fmla="*/ 9343036 w 9586368"/>
              <a:gd name="connsiteY1041" fmla="*/ 5743499 h 6479439"/>
              <a:gd name="connsiteX1042" fmla="*/ 9347055 w 9586368"/>
              <a:gd name="connsiteY1042" fmla="*/ 5747537 h 6479439"/>
              <a:gd name="connsiteX1043" fmla="*/ 9347055 w 9586368"/>
              <a:gd name="connsiteY1043" fmla="*/ 5757408 h 6479439"/>
              <a:gd name="connsiteX1044" fmla="*/ 9343036 w 9586368"/>
              <a:gd name="connsiteY1044" fmla="*/ 5761447 h 6479439"/>
              <a:gd name="connsiteX1045" fmla="*/ 9333125 w 9586368"/>
              <a:gd name="connsiteY1045" fmla="*/ 5761447 h 6479439"/>
              <a:gd name="connsiteX1046" fmla="*/ 9329106 w 9586368"/>
              <a:gd name="connsiteY1046" fmla="*/ 5757408 h 6479439"/>
              <a:gd name="connsiteX1047" fmla="*/ 9329106 w 9586368"/>
              <a:gd name="connsiteY1047" fmla="*/ 5747537 h 6479439"/>
              <a:gd name="connsiteX1048" fmla="*/ 9093811 w 9586368"/>
              <a:gd name="connsiteY1048" fmla="*/ 5743499 h 6479439"/>
              <a:gd name="connsiteX1049" fmla="*/ 9103722 w 9586368"/>
              <a:gd name="connsiteY1049" fmla="*/ 5743499 h 6479439"/>
              <a:gd name="connsiteX1050" fmla="*/ 9107741 w 9586368"/>
              <a:gd name="connsiteY1050" fmla="*/ 5747537 h 6479439"/>
              <a:gd name="connsiteX1051" fmla="*/ 9107741 w 9586368"/>
              <a:gd name="connsiteY1051" fmla="*/ 5757408 h 6479439"/>
              <a:gd name="connsiteX1052" fmla="*/ 9103722 w 9586368"/>
              <a:gd name="connsiteY1052" fmla="*/ 5761447 h 6479439"/>
              <a:gd name="connsiteX1053" fmla="*/ 9093811 w 9586368"/>
              <a:gd name="connsiteY1053" fmla="*/ 5761447 h 6479439"/>
              <a:gd name="connsiteX1054" fmla="*/ 9089792 w 9586368"/>
              <a:gd name="connsiteY1054" fmla="*/ 5757408 h 6479439"/>
              <a:gd name="connsiteX1055" fmla="*/ 9089792 w 9586368"/>
              <a:gd name="connsiteY1055" fmla="*/ 5747537 h 6479439"/>
              <a:gd name="connsiteX1056" fmla="*/ 8854496 w 9586368"/>
              <a:gd name="connsiteY1056" fmla="*/ 5743499 h 6479439"/>
              <a:gd name="connsiteX1057" fmla="*/ 8864407 w 9586368"/>
              <a:gd name="connsiteY1057" fmla="*/ 5743499 h 6479439"/>
              <a:gd name="connsiteX1058" fmla="*/ 8868426 w 9586368"/>
              <a:gd name="connsiteY1058" fmla="*/ 5747537 h 6479439"/>
              <a:gd name="connsiteX1059" fmla="*/ 8868426 w 9586368"/>
              <a:gd name="connsiteY1059" fmla="*/ 5757408 h 6479439"/>
              <a:gd name="connsiteX1060" fmla="*/ 8864407 w 9586368"/>
              <a:gd name="connsiteY1060" fmla="*/ 5761447 h 6479439"/>
              <a:gd name="connsiteX1061" fmla="*/ 8854496 w 9586368"/>
              <a:gd name="connsiteY1061" fmla="*/ 5761447 h 6479439"/>
              <a:gd name="connsiteX1062" fmla="*/ 8850477 w 9586368"/>
              <a:gd name="connsiteY1062" fmla="*/ 5757408 h 6479439"/>
              <a:gd name="connsiteX1063" fmla="*/ 8850477 w 9586368"/>
              <a:gd name="connsiteY1063" fmla="*/ 5747537 h 6479439"/>
              <a:gd name="connsiteX1064" fmla="*/ 8615184 w 9586368"/>
              <a:gd name="connsiteY1064" fmla="*/ 5743499 h 6479439"/>
              <a:gd name="connsiteX1065" fmla="*/ 8625095 w 9586368"/>
              <a:gd name="connsiteY1065" fmla="*/ 5743499 h 6479439"/>
              <a:gd name="connsiteX1066" fmla="*/ 8629114 w 9586368"/>
              <a:gd name="connsiteY1066" fmla="*/ 5747537 h 6479439"/>
              <a:gd name="connsiteX1067" fmla="*/ 8629114 w 9586368"/>
              <a:gd name="connsiteY1067" fmla="*/ 5757408 h 6479439"/>
              <a:gd name="connsiteX1068" fmla="*/ 8625095 w 9586368"/>
              <a:gd name="connsiteY1068" fmla="*/ 5761447 h 6479439"/>
              <a:gd name="connsiteX1069" fmla="*/ 8615184 w 9586368"/>
              <a:gd name="connsiteY1069" fmla="*/ 5761447 h 6479439"/>
              <a:gd name="connsiteX1070" fmla="*/ 8611165 w 9586368"/>
              <a:gd name="connsiteY1070" fmla="*/ 5757408 h 6479439"/>
              <a:gd name="connsiteX1071" fmla="*/ 8611165 w 9586368"/>
              <a:gd name="connsiteY1071" fmla="*/ 5747537 h 6479439"/>
              <a:gd name="connsiteX1072" fmla="*/ 8375869 w 9586368"/>
              <a:gd name="connsiteY1072" fmla="*/ 5743499 h 6479439"/>
              <a:gd name="connsiteX1073" fmla="*/ 8385779 w 9586368"/>
              <a:gd name="connsiteY1073" fmla="*/ 5743499 h 6479439"/>
              <a:gd name="connsiteX1074" fmla="*/ 8389799 w 9586368"/>
              <a:gd name="connsiteY1074" fmla="*/ 5747537 h 6479439"/>
              <a:gd name="connsiteX1075" fmla="*/ 8389799 w 9586368"/>
              <a:gd name="connsiteY1075" fmla="*/ 5757408 h 6479439"/>
              <a:gd name="connsiteX1076" fmla="*/ 8385779 w 9586368"/>
              <a:gd name="connsiteY1076" fmla="*/ 5761447 h 6479439"/>
              <a:gd name="connsiteX1077" fmla="*/ 8375869 w 9586368"/>
              <a:gd name="connsiteY1077" fmla="*/ 5761447 h 6479439"/>
              <a:gd name="connsiteX1078" fmla="*/ 8371850 w 9586368"/>
              <a:gd name="connsiteY1078" fmla="*/ 5757408 h 6479439"/>
              <a:gd name="connsiteX1079" fmla="*/ 8371850 w 9586368"/>
              <a:gd name="connsiteY1079" fmla="*/ 5747537 h 6479439"/>
              <a:gd name="connsiteX1080" fmla="*/ 8136553 w 9586368"/>
              <a:gd name="connsiteY1080" fmla="*/ 5743499 h 6479439"/>
              <a:gd name="connsiteX1081" fmla="*/ 8146464 w 9586368"/>
              <a:gd name="connsiteY1081" fmla="*/ 5743499 h 6479439"/>
              <a:gd name="connsiteX1082" fmla="*/ 8150483 w 9586368"/>
              <a:gd name="connsiteY1082" fmla="*/ 5747537 h 6479439"/>
              <a:gd name="connsiteX1083" fmla="*/ 8150483 w 9586368"/>
              <a:gd name="connsiteY1083" fmla="*/ 5757408 h 6479439"/>
              <a:gd name="connsiteX1084" fmla="*/ 8146464 w 9586368"/>
              <a:gd name="connsiteY1084" fmla="*/ 5761447 h 6479439"/>
              <a:gd name="connsiteX1085" fmla="*/ 8136553 w 9586368"/>
              <a:gd name="connsiteY1085" fmla="*/ 5761447 h 6479439"/>
              <a:gd name="connsiteX1086" fmla="*/ 8132534 w 9586368"/>
              <a:gd name="connsiteY1086" fmla="*/ 5757408 h 6479439"/>
              <a:gd name="connsiteX1087" fmla="*/ 8132534 w 9586368"/>
              <a:gd name="connsiteY1087" fmla="*/ 5747537 h 6479439"/>
              <a:gd name="connsiteX1088" fmla="*/ 7897241 w 9586368"/>
              <a:gd name="connsiteY1088" fmla="*/ 5743499 h 6479439"/>
              <a:gd name="connsiteX1089" fmla="*/ 7907151 w 9586368"/>
              <a:gd name="connsiteY1089" fmla="*/ 5743499 h 6479439"/>
              <a:gd name="connsiteX1090" fmla="*/ 7911170 w 9586368"/>
              <a:gd name="connsiteY1090" fmla="*/ 5747537 h 6479439"/>
              <a:gd name="connsiteX1091" fmla="*/ 7911170 w 9586368"/>
              <a:gd name="connsiteY1091" fmla="*/ 5757408 h 6479439"/>
              <a:gd name="connsiteX1092" fmla="*/ 7907151 w 9586368"/>
              <a:gd name="connsiteY1092" fmla="*/ 5761447 h 6479439"/>
              <a:gd name="connsiteX1093" fmla="*/ 7897241 w 9586368"/>
              <a:gd name="connsiteY1093" fmla="*/ 5761447 h 6479439"/>
              <a:gd name="connsiteX1094" fmla="*/ 7893222 w 9586368"/>
              <a:gd name="connsiteY1094" fmla="*/ 5757408 h 6479439"/>
              <a:gd name="connsiteX1095" fmla="*/ 7893222 w 9586368"/>
              <a:gd name="connsiteY1095" fmla="*/ 5747537 h 6479439"/>
              <a:gd name="connsiteX1096" fmla="*/ 7657926 w 9586368"/>
              <a:gd name="connsiteY1096" fmla="*/ 5743499 h 6479439"/>
              <a:gd name="connsiteX1097" fmla="*/ 7667836 w 9586368"/>
              <a:gd name="connsiteY1097" fmla="*/ 5743499 h 6479439"/>
              <a:gd name="connsiteX1098" fmla="*/ 7671855 w 9586368"/>
              <a:gd name="connsiteY1098" fmla="*/ 5747537 h 6479439"/>
              <a:gd name="connsiteX1099" fmla="*/ 7671855 w 9586368"/>
              <a:gd name="connsiteY1099" fmla="*/ 5757408 h 6479439"/>
              <a:gd name="connsiteX1100" fmla="*/ 7667836 w 9586368"/>
              <a:gd name="connsiteY1100" fmla="*/ 5761447 h 6479439"/>
              <a:gd name="connsiteX1101" fmla="*/ 7657926 w 9586368"/>
              <a:gd name="connsiteY1101" fmla="*/ 5761447 h 6479439"/>
              <a:gd name="connsiteX1102" fmla="*/ 7653906 w 9586368"/>
              <a:gd name="connsiteY1102" fmla="*/ 5757408 h 6479439"/>
              <a:gd name="connsiteX1103" fmla="*/ 7653906 w 9586368"/>
              <a:gd name="connsiteY1103" fmla="*/ 5747537 h 6479439"/>
              <a:gd name="connsiteX1104" fmla="*/ 7418611 w 9586368"/>
              <a:gd name="connsiteY1104" fmla="*/ 5743499 h 6479439"/>
              <a:gd name="connsiteX1105" fmla="*/ 7428521 w 9586368"/>
              <a:gd name="connsiteY1105" fmla="*/ 5743499 h 6479439"/>
              <a:gd name="connsiteX1106" fmla="*/ 7432540 w 9586368"/>
              <a:gd name="connsiteY1106" fmla="*/ 5747537 h 6479439"/>
              <a:gd name="connsiteX1107" fmla="*/ 7432540 w 9586368"/>
              <a:gd name="connsiteY1107" fmla="*/ 5757408 h 6479439"/>
              <a:gd name="connsiteX1108" fmla="*/ 7428521 w 9586368"/>
              <a:gd name="connsiteY1108" fmla="*/ 5761447 h 6479439"/>
              <a:gd name="connsiteX1109" fmla="*/ 7418611 w 9586368"/>
              <a:gd name="connsiteY1109" fmla="*/ 5761447 h 6479439"/>
              <a:gd name="connsiteX1110" fmla="*/ 7414592 w 9586368"/>
              <a:gd name="connsiteY1110" fmla="*/ 5757408 h 6479439"/>
              <a:gd name="connsiteX1111" fmla="*/ 7414592 w 9586368"/>
              <a:gd name="connsiteY1111" fmla="*/ 5747537 h 6479439"/>
              <a:gd name="connsiteX1112" fmla="*/ 7179298 w 9586368"/>
              <a:gd name="connsiteY1112" fmla="*/ 5743499 h 6479439"/>
              <a:gd name="connsiteX1113" fmla="*/ 7189209 w 9586368"/>
              <a:gd name="connsiteY1113" fmla="*/ 5743499 h 6479439"/>
              <a:gd name="connsiteX1114" fmla="*/ 7193228 w 9586368"/>
              <a:gd name="connsiteY1114" fmla="*/ 5747537 h 6479439"/>
              <a:gd name="connsiteX1115" fmla="*/ 7193228 w 9586368"/>
              <a:gd name="connsiteY1115" fmla="*/ 5757408 h 6479439"/>
              <a:gd name="connsiteX1116" fmla="*/ 7189209 w 9586368"/>
              <a:gd name="connsiteY1116" fmla="*/ 5761447 h 6479439"/>
              <a:gd name="connsiteX1117" fmla="*/ 7179298 w 9586368"/>
              <a:gd name="connsiteY1117" fmla="*/ 5761447 h 6479439"/>
              <a:gd name="connsiteX1118" fmla="*/ 7175279 w 9586368"/>
              <a:gd name="connsiteY1118" fmla="*/ 5757408 h 6479439"/>
              <a:gd name="connsiteX1119" fmla="*/ 7175279 w 9586368"/>
              <a:gd name="connsiteY1119" fmla="*/ 5747537 h 6479439"/>
              <a:gd name="connsiteX1120" fmla="*/ 6939983 w 9586368"/>
              <a:gd name="connsiteY1120" fmla="*/ 5743499 h 6479439"/>
              <a:gd name="connsiteX1121" fmla="*/ 6949894 w 9586368"/>
              <a:gd name="connsiteY1121" fmla="*/ 5743499 h 6479439"/>
              <a:gd name="connsiteX1122" fmla="*/ 6953913 w 9586368"/>
              <a:gd name="connsiteY1122" fmla="*/ 5747537 h 6479439"/>
              <a:gd name="connsiteX1123" fmla="*/ 6953913 w 9586368"/>
              <a:gd name="connsiteY1123" fmla="*/ 5757408 h 6479439"/>
              <a:gd name="connsiteX1124" fmla="*/ 6949894 w 9586368"/>
              <a:gd name="connsiteY1124" fmla="*/ 5761447 h 6479439"/>
              <a:gd name="connsiteX1125" fmla="*/ 6939983 w 9586368"/>
              <a:gd name="connsiteY1125" fmla="*/ 5761447 h 6479439"/>
              <a:gd name="connsiteX1126" fmla="*/ 6935964 w 9586368"/>
              <a:gd name="connsiteY1126" fmla="*/ 5757408 h 6479439"/>
              <a:gd name="connsiteX1127" fmla="*/ 6935964 w 9586368"/>
              <a:gd name="connsiteY1127" fmla="*/ 5747537 h 6479439"/>
              <a:gd name="connsiteX1128" fmla="*/ 6700670 w 9586368"/>
              <a:gd name="connsiteY1128" fmla="*/ 5743499 h 6479439"/>
              <a:gd name="connsiteX1129" fmla="*/ 6710581 w 9586368"/>
              <a:gd name="connsiteY1129" fmla="*/ 5743499 h 6479439"/>
              <a:gd name="connsiteX1130" fmla="*/ 6714600 w 9586368"/>
              <a:gd name="connsiteY1130" fmla="*/ 5747537 h 6479439"/>
              <a:gd name="connsiteX1131" fmla="*/ 6714600 w 9586368"/>
              <a:gd name="connsiteY1131" fmla="*/ 5757408 h 6479439"/>
              <a:gd name="connsiteX1132" fmla="*/ 6710581 w 9586368"/>
              <a:gd name="connsiteY1132" fmla="*/ 5761447 h 6479439"/>
              <a:gd name="connsiteX1133" fmla="*/ 6700670 w 9586368"/>
              <a:gd name="connsiteY1133" fmla="*/ 5761447 h 6479439"/>
              <a:gd name="connsiteX1134" fmla="*/ 6696651 w 9586368"/>
              <a:gd name="connsiteY1134" fmla="*/ 5757408 h 6479439"/>
              <a:gd name="connsiteX1135" fmla="*/ 6696651 w 9586368"/>
              <a:gd name="connsiteY1135" fmla="*/ 5747537 h 6479439"/>
              <a:gd name="connsiteX1136" fmla="*/ 6461356 w 9586368"/>
              <a:gd name="connsiteY1136" fmla="*/ 5743499 h 6479439"/>
              <a:gd name="connsiteX1137" fmla="*/ 6471266 w 9586368"/>
              <a:gd name="connsiteY1137" fmla="*/ 5743499 h 6479439"/>
              <a:gd name="connsiteX1138" fmla="*/ 6475285 w 9586368"/>
              <a:gd name="connsiteY1138" fmla="*/ 5747537 h 6479439"/>
              <a:gd name="connsiteX1139" fmla="*/ 6475285 w 9586368"/>
              <a:gd name="connsiteY1139" fmla="*/ 5757408 h 6479439"/>
              <a:gd name="connsiteX1140" fmla="*/ 6471266 w 9586368"/>
              <a:gd name="connsiteY1140" fmla="*/ 5761447 h 6479439"/>
              <a:gd name="connsiteX1141" fmla="*/ 6461356 w 9586368"/>
              <a:gd name="connsiteY1141" fmla="*/ 5761447 h 6479439"/>
              <a:gd name="connsiteX1142" fmla="*/ 6457337 w 9586368"/>
              <a:gd name="connsiteY1142" fmla="*/ 5757408 h 6479439"/>
              <a:gd name="connsiteX1143" fmla="*/ 6457337 w 9586368"/>
              <a:gd name="connsiteY1143" fmla="*/ 5747537 h 6479439"/>
              <a:gd name="connsiteX1144" fmla="*/ 6222042 w 9586368"/>
              <a:gd name="connsiteY1144" fmla="*/ 5743499 h 6479439"/>
              <a:gd name="connsiteX1145" fmla="*/ 6231952 w 9586368"/>
              <a:gd name="connsiteY1145" fmla="*/ 5743499 h 6479439"/>
              <a:gd name="connsiteX1146" fmla="*/ 6235971 w 9586368"/>
              <a:gd name="connsiteY1146" fmla="*/ 5747537 h 6479439"/>
              <a:gd name="connsiteX1147" fmla="*/ 6235971 w 9586368"/>
              <a:gd name="connsiteY1147" fmla="*/ 5757408 h 6479439"/>
              <a:gd name="connsiteX1148" fmla="*/ 6231952 w 9586368"/>
              <a:gd name="connsiteY1148" fmla="*/ 5761447 h 6479439"/>
              <a:gd name="connsiteX1149" fmla="*/ 6222042 w 9586368"/>
              <a:gd name="connsiteY1149" fmla="*/ 5761447 h 6479439"/>
              <a:gd name="connsiteX1150" fmla="*/ 6218023 w 9586368"/>
              <a:gd name="connsiteY1150" fmla="*/ 5757408 h 6479439"/>
              <a:gd name="connsiteX1151" fmla="*/ 6218023 w 9586368"/>
              <a:gd name="connsiteY1151" fmla="*/ 5747537 h 6479439"/>
              <a:gd name="connsiteX1152" fmla="*/ 5982729 w 9586368"/>
              <a:gd name="connsiteY1152" fmla="*/ 5743499 h 6479439"/>
              <a:gd name="connsiteX1153" fmla="*/ 5992639 w 9586368"/>
              <a:gd name="connsiteY1153" fmla="*/ 5743499 h 6479439"/>
              <a:gd name="connsiteX1154" fmla="*/ 5996658 w 9586368"/>
              <a:gd name="connsiteY1154" fmla="*/ 5747537 h 6479439"/>
              <a:gd name="connsiteX1155" fmla="*/ 5996658 w 9586368"/>
              <a:gd name="connsiteY1155" fmla="*/ 5757408 h 6479439"/>
              <a:gd name="connsiteX1156" fmla="*/ 5992639 w 9586368"/>
              <a:gd name="connsiteY1156" fmla="*/ 5761447 h 6479439"/>
              <a:gd name="connsiteX1157" fmla="*/ 5982729 w 9586368"/>
              <a:gd name="connsiteY1157" fmla="*/ 5761447 h 6479439"/>
              <a:gd name="connsiteX1158" fmla="*/ 5978710 w 9586368"/>
              <a:gd name="connsiteY1158" fmla="*/ 5757408 h 6479439"/>
              <a:gd name="connsiteX1159" fmla="*/ 5978710 w 9586368"/>
              <a:gd name="connsiteY1159" fmla="*/ 5747537 h 6479439"/>
              <a:gd name="connsiteX1160" fmla="*/ 5743412 w 9586368"/>
              <a:gd name="connsiteY1160" fmla="*/ 5743499 h 6479439"/>
              <a:gd name="connsiteX1161" fmla="*/ 5753323 w 9586368"/>
              <a:gd name="connsiteY1161" fmla="*/ 5743499 h 6479439"/>
              <a:gd name="connsiteX1162" fmla="*/ 5757342 w 9586368"/>
              <a:gd name="connsiteY1162" fmla="*/ 5747537 h 6479439"/>
              <a:gd name="connsiteX1163" fmla="*/ 5757342 w 9586368"/>
              <a:gd name="connsiteY1163" fmla="*/ 5757408 h 6479439"/>
              <a:gd name="connsiteX1164" fmla="*/ 5753323 w 9586368"/>
              <a:gd name="connsiteY1164" fmla="*/ 5761447 h 6479439"/>
              <a:gd name="connsiteX1165" fmla="*/ 5743412 w 9586368"/>
              <a:gd name="connsiteY1165" fmla="*/ 5761447 h 6479439"/>
              <a:gd name="connsiteX1166" fmla="*/ 5739393 w 9586368"/>
              <a:gd name="connsiteY1166" fmla="*/ 5757408 h 6479439"/>
              <a:gd name="connsiteX1167" fmla="*/ 5739393 w 9586368"/>
              <a:gd name="connsiteY1167" fmla="*/ 5747537 h 6479439"/>
              <a:gd name="connsiteX1168" fmla="*/ 5504099 w 9586368"/>
              <a:gd name="connsiteY1168" fmla="*/ 5743499 h 6479439"/>
              <a:gd name="connsiteX1169" fmla="*/ 5514010 w 9586368"/>
              <a:gd name="connsiteY1169" fmla="*/ 5743499 h 6479439"/>
              <a:gd name="connsiteX1170" fmla="*/ 5518029 w 9586368"/>
              <a:gd name="connsiteY1170" fmla="*/ 5747537 h 6479439"/>
              <a:gd name="connsiteX1171" fmla="*/ 5518029 w 9586368"/>
              <a:gd name="connsiteY1171" fmla="*/ 5757408 h 6479439"/>
              <a:gd name="connsiteX1172" fmla="*/ 5514010 w 9586368"/>
              <a:gd name="connsiteY1172" fmla="*/ 5761447 h 6479439"/>
              <a:gd name="connsiteX1173" fmla="*/ 5504099 w 9586368"/>
              <a:gd name="connsiteY1173" fmla="*/ 5761447 h 6479439"/>
              <a:gd name="connsiteX1174" fmla="*/ 5500080 w 9586368"/>
              <a:gd name="connsiteY1174" fmla="*/ 5757408 h 6479439"/>
              <a:gd name="connsiteX1175" fmla="*/ 5500080 w 9586368"/>
              <a:gd name="connsiteY1175" fmla="*/ 5747537 h 6479439"/>
              <a:gd name="connsiteX1176" fmla="*/ 5264784 w 9586368"/>
              <a:gd name="connsiteY1176" fmla="*/ 5743499 h 6479439"/>
              <a:gd name="connsiteX1177" fmla="*/ 5274694 w 9586368"/>
              <a:gd name="connsiteY1177" fmla="*/ 5743499 h 6479439"/>
              <a:gd name="connsiteX1178" fmla="*/ 5278713 w 9586368"/>
              <a:gd name="connsiteY1178" fmla="*/ 5747537 h 6479439"/>
              <a:gd name="connsiteX1179" fmla="*/ 5278713 w 9586368"/>
              <a:gd name="connsiteY1179" fmla="*/ 5757408 h 6479439"/>
              <a:gd name="connsiteX1180" fmla="*/ 5274694 w 9586368"/>
              <a:gd name="connsiteY1180" fmla="*/ 5761447 h 6479439"/>
              <a:gd name="connsiteX1181" fmla="*/ 5264784 w 9586368"/>
              <a:gd name="connsiteY1181" fmla="*/ 5761447 h 6479439"/>
              <a:gd name="connsiteX1182" fmla="*/ 5260765 w 9586368"/>
              <a:gd name="connsiteY1182" fmla="*/ 5757408 h 6479439"/>
              <a:gd name="connsiteX1183" fmla="*/ 5260765 w 9586368"/>
              <a:gd name="connsiteY1183" fmla="*/ 5747537 h 6479439"/>
              <a:gd name="connsiteX1184" fmla="*/ 5025470 w 9586368"/>
              <a:gd name="connsiteY1184" fmla="*/ 5743499 h 6479439"/>
              <a:gd name="connsiteX1185" fmla="*/ 5035381 w 9586368"/>
              <a:gd name="connsiteY1185" fmla="*/ 5743499 h 6479439"/>
              <a:gd name="connsiteX1186" fmla="*/ 5039400 w 9586368"/>
              <a:gd name="connsiteY1186" fmla="*/ 5747537 h 6479439"/>
              <a:gd name="connsiteX1187" fmla="*/ 5039400 w 9586368"/>
              <a:gd name="connsiteY1187" fmla="*/ 5757408 h 6479439"/>
              <a:gd name="connsiteX1188" fmla="*/ 5035381 w 9586368"/>
              <a:gd name="connsiteY1188" fmla="*/ 5761447 h 6479439"/>
              <a:gd name="connsiteX1189" fmla="*/ 5025470 w 9586368"/>
              <a:gd name="connsiteY1189" fmla="*/ 5761447 h 6479439"/>
              <a:gd name="connsiteX1190" fmla="*/ 5021451 w 9586368"/>
              <a:gd name="connsiteY1190" fmla="*/ 5757408 h 6479439"/>
              <a:gd name="connsiteX1191" fmla="*/ 5021451 w 9586368"/>
              <a:gd name="connsiteY1191" fmla="*/ 5747537 h 6479439"/>
              <a:gd name="connsiteX1192" fmla="*/ 4786241 w 9586368"/>
              <a:gd name="connsiteY1192" fmla="*/ 5743499 h 6479439"/>
              <a:gd name="connsiteX1193" fmla="*/ 4796152 w 9586368"/>
              <a:gd name="connsiteY1193" fmla="*/ 5743499 h 6479439"/>
              <a:gd name="connsiteX1194" fmla="*/ 4800171 w 9586368"/>
              <a:gd name="connsiteY1194" fmla="*/ 5747537 h 6479439"/>
              <a:gd name="connsiteX1195" fmla="*/ 4800171 w 9586368"/>
              <a:gd name="connsiteY1195" fmla="*/ 5757408 h 6479439"/>
              <a:gd name="connsiteX1196" fmla="*/ 4796152 w 9586368"/>
              <a:gd name="connsiteY1196" fmla="*/ 5761447 h 6479439"/>
              <a:gd name="connsiteX1197" fmla="*/ 4786241 w 9586368"/>
              <a:gd name="connsiteY1197" fmla="*/ 5761447 h 6479439"/>
              <a:gd name="connsiteX1198" fmla="*/ 4782224 w 9586368"/>
              <a:gd name="connsiteY1198" fmla="*/ 5757408 h 6479439"/>
              <a:gd name="connsiteX1199" fmla="*/ 4782224 w 9586368"/>
              <a:gd name="connsiteY1199" fmla="*/ 5747537 h 6479439"/>
              <a:gd name="connsiteX1200" fmla="*/ 4546929 w 9586368"/>
              <a:gd name="connsiteY1200" fmla="*/ 5743499 h 6479439"/>
              <a:gd name="connsiteX1201" fmla="*/ 4556840 w 9586368"/>
              <a:gd name="connsiteY1201" fmla="*/ 5743499 h 6479439"/>
              <a:gd name="connsiteX1202" fmla="*/ 4560859 w 9586368"/>
              <a:gd name="connsiteY1202" fmla="*/ 5747537 h 6479439"/>
              <a:gd name="connsiteX1203" fmla="*/ 4560859 w 9586368"/>
              <a:gd name="connsiteY1203" fmla="*/ 5757408 h 6479439"/>
              <a:gd name="connsiteX1204" fmla="*/ 4556840 w 9586368"/>
              <a:gd name="connsiteY1204" fmla="*/ 5761447 h 6479439"/>
              <a:gd name="connsiteX1205" fmla="*/ 4546929 w 9586368"/>
              <a:gd name="connsiteY1205" fmla="*/ 5761447 h 6479439"/>
              <a:gd name="connsiteX1206" fmla="*/ 4542910 w 9586368"/>
              <a:gd name="connsiteY1206" fmla="*/ 5757408 h 6479439"/>
              <a:gd name="connsiteX1207" fmla="*/ 4542910 w 9586368"/>
              <a:gd name="connsiteY1207" fmla="*/ 5747537 h 6479439"/>
              <a:gd name="connsiteX1208" fmla="*/ 4307612 w 9586368"/>
              <a:gd name="connsiteY1208" fmla="*/ 5743499 h 6479439"/>
              <a:gd name="connsiteX1209" fmla="*/ 4317523 w 9586368"/>
              <a:gd name="connsiteY1209" fmla="*/ 5743499 h 6479439"/>
              <a:gd name="connsiteX1210" fmla="*/ 4321543 w 9586368"/>
              <a:gd name="connsiteY1210" fmla="*/ 5747537 h 6479439"/>
              <a:gd name="connsiteX1211" fmla="*/ 4321543 w 9586368"/>
              <a:gd name="connsiteY1211" fmla="*/ 5757408 h 6479439"/>
              <a:gd name="connsiteX1212" fmla="*/ 4317523 w 9586368"/>
              <a:gd name="connsiteY1212" fmla="*/ 5761447 h 6479439"/>
              <a:gd name="connsiteX1213" fmla="*/ 4307612 w 9586368"/>
              <a:gd name="connsiteY1213" fmla="*/ 5761447 h 6479439"/>
              <a:gd name="connsiteX1214" fmla="*/ 4303595 w 9586368"/>
              <a:gd name="connsiteY1214" fmla="*/ 5757408 h 6479439"/>
              <a:gd name="connsiteX1215" fmla="*/ 4303595 w 9586368"/>
              <a:gd name="connsiteY1215" fmla="*/ 5747537 h 6479439"/>
              <a:gd name="connsiteX1216" fmla="*/ 4068297 w 9586368"/>
              <a:gd name="connsiteY1216" fmla="*/ 5743499 h 6479439"/>
              <a:gd name="connsiteX1217" fmla="*/ 4078210 w 9586368"/>
              <a:gd name="connsiteY1217" fmla="*/ 5743499 h 6479439"/>
              <a:gd name="connsiteX1218" fmla="*/ 4082229 w 9586368"/>
              <a:gd name="connsiteY1218" fmla="*/ 5747537 h 6479439"/>
              <a:gd name="connsiteX1219" fmla="*/ 4082229 w 9586368"/>
              <a:gd name="connsiteY1219" fmla="*/ 5757408 h 6479439"/>
              <a:gd name="connsiteX1220" fmla="*/ 4078210 w 9586368"/>
              <a:gd name="connsiteY1220" fmla="*/ 5761447 h 6479439"/>
              <a:gd name="connsiteX1221" fmla="*/ 4068297 w 9586368"/>
              <a:gd name="connsiteY1221" fmla="*/ 5761447 h 6479439"/>
              <a:gd name="connsiteX1222" fmla="*/ 4064278 w 9586368"/>
              <a:gd name="connsiteY1222" fmla="*/ 5757408 h 6479439"/>
              <a:gd name="connsiteX1223" fmla="*/ 4064278 w 9586368"/>
              <a:gd name="connsiteY1223" fmla="*/ 5747537 h 6479439"/>
              <a:gd name="connsiteX1224" fmla="*/ 3828990 w 9586368"/>
              <a:gd name="connsiteY1224" fmla="*/ 5743499 h 6479439"/>
              <a:gd name="connsiteX1225" fmla="*/ 3838899 w 9586368"/>
              <a:gd name="connsiteY1225" fmla="*/ 5743499 h 6479439"/>
              <a:gd name="connsiteX1226" fmla="*/ 3842917 w 9586368"/>
              <a:gd name="connsiteY1226" fmla="*/ 5747537 h 6479439"/>
              <a:gd name="connsiteX1227" fmla="*/ 3842917 w 9586368"/>
              <a:gd name="connsiteY1227" fmla="*/ 5757408 h 6479439"/>
              <a:gd name="connsiteX1228" fmla="*/ 3838899 w 9586368"/>
              <a:gd name="connsiteY1228" fmla="*/ 5761447 h 6479439"/>
              <a:gd name="connsiteX1229" fmla="*/ 3828990 w 9586368"/>
              <a:gd name="connsiteY1229" fmla="*/ 5761447 h 6479439"/>
              <a:gd name="connsiteX1230" fmla="*/ 3824971 w 9586368"/>
              <a:gd name="connsiteY1230" fmla="*/ 5757408 h 6479439"/>
              <a:gd name="connsiteX1231" fmla="*/ 3824971 w 9586368"/>
              <a:gd name="connsiteY1231" fmla="*/ 5747537 h 6479439"/>
              <a:gd name="connsiteX1232" fmla="*/ 3589676 w 9586368"/>
              <a:gd name="connsiteY1232" fmla="*/ 5743499 h 6479439"/>
              <a:gd name="connsiteX1233" fmla="*/ 3599585 w 9586368"/>
              <a:gd name="connsiteY1233" fmla="*/ 5743499 h 6479439"/>
              <a:gd name="connsiteX1234" fmla="*/ 3603604 w 9586368"/>
              <a:gd name="connsiteY1234" fmla="*/ 5747537 h 6479439"/>
              <a:gd name="connsiteX1235" fmla="*/ 3603604 w 9586368"/>
              <a:gd name="connsiteY1235" fmla="*/ 5757408 h 6479439"/>
              <a:gd name="connsiteX1236" fmla="*/ 3599585 w 9586368"/>
              <a:gd name="connsiteY1236" fmla="*/ 5761447 h 6479439"/>
              <a:gd name="connsiteX1237" fmla="*/ 3589676 w 9586368"/>
              <a:gd name="connsiteY1237" fmla="*/ 5761447 h 6479439"/>
              <a:gd name="connsiteX1238" fmla="*/ 3585657 w 9586368"/>
              <a:gd name="connsiteY1238" fmla="*/ 5757408 h 6479439"/>
              <a:gd name="connsiteX1239" fmla="*/ 3585657 w 9586368"/>
              <a:gd name="connsiteY1239" fmla="*/ 5747537 h 6479439"/>
              <a:gd name="connsiteX1240" fmla="*/ 3350359 w 9586368"/>
              <a:gd name="connsiteY1240" fmla="*/ 5743499 h 6479439"/>
              <a:gd name="connsiteX1241" fmla="*/ 3360268 w 9586368"/>
              <a:gd name="connsiteY1241" fmla="*/ 5743499 h 6479439"/>
              <a:gd name="connsiteX1242" fmla="*/ 3364287 w 9586368"/>
              <a:gd name="connsiteY1242" fmla="*/ 5747537 h 6479439"/>
              <a:gd name="connsiteX1243" fmla="*/ 3364287 w 9586368"/>
              <a:gd name="connsiteY1243" fmla="*/ 5757408 h 6479439"/>
              <a:gd name="connsiteX1244" fmla="*/ 3360268 w 9586368"/>
              <a:gd name="connsiteY1244" fmla="*/ 5761447 h 6479439"/>
              <a:gd name="connsiteX1245" fmla="*/ 3350359 w 9586368"/>
              <a:gd name="connsiteY1245" fmla="*/ 5761447 h 6479439"/>
              <a:gd name="connsiteX1246" fmla="*/ 3346340 w 9586368"/>
              <a:gd name="connsiteY1246" fmla="*/ 5757408 h 6479439"/>
              <a:gd name="connsiteX1247" fmla="*/ 3346340 w 9586368"/>
              <a:gd name="connsiteY1247" fmla="*/ 5747537 h 6479439"/>
              <a:gd name="connsiteX1248" fmla="*/ 3111048 w 9586368"/>
              <a:gd name="connsiteY1248" fmla="*/ 5743499 h 6479439"/>
              <a:gd name="connsiteX1249" fmla="*/ 3120959 w 9586368"/>
              <a:gd name="connsiteY1249" fmla="*/ 5743499 h 6479439"/>
              <a:gd name="connsiteX1250" fmla="*/ 3124977 w 9586368"/>
              <a:gd name="connsiteY1250" fmla="*/ 5747537 h 6479439"/>
              <a:gd name="connsiteX1251" fmla="*/ 3124977 w 9586368"/>
              <a:gd name="connsiteY1251" fmla="*/ 5757408 h 6479439"/>
              <a:gd name="connsiteX1252" fmla="*/ 3120959 w 9586368"/>
              <a:gd name="connsiteY1252" fmla="*/ 5761447 h 6479439"/>
              <a:gd name="connsiteX1253" fmla="*/ 3111048 w 9586368"/>
              <a:gd name="connsiteY1253" fmla="*/ 5761447 h 6479439"/>
              <a:gd name="connsiteX1254" fmla="*/ 3107029 w 9586368"/>
              <a:gd name="connsiteY1254" fmla="*/ 5757408 h 6479439"/>
              <a:gd name="connsiteX1255" fmla="*/ 3107029 w 9586368"/>
              <a:gd name="connsiteY1255" fmla="*/ 5747537 h 6479439"/>
              <a:gd name="connsiteX1256" fmla="*/ 2871737 w 9586368"/>
              <a:gd name="connsiteY1256" fmla="*/ 5743499 h 6479439"/>
              <a:gd name="connsiteX1257" fmla="*/ 2881646 w 9586368"/>
              <a:gd name="connsiteY1257" fmla="*/ 5743499 h 6479439"/>
              <a:gd name="connsiteX1258" fmla="*/ 2885666 w 9586368"/>
              <a:gd name="connsiteY1258" fmla="*/ 5747537 h 6479439"/>
              <a:gd name="connsiteX1259" fmla="*/ 2885666 w 9586368"/>
              <a:gd name="connsiteY1259" fmla="*/ 5757408 h 6479439"/>
              <a:gd name="connsiteX1260" fmla="*/ 2881646 w 9586368"/>
              <a:gd name="connsiteY1260" fmla="*/ 5761447 h 6479439"/>
              <a:gd name="connsiteX1261" fmla="*/ 2871737 w 9586368"/>
              <a:gd name="connsiteY1261" fmla="*/ 5761447 h 6479439"/>
              <a:gd name="connsiteX1262" fmla="*/ 2867717 w 9586368"/>
              <a:gd name="connsiteY1262" fmla="*/ 5757408 h 6479439"/>
              <a:gd name="connsiteX1263" fmla="*/ 2867717 w 9586368"/>
              <a:gd name="connsiteY1263" fmla="*/ 5747537 h 6479439"/>
              <a:gd name="connsiteX1264" fmla="*/ 2632423 w 9586368"/>
              <a:gd name="connsiteY1264" fmla="*/ 5743499 h 6479439"/>
              <a:gd name="connsiteX1265" fmla="*/ 2642334 w 9586368"/>
              <a:gd name="connsiteY1265" fmla="*/ 5743499 h 6479439"/>
              <a:gd name="connsiteX1266" fmla="*/ 2646352 w 9586368"/>
              <a:gd name="connsiteY1266" fmla="*/ 5747537 h 6479439"/>
              <a:gd name="connsiteX1267" fmla="*/ 2646352 w 9586368"/>
              <a:gd name="connsiteY1267" fmla="*/ 5757408 h 6479439"/>
              <a:gd name="connsiteX1268" fmla="*/ 2642334 w 9586368"/>
              <a:gd name="connsiteY1268" fmla="*/ 5761447 h 6479439"/>
              <a:gd name="connsiteX1269" fmla="*/ 2632423 w 9586368"/>
              <a:gd name="connsiteY1269" fmla="*/ 5761447 h 6479439"/>
              <a:gd name="connsiteX1270" fmla="*/ 2628404 w 9586368"/>
              <a:gd name="connsiteY1270" fmla="*/ 5757408 h 6479439"/>
              <a:gd name="connsiteX1271" fmla="*/ 2628404 w 9586368"/>
              <a:gd name="connsiteY1271" fmla="*/ 5747537 h 6479439"/>
              <a:gd name="connsiteX1272" fmla="*/ 2393104 w 9586368"/>
              <a:gd name="connsiteY1272" fmla="*/ 5743499 h 6479439"/>
              <a:gd name="connsiteX1273" fmla="*/ 2403015 w 9586368"/>
              <a:gd name="connsiteY1273" fmla="*/ 5743499 h 6479439"/>
              <a:gd name="connsiteX1274" fmla="*/ 2407034 w 9586368"/>
              <a:gd name="connsiteY1274" fmla="*/ 5747537 h 6479439"/>
              <a:gd name="connsiteX1275" fmla="*/ 2407034 w 9586368"/>
              <a:gd name="connsiteY1275" fmla="*/ 5757408 h 6479439"/>
              <a:gd name="connsiteX1276" fmla="*/ 2403015 w 9586368"/>
              <a:gd name="connsiteY1276" fmla="*/ 5761447 h 6479439"/>
              <a:gd name="connsiteX1277" fmla="*/ 2393104 w 9586368"/>
              <a:gd name="connsiteY1277" fmla="*/ 5761447 h 6479439"/>
              <a:gd name="connsiteX1278" fmla="*/ 2389087 w 9586368"/>
              <a:gd name="connsiteY1278" fmla="*/ 5757408 h 6479439"/>
              <a:gd name="connsiteX1279" fmla="*/ 2389087 w 9586368"/>
              <a:gd name="connsiteY1279" fmla="*/ 5747537 h 6479439"/>
              <a:gd name="connsiteX1280" fmla="*/ 721960 w 9586368"/>
              <a:gd name="connsiteY1280" fmla="*/ 5743499 h 6479439"/>
              <a:gd name="connsiteX1281" fmla="*/ 731871 w 9586368"/>
              <a:gd name="connsiteY1281" fmla="*/ 5743499 h 6479439"/>
              <a:gd name="connsiteX1282" fmla="*/ 735889 w 9586368"/>
              <a:gd name="connsiteY1282" fmla="*/ 5747537 h 6479439"/>
              <a:gd name="connsiteX1283" fmla="*/ 735889 w 9586368"/>
              <a:gd name="connsiteY1283" fmla="*/ 5757408 h 6479439"/>
              <a:gd name="connsiteX1284" fmla="*/ 731871 w 9586368"/>
              <a:gd name="connsiteY1284" fmla="*/ 5761447 h 6479439"/>
              <a:gd name="connsiteX1285" fmla="*/ 721960 w 9586368"/>
              <a:gd name="connsiteY1285" fmla="*/ 5761447 h 6479439"/>
              <a:gd name="connsiteX1286" fmla="*/ 717941 w 9586368"/>
              <a:gd name="connsiteY1286" fmla="*/ 5757408 h 6479439"/>
              <a:gd name="connsiteX1287" fmla="*/ 717941 w 9586368"/>
              <a:gd name="connsiteY1287" fmla="*/ 5747537 h 6479439"/>
              <a:gd name="connsiteX1288" fmla="*/ 482648 w 9586368"/>
              <a:gd name="connsiteY1288" fmla="*/ 5743499 h 6479439"/>
              <a:gd name="connsiteX1289" fmla="*/ 492558 w 9586368"/>
              <a:gd name="connsiteY1289" fmla="*/ 5743499 h 6479439"/>
              <a:gd name="connsiteX1290" fmla="*/ 496578 w 9586368"/>
              <a:gd name="connsiteY1290" fmla="*/ 5747537 h 6479439"/>
              <a:gd name="connsiteX1291" fmla="*/ 496578 w 9586368"/>
              <a:gd name="connsiteY1291" fmla="*/ 5757408 h 6479439"/>
              <a:gd name="connsiteX1292" fmla="*/ 492558 w 9586368"/>
              <a:gd name="connsiteY1292" fmla="*/ 5761447 h 6479439"/>
              <a:gd name="connsiteX1293" fmla="*/ 482648 w 9586368"/>
              <a:gd name="connsiteY1293" fmla="*/ 5761447 h 6479439"/>
              <a:gd name="connsiteX1294" fmla="*/ 478629 w 9586368"/>
              <a:gd name="connsiteY1294" fmla="*/ 5757408 h 6479439"/>
              <a:gd name="connsiteX1295" fmla="*/ 478629 w 9586368"/>
              <a:gd name="connsiteY1295" fmla="*/ 5747537 h 6479439"/>
              <a:gd name="connsiteX1296" fmla="*/ 243334 w 9586368"/>
              <a:gd name="connsiteY1296" fmla="*/ 5743499 h 6479439"/>
              <a:gd name="connsiteX1297" fmla="*/ 253245 w 9586368"/>
              <a:gd name="connsiteY1297" fmla="*/ 5743499 h 6479439"/>
              <a:gd name="connsiteX1298" fmla="*/ 257264 w 9586368"/>
              <a:gd name="connsiteY1298" fmla="*/ 5747537 h 6479439"/>
              <a:gd name="connsiteX1299" fmla="*/ 257264 w 9586368"/>
              <a:gd name="connsiteY1299" fmla="*/ 5757408 h 6479439"/>
              <a:gd name="connsiteX1300" fmla="*/ 253245 w 9586368"/>
              <a:gd name="connsiteY1300" fmla="*/ 5761447 h 6479439"/>
              <a:gd name="connsiteX1301" fmla="*/ 243334 w 9586368"/>
              <a:gd name="connsiteY1301" fmla="*/ 5761447 h 6479439"/>
              <a:gd name="connsiteX1302" fmla="*/ 239315 w 9586368"/>
              <a:gd name="connsiteY1302" fmla="*/ 5757408 h 6479439"/>
              <a:gd name="connsiteX1303" fmla="*/ 239315 w 9586368"/>
              <a:gd name="connsiteY1303" fmla="*/ 5747537 h 6479439"/>
              <a:gd name="connsiteX1304" fmla="*/ 4021 w 9586368"/>
              <a:gd name="connsiteY1304" fmla="*/ 5743499 h 6479439"/>
              <a:gd name="connsiteX1305" fmla="*/ 13932 w 9586368"/>
              <a:gd name="connsiteY1305" fmla="*/ 5743499 h 6479439"/>
              <a:gd name="connsiteX1306" fmla="*/ 17950 w 9586368"/>
              <a:gd name="connsiteY1306" fmla="*/ 5747537 h 6479439"/>
              <a:gd name="connsiteX1307" fmla="*/ 17950 w 9586368"/>
              <a:gd name="connsiteY1307" fmla="*/ 5757408 h 6479439"/>
              <a:gd name="connsiteX1308" fmla="*/ 13932 w 9586368"/>
              <a:gd name="connsiteY1308" fmla="*/ 5761447 h 6479439"/>
              <a:gd name="connsiteX1309" fmla="*/ 4021 w 9586368"/>
              <a:gd name="connsiteY1309" fmla="*/ 5761447 h 6479439"/>
              <a:gd name="connsiteX1310" fmla="*/ 2 w 9586368"/>
              <a:gd name="connsiteY1310" fmla="*/ 5757408 h 6479439"/>
              <a:gd name="connsiteX1311" fmla="*/ 2 w 9586368"/>
              <a:gd name="connsiteY1311" fmla="*/ 5747537 h 6479439"/>
              <a:gd name="connsiteX1312" fmla="*/ 9572438 w 9586368"/>
              <a:gd name="connsiteY1312" fmla="*/ 5504220 h 6479439"/>
              <a:gd name="connsiteX1313" fmla="*/ 9582349 w 9586368"/>
              <a:gd name="connsiteY1313" fmla="*/ 5504220 h 6479439"/>
              <a:gd name="connsiteX1314" fmla="*/ 9586368 w 9586368"/>
              <a:gd name="connsiteY1314" fmla="*/ 5508258 h 6479439"/>
              <a:gd name="connsiteX1315" fmla="*/ 9586368 w 9586368"/>
              <a:gd name="connsiteY1315" fmla="*/ 5518129 h 6479439"/>
              <a:gd name="connsiteX1316" fmla="*/ 9582349 w 9586368"/>
              <a:gd name="connsiteY1316" fmla="*/ 5522168 h 6479439"/>
              <a:gd name="connsiteX1317" fmla="*/ 9572438 w 9586368"/>
              <a:gd name="connsiteY1317" fmla="*/ 5522168 h 6479439"/>
              <a:gd name="connsiteX1318" fmla="*/ 9568419 w 9586368"/>
              <a:gd name="connsiteY1318" fmla="*/ 5518129 h 6479439"/>
              <a:gd name="connsiteX1319" fmla="*/ 9568419 w 9586368"/>
              <a:gd name="connsiteY1319" fmla="*/ 5508258 h 6479439"/>
              <a:gd name="connsiteX1320" fmla="*/ 9333125 w 9586368"/>
              <a:gd name="connsiteY1320" fmla="*/ 5504220 h 6479439"/>
              <a:gd name="connsiteX1321" fmla="*/ 9343036 w 9586368"/>
              <a:gd name="connsiteY1321" fmla="*/ 5504220 h 6479439"/>
              <a:gd name="connsiteX1322" fmla="*/ 9347055 w 9586368"/>
              <a:gd name="connsiteY1322" fmla="*/ 5508258 h 6479439"/>
              <a:gd name="connsiteX1323" fmla="*/ 9347055 w 9586368"/>
              <a:gd name="connsiteY1323" fmla="*/ 5518129 h 6479439"/>
              <a:gd name="connsiteX1324" fmla="*/ 9343036 w 9586368"/>
              <a:gd name="connsiteY1324" fmla="*/ 5522168 h 6479439"/>
              <a:gd name="connsiteX1325" fmla="*/ 9333125 w 9586368"/>
              <a:gd name="connsiteY1325" fmla="*/ 5522168 h 6479439"/>
              <a:gd name="connsiteX1326" fmla="*/ 9329106 w 9586368"/>
              <a:gd name="connsiteY1326" fmla="*/ 5518129 h 6479439"/>
              <a:gd name="connsiteX1327" fmla="*/ 9329106 w 9586368"/>
              <a:gd name="connsiteY1327" fmla="*/ 5508258 h 6479439"/>
              <a:gd name="connsiteX1328" fmla="*/ 9093811 w 9586368"/>
              <a:gd name="connsiteY1328" fmla="*/ 5504220 h 6479439"/>
              <a:gd name="connsiteX1329" fmla="*/ 9103722 w 9586368"/>
              <a:gd name="connsiteY1329" fmla="*/ 5504220 h 6479439"/>
              <a:gd name="connsiteX1330" fmla="*/ 9107741 w 9586368"/>
              <a:gd name="connsiteY1330" fmla="*/ 5508258 h 6479439"/>
              <a:gd name="connsiteX1331" fmla="*/ 9107741 w 9586368"/>
              <a:gd name="connsiteY1331" fmla="*/ 5518129 h 6479439"/>
              <a:gd name="connsiteX1332" fmla="*/ 9103722 w 9586368"/>
              <a:gd name="connsiteY1332" fmla="*/ 5522168 h 6479439"/>
              <a:gd name="connsiteX1333" fmla="*/ 9093811 w 9586368"/>
              <a:gd name="connsiteY1333" fmla="*/ 5522168 h 6479439"/>
              <a:gd name="connsiteX1334" fmla="*/ 9089792 w 9586368"/>
              <a:gd name="connsiteY1334" fmla="*/ 5518129 h 6479439"/>
              <a:gd name="connsiteX1335" fmla="*/ 9089792 w 9586368"/>
              <a:gd name="connsiteY1335" fmla="*/ 5508258 h 6479439"/>
              <a:gd name="connsiteX1336" fmla="*/ 8854496 w 9586368"/>
              <a:gd name="connsiteY1336" fmla="*/ 5504220 h 6479439"/>
              <a:gd name="connsiteX1337" fmla="*/ 8864407 w 9586368"/>
              <a:gd name="connsiteY1337" fmla="*/ 5504220 h 6479439"/>
              <a:gd name="connsiteX1338" fmla="*/ 8868426 w 9586368"/>
              <a:gd name="connsiteY1338" fmla="*/ 5508258 h 6479439"/>
              <a:gd name="connsiteX1339" fmla="*/ 8868426 w 9586368"/>
              <a:gd name="connsiteY1339" fmla="*/ 5518129 h 6479439"/>
              <a:gd name="connsiteX1340" fmla="*/ 8864407 w 9586368"/>
              <a:gd name="connsiteY1340" fmla="*/ 5522168 h 6479439"/>
              <a:gd name="connsiteX1341" fmla="*/ 8854496 w 9586368"/>
              <a:gd name="connsiteY1341" fmla="*/ 5522168 h 6479439"/>
              <a:gd name="connsiteX1342" fmla="*/ 8850477 w 9586368"/>
              <a:gd name="connsiteY1342" fmla="*/ 5518129 h 6479439"/>
              <a:gd name="connsiteX1343" fmla="*/ 8850477 w 9586368"/>
              <a:gd name="connsiteY1343" fmla="*/ 5508258 h 6479439"/>
              <a:gd name="connsiteX1344" fmla="*/ 8615184 w 9586368"/>
              <a:gd name="connsiteY1344" fmla="*/ 5504220 h 6479439"/>
              <a:gd name="connsiteX1345" fmla="*/ 8625095 w 9586368"/>
              <a:gd name="connsiteY1345" fmla="*/ 5504220 h 6479439"/>
              <a:gd name="connsiteX1346" fmla="*/ 8629114 w 9586368"/>
              <a:gd name="connsiteY1346" fmla="*/ 5508258 h 6479439"/>
              <a:gd name="connsiteX1347" fmla="*/ 8629114 w 9586368"/>
              <a:gd name="connsiteY1347" fmla="*/ 5518129 h 6479439"/>
              <a:gd name="connsiteX1348" fmla="*/ 8625095 w 9586368"/>
              <a:gd name="connsiteY1348" fmla="*/ 5522168 h 6479439"/>
              <a:gd name="connsiteX1349" fmla="*/ 8615184 w 9586368"/>
              <a:gd name="connsiteY1349" fmla="*/ 5522168 h 6479439"/>
              <a:gd name="connsiteX1350" fmla="*/ 8611165 w 9586368"/>
              <a:gd name="connsiteY1350" fmla="*/ 5518129 h 6479439"/>
              <a:gd name="connsiteX1351" fmla="*/ 8611165 w 9586368"/>
              <a:gd name="connsiteY1351" fmla="*/ 5508258 h 6479439"/>
              <a:gd name="connsiteX1352" fmla="*/ 8375869 w 9586368"/>
              <a:gd name="connsiteY1352" fmla="*/ 5504220 h 6479439"/>
              <a:gd name="connsiteX1353" fmla="*/ 8385779 w 9586368"/>
              <a:gd name="connsiteY1353" fmla="*/ 5504220 h 6479439"/>
              <a:gd name="connsiteX1354" fmla="*/ 8389799 w 9586368"/>
              <a:gd name="connsiteY1354" fmla="*/ 5508258 h 6479439"/>
              <a:gd name="connsiteX1355" fmla="*/ 8389799 w 9586368"/>
              <a:gd name="connsiteY1355" fmla="*/ 5518129 h 6479439"/>
              <a:gd name="connsiteX1356" fmla="*/ 8385779 w 9586368"/>
              <a:gd name="connsiteY1356" fmla="*/ 5522168 h 6479439"/>
              <a:gd name="connsiteX1357" fmla="*/ 8375869 w 9586368"/>
              <a:gd name="connsiteY1357" fmla="*/ 5522168 h 6479439"/>
              <a:gd name="connsiteX1358" fmla="*/ 8371850 w 9586368"/>
              <a:gd name="connsiteY1358" fmla="*/ 5518129 h 6479439"/>
              <a:gd name="connsiteX1359" fmla="*/ 8371850 w 9586368"/>
              <a:gd name="connsiteY1359" fmla="*/ 5508258 h 6479439"/>
              <a:gd name="connsiteX1360" fmla="*/ 8136553 w 9586368"/>
              <a:gd name="connsiteY1360" fmla="*/ 5504220 h 6479439"/>
              <a:gd name="connsiteX1361" fmla="*/ 8146464 w 9586368"/>
              <a:gd name="connsiteY1361" fmla="*/ 5504220 h 6479439"/>
              <a:gd name="connsiteX1362" fmla="*/ 8150483 w 9586368"/>
              <a:gd name="connsiteY1362" fmla="*/ 5508258 h 6479439"/>
              <a:gd name="connsiteX1363" fmla="*/ 8150483 w 9586368"/>
              <a:gd name="connsiteY1363" fmla="*/ 5518129 h 6479439"/>
              <a:gd name="connsiteX1364" fmla="*/ 8146464 w 9586368"/>
              <a:gd name="connsiteY1364" fmla="*/ 5522168 h 6479439"/>
              <a:gd name="connsiteX1365" fmla="*/ 8136553 w 9586368"/>
              <a:gd name="connsiteY1365" fmla="*/ 5522168 h 6479439"/>
              <a:gd name="connsiteX1366" fmla="*/ 8132534 w 9586368"/>
              <a:gd name="connsiteY1366" fmla="*/ 5518129 h 6479439"/>
              <a:gd name="connsiteX1367" fmla="*/ 8132534 w 9586368"/>
              <a:gd name="connsiteY1367" fmla="*/ 5508258 h 6479439"/>
              <a:gd name="connsiteX1368" fmla="*/ 7897241 w 9586368"/>
              <a:gd name="connsiteY1368" fmla="*/ 5504220 h 6479439"/>
              <a:gd name="connsiteX1369" fmla="*/ 7907151 w 9586368"/>
              <a:gd name="connsiteY1369" fmla="*/ 5504220 h 6479439"/>
              <a:gd name="connsiteX1370" fmla="*/ 7911170 w 9586368"/>
              <a:gd name="connsiteY1370" fmla="*/ 5508258 h 6479439"/>
              <a:gd name="connsiteX1371" fmla="*/ 7911170 w 9586368"/>
              <a:gd name="connsiteY1371" fmla="*/ 5518129 h 6479439"/>
              <a:gd name="connsiteX1372" fmla="*/ 7907151 w 9586368"/>
              <a:gd name="connsiteY1372" fmla="*/ 5522168 h 6479439"/>
              <a:gd name="connsiteX1373" fmla="*/ 7897241 w 9586368"/>
              <a:gd name="connsiteY1373" fmla="*/ 5522168 h 6479439"/>
              <a:gd name="connsiteX1374" fmla="*/ 7893222 w 9586368"/>
              <a:gd name="connsiteY1374" fmla="*/ 5518129 h 6479439"/>
              <a:gd name="connsiteX1375" fmla="*/ 7893222 w 9586368"/>
              <a:gd name="connsiteY1375" fmla="*/ 5508258 h 6479439"/>
              <a:gd name="connsiteX1376" fmla="*/ 7657926 w 9586368"/>
              <a:gd name="connsiteY1376" fmla="*/ 5504220 h 6479439"/>
              <a:gd name="connsiteX1377" fmla="*/ 7667836 w 9586368"/>
              <a:gd name="connsiteY1377" fmla="*/ 5504220 h 6479439"/>
              <a:gd name="connsiteX1378" fmla="*/ 7671855 w 9586368"/>
              <a:gd name="connsiteY1378" fmla="*/ 5508258 h 6479439"/>
              <a:gd name="connsiteX1379" fmla="*/ 7671855 w 9586368"/>
              <a:gd name="connsiteY1379" fmla="*/ 5518129 h 6479439"/>
              <a:gd name="connsiteX1380" fmla="*/ 7667836 w 9586368"/>
              <a:gd name="connsiteY1380" fmla="*/ 5522168 h 6479439"/>
              <a:gd name="connsiteX1381" fmla="*/ 7657926 w 9586368"/>
              <a:gd name="connsiteY1381" fmla="*/ 5522168 h 6479439"/>
              <a:gd name="connsiteX1382" fmla="*/ 7653906 w 9586368"/>
              <a:gd name="connsiteY1382" fmla="*/ 5518129 h 6479439"/>
              <a:gd name="connsiteX1383" fmla="*/ 7653906 w 9586368"/>
              <a:gd name="connsiteY1383" fmla="*/ 5508258 h 6479439"/>
              <a:gd name="connsiteX1384" fmla="*/ 7418611 w 9586368"/>
              <a:gd name="connsiteY1384" fmla="*/ 5504220 h 6479439"/>
              <a:gd name="connsiteX1385" fmla="*/ 7428521 w 9586368"/>
              <a:gd name="connsiteY1385" fmla="*/ 5504220 h 6479439"/>
              <a:gd name="connsiteX1386" fmla="*/ 7432540 w 9586368"/>
              <a:gd name="connsiteY1386" fmla="*/ 5508258 h 6479439"/>
              <a:gd name="connsiteX1387" fmla="*/ 7432540 w 9586368"/>
              <a:gd name="connsiteY1387" fmla="*/ 5518129 h 6479439"/>
              <a:gd name="connsiteX1388" fmla="*/ 7428521 w 9586368"/>
              <a:gd name="connsiteY1388" fmla="*/ 5522168 h 6479439"/>
              <a:gd name="connsiteX1389" fmla="*/ 7418611 w 9586368"/>
              <a:gd name="connsiteY1389" fmla="*/ 5522168 h 6479439"/>
              <a:gd name="connsiteX1390" fmla="*/ 7414592 w 9586368"/>
              <a:gd name="connsiteY1390" fmla="*/ 5518129 h 6479439"/>
              <a:gd name="connsiteX1391" fmla="*/ 7414592 w 9586368"/>
              <a:gd name="connsiteY1391" fmla="*/ 5508258 h 6479439"/>
              <a:gd name="connsiteX1392" fmla="*/ 7179298 w 9586368"/>
              <a:gd name="connsiteY1392" fmla="*/ 5504220 h 6479439"/>
              <a:gd name="connsiteX1393" fmla="*/ 7189209 w 9586368"/>
              <a:gd name="connsiteY1393" fmla="*/ 5504220 h 6479439"/>
              <a:gd name="connsiteX1394" fmla="*/ 7193228 w 9586368"/>
              <a:gd name="connsiteY1394" fmla="*/ 5508258 h 6479439"/>
              <a:gd name="connsiteX1395" fmla="*/ 7193228 w 9586368"/>
              <a:gd name="connsiteY1395" fmla="*/ 5518129 h 6479439"/>
              <a:gd name="connsiteX1396" fmla="*/ 7189209 w 9586368"/>
              <a:gd name="connsiteY1396" fmla="*/ 5522168 h 6479439"/>
              <a:gd name="connsiteX1397" fmla="*/ 7179298 w 9586368"/>
              <a:gd name="connsiteY1397" fmla="*/ 5522168 h 6479439"/>
              <a:gd name="connsiteX1398" fmla="*/ 7175279 w 9586368"/>
              <a:gd name="connsiteY1398" fmla="*/ 5518129 h 6479439"/>
              <a:gd name="connsiteX1399" fmla="*/ 7175279 w 9586368"/>
              <a:gd name="connsiteY1399" fmla="*/ 5508258 h 6479439"/>
              <a:gd name="connsiteX1400" fmla="*/ 6939983 w 9586368"/>
              <a:gd name="connsiteY1400" fmla="*/ 5504220 h 6479439"/>
              <a:gd name="connsiteX1401" fmla="*/ 6949894 w 9586368"/>
              <a:gd name="connsiteY1401" fmla="*/ 5504220 h 6479439"/>
              <a:gd name="connsiteX1402" fmla="*/ 6953913 w 9586368"/>
              <a:gd name="connsiteY1402" fmla="*/ 5508258 h 6479439"/>
              <a:gd name="connsiteX1403" fmla="*/ 6953913 w 9586368"/>
              <a:gd name="connsiteY1403" fmla="*/ 5518129 h 6479439"/>
              <a:gd name="connsiteX1404" fmla="*/ 6949894 w 9586368"/>
              <a:gd name="connsiteY1404" fmla="*/ 5522168 h 6479439"/>
              <a:gd name="connsiteX1405" fmla="*/ 6939983 w 9586368"/>
              <a:gd name="connsiteY1405" fmla="*/ 5522168 h 6479439"/>
              <a:gd name="connsiteX1406" fmla="*/ 6935964 w 9586368"/>
              <a:gd name="connsiteY1406" fmla="*/ 5518129 h 6479439"/>
              <a:gd name="connsiteX1407" fmla="*/ 6935964 w 9586368"/>
              <a:gd name="connsiteY1407" fmla="*/ 5508258 h 6479439"/>
              <a:gd name="connsiteX1408" fmla="*/ 6700670 w 9586368"/>
              <a:gd name="connsiteY1408" fmla="*/ 5504220 h 6479439"/>
              <a:gd name="connsiteX1409" fmla="*/ 6710581 w 9586368"/>
              <a:gd name="connsiteY1409" fmla="*/ 5504220 h 6479439"/>
              <a:gd name="connsiteX1410" fmla="*/ 6714600 w 9586368"/>
              <a:gd name="connsiteY1410" fmla="*/ 5508258 h 6479439"/>
              <a:gd name="connsiteX1411" fmla="*/ 6714600 w 9586368"/>
              <a:gd name="connsiteY1411" fmla="*/ 5518129 h 6479439"/>
              <a:gd name="connsiteX1412" fmla="*/ 6710581 w 9586368"/>
              <a:gd name="connsiteY1412" fmla="*/ 5522168 h 6479439"/>
              <a:gd name="connsiteX1413" fmla="*/ 6700670 w 9586368"/>
              <a:gd name="connsiteY1413" fmla="*/ 5522168 h 6479439"/>
              <a:gd name="connsiteX1414" fmla="*/ 6696651 w 9586368"/>
              <a:gd name="connsiteY1414" fmla="*/ 5518129 h 6479439"/>
              <a:gd name="connsiteX1415" fmla="*/ 6696651 w 9586368"/>
              <a:gd name="connsiteY1415" fmla="*/ 5508258 h 6479439"/>
              <a:gd name="connsiteX1416" fmla="*/ 6461356 w 9586368"/>
              <a:gd name="connsiteY1416" fmla="*/ 5504220 h 6479439"/>
              <a:gd name="connsiteX1417" fmla="*/ 6471266 w 9586368"/>
              <a:gd name="connsiteY1417" fmla="*/ 5504220 h 6479439"/>
              <a:gd name="connsiteX1418" fmla="*/ 6475285 w 9586368"/>
              <a:gd name="connsiteY1418" fmla="*/ 5508258 h 6479439"/>
              <a:gd name="connsiteX1419" fmla="*/ 6475285 w 9586368"/>
              <a:gd name="connsiteY1419" fmla="*/ 5518129 h 6479439"/>
              <a:gd name="connsiteX1420" fmla="*/ 6471266 w 9586368"/>
              <a:gd name="connsiteY1420" fmla="*/ 5522168 h 6479439"/>
              <a:gd name="connsiteX1421" fmla="*/ 6461356 w 9586368"/>
              <a:gd name="connsiteY1421" fmla="*/ 5522168 h 6479439"/>
              <a:gd name="connsiteX1422" fmla="*/ 6457337 w 9586368"/>
              <a:gd name="connsiteY1422" fmla="*/ 5518129 h 6479439"/>
              <a:gd name="connsiteX1423" fmla="*/ 6457337 w 9586368"/>
              <a:gd name="connsiteY1423" fmla="*/ 5508258 h 6479439"/>
              <a:gd name="connsiteX1424" fmla="*/ 6222042 w 9586368"/>
              <a:gd name="connsiteY1424" fmla="*/ 5504220 h 6479439"/>
              <a:gd name="connsiteX1425" fmla="*/ 6231952 w 9586368"/>
              <a:gd name="connsiteY1425" fmla="*/ 5504220 h 6479439"/>
              <a:gd name="connsiteX1426" fmla="*/ 6235971 w 9586368"/>
              <a:gd name="connsiteY1426" fmla="*/ 5508258 h 6479439"/>
              <a:gd name="connsiteX1427" fmla="*/ 6235971 w 9586368"/>
              <a:gd name="connsiteY1427" fmla="*/ 5518129 h 6479439"/>
              <a:gd name="connsiteX1428" fmla="*/ 6231952 w 9586368"/>
              <a:gd name="connsiteY1428" fmla="*/ 5522168 h 6479439"/>
              <a:gd name="connsiteX1429" fmla="*/ 6222042 w 9586368"/>
              <a:gd name="connsiteY1429" fmla="*/ 5522168 h 6479439"/>
              <a:gd name="connsiteX1430" fmla="*/ 6218023 w 9586368"/>
              <a:gd name="connsiteY1430" fmla="*/ 5518129 h 6479439"/>
              <a:gd name="connsiteX1431" fmla="*/ 6218023 w 9586368"/>
              <a:gd name="connsiteY1431" fmla="*/ 5508258 h 6479439"/>
              <a:gd name="connsiteX1432" fmla="*/ 5982729 w 9586368"/>
              <a:gd name="connsiteY1432" fmla="*/ 5504220 h 6479439"/>
              <a:gd name="connsiteX1433" fmla="*/ 5992639 w 9586368"/>
              <a:gd name="connsiteY1433" fmla="*/ 5504220 h 6479439"/>
              <a:gd name="connsiteX1434" fmla="*/ 5996658 w 9586368"/>
              <a:gd name="connsiteY1434" fmla="*/ 5508258 h 6479439"/>
              <a:gd name="connsiteX1435" fmla="*/ 5996658 w 9586368"/>
              <a:gd name="connsiteY1435" fmla="*/ 5518129 h 6479439"/>
              <a:gd name="connsiteX1436" fmla="*/ 5992639 w 9586368"/>
              <a:gd name="connsiteY1436" fmla="*/ 5522168 h 6479439"/>
              <a:gd name="connsiteX1437" fmla="*/ 5982729 w 9586368"/>
              <a:gd name="connsiteY1437" fmla="*/ 5522168 h 6479439"/>
              <a:gd name="connsiteX1438" fmla="*/ 5978710 w 9586368"/>
              <a:gd name="connsiteY1438" fmla="*/ 5518129 h 6479439"/>
              <a:gd name="connsiteX1439" fmla="*/ 5978710 w 9586368"/>
              <a:gd name="connsiteY1439" fmla="*/ 5508258 h 6479439"/>
              <a:gd name="connsiteX1440" fmla="*/ 5743412 w 9586368"/>
              <a:gd name="connsiteY1440" fmla="*/ 5504220 h 6479439"/>
              <a:gd name="connsiteX1441" fmla="*/ 5753323 w 9586368"/>
              <a:gd name="connsiteY1441" fmla="*/ 5504220 h 6479439"/>
              <a:gd name="connsiteX1442" fmla="*/ 5757342 w 9586368"/>
              <a:gd name="connsiteY1442" fmla="*/ 5508258 h 6479439"/>
              <a:gd name="connsiteX1443" fmla="*/ 5757342 w 9586368"/>
              <a:gd name="connsiteY1443" fmla="*/ 5518129 h 6479439"/>
              <a:gd name="connsiteX1444" fmla="*/ 5753323 w 9586368"/>
              <a:gd name="connsiteY1444" fmla="*/ 5522168 h 6479439"/>
              <a:gd name="connsiteX1445" fmla="*/ 5743412 w 9586368"/>
              <a:gd name="connsiteY1445" fmla="*/ 5522168 h 6479439"/>
              <a:gd name="connsiteX1446" fmla="*/ 5739393 w 9586368"/>
              <a:gd name="connsiteY1446" fmla="*/ 5518129 h 6479439"/>
              <a:gd name="connsiteX1447" fmla="*/ 5739393 w 9586368"/>
              <a:gd name="connsiteY1447" fmla="*/ 5508258 h 6479439"/>
              <a:gd name="connsiteX1448" fmla="*/ 5504099 w 9586368"/>
              <a:gd name="connsiteY1448" fmla="*/ 5504220 h 6479439"/>
              <a:gd name="connsiteX1449" fmla="*/ 5514010 w 9586368"/>
              <a:gd name="connsiteY1449" fmla="*/ 5504220 h 6479439"/>
              <a:gd name="connsiteX1450" fmla="*/ 5518029 w 9586368"/>
              <a:gd name="connsiteY1450" fmla="*/ 5508258 h 6479439"/>
              <a:gd name="connsiteX1451" fmla="*/ 5518029 w 9586368"/>
              <a:gd name="connsiteY1451" fmla="*/ 5518129 h 6479439"/>
              <a:gd name="connsiteX1452" fmla="*/ 5514010 w 9586368"/>
              <a:gd name="connsiteY1452" fmla="*/ 5522168 h 6479439"/>
              <a:gd name="connsiteX1453" fmla="*/ 5504099 w 9586368"/>
              <a:gd name="connsiteY1453" fmla="*/ 5522168 h 6479439"/>
              <a:gd name="connsiteX1454" fmla="*/ 5500080 w 9586368"/>
              <a:gd name="connsiteY1454" fmla="*/ 5518129 h 6479439"/>
              <a:gd name="connsiteX1455" fmla="*/ 5500080 w 9586368"/>
              <a:gd name="connsiteY1455" fmla="*/ 5508258 h 6479439"/>
              <a:gd name="connsiteX1456" fmla="*/ 5264784 w 9586368"/>
              <a:gd name="connsiteY1456" fmla="*/ 5504220 h 6479439"/>
              <a:gd name="connsiteX1457" fmla="*/ 5274694 w 9586368"/>
              <a:gd name="connsiteY1457" fmla="*/ 5504220 h 6479439"/>
              <a:gd name="connsiteX1458" fmla="*/ 5278713 w 9586368"/>
              <a:gd name="connsiteY1458" fmla="*/ 5508258 h 6479439"/>
              <a:gd name="connsiteX1459" fmla="*/ 5278713 w 9586368"/>
              <a:gd name="connsiteY1459" fmla="*/ 5518129 h 6479439"/>
              <a:gd name="connsiteX1460" fmla="*/ 5274694 w 9586368"/>
              <a:gd name="connsiteY1460" fmla="*/ 5522168 h 6479439"/>
              <a:gd name="connsiteX1461" fmla="*/ 5264784 w 9586368"/>
              <a:gd name="connsiteY1461" fmla="*/ 5522168 h 6479439"/>
              <a:gd name="connsiteX1462" fmla="*/ 5260765 w 9586368"/>
              <a:gd name="connsiteY1462" fmla="*/ 5518129 h 6479439"/>
              <a:gd name="connsiteX1463" fmla="*/ 5260765 w 9586368"/>
              <a:gd name="connsiteY1463" fmla="*/ 5508258 h 6479439"/>
              <a:gd name="connsiteX1464" fmla="*/ 5025470 w 9586368"/>
              <a:gd name="connsiteY1464" fmla="*/ 5504220 h 6479439"/>
              <a:gd name="connsiteX1465" fmla="*/ 5035381 w 9586368"/>
              <a:gd name="connsiteY1465" fmla="*/ 5504220 h 6479439"/>
              <a:gd name="connsiteX1466" fmla="*/ 5039400 w 9586368"/>
              <a:gd name="connsiteY1466" fmla="*/ 5508258 h 6479439"/>
              <a:gd name="connsiteX1467" fmla="*/ 5039400 w 9586368"/>
              <a:gd name="connsiteY1467" fmla="*/ 5518129 h 6479439"/>
              <a:gd name="connsiteX1468" fmla="*/ 5035381 w 9586368"/>
              <a:gd name="connsiteY1468" fmla="*/ 5522168 h 6479439"/>
              <a:gd name="connsiteX1469" fmla="*/ 5025470 w 9586368"/>
              <a:gd name="connsiteY1469" fmla="*/ 5522168 h 6479439"/>
              <a:gd name="connsiteX1470" fmla="*/ 5021451 w 9586368"/>
              <a:gd name="connsiteY1470" fmla="*/ 5518129 h 6479439"/>
              <a:gd name="connsiteX1471" fmla="*/ 5021451 w 9586368"/>
              <a:gd name="connsiteY1471" fmla="*/ 5508258 h 6479439"/>
              <a:gd name="connsiteX1472" fmla="*/ 4786241 w 9586368"/>
              <a:gd name="connsiteY1472" fmla="*/ 5504220 h 6479439"/>
              <a:gd name="connsiteX1473" fmla="*/ 4796152 w 9586368"/>
              <a:gd name="connsiteY1473" fmla="*/ 5504220 h 6479439"/>
              <a:gd name="connsiteX1474" fmla="*/ 4800171 w 9586368"/>
              <a:gd name="connsiteY1474" fmla="*/ 5508258 h 6479439"/>
              <a:gd name="connsiteX1475" fmla="*/ 4800171 w 9586368"/>
              <a:gd name="connsiteY1475" fmla="*/ 5518129 h 6479439"/>
              <a:gd name="connsiteX1476" fmla="*/ 4796152 w 9586368"/>
              <a:gd name="connsiteY1476" fmla="*/ 5522168 h 6479439"/>
              <a:gd name="connsiteX1477" fmla="*/ 4786241 w 9586368"/>
              <a:gd name="connsiteY1477" fmla="*/ 5522168 h 6479439"/>
              <a:gd name="connsiteX1478" fmla="*/ 4782224 w 9586368"/>
              <a:gd name="connsiteY1478" fmla="*/ 5518129 h 6479439"/>
              <a:gd name="connsiteX1479" fmla="*/ 4782224 w 9586368"/>
              <a:gd name="connsiteY1479" fmla="*/ 5508258 h 6479439"/>
              <a:gd name="connsiteX1480" fmla="*/ 4546929 w 9586368"/>
              <a:gd name="connsiteY1480" fmla="*/ 5504220 h 6479439"/>
              <a:gd name="connsiteX1481" fmla="*/ 4556840 w 9586368"/>
              <a:gd name="connsiteY1481" fmla="*/ 5504220 h 6479439"/>
              <a:gd name="connsiteX1482" fmla="*/ 4560859 w 9586368"/>
              <a:gd name="connsiteY1482" fmla="*/ 5508258 h 6479439"/>
              <a:gd name="connsiteX1483" fmla="*/ 4560859 w 9586368"/>
              <a:gd name="connsiteY1483" fmla="*/ 5518129 h 6479439"/>
              <a:gd name="connsiteX1484" fmla="*/ 4556840 w 9586368"/>
              <a:gd name="connsiteY1484" fmla="*/ 5522168 h 6479439"/>
              <a:gd name="connsiteX1485" fmla="*/ 4546929 w 9586368"/>
              <a:gd name="connsiteY1485" fmla="*/ 5522168 h 6479439"/>
              <a:gd name="connsiteX1486" fmla="*/ 4542910 w 9586368"/>
              <a:gd name="connsiteY1486" fmla="*/ 5518129 h 6479439"/>
              <a:gd name="connsiteX1487" fmla="*/ 4542910 w 9586368"/>
              <a:gd name="connsiteY1487" fmla="*/ 5508258 h 6479439"/>
              <a:gd name="connsiteX1488" fmla="*/ 4307612 w 9586368"/>
              <a:gd name="connsiteY1488" fmla="*/ 5504220 h 6479439"/>
              <a:gd name="connsiteX1489" fmla="*/ 4317523 w 9586368"/>
              <a:gd name="connsiteY1489" fmla="*/ 5504220 h 6479439"/>
              <a:gd name="connsiteX1490" fmla="*/ 4321543 w 9586368"/>
              <a:gd name="connsiteY1490" fmla="*/ 5508258 h 6479439"/>
              <a:gd name="connsiteX1491" fmla="*/ 4321543 w 9586368"/>
              <a:gd name="connsiteY1491" fmla="*/ 5518129 h 6479439"/>
              <a:gd name="connsiteX1492" fmla="*/ 4317523 w 9586368"/>
              <a:gd name="connsiteY1492" fmla="*/ 5522168 h 6479439"/>
              <a:gd name="connsiteX1493" fmla="*/ 4307612 w 9586368"/>
              <a:gd name="connsiteY1493" fmla="*/ 5522168 h 6479439"/>
              <a:gd name="connsiteX1494" fmla="*/ 4303595 w 9586368"/>
              <a:gd name="connsiteY1494" fmla="*/ 5518129 h 6479439"/>
              <a:gd name="connsiteX1495" fmla="*/ 4303595 w 9586368"/>
              <a:gd name="connsiteY1495" fmla="*/ 5508258 h 6479439"/>
              <a:gd name="connsiteX1496" fmla="*/ 4068297 w 9586368"/>
              <a:gd name="connsiteY1496" fmla="*/ 5504220 h 6479439"/>
              <a:gd name="connsiteX1497" fmla="*/ 4078210 w 9586368"/>
              <a:gd name="connsiteY1497" fmla="*/ 5504220 h 6479439"/>
              <a:gd name="connsiteX1498" fmla="*/ 4082229 w 9586368"/>
              <a:gd name="connsiteY1498" fmla="*/ 5508258 h 6479439"/>
              <a:gd name="connsiteX1499" fmla="*/ 4082229 w 9586368"/>
              <a:gd name="connsiteY1499" fmla="*/ 5518129 h 6479439"/>
              <a:gd name="connsiteX1500" fmla="*/ 4078210 w 9586368"/>
              <a:gd name="connsiteY1500" fmla="*/ 5522168 h 6479439"/>
              <a:gd name="connsiteX1501" fmla="*/ 4068297 w 9586368"/>
              <a:gd name="connsiteY1501" fmla="*/ 5522168 h 6479439"/>
              <a:gd name="connsiteX1502" fmla="*/ 4064278 w 9586368"/>
              <a:gd name="connsiteY1502" fmla="*/ 5518129 h 6479439"/>
              <a:gd name="connsiteX1503" fmla="*/ 4064278 w 9586368"/>
              <a:gd name="connsiteY1503" fmla="*/ 5508258 h 6479439"/>
              <a:gd name="connsiteX1504" fmla="*/ 3828990 w 9586368"/>
              <a:gd name="connsiteY1504" fmla="*/ 5504220 h 6479439"/>
              <a:gd name="connsiteX1505" fmla="*/ 3838899 w 9586368"/>
              <a:gd name="connsiteY1505" fmla="*/ 5504220 h 6479439"/>
              <a:gd name="connsiteX1506" fmla="*/ 3842917 w 9586368"/>
              <a:gd name="connsiteY1506" fmla="*/ 5508258 h 6479439"/>
              <a:gd name="connsiteX1507" fmla="*/ 3842917 w 9586368"/>
              <a:gd name="connsiteY1507" fmla="*/ 5518129 h 6479439"/>
              <a:gd name="connsiteX1508" fmla="*/ 3838899 w 9586368"/>
              <a:gd name="connsiteY1508" fmla="*/ 5522168 h 6479439"/>
              <a:gd name="connsiteX1509" fmla="*/ 3828990 w 9586368"/>
              <a:gd name="connsiteY1509" fmla="*/ 5522168 h 6479439"/>
              <a:gd name="connsiteX1510" fmla="*/ 3824971 w 9586368"/>
              <a:gd name="connsiteY1510" fmla="*/ 5518129 h 6479439"/>
              <a:gd name="connsiteX1511" fmla="*/ 3824971 w 9586368"/>
              <a:gd name="connsiteY1511" fmla="*/ 5508258 h 6479439"/>
              <a:gd name="connsiteX1512" fmla="*/ 3589676 w 9586368"/>
              <a:gd name="connsiteY1512" fmla="*/ 5504220 h 6479439"/>
              <a:gd name="connsiteX1513" fmla="*/ 3599585 w 9586368"/>
              <a:gd name="connsiteY1513" fmla="*/ 5504220 h 6479439"/>
              <a:gd name="connsiteX1514" fmla="*/ 3603604 w 9586368"/>
              <a:gd name="connsiteY1514" fmla="*/ 5508258 h 6479439"/>
              <a:gd name="connsiteX1515" fmla="*/ 3603604 w 9586368"/>
              <a:gd name="connsiteY1515" fmla="*/ 5518129 h 6479439"/>
              <a:gd name="connsiteX1516" fmla="*/ 3599585 w 9586368"/>
              <a:gd name="connsiteY1516" fmla="*/ 5522168 h 6479439"/>
              <a:gd name="connsiteX1517" fmla="*/ 3589676 w 9586368"/>
              <a:gd name="connsiteY1517" fmla="*/ 5522168 h 6479439"/>
              <a:gd name="connsiteX1518" fmla="*/ 3585657 w 9586368"/>
              <a:gd name="connsiteY1518" fmla="*/ 5518129 h 6479439"/>
              <a:gd name="connsiteX1519" fmla="*/ 3585657 w 9586368"/>
              <a:gd name="connsiteY1519" fmla="*/ 5508258 h 6479439"/>
              <a:gd name="connsiteX1520" fmla="*/ 3350359 w 9586368"/>
              <a:gd name="connsiteY1520" fmla="*/ 5504220 h 6479439"/>
              <a:gd name="connsiteX1521" fmla="*/ 3360268 w 9586368"/>
              <a:gd name="connsiteY1521" fmla="*/ 5504220 h 6479439"/>
              <a:gd name="connsiteX1522" fmla="*/ 3364287 w 9586368"/>
              <a:gd name="connsiteY1522" fmla="*/ 5508258 h 6479439"/>
              <a:gd name="connsiteX1523" fmla="*/ 3364287 w 9586368"/>
              <a:gd name="connsiteY1523" fmla="*/ 5518129 h 6479439"/>
              <a:gd name="connsiteX1524" fmla="*/ 3360268 w 9586368"/>
              <a:gd name="connsiteY1524" fmla="*/ 5522168 h 6479439"/>
              <a:gd name="connsiteX1525" fmla="*/ 3350359 w 9586368"/>
              <a:gd name="connsiteY1525" fmla="*/ 5522168 h 6479439"/>
              <a:gd name="connsiteX1526" fmla="*/ 3346340 w 9586368"/>
              <a:gd name="connsiteY1526" fmla="*/ 5518129 h 6479439"/>
              <a:gd name="connsiteX1527" fmla="*/ 3346340 w 9586368"/>
              <a:gd name="connsiteY1527" fmla="*/ 5508258 h 6479439"/>
              <a:gd name="connsiteX1528" fmla="*/ 3111048 w 9586368"/>
              <a:gd name="connsiteY1528" fmla="*/ 5504220 h 6479439"/>
              <a:gd name="connsiteX1529" fmla="*/ 3120959 w 9586368"/>
              <a:gd name="connsiteY1529" fmla="*/ 5504220 h 6479439"/>
              <a:gd name="connsiteX1530" fmla="*/ 3124977 w 9586368"/>
              <a:gd name="connsiteY1530" fmla="*/ 5508258 h 6479439"/>
              <a:gd name="connsiteX1531" fmla="*/ 3124977 w 9586368"/>
              <a:gd name="connsiteY1531" fmla="*/ 5518129 h 6479439"/>
              <a:gd name="connsiteX1532" fmla="*/ 3120959 w 9586368"/>
              <a:gd name="connsiteY1532" fmla="*/ 5522168 h 6479439"/>
              <a:gd name="connsiteX1533" fmla="*/ 3111048 w 9586368"/>
              <a:gd name="connsiteY1533" fmla="*/ 5522168 h 6479439"/>
              <a:gd name="connsiteX1534" fmla="*/ 3107029 w 9586368"/>
              <a:gd name="connsiteY1534" fmla="*/ 5518129 h 6479439"/>
              <a:gd name="connsiteX1535" fmla="*/ 3107029 w 9586368"/>
              <a:gd name="connsiteY1535" fmla="*/ 5508258 h 6479439"/>
              <a:gd name="connsiteX1536" fmla="*/ 2871737 w 9586368"/>
              <a:gd name="connsiteY1536" fmla="*/ 5504220 h 6479439"/>
              <a:gd name="connsiteX1537" fmla="*/ 2881646 w 9586368"/>
              <a:gd name="connsiteY1537" fmla="*/ 5504220 h 6479439"/>
              <a:gd name="connsiteX1538" fmla="*/ 2885666 w 9586368"/>
              <a:gd name="connsiteY1538" fmla="*/ 5508258 h 6479439"/>
              <a:gd name="connsiteX1539" fmla="*/ 2885666 w 9586368"/>
              <a:gd name="connsiteY1539" fmla="*/ 5518129 h 6479439"/>
              <a:gd name="connsiteX1540" fmla="*/ 2881646 w 9586368"/>
              <a:gd name="connsiteY1540" fmla="*/ 5522168 h 6479439"/>
              <a:gd name="connsiteX1541" fmla="*/ 2871737 w 9586368"/>
              <a:gd name="connsiteY1541" fmla="*/ 5522168 h 6479439"/>
              <a:gd name="connsiteX1542" fmla="*/ 2867717 w 9586368"/>
              <a:gd name="connsiteY1542" fmla="*/ 5518129 h 6479439"/>
              <a:gd name="connsiteX1543" fmla="*/ 2867717 w 9586368"/>
              <a:gd name="connsiteY1543" fmla="*/ 5508258 h 6479439"/>
              <a:gd name="connsiteX1544" fmla="*/ 2632423 w 9586368"/>
              <a:gd name="connsiteY1544" fmla="*/ 5504220 h 6479439"/>
              <a:gd name="connsiteX1545" fmla="*/ 2642334 w 9586368"/>
              <a:gd name="connsiteY1545" fmla="*/ 5504220 h 6479439"/>
              <a:gd name="connsiteX1546" fmla="*/ 2646352 w 9586368"/>
              <a:gd name="connsiteY1546" fmla="*/ 5508258 h 6479439"/>
              <a:gd name="connsiteX1547" fmla="*/ 2646352 w 9586368"/>
              <a:gd name="connsiteY1547" fmla="*/ 5518129 h 6479439"/>
              <a:gd name="connsiteX1548" fmla="*/ 2642334 w 9586368"/>
              <a:gd name="connsiteY1548" fmla="*/ 5522168 h 6479439"/>
              <a:gd name="connsiteX1549" fmla="*/ 2632423 w 9586368"/>
              <a:gd name="connsiteY1549" fmla="*/ 5522168 h 6479439"/>
              <a:gd name="connsiteX1550" fmla="*/ 2628404 w 9586368"/>
              <a:gd name="connsiteY1550" fmla="*/ 5518129 h 6479439"/>
              <a:gd name="connsiteX1551" fmla="*/ 2628404 w 9586368"/>
              <a:gd name="connsiteY1551" fmla="*/ 5508258 h 6479439"/>
              <a:gd name="connsiteX1552" fmla="*/ 2393104 w 9586368"/>
              <a:gd name="connsiteY1552" fmla="*/ 5504220 h 6479439"/>
              <a:gd name="connsiteX1553" fmla="*/ 2403015 w 9586368"/>
              <a:gd name="connsiteY1553" fmla="*/ 5504220 h 6479439"/>
              <a:gd name="connsiteX1554" fmla="*/ 2407034 w 9586368"/>
              <a:gd name="connsiteY1554" fmla="*/ 5508258 h 6479439"/>
              <a:gd name="connsiteX1555" fmla="*/ 2407034 w 9586368"/>
              <a:gd name="connsiteY1555" fmla="*/ 5518129 h 6479439"/>
              <a:gd name="connsiteX1556" fmla="*/ 2403015 w 9586368"/>
              <a:gd name="connsiteY1556" fmla="*/ 5522168 h 6479439"/>
              <a:gd name="connsiteX1557" fmla="*/ 2393104 w 9586368"/>
              <a:gd name="connsiteY1557" fmla="*/ 5522168 h 6479439"/>
              <a:gd name="connsiteX1558" fmla="*/ 2389087 w 9586368"/>
              <a:gd name="connsiteY1558" fmla="*/ 5518129 h 6479439"/>
              <a:gd name="connsiteX1559" fmla="*/ 2389087 w 9586368"/>
              <a:gd name="connsiteY1559" fmla="*/ 5508258 h 6479439"/>
              <a:gd name="connsiteX1560" fmla="*/ 2157818 w 9586368"/>
              <a:gd name="connsiteY1560" fmla="*/ 5504220 h 6479439"/>
              <a:gd name="connsiteX1561" fmla="*/ 2167728 w 9586368"/>
              <a:gd name="connsiteY1561" fmla="*/ 5504220 h 6479439"/>
              <a:gd name="connsiteX1562" fmla="*/ 2171748 w 9586368"/>
              <a:gd name="connsiteY1562" fmla="*/ 5508258 h 6479439"/>
              <a:gd name="connsiteX1563" fmla="*/ 2171748 w 9586368"/>
              <a:gd name="connsiteY1563" fmla="*/ 5518129 h 6479439"/>
              <a:gd name="connsiteX1564" fmla="*/ 2167728 w 9586368"/>
              <a:gd name="connsiteY1564" fmla="*/ 5522168 h 6479439"/>
              <a:gd name="connsiteX1565" fmla="*/ 2157818 w 9586368"/>
              <a:gd name="connsiteY1565" fmla="*/ 5522168 h 6479439"/>
              <a:gd name="connsiteX1566" fmla="*/ 2153799 w 9586368"/>
              <a:gd name="connsiteY1566" fmla="*/ 5518129 h 6479439"/>
              <a:gd name="connsiteX1567" fmla="*/ 2153799 w 9586368"/>
              <a:gd name="connsiteY1567" fmla="*/ 5508258 h 6479439"/>
              <a:gd name="connsiteX1568" fmla="*/ 1918510 w 9586368"/>
              <a:gd name="connsiteY1568" fmla="*/ 5504220 h 6479439"/>
              <a:gd name="connsiteX1569" fmla="*/ 1928420 w 9586368"/>
              <a:gd name="connsiteY1569" fmla="*/ 5504220 h 6479439"/>
              <a:gd name="connsiteX1570" fmla="*/ 1932438 w 9586368"/>
              <a:gd name="connsiteY1570" fmla="*/ 5508258 h 6479439"/>
              <a:gd name="connsiteX1571" fmla="*/ 1932438 w 9586368"/>
              <a:gd name="connsiteY1571" fmla="*/ 5518129 h 6479439"/>
              <a:gd name="connsiteX1572" fmla="*/ 1928420 w 9586368"/>
              <a:gd name="connsiteY1572" fmla="*/ 5522168 h 6479439"/>
              <a:gd name="connsiteX1573" fmla="*/ 1918510 w 9586368"/>
              <a:gd name="connsiteY1573" fmla="*/ 5522168 h 6479439"/>
              <a:gd name="connsiteX1574" fmla="*/ 1914490 w 9586368"/>
              <a:gd name="connsiteY1574" fmla="*/ 5518129 h 6479439"/>
              <a:gd name="connsiteX1575" fmla="*/ 1914490 w 9586368"/>
              <a:gd name="connsiteY1575" fmla="*/ 5508258 h 6479439"/>
              <a:gd name="connsiteX1576" fmla="*/ 1679202 w 9586368"/>
              <a:gd name="connsiteY1576" fmla="*/ 5504220 h 6479439"/>
              <a:gd name="connsiteX1577" fmla="*/ 1689112 w 9586368"/>
              <a:gd name="connsiteY1577" fmla="*/ 5504220 h 6479439"/>
              <a:gd name="connsiteX1578" fmla="*/ 1693132 w 9586368"/>
              <a:gd name="connsiteY1578" fmla="*/ 5508258 h 6479439"/>
              <a:gd name="connsiteX1579" fmla="*/ 1693132 w 9586368"/>
              <a:gd name="connsiteY1579" fmla="*/ 5518129 h 6479439"/>
              <a:gd name="connsiteX1580" fmla="*/ 1689112 w 9586368"/>
              <a:gd name="connsiteY1580" fmla="*/ 5522168 h 6479439"/>
              <a:gd name="connsiteX1581" fmla="*/ 1679202 w 9586368"/>
              <a:gd name="connsiteY1581" fmla="*/ 5522168 h 6479439"/>
              <a:gd name="connsiteX1582" fmla="*/ 1675184 w 9586368"/>
              <a:gd name="connsiteY1582" fmla="*/ 5518129 h 6479439"/>
              <a:gd name="connsiteX1583" fmla="*/ 1675184 w 9586368"/>
              <a:gd name="connsiteY1583" fmla="*/ 5508258 h 6479439"/>
              <a:gd name="connsiteX1584" fmla="*/ 1439887 w 9586368"/>
              <a:gd name="connsiteY1584" fmla="*/ 5504220 h 6479439"/>
              <a:gd name="connsiteX1585" fmla="*/ 1449797 w 9586368"/>
              <a:gd name="connsiteY1585" fmla="*/ 5504220 h 6479439"/>
              <a:gd name="connsiteX1586" fmla="*/ 1453815 w 9586368"/>
              <a:gd name="connsiteY1586" fmla="*/ 5508258 h 6479439"/>
              <a:gd name="connsiteX1587" fmla="*/ 1453815 w 9586368"/>
              <a:gd name="connsiteY1587" fmla="*/ 5518129 h 6479439"/>
              <a:gd name="connsiteX1588" fmla="*/ 1449797 w 9586368"/>
              <a:gd name="connsiteY1588" fmla="*/ 5522168 h 6479439"/>
              <a:gd name="connsiteX1589" fmla="*/ 1439887 w 9586368"/>
              <a:gd name="connsiteY1589" fmla="*/ 5522168 h 6479439"/>
              <a:gd name="connsiteX1590" fmla="*/ 1435869 w 9586368"/>
              <a:gd name="connsiteY1590" fmla="*/ 5518129 h 6479439"/>
              <a:gd name="connsiteX1591" fmla="*/ 1435869 w 9586368"/>
              <a:gd name="connsiteY1591" fmla="*/ 5508258 h 6479439"/>
              <a:gd name="connsiteX1592" fmla="*/ 1200572 w 9586368"/>
              <a:gd name="connsiteY1592" fmla="*/ 5504220 h 6479439"/>
              <a:gd name="connsiteX1593" fmla="*/ 1210483 w 9586368"/>
              <a:gd name="connsiteY1593" fmla="*/ 5504220 h 6479439"/>
              <a:gd name="connsiteX1594" fmla="*/ 1214501 w 9586368"/>
              <a:gd name="connsiteY1594" fmla="*/ 5508258 h 6479439"/>
              <a:gd name="connsiteX1595" fmla="*/ 1214501 w 9586368"/>
              <a:gd name="connsiteY1595" fmla="*/ 5518129 h 6479439"/>
              <a:gd name="connsiteX1596" fmla="*/ 1210483 w 9586368"/>
              <a:gd name="connsiteY1596" fmla="*/ 5522168 h 6479439"/>
              <a:gd name="connsiteX1597" fmla="*/ 1200572 w 9586368"/>
              <a:gd name="connsiteY1597" fmla="*/ 5522168 h 6479439"/>
              <a:gd name="connsiteX1598" fmla="*/ 1196554 w 9586368"/>
              <a:gd name="connsiteY1598" fmla="*/ 5518129 h 6479439"/>
              <a:gd name="connsiteX1599" fmla="*/ 1196554 w 9586368"/>
              <a:gd name="connsiteY1599" fmla="*/ 5508258 h 6479439"/>
              <a:gd name="connsiteX1600" fmla="*/ 961260 w 9586368"/>
              <a:gd name="connsiteY1600" fmla="*/ 5504220 h 6479439"/>
              <a:gd name="connsiteX1601" fmla="*/ 971169 w 9586368"/>
              <a:gd name="connsiteY1601" fmla="*/ 5504220 h 6479439"/>
              <a:gd name="connsiteX1602" fmla="*/ 975189 w 9586368"/>
              <a:gd name="connsiteY1602" fmla="*/ 5508258 h 6479439"/>
              <a:gd name="connsiteX1603" fmla="*/ 975189 w 9586368"/>
              <a:gd name="connsiteY1603" fmla="*/ 5518129 h 6479439"/>
              <a:gd name="connsiteX1604" fmla="*/ 971169 w 9586368"/>
              <a:gd name="connsiteY1604" fmla="*/ 5522168 h 6479439"/>
              <a:gd name="connsiteX1605" fmla="*/ 961260 w 9586368"/>
              <a:gd name="connsiteY1605" fmla="*/ 5522168 h 6479439"/>
              <a:gd name="connsiteX1606" fmla="*/ 957241 w 9586368"/>
              <a:gd name="connsiteY1606" fmla="*/ 5518129 h 6479439"/>
              <a:gd name="connsiteX1607" fmla="*/ 957241 w 9586368"/>
              <a:gd name="connsiteY1607" fmla="*/ 5508258 h 6479439"/>
              <a:gd name="connsiteX1608" fmla="*/ 721961 w 9586368"/>
              <a:gd name="connsiteY1608" fmla="*/ 5504220 h 6479439"/>
              <a:gd name="connsiteX1609" fmla="*/ 731871 w 9586368"/>
              <a:gd name="connsiteY1609" fmla="*/ 5504220 h 6479439"/>
              <a:gd name="connsiteX1610" fmla="*/ 735890 w 9586368"/>
              <a:gd name="connsiteY1610" fmla="*/ 5508258 h 6479439"/>
              <a:gd name="connsiteX1611" fmla="*/ 735890 w 9586368"/>
              <a:gd name="connsiteY1611" fmla="*/ 5518129 h 6479439"/>
              <a:gd name="connsiteX1612" fmla="*/ 731871 w 9586368"/>
              <a:gd name="connsiteY1612" fmla="*/ 5522168 h 6479439"/>
              <a:gd name="connsiteX1613" fmla="*/ 721961 w 9586368"/>
              <a:gd name="connsiteY1613" fmla="*/ 5522168 h 6479439"/>
              <a:gd name="connsiteX1614" fmla="*/ 717942 w 9586368"/>
              <a:gd name="connsiteY1614" fmla="*/ 5518129 h 6479439"/>
              <a:gd name="connsiteX1615" fmla="*/ 717942 w 9586368"/>
              <a:gd name="connsiteY1615" fmla="*/ 5508258 h 6479439"/>
              <a:gd name="connsiteX1616" fmla="*/ 482649 w 9586368"/>
              <a:gd name="connsiteY1616" fmla="*/ 5504220 h 6479439"/>
              <a:gd name="connsiteX1617" fmla="*/ 492559 w 9586368"/>
              <a:gd name="connsiteY1617" fmla="*/ 5504220 h 6479439"/>
              <a:gd name="connsiteX1618" fmla="*/ 496578 w 9586368"/>
              <a:gd name="connsiteY1618" fmla="*/ 5508258 h 6479439"/>
              <a:gd name="connsiteX1619" fmla="*/ 496578 w 9586368"/>
              <a:gd name="connsiteY1619" fmla="*/ 5518129 h 6479439"/>
              <a:gd name="connsiteX1620" fmla="*/ 492559 w 9586368"/>
              <a:gd name="connsiteY1620" fmla="*/ 5522168 h 6479439"/>
              <a:gd name="connsiteX1621" fmla="*/ 482649 w 9586368"/>
              <a:gd name="connsiteY1621" fmla="*/ 5522168 h 6479439"/>
              <a:gd name="connsiteX1622" fmla="*/ 478630 w 9586368"/>
              <a:gd name="connsiteY1622" fmla="*/ 5518129 h 6479439"/>
              <a:gd name="connsiteX1623" fmla="*/ 478630 w 9586368"/>
              <a:gd name="connsiteY1623" fmla="*/ 5508258 h 6479439"/>
              <a:gd name="connsiteX1624" fmla="*/ 243335 w 9586368"/>
              <a:gd name="connsiteY1624" fmla="*/ 5504220 h 6479439"/>
              <a:gd name="connsiteX1625" fmla="*/ 253245 w 9586368"/>
              <a:gd name="connsiteY1625" fmla="*/ 5504220 h 6479439"/>
              <a:gd name="connsiteX1626" fmla="*/ 257264 w 9586368"/>
              <a:gd name="connsiteY1626" fmla="*/ 5508258 h 6479439"/>
              <a:gd name="connsiteX1627" fmla="*/ 257264 w 9586368"/>
              <a:gd name="connsiteY1627" fmla="*/ 5518129 h 6479439"/>
              <a:gd name="connsiteX1628" fmla="*/ 253245 w 9586368"/>
              <a:gd name="connsiteY1628" fmla="*/ 5522168 h 6479439"/>
              <a:gd name="connsiteX1629" fmla="*/ 243335 w 9586368"/>
              <a:gd name="connsiteY1629" fmla="*/ 5522168 h 6479439"/>
              <a:gd name="connsiteX1630" fmla="*/ 239316 w 9586368"/>
              <a:gd name="connsiteY1630" fmla="*/ 5518129 h 6479439"/>
              <a:gd name="connsiteX1631" fmla="*/ 239316 w 9586368"/>
              <a:gd name="connsiteY1631" fmla="*/ 5508258 h 6479439"/>
              <a:gd name="connsiteX1632" fmla="*/ 4022 w 9586368"/>
              <a:gd name="connsiteY1632" fmla="*/ 5504220 h 6479439"/>
              <a:gd name="connsiteX1633" fmla="*/ 13932 w 9586368"/>
              <a:gd name="connsiteY1633" fmla="*/ 5504220 h 6479439"/>
              <a:gd name="connsiteX1634" fmla="*/ 17951 w 9586368"/>
              <a:gd name="connsiteY1634" fmla="*/ 5508258 h 6479439"/>
              <a:gd name="connsiteX1635" fmla="*/ 17951 w 9586368"/>
              <a:gd name="connsiteY1635" fmla="*/ 5518129 h 6479439"/>
              <a:gd name="connsiteX1636" fmla="*/ 13932 w 9586368"/>
              <a:gd name="connsiteY1636" fmla="*/ 5522168 h 6479439"/>
              <a:gd name="connsiteX1637" fmla="*/ 4022 w 9586368"/>
              <a:gd name="connsiteY1637" fmla="*/ 5522168 h 6479439"/>
              <a:gd name="connsiteX1638" fmla="*/ 3 w 9586368"/>
              <a:gd name="connsiteY1638" fmla="*/ 5518129 h 6479439"/>
              <a:gd name="connsiteX1639" fmla="*/ 3 w 9586368"/>
              <a:gd name="connsiteY1639" fmla="*/ 5508258 h 6479439"/>
              <a:gd name="connsiteX1640" fmla="*/ 2157818 w 9586368"/>
              <a:gd name="connsiteY1640" fmla="*/ 5264940 h 6479439"/>
              <a:gd name="connsiteX1641" fmla="*/ 2167729 w 9586368"/>
              <a:gd name="connsiteY1641" fmla="*/ 5264940 h 6479439"/>
              <a:gd name="connsiteX1642" fmla="*/ 2171748 w 9586368"/>
              <a:gd name="connsiteY1642" fmla="*/ 5268978 h 6479439"/>
              <a:gd name="connsiteX1643" fmla="*/ 2171748 w 9586368"/>
              <a:gd name="connsiteY1643" fmla="*/ 5278849 h 6479439"/>
              <a:gd name="connsiteX1644" fmla="*/ 2167729 w 9586368"/>
              <a:gd name="connsiteY1644" fmla="*/ 5282888 h 6479439"/>
              <a:gd name="connsiteX1645" fmla="*/ 2157818 w 9586368"/>
              <a:gd name="connsiteY1645" fmla="*/ 5282888 h 6479439"/>
              <a:gd name="connsiteX1646" fmla="*/ 2153799 w 9586368"/>
              <a:gd name="connsiteY1646" fmla="*/ 5278849 h 6479439"/>
              <a:gd name="connsiteX1647" fmla="*/ 2153799 w 9586368"/>
              <a:gd name="connsiteY1647" fmla="*/ 5268978 h 6479439"/>
              <a:gd name="connsiteX1648" fmla="*/ 1918510 w 9586368"/>
              <a:gd name="connsiteY1648" fmla="*/ 5264940 h 6479439"/>
              <a:gd name="connsiteX1649" fmla="*/ 1928420 w 9586368"/>
              <a:gd name="connsiteY1649" fmla="*/ 5264940 h 6479439"/>
              <a:gd name="connsiteX1650" fmla="*/ 1932438 w 9586368"/>
              <a:gd name="connsiteY1650" fmla="*/ 5268978 h 6479439"/>
              <a:gd name="connsiteX1651" fmla="*/ 1932438 w 9586368"/>
              <a:gd name="connsiteY1651" fmla="*/ 5278849 h 6479439"/>
              <a:gd name="connsiteX1652" fmla="*/ 1928420 w 9586368"/>
              <a:gd name="connsiteY1652" fmla="*/ 5282888 h 6479439"/>
              <a:gd name="connsiteX1653" fmla="*/ 1918510 w 9586368"/>
              <a:gd name="connsiteY1653" fmla="*/ 5282888 h 6479439"/>
              <a:gd name="connsiteX1654" fmla="*/ 1914492 w 9586368"/>
              <a:gd name="connsiteY1654" fmla="*/ 5278849 h 6479439"/>
              <a:gd name="connsiteX1655" fmla="*/ 1914492 w 9586368"/>
              <a:gd name="connsiteY1655" fmla="*/ 5268978 h 6479439"/>
              <a:gd name="connsiteX1656" fmla="*/ 1679204 w 9586368"/>
              <a:gd name="connsiteY1656" fmla="*/ 5264940 h 6479439"/>
              <a:gd name="connsiteX1657" fmla="*/ 1689113 w 9586368"/>
              <a:gd name="connsiteY1657" fmla="*/ 5264940 h 6479439"/>
              <a:gd name="connsiteX1658" fmla="*/ 1693132 w 9586368"/>
              <a:gd name="connsiteY1658" fmla="*/ 5268978 h 6479439"/>
              <a:gd name="connsiteX1659" fmla="*/ 1693132 w 9586368"/>
              <a:gd name="connsiteY1659" fmla="*/ 5278849 h 6479439"/>
              <a:gd name="connsiteX1660" fmla="*/ 1689113 w 9586368"/>
              <a:gd name="connsiteY1660" fmla="*/ 5282888 h 6479439"/>
              <a:gd name="connsiteX1661" fmla="*/ 1679204 w 9586368"/>
              <a:gd name="connsiteY1661" fmla="*/ 5282888 h 6479439"/>
              <a:gd name="connsiteX1662" fmla="*/ 1675184 w 9586368"/>
              <a:gd name="connsiteY1662" fmla="*/ 5278849 h 6479439"/>
              <a:gd name="connsiteX1663" fmla="*/ 1675184 w 9586368"/>
              <a:gd name="connsiteY1663" fmla="*/ 5268978 h 6479439"/>
              <a:gd name="connsiteX1664" fmla="*/ 1439889 w 9586368"/>
              <a:gd name="connsiteY1664" fmla="*/ 5264940 h 6479439"/>
              <a:gd name="connsiteX1665" fmla="*/ 1449798 w 9586368"/>
              <a:gd name="connsiteY1665" fmla="*/ 5264940 h 6479439"/>
              <a:gd name="connsiteX1666" fmla="*/ 1453817 w 9586368"/>
              <a:gd name="connsiteY1666" fmla="*/ 5268978 h 6479439"/>
              <a:gd name="connsiteX1667" fmla="*/ 1453817 w 9586368"/>
              <a:gd name="connsiteY1667" fmla="*/ 5278849 h 6479439"/>
              <a:gd name="connsiteX1668" fmla="*/ 1449798 w 9586368"/>
              <a:gd name="connsiteY1668" fmla="*/ 5282888 h 6479439"/>
              <a:gd name="connsiteX1669" fmla="*/ 1439889 w 9586368"/>
              <a:gd name="connsiteY1669" fmla="*/ 5282888 h 6479439"/>
              <a:gd name="connsiteX1670" fmla="*/ 1435869 w 9586368"/>
              <a:gd name="connsiteY1670" fmla="*/ 5278849 h 6479439"/>
              <a:gd name="connsiteX1671" fmla="*/ 1435869 w 9586368"/>
              <a:gd name="connsiteY1671" fmla="*/ 5268978 h 6479439"/>
              <a:gd name="connsiteX1672" fmla="*/ 1200573 w 9586368"/>
              <a:gd name="connsiteY1672" fmla="*/ 5264940 h 6479439"/>
              <a:gd name="connsiteX1673" fmla="*/ 1210483 w 9586368"/>
              <a:gd name="connsiteY1673" fmla="*/ 5264940 h 6479439"/>
              <a:gd name="connsiteX1674" fmla="*/ 1214502 w 9586368"/>
              <a:gd name="connsiteY1674" fmla="*/ 5268978 h 6479439"/>
              <a:gd name="connsiteX1675" fmla="*/ 1214502 w 9586368"/>
              <a:gd name="connsiteY1675" fmla="*/ 5278849 h 6479439"/>
              <a:gd name="connsiteX1676" fmla="*/ 1210483 w 9586368"/>
              <a:gd name="connsiteY1676" fmla="*/ 5282888 h 6479439"/>
              <a:gd name="connsiteX1677" fmla="*/ 1200573 w 9586368"/>
              <a:gd name="connsiteY1677" fmla="*/ 5282888 h 6479439"/>
              <a:gd name="connsiteX1678" fmla="*/ 1196554 w 9586368"/>
              <a:gd name="connsiteY1678" fmla="*/ 5278849 h 6479439"/>
              <a:gd name="connsiteX1679" fmla="*/ 1196554 w 9586368"/>
              <a:gd name="connsiteY1679" fmla="*/ 5268978 h 6479439"/>
              <a:gd name="connsiteX1680" fmla="*/ 961260 w 9586368"/>
              <a:gd name="connsiteY1680" fmla="*/ 5264940 h 6479439"/>
              <a:gd name="connsiteX1681" fmla="*/ 971171 w 9586368"/>
              <a:gd name="connsiteY1681" fmla="*/ 5264940 h 6479439"/>
              <a:gd name="connsiteX1682" fmla="*/ 975189 w 9586368"/>
              <a:gd name="connsiteY1682" fmla="*/ 5268978 h 6479439"/>
              <a:gd name="connsiteX1683" fmla="*/ 975189 w 9586368"/>
              <a:gd name="connsiteY1683" fmla="*/ 5278849 h 6479439"/>
              <a:gd name="connsiteX1684" fmla="*/ 971171 w 9586368"/>
              <a:gd name="connsiteY1684" fmla="*/ 5282888 h 6479439"/>
              <a:gd name="connsiteX1685" fmla="*/ 961260 w 9586368"/>
              <a:gd name="connsiteY1685" fmla="*/ 5282888 h 6479439"/>
              <a:gd name="connsiteX1686" fmla="*/ 957241 w 9586368"/>
              <a:gd name="connsiteY1686" fmla="*/ 5278849 h 6479439"/>
              <a:gd name="connsiteX1687" fmla="*/ 957241 w 9586368"/>
              <a:gd name="connsiteY1687" fmla="*/ 5268978 h 6479439"/>
              <a:gd name="connsiteX1688" fmla="*/ 9572438 w 9586368"/>
              <a:gd name="connsiteY1688" fmla="*/ 5264889 h 6479439"/>
              <a:gd name="connsiteX1689" fmla="*/ 9582349 w 9586368"/>
              <a:gd name="connsiteY1689" fmla="*/ 5264889 h 6479439"/>
              <a:gd name="connsiteX1690" fmla="*/ 9586368 w 9586368"/>
              <a:gd name="connsiteY1690" fmla="*/ 5268928 h 6479439"/>
              <a:gd name="connsiteX1691" fmla="*/ 9586368 w 9586368"/>
              <a:gd name="connsiteY1691" fmla="*/ 5278799 h 6479439"/>
              <a:gd name="connsiteX1692" fmla="*/ 9582349 w 9586368"/>
              <a:gd name="connsiteY1692" fmla="*/ 5282838 h 6479439"/>
              <a:gd name="connsiteX1693" fmla="*/ 9572438 w 9586368"/>
              <a:gd name="connsiteY1693" fmla="*/ 5282838 h 6479439"/>
              <a:gd name="connsiteX1694" fmla="*/ 9568419 w 9586368"/>
              <a:gd name="connsiteY1694" fmla="*/ 5278799 h 6479439"/>
              <a:gd name="connsiteX1695" fmla="*/ 9568419 w 9586368"/>
              <a:gd name="connsiteY1695" fmla="*/ 5268928 h 6479439"/>
              <a:gd name="connsiteX1696" fmla="*/ 9333125 w 9586368"/>
              <a:gd name="connsiteY1696" fmla="*/ 5264889 h 6479439"/>
              <a:gd name="connsiteX1697" fmla="*/ 9343036 w 9586368"/>
              <a:gd name="connsiteY1697" fmla="*/ 5264889 h 6479439"/>
              <a:gd name="connsiteX1698" fmla="*/ 9347055 w 9586368"/>
              <a:gd name="connsiteY1698" fmla="*/ 5268928 h 6479439"/>
              <a:gd name="connsiteX1699" fmla="*/ 9347055 w 9586368"/>
              <a:gd name="connsiteY1699" fmla="*/ 5278799 h 6479439"/>
              <a:gd name="connsiteX1700" fmla="*/ 9343036 w 9586368"/>
              <a:gd name="connsiteY1700" fmla="*/ 5282838 h 6479439"/>
              <a:gd name="connsiteX1701" fmla="*/ 9333125 w 9586368"/>
              <a:gd name="connsiteY1701" fmla="*/ 5282838 h 6479439"/>
              <a:gd name="connsiteX1702" fmla="*/ 9329106 w 9586368"/>
              <a:gd name="connsiteY1702" fmla="*/ 5278799 h 6479439"/>
              <a:gd name="connsiteX1703" fmla="*/ 9329106 w 9586368"/>
              <a:gd name="connsiteY1703" fmla="*/ 5268928 h 6479439"/>
              <a:gd name="connsiteX1704" fmla="*/ 9093811 w 9586368"/>
              <a:gd name="connsiteY1704" fmla="*/ 5264889 h 6479439"/>
              <a:gd name="connsiteX1705" fmla="*/ 9103722 w 9586368"/>
              <a:gd name="connsiteY1705" fmla="*/ 5264889 h 6479439"/>
              <a:gd name="connsiteX1706" fmla="*/ 9107741 w 9586368"/>
              <a:gd name="connsiteY1706" fmla="*/ 5268928 h 6479439"/>
              <a:gd name="connsiteX1707" fmla="*/ 9107741 w 9586368"/>
              <a:gd name="connsiteY1707" fmla="*/ 5278799 h 6479439"/>
              <a:gd name="connsiteX1708" fmla="*/ 9103722 w 9586368"/>
              <a:gd name="connsiteY1708" fmla="*/ 5282838 h 6479439"/>
              <a:gd name="connsiteX1709" fmla="*/ 9093811 w 9586368"/>
              <a:gd name="connsiteY1709" fmla="*/ 5282838 h 6479439"/>
              <a:gd name="connsiteX1710" fmla="*/ 9089792 w 9586368"/>
              <a:gd name="connsiteY1710" fmla="*/ 5278799 h 6479439"/>
              <a:gd name="connsiteX1711" fmla="*/ 9089792 w 9586368"/>
              <a:gd name="connsiteY1711" fmla="*/ 5268928 h 6479439"/>
              <a:gd name="connsiteX1712" fmla="*/ 8854496 w 9586368"/>
              <a:gd name="connsiteY1712" fmla="*/ 5264889 h 6479439"/>
              <a:gd name="connsiteX1713" fmla="*/ 8864407 w 9586368"/>
              <a:gd name="connsiteY1713" fmla="*/ 5264889 h 6479439"/>
              <a:gd name="connsiteX1714" fmla="*/ 8868426 w 9586368"/>
              <a:gd name="connsiteY1714" fmla="*/ 5268928 h 6479439"/>
              <a:gd name="connsiteX1715" fmla="*/ 8868426 w 9586368"/>
              <a:gd name="connsiteY1715" fmla="*/ 5278799 h 6479439"/>
              <a:gd name="connsiteX1716" fmla="*/ 8864407 w 9586368"/>
              <a:gd name="connsiteY1716" fmla="*/ 5282838 h 6479439"/>
              <a:gd name="connsiteX1717" fmla="*/ 8854496 w 9586368"/>
              <a:gd name="connsiteY1717" fmla="*/ 5282838 h 6479439"/>
              <a:gd name="connsiteX1718" fmla="*/ 8850477 w 9586368"/>
              <a:gd name="connsiteY1718" fmla="*/ 5278799 h 6479439"/>
              <a:gd name="connsiteX1719" fmla="*/ 8850477 w 9586368"/>
              <a:gd name="connsiteY1719" fmla="*/ 5268928 h 6479439"/>
              <a:gd name="connsiteX1720" fmla="*/ 8615184 w 9586368"/>
              <a:gd name="connsiteY1720" fmla="*/ 5264889 h 6479439"/>
              <a:gd name="connsiteX1721" fmla="*/ 8625095 w 9586368"/>
              <a:gd name="connsiteY1721" fmla="*/ 5264889 h 6479439"/>
              <a:gd name="connsiteX1722" fmla="*/ 8629114 w 9586368"/>
              <a:gd name="connsiteY1722" fmla="*/ 5268928 h 6479439"/>
              <a:gd name="connsiteX1723" fmla="*/ 8629114 w 9586368"/>
              <a:gd name="connsiteY1723" fmla="*/ 5278799 h 6479439"/>
              <a:gd name="connsiteX1724" fmla="*/ 8625095 w 9586368"/>
              <a:gd name="connsiteY1724" fmla="*/ 5282838 h 6479439"/>
              <a:gd name="connsiteX1725" fmla="*/ 8615184 w 9586368"/>
              <a:gd name="connsiteY1725" fmla="*/ 5282838 h 6479439"/>
              <a:gd name="connsiteX1726" fmla="*/ 8611165 w 9586368"/>
              <a:gd name="connsiteY1726" fmla="*/ 5278799 h 6479439"/>
              <a:gd name="connsiteX1727" fmla="*/ 8611165 w 9586368"/>
              <a:gd name="connsiteY1727" fmla="*/ 5268928 h 6479439"/>
              <a:gd name="connsiteX1728" fmla="*/ 8375869 w 9586368"/>
              <a:gd name="connsiteY1728" fmla="*/ 5264889 h 6479439"/>
              <a:gd name="connsiteX1729" fmla="*/ 8385779 w 9586368"/>
              <a:gd name="connsiteY1729" fmla="*/ 5264889 h 6479439"/>
              <a:gd name="connsiteX1730" fmla="*/ 8389799 w 9586368"/>
              <a:gd name="connsiteY1730" fmla="*/ 5268928 h 6479439"/>
              <a:gd name="connsiteX1731" fmla="*/ 8389799 w 9586368"/>
              <a:gd name="connsiteY1731" fmla="*/ 5278799 h 6479439"/>
              <a:gd name="connsiteX1732" fmla="*/ 8385779 w 9586368"/>
              <a:gd name="connsiteY1732" fmla="*/ 5282838 h 6479439"/>
              <a:gd name="connsiteX1733" fmla="*/ 8375869 w 9586368"/>
              <a:gd name="connsiteY1733" fmla="*/ 5282838 h 6479439"/>
              <a:gd name="connsiteX1734" fmla="*/ 8371850 w 9586368"/>
              <a:gd name="connsiteY1734" fmla="*/ 5278799 h 6479439"/>
              <a:gd name="connsiteX1735" fmla="*/ 8371850 w 9586368"/>
              <a:gd name="connsiteY1735" fmla="*/ 5268928 h 6479439"/>
              <a:gd name="connsiteX1736" fmla="*/ 8136553 w 9586368"/>
              <a:gd name="connsiteY1736" fmla="*/ 5264889 h 6479439"/>
              <a:gd name="connsiteX1737" fmla="*/ 8146464 w 9586368"/>
              <a:gd name="connsiteY1737" fmla="*/ 5264889 h 6479439"/>
              <a:gd name="connsiteX1738" fmla="*/ 8150483 w 9586368"/>
              <a:gd name="connsiteY1738" fmla="*/ 5268928 h 6479439"/>
              <a:gd name="connsiteX1739" fmla="*/ 8150483 w 9586368"/>
              <a:gd name="connsiteY1739" fmla="*/ 5278799 h 6479439"/>
              <a:gd name="connsiteX1740" fmla="*/ 8146464 w 9586368"/>
              <a:gd name="connsiteY1740" fmla="*/ 5282838 h 6479439"/>
              <a:gd name="connsiteX1741" fmla="*/ 8136553 w 9586368"/>
              <a:gd name="connsiteY1741" fmla="*/ 5282838 h 6479439"/>
              <a:gd name="connsiteX1742" fmla="*/ 8132534 w 9586368"/>
              <a:gd name="connsiteY1742" fmla="*/ 5278799 h 6479439"/>
              <a:gd name="connsiteX1743" fmla="*/ 8132534 w 9586368"/>
              <a:gd name="connsiteY1743" fmla="*/ 5268928 h 6479439"/>
              <a:gd name="connsiteX1744" fmla="*/ 7897241 w 9586368"/>
              <a:gd name="connsiteY1744" fmla="*/ 5264889 h 6479439"/>
              <a:gd name="connsiteX1745" fmla="*/ 7907151 w 9586368"/>
              <a:gd name="connsiteY1745" fmla="*/ 5264889 h 6479439"/>
              <a:gd name="connsiteX1746" fmla="*/ 7911170 w 9586368"/>
              <a:gd name="connsiteY1746" fmla="*/ 5268928 h 6479439"/>
              <a:gd name="connsiteX1747" fmla="*/ 7911170 w 9586368"/>
              <a:gd name="connsiteY1747" fmla="*/ 5278799 h 6479439"/>
              <a:gd name="connsiteX1748" fmla="*/ 7907151 w 9586368"/>
              <a:gd name="connsiteY1748" fmla="*/ 5282838 h 6479439"/>
              <a:gd name="connsiteX1749" fmla="*/ 7897241 w 9586368"/>
              <a:gd name="connsiteY1749" fmla="*/ 5282838 h 6479439"/>
              <a:gd name="connsiteX1750" fmla="*/ 7893222 w 9586368"/>
              <a:gd name="connsiteY1750" fmla="*/ 5278799 h 6479439"/>
              <a:gd name="connsiteX1751" fmla="*/ 7893222 w 9586368"/>
              <a:gd name="connsiteY1751" fmla="*/ 5268928 h 6479439"/>
              <a:gd name="connsiteX1752" fmla="*/ 7657926 w 9586368"/>
              <a:gd name="connsiteY1752" fmla="*/ 5264889 h 6479439"/>
              <a:gd name="connsiteX1753" fmla="*/ 7667836 w 9586368"/>
              <a:gd name="connsiteY1753" fmla="*/ 5264889 h 6479439"/>
              <a:gd name="connsiteX1754" fmla="*/ 7671855 w 9586368"/>
              <a:gd name="connsiteY1754" fmla="*/ 5268928 h 6479439"/>
              <a:gd name="connsiteX1755" fmla="*/ 7671855 w 9586368"/>
              <a:gd name="connsiteY1755" fmla="*/ 5278799 h 6479439"/>
              <a:gd name="connsiteX1756" fmla="*/ 7667836 w 9586368"/>
              <a:gd name="connsiteY1756" fmla="*/ 5282838 h 6479439"/>
              <a:gd name="connsiteX1757" fmla="*/ 7657926 w 9586368"/>
              <a:gd name="connsiteY1757" fmla="*/ 5282838 h 6479439"/>
              <a:gd name="connsiteX1758" fmla="*/ 7653906 w 9586368"/>
              <a:gd name="connsiteY1758" fmla="*/ 5278799 h 6479439"/>
              <a:gd name="connsiteX1759" fmla="*/ 7653906 w 9586368"/>
              <a:gd name="connsiteY1759" fmla="*/ 5268928 h 6479439"/>
              <a:gd name="connsiteX1760" fmla="*/ 7418611 w 9586368"/>
              <a:gd name="connsiteY1760" fmla="*/ 5264889 h 6479439"/>
              <a:gd name="connsiteX1761" fmla="*/ 7428521 w 9586368"/>
              <a:gd name="connsiteY1761" fmla="*/ 5264889 h 6479439"/>
              <a:gd name="connsiteX1762" fmla="*/ 7432540 w 9586368"/>
              <a:gd name="connsiteY1762" fmla="*/ 5268928 h 6479439"/>
              <a:gd name="connsiteX1763" fmla="*/ 7432540 w 9586368"/>
              <a:gd name="connsiteY1763" fmla="*/ 5278799 h 6479439"/>
              <a:gd name="connsiteX1764" fmla="*/ 7428521 w 9586368"/>
              <a:gd name="connsiteY1764" fmla="*/ 5282838 h 6479439"/>
              <a:gd name="connsiteX1765" fmla="*/ 7418611 w 9586368"/>
              <a:gd name="connsiteY1765" fmla="*/ 5282838 h 6479439"/>
              <a:gd name="connsiteX1766" fmla="*/ 7414592 w 9586368"/>
              <a:gd name="connsiteY1766" fmla="*/ 5278799 h 6479439"/>
              <a:gd name="connsiteX1767" fmla="*/ 7414592 w 9586368"/>
              <a:gd name="connsiteY1767" fmla="*/ 5268928 h 6479439"/>
              <a:gd name="connsiteX1768" fmla="*/ 7179298 w 9586368"/>
              <a:gd name="connsiteY1768" fmla="*/ 5264889 h 6479439"/>
              <a:gd name="connsiteX1769" fmla="*/ 7189209 w 9586368"/>
              <a:gd name="connsiteY1769" fmla="*/ 5264889 h 6479439"/>
              <a:gd name="connsiteX1770" fmla="*/ 7193228 w 9586368"/>
              <a:gd name="connsiteY1770" fmla="*/ 5268928 h 6479439"/>
              <a:gd name="connsiteX1771" fmla="*/ 7193228 w 9586368"/>
              <a:gd name="connsiteY1771" fmla="*/ 5278799 h 6479439"/>
              <a:gd name="connsiteX1772" fmla="*/ 7189209 w 9586368"/>
              <a:gd name="connsiteY1772" fmla="*/ 5282838 h 6479439"/>
              <a:gd name="connsiteX1773" fmla="*/ 7179298 w 9586368"/>
              <a:gd name="connsiteY1773" fmla="*/ 5282838 h 6479439"/>
              <a:gd name="connsiteX1774" fmla="*/ 7175279 w 9586368"/>
              <a:gd name="connsiteY1774" fmla="*/ 5278799 h 6479439"/>
              <a:gd name="connsiteX1775" fmla="*/ 7175279 w 9586368"/>
              <a:gd name="connsiteY1775" fmla="*/ 5268928 h 6479439"/>
              <a:gd name="connsiteX1776" fmla="*/ 6939983 w 9586368"/>
              <a:gd name="connsiteY1776" fmla="*/ 5264889 h 6479439"/>
              <a:gd name="connsiteX1777" fmla="*/ 6949894 w 9586368"/>
              <a:gd name="connsiteY1777" fmla="*/ 5264889 h 6479439"/>
              <a:gd name="connsiteX1778" fmla="*/ 6953913 w 9586368"/>
              <a:gd name="connsiteY1778" fmla="*/ 5268928 h 6479439"/>
              <a:gd name="connsiteX1779" fmla="*/ 6953913 w 9586368"/>
              <a:gd name="connsiteY1779" fmla="*/ 5278799 h 6479439"/>
              <a:gd name="connsiteX1780" fmla="*/ 6949894 w 9586368"/>
              <a:gd name="connsiteY1780" fmla="*/ 5282838 h 6479439"/>
              <a:gd name="connsiteX1781" fmla="*/ 6939983 w 9586368"/>
              <a:gd name="connsiteY1781" fmla="*/ 5282838 h 6479439"/>
              <a:gd name="connsiteX1782" fmla="*/ 6935964 w 9586368"/>
              <a:gd name="connsiteY1782" fmla="*/ 5278799 h 6479439"/>
              <a:gd name="connsiteX1783" fmla="*/ 6935964 w 9586368"/>
              <a:gd name="connsiteY1783" fmla="*/ 5268928 h 6479439"/>
              <a:gd name="connsiteX1784" fmla="*/ 6700670 w 9586368"/>
              <a:gd name="connsiteY1784" fmla="*/ 5264889 h 6479439"/>
              <a:gd name="connsiteX1785" fmla="*/ 6710581 w 9586368"/>
              <a:gd name="connsiteY1785" fmla="*/ 5264889 h 6479439"/>
              <a:gd name="connsiteX1786" fmla="*/ 6714600 w 9586368"/>
              <a:gd name="connsiteY1786" fmla="*/ 5268928 h 6479439"/>
              <a:gd name="connsiteX1787" fmla="*/ 6714600 w 9586368"/>
              <a:gd name="connsiteY1787" fmla="*/ 5278799 h 6479439"/>
              <a:gd name="connsiteX1788" fmla="*/ 6710581 w 9586368"/>
              <a:gd name="connsiteY1788" fmla="*/ 5282838 h 6479439"/>
              <a:gd name="connsiteX1789" fmla="*/ 6700670 w 9586368"/>
              <a:gd name="connsiteY1789" fmla="*/ 5282838 h 6479439"/>
              <a:gd name="connsiteX1790" fmla="*/ 6696651 w 9586368"/>
              <a:gd name="connsiteY1790" fmla="*/ 5278799 h 6479439"/>
              <a:gd name="connsiteX1791" fmla="*/ 6696651 w 9586368"/>
              <a:gd name="connsiteY1791" fmla="*/ 5268928 h 6479439"/>
              <a:gd name="connsiteX1792" fmla="*/ 6461356 w 9586368"/>
              <a:gd name="connsiteY1792" fmla="*/ 5264889 h 6479439"/>
              <a:gd name="connsiteX1793" fmla="*/ 6471266 w 9586368"/>
              <a:gd name="connsiteY1793" fmla="*/ 5264889 h 6479439"/>
              <a:gd name="connsiteX1794" fmla="*/ 6475285 w 9586368"/>
              <a:gd name="connsiteY1794" fmla="*/ 5268928 h 6479439"/>
              <a:gd name="connsiteX1795" fmla="*/ 6475285 w 9586368"/>
              <a:gd name="connsiteY1795" fmla="*/ 5278799 h 6479439"/>
              <a:gd name="connsiteX1796" fmla="*/ 6471266 w 9586368"/>
              <a:gd name="connsiteY1796" fmla="*/ 5282838 h 6479439"/>
              <a:gd name="connsiteX1797" fmla="*/ 6461356 w 9586368"/>
              <a:gd name="connsiteY1797" fmla="*/ 5282838 h 6479439"/>
              <a:gd name="connsiteX1798" fmla="*/ 6457337 w 9586368"/>
              <a:gd name="connsiteY1798" fmla="*/ 5278799 h 6479439"/>
              <a:gd name="connsiteX1799" fmla="*/ 6457337 w 9586368"/>
              <a:gd name="connsiteY1799" fmla="*/ 5268928 h 6479439"/>
              <a:gd name="connsiteX1800" fmla="*/ 6222042 w 9586368"/>
              <a:gd name="connsiteY1800" fmla="*/ 5264889 h 6479439"/>
              <a:gd name="connsiteX1801" fmla="*/ 6231952 w 9586368"/>
              <a:gd name="connsiteY1801" fmla="*/ 5264889 h 6479439"/>
              <a:gd name="connsiteX1802" fmla="*/ 6235971 w 9586368"/>
              <a:gd name="connsiteY1802" fmla="*/ 5268928 h 6479439"/>
              <a:gd name="connsiteX1803" fmla="*/ 6235971 w 9586368"/>
              <a:gd name="connsiteY1803" fmla="*/ 5278799 h 6479439"/>
              <a:gd name="connsiteX1804" fmla="*/ 6231952 w 9586368"/>
              <a:gd name="connsiteY1804" fmla="*/ 5282838 h 6479439"/>
              <a:gd name="connsiteX1805" fmla="*/ 6222042 w 9586368"/>
              <a:gd name="connsiteY1805" fmla="*/ 5282838 h 6479439"/>
              <a:gd name="connsiteX1806" fmla="*/ 6218023 w 9586368"/>
              <a:gd name="connsiteY1806" fmla="*/ 5278799 h 6479439"/>
              <a:gd name="connsiteX1807" fmla="*/ 6218023 w 9586368"/>
              <a:gd name="connsiteY1807" fmla="*/ 5268928 h 6479439"/>
              <a:gd name="connsiteX1808" fmla="*/ 5982729 w 9586368"/>
              <a:gd name="connsiteY1808" fmla="*/ 5264889 h 6479439"/>
              <a:gd name="connsiteX1809" fmla="*/ 5992639 w 9586368"/>
              <a:gd name="connsiteY1809" fmla="*/ 5264889 h 6479439"/>
              <a:gd name="connsiteX1810" fmla="*/ 5996658 w 9586368"/>
              <a:gd name="connsiteY1810" fmla="*/ 5268928 h 6479439"/>
              <a:gd name="connsiteX1811" fmla="*/ 5996658 w 9586368"/>
              <a:gd name="connsiteY1811" fmla="*/ 5278799 h 6479439"/>
              <a:gd name="connsiteX1812" fmla="*/ 5992639 w 9586368"/>
              <a:gd name="connsiteY1812" fmla="*/ 5282838 h 6479439"/>
              <a:gd name="connsiteX1813" fmla="*/ 5982729 w 9586368"/>
              <a:gd name="connsiteY1813" fmla="*/ 5282838 h 6479439"/>
              <a:gd name="connsiteX1814" fmla="*/ 5978710 w 9586368"/>
              <a:gd name="connsiteY1814" fmla="*/ 5278799 h 6479439"/>
              <a:gd name="connsiteX1815" fmla="*/ 5978710 w 9586368"/>
              <a:gd name="connsiteY1815" fmla="*/ 5268928 h 6479439"/>
              <a:gd name="connsiteX1816" fmla="*/ 5743412 w 9586368"/>
              <a:gd name="connsiteY1816" fmla="*/ 5264889 h 6479439"/>
              <a:gd name="connsiteX1817" fmla="*/ 5753323 w 9586368"/>
              <a:gd name="connsiteY1817" fmla="*/ 5264889 h 6479439"/>
              <a:gd name="connsiteX1818" fmla="*/ 5757342 w 9586368"/>
              <a:gd name="connsiteY1818" fmla="*/ 5268928 h 6479439"/>
              <a:gd name="connsiteX1819" fmla="*/ 5757342 w 9586368"/>
              <a:gd name="connsiteY1819" fmla="*/ 5278799 h 6479439"/>
              <a:gd name="connsiteX1820" fmla="*/ 5753323 w 9586368"/>
              <a:gd name="connsiteY1820" fmla="*/ 5282838 h 6479439"/>
              <a:gd name="connsiteX1821" fmla="*/ 5743412 w 9586368"/>
              <a:gd name="connsiteY1821" fmla="*/ 5282838 h 6479439"/>
              <a:gd name="connsiteX1822" fmla="*/ 5739393 w 9586368"/>
              <a:gd name="connsiteY1822" fmla="*/ 5278799 h 6479439"/>
              <a:gd name="connsiteX1823" fmla="*/ 5739393 w 9586368"/>
              <a:gd name="connsiteY1823" fmla="*/ 5268928 h 6479439"/>
              <a:gd name="connsiteX1824" fmla="*/ 5504099 w 9586368"/>
              <a:gd name="connsiteY1824" fmla="*/ 5264889 h 6479439"/>
              <a:gd name="connsiteX1825" fmla="*/ 5514010 w 9586368"/>
              <a:gd name="connsiteY1825" fmla="*/ 5264889 h 6479439"/>
              <a:gd name="connsiteX1826" fmla="*/ 5518029 w 9586368"/>
              <a:gd name="connsiteY1826" fmla="*/ 5268928 h 6479439"/>
              <a:gd name="connsiteX1827" fmla="*/ 5518029 w 9586368"/>
              <a:gd name="connsiteY1827" fmla="*/ 5278799 h 6479439"/>
              <a:gd name="connsiteX1828" fmla="*/ 5514010 w 9586368"/>
              <a:gd name="connsiteY1828" fmla="*/ 5282838 h 6479439"/>
              <a:gd name="connsiteX1829" fmla="*/ 5504099 w 9586368"/>
              <a:gd name="connsiteY1829" fmla="*/ 5282838 h 6479439"/>
              <a:gd name="connsiteX1830" fmla="*/ 5500080 w 9586368"/>
              <a:gd name="connsiteY1830" fmla="*/ 5278799 h 6479439"/>
              <a:gd name="connsiteX1831" fmla="*/ 5500080 w 9586368"/>
              <a:gd name="connsiteY1831" fmla="*/ 5268928 h 6479439"/>
              <a:gd name="connsiteX1832" fmla="*/ 5264784 w 9586368"/>
              <a:gd name="connsiteY1832" fmla="*/ 5264889 h 6479439"/>
              <a:gd name="connsiteX1833" fmla="*/ 5274694 w 9586368"/>
              <a:gd name="connsiteY1833" fmla="*/ 5264889 h 6479439"/>
              <a:gd name="connsiteX1834" fmla="*/ 5278713 w 9586368"/>
              <a:gd name="connsiteY1834" fmla="*/ 5268928 h 6479439"/>
              <a:gd name="connsiteX1835" fmla="*/ 5278713 w 9586368"/>
              <a:gd name="connsiteY1835" fmla="*/ 5278799 h 6479439"/>
              <a:gd name="connsiteX1836" fmla="*/ 5274694 w 9586368"/>
              <a:gd name="connsiteY1836" fmla="*/ 5282838 h 6479439"/>
              <a:gd name="connsiteX1837" fmla="*/ 5264784 w 9586368"/>
              <a:gd name="connsiteY1837" fmla="*/ 5282838 h 6479439"/>
              <a:gd name="connsiteX1838" fmla="*/ 5260765 w 9586368"/>
              <a:gd name="connsiteY1838" fmla="*/ 5278799 h 6479439"/>
              <a:gd name="connsiteX1839" fmla="*/ 5260765 w 9586368"/>
              <a:gd name="connsiteY1839" fmla="*/ 5268928 h 6479439"/>
              <a:gd name="connsiteX1840" fmla="*/ 5025470 w 9586368"/>
              <a:gd name="connsiteY1840" fmla="*/ 5264889 h 6479439"/>
              <a:gd name="connsiteX1841" fmla="*/ 5035381 w 9586368"/>
              <a:gd name="connsiteY1841" fmla="*/ 5264889 h 6479439"/>
              <a:gd name="connsiteX1842" fmla="*/ 5039400 w 9586368"/>
              <a:gd name="connsiteY1842" fmla="*/ 5268928 h 6479439"/>
              <a:gd name="connsiteX1843" fmla="*/ 5039400 w 9586368"/>
              <a:gd name="connsiteY1843" fmla="*/ 5278799 h 6479439"/>
              <a:gd name="connsiteX1844" fmla="*/ 5035381 w 9586368"/>
              <a:gd name="connsiteY1844" fmla="*/ 5282838 h 6479439"/>
              <a:gd name="connsiteX1845" fmla="*/ 5025470 w 9586368"/>
              <a:gd name="connsiteY1845" fmla="*/ 5282838 h 6479439"/>
              <a:gd name="connsiteX1846" fmla="*/ 5021451 w 9586368"/>
              <a:gd name="connsiteY1846" fmla="*/ 5278799 h 6479439"/>
              <a:gd name="connsiteX1847" fmla="*/ 5021451 w 9586368"/>
              <a:gd name="connsiteY1847" fmla="*/ 5268928 h 6479439"/>
              <a:gd name="connsiteX1848" fmla="*/ 4786241 w 9586368"/>
              <a:gd name="connsiteY1848" fmla="*/ 5264889 h 6479439"/>
              <a:gd name="connsiteX1849" fmla="*/ 4796152 w 9586368"/>
              <a:gd name="connsiteY1849" fmla="*/ 5264889 h 6479439"/>
              <a:gd name="connsiteX1850" fmla="*/ 4800171 w 9586368"/>
              <a:gd name="connsiteY1850" fmla="*/ 5268928 h 6479439"/>
              <a:gd name="connsiteX1851" fmla="*/ 4800171 w 9586368"/>
              <a:gd name="connsiteY1851" fmla="*/ 5278799 h 6479439"/>
              <a:gd name="connsiteX1852" fmla="*/ 4796152 w 9586368"/>
              <a:gd name="connsiteY1852" fmla="*/ 5282838 h 6479439"/>
              <a:gd name="connsiteX1853" fmla="*/ 4786241 w 9586368"/>
              <a:gd name="connsiteY1853" fmla="*/ 5282838 h 6479439"/>
              <a:gd name="connsiteX1854" fmla="*/ 4782224 w 9586368"/>
              <a:gd name="connsiteY1854" fmla="*/ 5278799 h 6479439"/>
              <a:gd name="connsiteX1855" fmla="*/ 4782224 w 9586368"/>
              <a:gd name="connsiteY1855" fmla="*/ 5268928 h 6479439"/>
              <a:gd name="connsiteX1856" fmla="*/ 4546929 w 9586368"/>
              <a:gd name="connsiteY1856" fmla="*/ 5264889 h 6479439"/>
              <a:gd name="connsiteX1857" fmla="*/ 4556840 w 9586368"/>
              <a:gd name="connsiteY1857" fmla="*/ 5264889 h 6479439"/>
              <a:gd name="connsiteX1858" fmla="*/ 4560859 w 9586368"/>
              <a:gd name="connsiteY1858" fmla="*/ 5268928 h 6479439"/>
              <a:gd name="connsiteX1859" fmla="*/ 4560859 w 9586368"/>
              <a:gd name="connsiteY1859" fmla="*/ 5278799 h 6479439"/>
              <a:gd name="connsiteX1860" fmla="*/ 4556840 w 9586368"/>
              <a:gd name="connsiteY1860" fmla="*/ 5282838 h 6479439"/>
              <a:gd name="connsiteX1861" fmla="*/ 4546929 w 9586368"/>
              <a:gd name="connsiteY1861" fmla="*/ 5282838 h 6479439"/>
              <a:gd name="connsiteX1862" fmla="*/ 4542910 w 9586368"/>
              <a:gd name="connsiteY1862" fmla="*/ 5278799 h 6479439"/>
              <a:gd name="connsiteX1863" fmla="*/ 4542910 w 9586368"/>
              <a:gd name="connsiteY1863" fmla="*/ 5268928 h 6479439"/>
              <a:gd name="connsiteX1864" fmla="*/ 4307612 w 9586368"/>
              <a:gd name="connsiteY1864" fmla="*/ 5264889 h 6479439"/>
              <a:gd name="connsiteX1865" fmla="*/ 4317523 w 9586368"/>
              <a:gd name="connsiteY1865" fmla="*/ 5264889 h 6479439"/>
              <a:gd name="connsiteX1866" fmla="*/ 4321543 w 9586368"/>
              <a:gd name="connsiteY1866" fmla="*/ 5268928 h 6479439"/>
              <a:gd name="connsiteX1867" fmla="*/ 4321543 w 9586368"/>
              <a:gd name="connsiteY1867" fmla="*/ 5278799 h 6479439"/>
              <a:gd name="connsiteX1868" fmla="*/ 4317523 w 9586368"/>
              <a:gd name="connsiteY1868" fmla="*/ 5282838 h 6479439"/>
              <a:gd name="connsiteX1869" fmla="*/ 4307612 w 9586368"/>
              <a:gd name="connsiteY1869" fmla="*/ 5282838 h 6479439"/>
              <a:gd name="connsiteX1870" fmla="*/ 4303595 w 9586368"/>
              <a:gd name="connsiteY1870" fmla="*/ 5278799 h 6479439"/>
              <a:gd name="connsiteX1871" fmla="*/ 4303595 w 9586368"/>
              <a:gd name="connsiteY1871" fmla="*/ 5268928 h 6479439"/>
              <a:gd name="connsiteX1872" fmla="*/ 4068297 w 9586368"/>
              <a:gd name="connsiteY1872" fmla="*/ 5264889 h 6479439"/>
              <a:gd name="connsiteX1873" fmla="*/ 4078210 w 9586368"/>
              <a:gd name="connsiteY1873" fmla="*/ 5264889 h 6479439"/>
              <a:gd name="connsiteX1874" fmla="*/ 4082229 w 9586368"/>
              <a:gd name="connsiteY1874" fmla="*/ 5268928 h 6479439"/>
              <a:gd name="connsiteX1875" fmla="*/ 4082229 w 9586368"/>
              <a:gd name="connsiteY1875" fmla="*/ 5278799 h 6479439"/>
              <a:gd name="connsiteX1876" fmla="*/ 4078210 w 9586368"/>
              <a:gd name="connsiteY1876" fmla="*/ 5282838 h 6479439"/>
              <a:gd name="connsiteX1877" fmla="*/ 4068297 w 9586368"/>
              <a:gd name="connsiteY1877" fmla="*/ 5282838 h 6479439"/>
              <a:gd name="connsiteX1878" fmla="*/ 4064278 w 9586368"/>
              <a:gd name="connsiteY1878" fmla="*/ 5278799 h 6479439"/>
              <a:gd name="connsiteX1879" fmla="*/ 4064278 w 9586368"/>
              <a:gd name="connsiteY1879" fmla="*/ 5268928 h 6479439"/>
              <a:gd name="connsiteX1880" fmla="*/ 3828990 w 9586368"/>
              <a:gd name="connsiteY1880" fmla="*/ 5264889 h 6479439"/>
              <a:gd name="connsiteX1881" fmla="*/ 3838899 w 9586368"/>
              <a:gd name="connsiteY1881" fmla="*/ 5264889 h 6479439"/>
              <a:gd name="connsiteX1882" fmla="*/ 3842917 w 9586368"/>
              <a:gd name="connsiteY1882" fmla="*/ 5268928 h 6479439"/>
              <a:gd name="connsiteX1883" fmla="*/ 3842917 w 9586368"/>
              <a:gd name="connsiteY1883" fmla="*/ 5278799 h 6479439"/>
              <a:gd name="connsiteX1884" fmla="*/ 3838899 w 9586368"/>
              <a:gd name="connsiteY1884" fmla="*/ 5282838 h 6479439"/>
              <a:gd name="connsiteX1885" fmla="*/ 3828990 w 9586368"/>
              <a:gd name="connsiteY1885" fmla="*/ 5282838 h 6479439"/>
              <a:gd name="connsiteX1886" fmla="*/ 3824971 w 9586368"/>
              <a:gd name="connsiteY1886" fmla="*/ 5278799 h 6479439"/>
              <a:gd name="connsiteX1887" fmla="*/ 3824971 w 9586368"/>
              <a:gd name="connsiteY1887" fmla="*/ 5268928 h 6479439"/>
              <a:gd name="connsiteX1888" fmla="*/ 3589676 w 9586368"/>
              <a:gd name="connsiteY1888" fmla="*/ 5264889 h 6479439"/>
              <a:gd name="connsiteX1889" fmla="*/ 3599585 w 9586368"/>
              <a:gd name="connsiteY1889" fmla="*/ 5264889 h 6479439"/>
              <a:gd name="connsiteX1890" fmla="*/ 3603604 w 9586368"/>
              <a:gd name="connsiteY1890" fmla="*/ 5268928 h 6479439"/>
              <a:gd name="connsiteX1891" fmla="*/ 3603604 w 9586368"/>
              <a:gd name="connsiteY1891" fmla="*/ 5278799 h 6479439"/>
              <a:gd name="connsiteX1892" fmla="*/ 3599585 w 9586368"/>
              <a:gd name="connsiteY1892" fmla="*/ 5282838 h 6479439"/>
              <a:gd name="connsiteX1893" fmla="*/ 3589676 w 9586368"/>
              <a:gd name="connsiteY1893" fmla="*/ 5282838 h 6479439"/>
              <a:gd name="connsiteX1894" fmla="*/ 3585657 w 9586368"/>
              <a:gd name="connsiteY1894" fmla="*/ 5278799 h 6479439"/>
              <a:gd name="connsiteX1895" fmla="*/ 3585657 w 9586368"/>
              <a:gd name="connsiteY1895" fmla="*/ 5268928 h 6479439"/>
              <a:gd name="connsiteX1896" fmla="*/ 3350359 w 9586368"/>
              <a:gd name="connsiteY1896" fmla="*/ 5264889 h 6479439"/>
              <a:gd name="connsiteX1897" fmla="*/ 3360268 w 9586368"/>
              <a:gd name="connsiteY1897" fmla="*/ 5264889 h 6479439"/>
              <a:gd name="connsiteX1898" fmla="*/ 3364287 w 9586368"/>
              <a:gd name="connsiteY1898" fmla="*/ 5268928 h 6479439"/>
              <a:gd name="connsiteX1899" fmla="*/ 3364287 w 9586368"/>
              <a:gd name="connsiteY1899" fmla="*/ 5278799 h 6479439"/>
              <a:gd name="connsiteX1900" fmla="*/ 3360268 w 9586368"/>
              <a:gd name="connsiteY1900" fmla="*/ 5282838 h 6479439"/>
              <a:gd name="connsiteX1901" fmla="*/ 3350359 w 9586368"/>
              <a:gd name="connsiteY1901" fmla="*/ 5282838 h 6479439"/>
              <a:gd name="connsiteX1902" fmla="*/ 3346340 w 9586368"/>
              <a:gd name="connsiteY1902" fmla="*/ 5278799 h 6479439"/>
              <a:gd name="connsiteX1903" fmla="*/ 3346340 w 9586368"/>
              <a:gd name="connsiteY1903" fmla="*/ 5268928 h 6479439"/>
              <a:gd name="connsiteX1904" fmla="*/ 3111048 w 9586368"/>
              <a:gd name="connsiteY1904" fmla="*/ 5264889 h 6479439"/>
              <a:gd name="connsiteX1905" fmla="*/ 3120959 w 9586368"/>
              <a:gd name="connsiteY1905" fmla="*/ 5264889 h 6479439"/>
              <a:gd name="connsiteX1906" fmla="*/ 3124977 w 9586368"/>
              <a:gd name="connsiteY1906" fmla="*/ 5268928 h 6479439"/>
              <a:gd name="connsiteX1907" fmla="*/ 3124977 w 9586368"/>
              <a:gd name="connsiteY1907" fmla="*/ 5278799 h 6479439"/>
              <a:gd name="connsiteX1908" fmla="*/ 3120959 w 9586368"/>
              <a:gd name="connsiteY1908" fmla="*/ 5282838 h 6479439"/>
              <a:gd name="connsiteX1909" fmla="*/ 3111048 w 9586368"/>
              <a:gd name="connsiteY1909" fmla="*/ 5282838 h 6479439"/>
              <a:gd name="connsiteX1910" fmla="*/ 3107029 w 9586368"/>
              <a:gd name="connsiteY1910" fmla="*/ 5278799 h 6479439"/>
              <a:gd name="connsiteX1911" fmla="*/ 3107029 w 9586368"/>
              <a:gd name="connsiteY1911" fmla="*/ 5268928 h 6479439"/>
              <a:gd name="connsiteX1912" fmla="*/ 2871737 w 9586368"/>
              <a:gd name="connsiteY1912" fmla="*/ 5264889 h 6479439"/>
              <a:gd name="connsiteX1913" fmla="*/ 2881646 w 9586368"/>
              <a:gd name="connsiteY1913" fmla="*/ 5264889 h 6479439"/>
              <a:gd name="connsiteX1914" fmla="*/ 2885666 w 9586368"/>
              <a:gd name="connsiteY1914" fmla="*/ 5268928 h 6479439"/>
              <a:gd name="connsiteX1915" fmla="*/ 2885666 w 9586368"/>
              <a:gd name="connsiteY1915" fmla="*/ 5278799 h 6479439"/>
              <a:gd name="connsiteX1916" fmla="*/ 2881646 w 9586368"/>
              <a:gd name="connsiteY1916" fmla="*/ 5282838 h 6479439"/>
              <a:gd name="connsiteX1917" fmla="*/ 2871737 w 9586368"/>
              <a:gd name="connsiteY1917" fmla="*/ 5282838 h 6479439"/>
              <a:gd name="connsiteX1918" fmla="*/ 2867717 w 9586368"/>
              <a:gd name="connsiteY1918" fmla="*/ 5278799 h 6479439"/>
              <a:gd name="connsiteX1919" fmla="*/ 2867717 w 9586368"/>
              <a:gd name="connsiteY1919" fmla="*/ 5268928 h 6479439"/>
              <a:gd name="connsiteX1920" fmla="*/ 2632423 w 9586368"/>
              <a:gd name="connsiteY1920" fmla="*/ 5264889 h 6479439"/>
              <a:gd name="connsiteX1921" fmla="*/ 2642334 w 9586368"/>
              <a:gd name="connsiteY1921" fmla="*/ 5264889 h 6479439"/>
              <a:gd name="connsiteX1922" fmla="*/ 2646352 w 9586368"/>
              <a:gd name="connsiteY1922" fmla="*/ 5268928 h 6479439"/>
              <a:gd name="connsiteX1923" fmla="*/ 2646352 w 9586368"/>
              <a:gd name="connsiteY1923" fmla="*/ 5278799 h 6479439"/>
              <a:gd name="connsiteX1924" fmla="*/ 2642334 w 9586368"/>
              <a:gd name="connsiteY1924" fmla="*/ 5282838 h 6479439"/>
              <a:gd name="connsiteX1925" fmla="*/ 2632423 w 9586368"/>
              <a:gd name="connsiteY1925" fmla="*/ 5282838 h 6479439"/>
              <a:gd name="connsiteX1926" fmla="*/ 2628404 w 9586368"/>
              <a:gd name="connsiteY1926" fmla="*/ 5278799 h 6479439"/>
              <a:gd name="connsiteX1927" fmla="*/ 2628404 w 9586368"/>
              <a:gd name="connsiteY1927" fmla="*/ 5268928 h 6479439"/>
              <a:gd name="connsiteX1928" fmla="*/ 2393104 w 9586368"/>
              <a:gd name="connsiteY1928" fmla="*/ 5264889 h 6479439"/>
              <a:gd name="connsiteX1929" fmla="*/ 2403015 w 9586368"/>
              <a:gd name="connsiteY1929" fmla="*/ 5264889 h 6479439"/>
              <a:gd name="connsiteX1930" fmla="*/ 2407034 w 9586368"/>
              <a:gd name="connsiteY1930" fmla="*/ 5268928 h 6479439"/>
              <a:gd name="connsiteX1931" fmla="*/ 2407034 w 9586368"/>
              <a:gd name="connsiteY1931" fmla="*/ 5278799 h 6479439"/>
              <a:gd name="connsiteX1932" fmla="*/ 2403015 w 9586368"/>
              <a:gd name="connsiteY1932" fmla="*/ 5282838 h 6479439"/>
              <a:gd name="connsiteX1933" fmla="*/ 2393104 w 9586368"/>
              <a:gd name="connsiteY1933" fmla="*/ 5282838 h 6479439"/>
              <a:gd name="connsiteX1934" fmla="*/ 2389087 w 9586368"/>
              <a:gd name="connsiteY1934" fmla="*/ 5278799 h 6479439"/>
              <a:gd name="connsiteX1935" fmla="*/ 2389087 w 9586368"/>
              <a:gd name="connsiteY1935" fmla="*/ 5268928 h 6479439"/>
              <a:gd name="connsiteX1936" fmla="*/ 721961 w 9586368"/>
              <a:gd name="connsiteY1936" fmla="*/ 5264889 h 6479439"/>
              <a:gd name="connsiteX1937" fmla="*/ 731872 w 9586368"/>
              <a:gd name="connsiteY1937" fmla="*/ 5264889 h 6479439"/>
              <a:gd name="connsiteX1938" fmla="*/ 735891 w 9586368"/>
              <a:gd name="connsiteY1938" fmla="*/ 5268928 h 6479439"/>
              <a:gd name="connsiteX1939" fmla="*/ 735891 w 9586368"/>
              <a:gd name="connsiteY1939" fmla="*/ 5278799 h 6479439"/>
              <a:gd name="connsiteX1940" fmla="*/ 731872 w 9586368"/>
              <a:gd name="connsiteY1940" fmla="*/ 5282838 h 6479439"/>
              <a:gd name="connsiteX1941" fmla="*/ 721961 w 9586368"/>
              <a:gd name="connsiteY1941" fmla="*/ 5282838 h 6479439"/>
              <a:gd name="connsiteX1942" fmla="*/ 717943 w 9586368"/>
              <a:gd name="connsiteY1942" fmla="*/ 5278799 h 6479439"/>
              <a:gd name="connsiteX1943" fmla="*/ 717943 w 9586368"/>
              <a:gd name="connsiteY1943" fmla="*/ 5268928 h 6479439"/>
              <a:gd name="connsiteX1944" fmla="*/ 482649 w 9586368"/>
              <a:gd name="connsiteY1944" fmla="*/ 5264889 h 6479439"/>
              <a:gd name="connsiteX1945" fmla="*/ 492560 w 9586368"/>
              <a:gd name="connsiteY1945" fmla="*/ 5264889 h 6479439"/>
              <a:gd name="connsiteX1946" fmla="*/ 496579 w 9586368"/>
              <a:gd name="connsiteY1946" fmla="*/ 5268928 h 6479439"/>
              <a:gd name="connsiteX1947" fmla="*/ 496579 w 9586368"/>
              <a:gd name="connsiteY1947" fmla="*/ 5278799 h 6479439"/>
              <a:gd name="connsiteX1948" fmla="*/ 492560 w 9586368"/>
              <a:gd name="connsiteY1948" fmla="*/ 5282838 h 6479439"/>
              <a:gd name="connsiteX1949" fmla="*/ 482649 w 9586368"/>
              <a:gd name="connsiteY1949" fmla="*/ 5282838 h 6479439"/>
              <a:gd name="connsiteX1950" fmla="*/ 478630 w 9586368"/>
              <a:gd name="connsiteY1950" fmla="*/ 5278799 h 6479439"/>
              <a:gd name="connsiteX1951" fmla="*/ 478630 w 9586368"/>
              <a:gd name="connsiteY1951" fmla="*/ 5268928 h 6479439"/>
              <a:gd name="connsiteX1952" fmla="*/ 243336 w 9586368"/>
              <a:gd name="connsiteY1952" fmla="*/ 5264889 h 6479439"/>
              <a:gd name="connsiteX1953" fmla="*/ 253246 w 9586368"/>
              <a:gd name="connsiteY1953" fmla="*/ 5264889 h 6479439"/>
              <a:gd name="connsiteX1954" fmla="*/ 257265 w 9586368"/>
              <a:gd name="connsiteY1954" fmla="*/ 5268928 h 6479439"/>
              <a:gd name="connsiteX1955" fmla="*/ 257265 w 9586368"/>
              <a:gd name="connsiteY1955" fmla="*/ 5278799 h 6479439"/>
              <a:gd name="connsiteX1956" fmla="*/ 253246 w 9586368"/>
              <a:gd name="connsiteY1956" fmla="*/ 5282838 h 6479439"/>
              <a:gd name="connsiteX1957" fmla="*/ 243336 w 9586368"/>
              <a:gd name="connsiteY1957" fmla="*/ 5282838 h 6479439"/>
              <a:gd name="connsiteX1958" fmla="*/ 239317 w 9586368"/>
              <a:gd name="connsiteY1958" fmla="*/ 5278799 h 6479439"/>
              <a:gd name="connsiteX1959" fmla="*/ 239317 w 9586368"/>
              <a:gd name="connsiteY1959" fmla="*/ 5268928 h 6479439"/>
              <a:gd name="connsiteX1960" fmla="*/ 4022 w 9586368"/>
              <a:gd name="connsiteY1960" fmla="*/ 5264889 h 6479439"/>
              <a:gd name="connsiteX1961" fmla="*/ 13933 w 9586368"/>
              <a:gd name="connsiteY1961" fmla="*/ 5264889 h 6479439"/>
              <a:gd name="connsiteX1962" fmla="*/ 17952 w 9586368"/>
              <a:gd name="connsiteY1962" fmla="*/ 5268928 h 6479439"/>
              <a:gd name="connsiteX1963" fmla="*/ 17952 w 9586368"/>
              <a:gd name="connsiteY1963" fmla="*/ 5278799 h 6479439"/>
              <a:gd name="connsiteX1964" fmla="*/ 13933 w 9586368"/>
              <a:gd name="connsiteY1964" fmla="*/ 5282838 h 6479439"/>
              <a:gd name="connsiteX1965" fmla="*/ 4022 w 9586368"/>
              <a:gd name="connsiteY1965" fmla="*/ 5282838 h 6479439"/>
              <a:gd name="connsiteX1966" fmla="*/ 3 w 9586368"/>
              <a:gd name="connsiteY1966" fmla="*/ 5278799 h 6479439"/>
              <a:gd name="connsiteX1967" fmla="*/ 3 w 9586368"/>
              <a:gd name="connsiteY1967" fmla="*/ 5268928 h 6479439"/>
              <a:gd name="connsiteX1968" fmla="*/ 2157819 w 9586368"/>
              <a:gd name="connsiteY1968" fmla="*/ 5025610 h 6479439"/>
              <a:gd name="connsiteX1969" fmla="*/ 2167729 w 9586368"/>
              <a:gd name="connsiteY1969" fmla="*/ 5025610 h 6479439"/>
              <a:gd name="connsiteX1970" fmla="*/ 2171748 w 9586368"/>
              <a:gd name="connsiteY1970" fmla="*/ 5029648 h 6479439"/>
              <a:gd name="connsiteX1971" fmla="*/ 2171748 w 9586368"/>
              <a:gd name="connsiteY1971" fmla="*/ 5039519 h 6479439"/>
              <a:gd name="connsiteX1972" fmla="*/ 2167729 w 9586368"/>
              <a:gd name="connsiteY1972" fmla="*/ 5043558 h 6479439"/>
              <a:gd name="connsiteX1973" fmla="*/ 2157819 w 9586368"/>
              <a:gd name="connsiteY1973" fmla="*/ 5043558 h 6479439"/>
              <a:gd name="connsiteX1974" fmla="*/ 2153800 w 9586368"/>
              <a:gd name="connsiteY1974" fmla="*/ 5039519 h 6479439"/>
              <a:gd name="connsiteX1975" fmla="*/ 2153800 w 9586368"/>
              <a:gd name="connsiteY1975" fmla="*/ 5029648 h 6479439"/>
              <a:gd name="connsiteX1976" fmla="*/ 1918510 w 9586368"/>
              <a:gd name="connsiteY1976" fmla="*/ 5025610 h 6479439"/>
              <a:gd name="connsiteX1977" fmla="*/ 1928420 w 9586368"/>
              <a:gd name="connsiteY1977" fmla="*/ 5025610 h 6479439"/>
              <a:gd name="connsiteX1978" fmla="*/ 1932440 w 9586368"/>
              <a:gd name="connsiteY1978" fmla="*/ 5029648 h 6479439"/>
              <a:gd name="connsiteX1979" fmla="*/ 1932440 w 9586368"/>
              <a:gd name="connsiteY1979" fmla="*/ 5039519 h 6479439"/>
              <a:gd name="connsiteX1980" fmla="*/ 1928420 w 9586368"/>
              <a:gd name="connsiteY1980" fmla="*/ 5043558 h 6479439"/>
              <a:gd name="connsiteX1981" fmla="*/ 1918510 w 9586368"/>
              <a:gd name="connsiteY1981" fmla="*/ 5043558 h 6479439"/>
              <a:gd name="connsiteX1982" fmla="*/ 1914492 w 9586368"/>
              <a:gd name="connsiteY1982" fmla="*/ 5039519 h 6479439"/>
              <a:gd name="connsiteX1983" fmla="*/ 1914492 w 9586368"/>
              <a:gd name="connsiteY1983" fmla="*/ 5029648 h 6479439"/>
              <a:gd name="connsiteX1984" fmla="*/ 1679204 w 9586368"/>
              <a:gd name="connsiteY1984" fmla="*/ 5025610 h 6479439"/>
              <a:gd name="connsiteX1985" fmla="*/ 1689115 w 9586368"/>
              <a:gd name="connsiteY1985" fmla="*/ 5025610 h 6479439"/>
              <a:gd name="connsiteX1986" fmla="*/ 1693133 w 9586368"/>
              <a:gd name="connsiteY1986" fmla="*/ 5029648 h 6479439"/>
              <a:gd name="connsiteX1987" fmla="*/ 1693133 w 9586368"/>
              <a:gd name="connsiteY1987" fmla="*/ 5039519 h 6479439"/>
              <a:gd name="connsiteX1988" fmla="*/ 1689115 w 9586368"/>
              <a:gd name="connsiteY1988" fmla="*/ 5043558 h 6479439"/>
              <a:gd name="connsiteX1989" fmla="*/ 1679204 w 9586368"/>
              <a:gd name="connsiteY1989" fmla="*/ 5043558 h 6479439"/>
              <a:gd name="connsiteX1990" fmla="*/ 1675185 w 9586368"/>
              <a:gd name="connsiteY1990" fmla="*/ 5039519 h 6479439"/>
              <a:gd name="connsiteX1991" fmla="*/ 1675185 w 9586368"/>
              <a:gd name="connsiteY1991" fmla="*/ 5029648 h 6479439"/>
              <a:gd name="connsiteX1992" fmla="*/ 1439889 w 9586368"/>
              <a:gd name="connsiteY1992" fmla="*/ 5025610 h 6479439"/>
              <a:gd name="connsiteX1993" fmla="*/ 1449798 w 9586368"/>
              <a:gd name="connsiteY1993" fmla="*/ 5025610 h 6479439"/>
              <a:gd name="connsiteX1994" fmla="*/ 1453818 w 9586368"/>
              <a:gd name="connsiteY1994" fmla="*/ 5029648 h 6479439"/>
              <a:gd name="connsiteX1995" fmla="*/ 1453818 w 9586368"/>
              <a:gd name="connsiteY1995" fmla="*/ 5039519 h 6479439"/>
              <a:gd name="connsiteX1996" fmla="*/ 1449798 w 9586368"/>
              <a:gd name="connsiteY1996" fmla="*/ 5043558 h 6479439"/>
              <a:gd name="connsiteX1997" fmla="*/ 1439889 w 9586368"/>
              <a:gd name="connsiteY1997" fmla="*/ 5043558 h 6479439"/>
              <a:gd name="connsiteX1998" fmla="*/ 1435870 w 9586368"/>
              <a:gd name="connsiteY1998" fmla="*/ 5039519 h 6479439"/>
              <a:gd name="connsiteX1999" fmla="*/ 1435870 w 9586368"/>
              <a:gd name="connsiteY1999" fmla="*/ 5029648 h 6479439"/>
              <a:gd name="connsiteX2000" fmla="*/ 1200573 w 9586368"/>
              <a:gd name="connsiteY2000" fmla="*/ 5025610 h 6479439"/>
              <a:gd name="connsiteX2001" fmla="*/ 1210484 w 9586368"/>
              <a:gd name="connsiteY2001" fmla="*/ 5025610 h 6479439"/>
              <a:gd name="connsiteX2002" fmla="*/ 1214502 w 9586368"/>
              <a:gd name="connsiteY2002" fmla="*/ 5029648 h 6479439"/>
              <a:gd name="connsiteX2003" fmla="*/ 1214502 w 9586368"/>
              <a:gd name="connsiteY2003" fmla="*/ 5039519 h 6479439"/>
              <a:gd name="connsiteX2004" fmla="*/ 1210484 w 9586368"/>
              <a:gd name="connsiteY2004" fmla="*/ 5043558 h 6479439"/>
              <a:gd name="connsiteX2005" fmla="*/ 1200573 w 9586368"/>
              <a:gd name="connsiteY2005" fmla="*/ 5043558 h 6479439"/>
              <a:gd name="connsiteX2006" fmla="*/ 1196555 w 9586368"/>
              <a:gd name="connsiteY2006" fmla="*/ 5039519 h 6479439"/>
              <a:gd name="connsiteX2007" fmla="*/ 1196555 w 9586368"/>
              <a:gd name="connsiteY2007" fmla="*/ 5029648 h 6479439"/>
              <a:gd name="connsiteX2008" fmla="*/ 961261 w 9586368"/>
              <a:gd name="connsiteY2008" fmla="*/ 5025610 h 6479439"/>
              <a:gd name="connsiteX2009" fmla="*/ 971171 w 9586368"/>
              <a:gd name="connsiteY2009" fmla="*/ 5025610 h 6479439"/>
              <a:gd name="connsiteX2010" fmla="*/ 975190 w 9586368"/>
              <a:gd name="connsiteY2010" fmla="*/ 5029648 h 6479439"/>
              <a:gd name="connsiteX2011" fmla="*/ 975190 w 9586368"/>
              <a:gd name="connsiteY2011" fmla="*/ 5039519 h 6479439"/>
              <a:gd name="connsiteX2012" fmla="*/ 971171 w 9586368"/>
              <a:gd name="connsiteY2012" fmla="*/ 5043558 h 6479439"/>
              <a:gd name="connsiteX2013" fmla="*/ 961261 w 9586368"/>
              <a:gd name="connsiteY2013" fmla="*/ 5043558 h 6479439"/>
              <a:gd name="connsiteX2014" fmla="*/ 957242 w 9586368"/>
              <a:gd name="connsiteY2014" fmla="*/ 5039519 h 6479439"/>
              <a:gd name="connsiteX2015" fmla="*/ 957242 w 9586368"/>
              <a:gd name="connsiteY2015" fmla="*/ 5029648 h 6479439"/>
              <a:gd name="connsiteX2016" fmla="*/ 9572438 w 9586368"/>
              <a:gd name="connsiteY2016" fmla="*/ 5025558 h 6479439"/>
              <a:gd name="connsiteX2017" fmla="*/ 9582349 w 9586368"/>
              <a:gd name="connsiteY2017" fmla="*/ 5025558 h 6479439"/>
              <a:gd name="connsiteX2018" fmla="*/ 9586368 w 9586368"/>
              <a:gd name="connsiteY2018" fmla="*/ 5029597 h 6479439"/>
              <a:gd name="connsiteX2019" fmla="*/ 9586368 w 9586368"/>
              <a:gd name="connsiteY2019" fmla="*/ 5039468 h 6479439"/>
              <a:gd name="connsiteX2020" fmla="*/ 9582349 w 9586368"/>
              <a:gd name="connsiteY2020" fmla="*/ 5043507 h 6479439"/>
              <a:gd name="connsiteX2021" fmla="*/ 9572438 w 9586368"/>
              <a:gd name="connsiteY2021" fmla="*/ 5043507 h 6479439"/>
              <a:gd name="connsiteX2022" fmla="*/ 9568419 w 9586368"/>
              <a:gd name="connsiteY2022" fmla="*/ 5039468 h 6479439"/>
              <a:gd name="connsiteX2023" fmla="*/ 9568419 w 9586368"/>
              <a:gd name="connsiteY2023" fmla="*/ 5029597 h 6479439"/>
              <a:gd name="connsiteX2024" fmla="*/ 9333125 w 9586368"/>
              <a:gd name="connsiteY2024" fmla="*/ 5025558 h 6479439"/>
              <a:gd name="connsiteX2025" fmla="*/ 9343036 w 9586368"/>
              <a:gd name="connsiteY2025" fmla="*/ 5025558 h 6479439"/>
              <a:gd name="connsiteX2026" fmla="*/ 9347055 w 9586368"/>
              <a:gd name="connsiteY2026" fmla="*/ 5029597 h 6479439"/>
              <a:gd name="connsiteX2027" fmla="*/ 9347055 w 9586368"/>
              <a:gd name="connsiteY2027" fmla="*/ 5039468 h 6479439"/>
              <a:gd name="connsiteX2028" fmla="*/ 9343036 w 9586368"/>
              <a:gd name="connsiteY2028" fmla="*/ 5043507 h 6479439"/>
              <a:gd name="connsiteX2029" fmla="*/ 9333125 w 9586368"/>
              <a:gd name="connsiteY2029" fmla="*/ 5043507 h 6479439"/>
              <a:gd name="connsiteX2030" fmla="*/ 9329106 w 9586368"/>
              <a:gd name="connsiteY2030" fmla="*/ 5039468 h 6479439"/>
              <a:gd name="connsiteX2031" fmla="*/ 9329106 w 9586368"/>
              <a:gd name="connsiteY2031" fmla="*/ 5029597 h 6479439"/>
              <a:gd name="connsiteX2032" fmla="*/ 9093811 w 9586368"/>
              <a:gd name="connsiteY2032" fmla="*/ 5025558 h 6479439"/>
              <a:gd name="connsiteX2033" fmla="*/ 9103722 w 9586368"/>
              <a:gd name="connsiteY2033" fmla="*/ 5025558 h 6479439"/>
              <a:gd name="connsiteX2034" fmla="*/ 9107741 w 9586368"/>
              <a:gd name="connsiteY2034" fmla="*/ 5029597 h 6479439"/>
              <a:gd name="connsiteX2035" fmla="*/ 9107741 w 9586368"/>
              <a:gd name="connsiteY2035" fmla="*/ 5039468 h 6479439"/>
              <a:gd name="connsiteX2036" fmla="*/ 9103722 w 9586368"/>
              <a:gd name="connsiteY2036" fmla="*/ 5043507 h 6479439"/>
              <a:gd name="connsiteX2037" fmla="*/ 9093811 w 9586368"/>
              <a:gd name="connsiteY2037" fmla="*/ 5043507 h 6479439"/>
              <a:gd name="connsiteX2038" fmla="*/ 9089792 w 9586368"/>
              <a:gd name="connsiteY2038" fmla="*/ 5039468 h 6479439"/>
              <a:gd name="connsiteX2039" fmla="*/ 9089792 w 9586368"/>
              <a:gd name="connsiteY2039" fmla="*/ 5029597 h 6479439"/>
              <a:gd name="connsiteX2040" fmla="*/ 8854496 w 9586368"/>
              <a:gd name="connsiteY2040" fmla="*/ 5025558 h 6479439"/>
              <a:gd name="connsiteX2041" fmla="*/ 8864407 w 9586368"/>
              <a:gd name="connsiteY2041" fmla="*/ 5025558 h 6479439"/>
              <a:gd name="connsiteX2042" fmla="*/ 8868426 w 9586368"/>
              <a:gd name="connsiteY2042" fmla="*/ 5029597 h 6479439"/>
              <a:gd name="connsiteX2043" fmla="*/ 8868426 w 9586368"/>
              <a:gd name="connsiteY2043" fmla="*/ 5039468 h 6479439"/>
              <a:gd name="connsiteX2044" fmla="*/ 8864407 w 9586368"/>
              <a:gd name="connsiteY2044" fmla="*/ 5043507 h 6479439"/>
              <a:gd name="connsiteX2045" fmla="*/ 8854496 w 9586368"/>
              <a:gd name="connsiteY2045" fmla="*/ 5043507 h 6479439"/>
              <a:gd name="connsiteX2046" fmla="*/ 8850477 w 9586368"/>
              <a:gd name="connsiteY2046" fmla="*/ 5039468 h 6479439"/>
              <a:gd name="connsiteX2047" fmla="*/ 8850477 w 9586368"/>
              <a:gd name="connsiteY2047" fmla="*/ 5029597 h 6479439"/>
              <a:gd name="connsiteX2048" fmla="*/ 8615184 w 9586368"/>
              <a:gd name="connsiteY2048" fmla="*/ 5025558 h 6479439"/>
              <a:gd name="connsiteX2049" fmla="*/ 8625095 w 9586368"/>
              <a:gd name="connsiteY2049" fmla="*/ 5025558 h 6479439"/>
              <a:gd name="connsiteX2050" fmla="*/ 8629114 w 9586368"/>
              <a:gd name="connsiteY2050" fmla="*/ 5029597 h 6479439"/>
              <a:gd name="connsiteX2051" fmla="*/ 8629114 w 9586368"/>
              <a:gd name="connsiteY2051" fmla="*/ 5039468 h 6479439"/>
              <a:gd name="connsiteX2052" fmla="*/ 8625095 w 9586368"/>
              <a:gd name="connsiteY2052" fmla="*/ 5043507 h 6479439"/>
              <a:gd name="connsiteX2053" fmla="*/ 8615184 w 9586368"/>
              <a:gd name="connsiteY2053" fmla="*/ 5043507 h 6479439"/>
              <a:gd name="connsiteX2054" fmla="*/ 8611165 w 9586368"/>
              <a:gd name="connsiteY2054" fmla="*/ 5039468 h 6479439"/>
              <a:gd name="connsiteX2055" fmla="*/ 8611165 w 9586368"/>
              <a:gd name="connsiteY2055" fmla="*/ 5029597 h 6479439"/>
              <a:gd name="connsiteX2056" fmla="*/ 8375869 w 9586368"/>
              <a:gd name="connsiteY2056" fmla="*/ 5025558 h 6479439"/>
              <a:gd name="connsiteX2057" fmla="*/ 8385779 w 9586368"/>
              <a:gd name="connsiteY2057" fmla="*/ 5025558 h 6479439"/>
              <a:gd name="connsiteX2058" fmla="*/ 8389799 w 9586368"/>
              <a:gd name="connsiteY2058" fmla="*/ 5029597 h 6479439"/>
              <a:gd name="connsiteX2059" fmla="*/ 8389799 w 9586368"/>
              <a:gd name="connsiteY2059" fmla="*/ 5039468 h 6479439"/>
              <a:gd name="connsiteX2060" fmla="*/ 8385779 w 9586368"/>
              <a:gd name="connsiteY2060" fmla="*/ 5043507 h 6479439"/>
              <a:gd name="connsiteX2061" fmla="*/ 8375869 w 9586368"/>
              <a:gd name="connsiteY2061" fmla="*/ 5043507 h 6479439"/>
              <a:gd name="connsiteX2062" fmla="*/ 8371850 w 9586368"/>
              <a:gd name="connsiteY2062" fmla="*/ 5039468 h 6479439"/>
              <a:gd name="connsiteX2063" fmla="*/ 8371850 w 9586368"/>
              <a:gd name="connsiteY2063" fmla="*/ 5029597 h 6479439"/>
              <a:gd name="connsiteX2064" fmla="*/ 8136553 w 9586368"/>
              <a:gd name="connsiteY2064" fmla="*/ 5025558 h 6479439"/>
              <a:gd name="connsiteX2065" fmla="*/ 8146464 w 9586368"/>
              <a:gd name="connsiteY2065" fmla="*/ 5025558 h 6479439"/>
              <a:gd name="connsiteX2066" fmla="*/ 8150483 w 9586368"/>
              <a:gd name="connsiteY2066" fmla="*/ 5029597 h 6479439"/>
              <a:gd name="connsiteX2067" fmla="*/ 8150483 w 9586368"/>
              <a:gd name="connsiteY2067" fmla="*/ 5039468 h 6479439"/>
              <a:gd name="connsiteX2068" fmla="*/ 8146464 w 9586368"/>
              <a:gd name="connsiteY2068" fmla="*/ 5043507 h 6479439"/>
              <a:gd name="connsiteX2069" fmla="*/ 8136553 w 9586368"/>
              <a:gd name="connsiteY2069" fmla="*/ 5043507 h 6479439"/>
              <a:gd name="connsiteX2070" fmla="*/ 8132534 w 9586368"/>
              <a:gd name="connsiteY2070" fmla="*/ 5039468 h 6479439"/>
              <a:gd name="connsiteX2071" fmla="*/ 8132534 w 9586368"/>
              <a:gd name="connsiteY2071" fmla="*/ 5029597 h 6479439"/>
              <a:gd name="connsiteX2072" fmla="*/ 7897241 w 9586368"/>
              <a:gd name="connsiteY2072" fmla="*/ 5025558 h 6479439"/>
              <a:gd name="connsiteX2073" fmla="*/ 7907151 w 9586368"/>
              <a:gd name="connsiteY2073" fmla="*/ 5025558 h 6479439"/>
              <a:gd name="connsiteX2074" fmla="*/ 7911170 w 9586368"/>
              <a:gd name="connsiteY2074" fmla="*/ 5029597 h 6479439"/>
              <a:gd name="connsiteX2075" fmla="*/ 7911170 w 9586368"/>
              <a:gd name="connsiteY2075" fmla="*/ 5039468 h 6479439"/>
              <a:gd name="connsiteX2076" fmla="*/ 7907151 w 9586368"/>
              <a:gd name="connsiteY2076" fmla="*/ 5043507 h 6479439"/>
              <a:gd name="connsiteX2077" fmla="*/ 7897241 w 9586368"/>
              <a:gd name="connsiteY2077" fmla="*/ 5043507 h 6479439"/>
              <a:gd name="connsiteX2078" fmla="*/ 7893222 w 9586368"/>
              <a:gd name="connsiteY2078" fmla="*/ 5039468 h 6479439"/>
              <a:gd name="connsiteX2079" fmla="*/ 7893222 w 9586368"/>
              <a:gd name="connsiteY2079" fmla="*/ 5029597 h 6479439"/>
              <a:gd name="connsiteX2080" fmla="*/ 7657926 w 9586368"/>
              <a:gd name="connsiteY2080" fmla="*/ 5025558 h 6479439"/>
              <a:gd name="connsiteX2081" fmla="*/ 7667836 w 9586368"/>
              <a:gd name="connsiteY2081" fmla="*/ 5025558 h 6479439"/>
              <a:gd name="connsiteX2082" fmla="*/ 7671855 w 9586368"/>
              <a:gd name="connsiteY2082" fmla="*/ 5029597 h 6479439"/>
              <a:gd name="connsiteX2083" fmla="*/ 7671855 w 9586368"/>
              <a:gd name="connsiteY2083" fmla="*/ 5039468 h 6479439"/>
              <a:gd name="connsiteX2084" fmla="*/ 7667836 w 9586368"/>
              <a:gd name="connsiteY2084" fmla="*/ 5043507 h 6479439"/>
              <a:gd name="connsiteX2085" fmla="*/ 7657926 w 9586368"/>
              <a:gd name="connsiteY2085" fmla="*/ 5043507 h 6479439"/>
              <a:gd name="connsiteX2086" fmla="*/ 7653906 w 9586368"/>
              <a:gd name="connsiteY2086" fmla="*/ 5039468 h 6479439"/>
              <a:gd name="connsiteX2087" fmla="*/ 7653906 w 9586368"/>
              <a:gd name="connsiteY2087" fmla="*/ 5029597 h 6479439"/>
              <a:gd name="connsiteX2088" fmla="*/ 7418611 w 9586368"/>
              <a:gd name="connsiteY2088" fmla="*/ 5025558 h 6479439"/>
              <a:gd name="connsiteX2089" fmla="*/ 7428521 w 9586368"/>
              <a:gd name="connsiteY2089" fmla="*/ 5025558 h 6479439"/>
              <a:gd name="connsiteX2090" fmla="*/ 7432540 w 9586368"/>
              <a:gd name="connsiteY2090" fmla="*/ 5029597 h 6479439"/>
              <a:gd name="connsiteX2091" fmla="*/ 7432540 w 9586368"/>
              <a:gd name="connsiteY2091" fmla="*/ 5039468 h 6479439"/>
              <a:gd name="connsiteX2092" fmla="*/ 7428521 w 9586368"/>
              <a:gd name="connsiteY2092" fmla="*/ 5043507 h 6479439"/>
              <a:gd name="connsiteX2093" fmla="*/ 7418611 w 9586368"/>
              <a:gd name="connsiteY2093" fmla="*/ 5043507 h 6479439"/>
              <a:gd name="connsiteX2094" fmla="*/ 7414592 w 9586368"/>
              <a:gd name="connsiteY2094" fmla="*/ 5039468 h 6479439"/>
              <a:gd name="connsiteX2095" fmla="*/ 7414592 w 9586368"/>
              <a:gd name="connsiteY2095" fmla="*/ 5029597 h 6479439"/>
              <a:gd name="connsiteX2096" fmla="*/ 7179298 w 9586368"/>
              <a:gd name="connsiteY2096" fmla="*/ 5025558 h 6479439"/>
              <a:gd name="connsiteX2097" fmla="*/ 7189209 w 9586368"/>
              <a:gd name="connsiteY2097" fmla="*/ 5025558 h 6479439"/>
              <a:gd name="connsiteX2098" fmla="*/ 7193228 w 9586368"/>
              <a:gd name="connsiteY2098" fmla="*/ 5029597 h 6479439"/>
              <a:gd name="connsiteX2099" fmla="*/ 7193228 w 9586368"/>
              <a:gd name="connsiteY2099" fmla="*/ 5039468 h 6479439"/>
              <a:gd name="connsiteX2100" fmla="*/ 7189209 w 9586368"/>
              <a:gd name="connsiteY2100" fmla="*/ 5043507 h 6479439"/>
              <a:gd name="connsiteX2101" fmla="*/ 7179298 w 9586368"/>
              <a:gd name="connsiteY2101" fmla="*/ 5043507 h 6479439"/>
              <a:gd name="connsiteX2102" fmla="*/ 7175279 w 9586368"/>
              <a:gd name="connsiteY2102" fmla="*/ 5039468 h 6479439"/>
              <a:gd name="connsiteX2103" fmla="*/ 7175279 w 9586368"/>
              <a:gd name="connsiteY2103" fmla="*/ 5029597 h 6479439"/>
              <a:gd name="connsiteX2104" fmla="*/ 6939983 w 9586368"/>
              <a:gd name="connsiteY2104" fmla="*/ 5025558 h 6479439"/>
              <a:gd name="connsiteX2105" fmla="*/ 6949894 w 9586368"/>
              <a:gd name="connsiteY2105" fmla="*/ 5025558 h 6479439"/>
              <a:gd name="connsiteX2106" fmla="*/ 6953913 w 9586368"/>
              <a:gd name="connsiteY2106" fmla="*/ 5029597 h 6479439"/>
              <a:gd name="connsiteX2107" fmla="*/ 6953913 w 9586368"/>
              <a:gd name="connsiteY2107" fmla="*/ 5039468 h 6479439"/>
              <a:gd name="connsiteX2108" fmla="*/ 6949894 w 9586368"/>
              <a:gd name="connsiteY2108" fmla="*/ 5043507 h 6479439"/>
              <a:gd name="connsiteX2109" fmla="*/ 6939983 w 9586368"/>
              <a:gd name="connsiteY2109" fmla="*/ 5043507 h 6479439"/>
              <a:gd name="connsiteX2110" fmla="*/ 6935964 w 9586368"/>
              <a:gd name="connsiteY2110" fmla="*/ 5039468 h 6479439"/>
              <a:gd name="connsiteX2111" fmla="*/ 6935964 w 9586368"/>
              <a:gd name="connsiteY2111" fmla="*/ 5029597 h 6479439"/>
              <a:gd name="connsiteX2112" fmla="*/ 6700670 w 9586368"/>
              <a:gd name="connsiteY2112" fmla="*/ 5025558 h 6479439"/>
              <a:gd name="connsiteX2113" fmla="*/ 6710581 w 9586368"/>
              <a:gd name="connsiteY2113" fmla="*/ 5025558 h 6479439"/>
              <a:gd name="connsiteX2114" fmla="*/ 6714600 w 9586368"/>
              <a:gd name="connsiteY2114" fmla="*/ 5029597 h 6479439"/>
              <a:gd name="connsiteX2115" fmla="*/ 6714600 w 9586368"/>
              <a:gd name="connsiteY2115" fmla="*/ 5039468 h 6479439"/>
              <a:gd name="connsiteX2116" fmla="*/ 6710581 w 9586368"/>
              <a:gd name="connsiteY2116" fmla="*/ 5043507 h 6479439"/>
              <a:gd name="connsiteX2117" fmla="*/ 6700670 w 9586368"/>
              <a:gd name="connsiteY2117" fmla="*/ 5043507 h 6479439"/>
              <a:gd name="connsiteX2118" fmla="*/ 6696651 w 9586368"/>
              <a:gd name="connsiteY2118" fmla="*/ 5039468 h 6479439"/>
              <a:gd name="connsiteX2119" fmla="*/ 6696651 w 9586368"/>
              <a:gd name="connsiteY2119" fmla="*/ 5029597 h 6479439"/>
              <a:gd name="connsiteX2120" fmla="*/ 6461356 w 9586368"/>
              <a:gd name="connsiteY2120" fmla="*/ 5025558 h 6479439"/>
              <a:gd name="connsiteX2121" fmla="*/ 6471266 w 9586368"/>
              <a:gd name="connsiteY2121" fmla="*/ 5025558 h 6479439"/>
              <a:gd name="connsiteX2122" fmla="*/ 6475285 w 9586368"/>
              <a:gd name="connsiteY2122" fmla="*/ 5029597 h 6479439"/>
              <a:gd name="connsiteX2123" fmla="*/ 6475285 w 9586368"/>
              <a:gd name="connsiteY2123" fmla="*/ 5039468 h 6479439"/>
              <a:gd name="connsiteX2124" fmla="*/ 6471266 w 9586368"/>
              <a:gd name="connsiteY2124" fmla="*/ 5043507 h 6479439"/>
              <a:gd name="connsiteX2125" fmla="*/ 6461356 w 9586368"/>
              <a:gd name="connsiteY2125" fmla="*/ 5043507 h 6479439"/>
              <a:gd name="connsiteX2126" fmla="*/ 6457337 w 9586368"/>
              <a:gd name="connsiteY2126" fmla="*/ 5039468 h 6479439"/>
              <a:gd name="connsiteX2127" fmla="*/ 6457337 w 9586368"/>
              <a:gd name="connsiteY2127" fmla="*/ 5029597 h 6479439"/>
              <a:gd name="connsiteX2128" fmla="*/ 6222042 w 9586368"/>
              <a:gd name="connsiteY2128" fmla="*/ 5025558 h 6479439"/>
              <a:gd name="connsiteX2129" fmla="*/ 6231952 w 9586368"/>
              <a:gd name="connsiteY2129" fmla="*/ 5025558 h 6479439"/>
              <a:gd name="connsiteX2130" fmla="*/ 6235971 w 9586368"/>
              <a:gd name="connsiteY2130" fmla="*/ 5029597 h 6479439"/>
              <a:gd name="connsiteX2131" fmla="*/ 6235971 w 9586368"/>
              <a:gd name="connsiteY2131" fmla="*/ 5039468 h 6479439"/>
              <a:gd name="connsiteX2132" fmla="*/ 6231952 w 9586368"/>
              <a:gd name="connsiteY2132" fmla="*/ 5043507 h 6479439"/>
              <a:gd name="connsiteX2133" fmla="*/ 6222042 w 9586368"/>
              <a:gd name="connsiteY2133" fmla="*/ 5043507 h 6479439"/>
              <a:gd name="connsiteX2134" fmla="*/ 6218023 w 9586368"/>
              <a:gd name="connsiteY2134" fmla="*/ 5039468 h 6479439"/>
              <a:gd name="connsiteX2135" fmla="*/ 6218023 w 9586368"/>
              <a:gd name="connsiteY2135" fmla="*/ 5029597 h 6479439"/>
              <a:gd name="connsiteX2136" fmla="*/ 5982729 w 9586368"/>
              <a:gd name="connsiteY2136" fmla="*/ 5025558 h 6479439"/>
              <a:gd name="connsiteX2137" fmla="*/ 5992639 w 9586368"/>
              <a:gd name="connsiteY2137" fmla="*/ 5025558 h 6479439"/>
              <a:gd name="connsiteX2138" fmla="*/ 5996658 w 9586368"/>
              <a:gd name="connsiteY2138" fmla="*/ 5029597 h 6479439"/>
              <a:gd name="connsiteX2139" fmla="*/ 5996658 w 9586368"/>
              <a:gd name="connsiteY2139" fmla="*/ 5039468 h 6479439"/>
              <a:gd name="connsiteX2140" fmla="*/ 5992639 w 9586368"/>
              <a:gd name="connsiteY2140" fmla="*/ 5043507 h 6479439"/>
              <a:gd name="connsiteX2141" fmla="*/ 5982729 w 9586368"/>
              <a:gd name="connsiteY2141" fmla="*/ 5043507 h 6479439"/>
              <a:gd name="connsiteX2142" fmla="*/ 5978710 w 9586368"/>
              <a:gd name="connsiteY2142" fmla="*/ 5039468 h 6479439"/>
              <a:gd name="connsiteX2143" fmla="*/ 5978710 w 9586368"/>
              <a:gd name="connsiteY2143" fmla="*/ 5029597 h 6479439"/>
              <a:gd name="connsiteX2144" fmla="*/ 5743412 w 9586368"/>
              <a:gd name="connsiteY2144" fmla="*/ 5025558 h 6479439"/>
              <a:gd name="connsiteX2145" fmla="*/ 5753323 w 9586368"/>
              <a:gd name="connsiteY2145" fmla="*/ 5025558 h 6479439"/>
              <a:gd name="connsiteX2146" fmla="*/ 5757342 w 9586368"/>
              <a:gd name="connsiteY2146" fmla="*/ 5029597 h 6479439"/>
              <a:gd name="connsiteX2147" fmla="*/ 5757342 w 9586368"/>
              <a:gd name="connsiteY2147" fmla="*/ 5039468 h 6479439"/>
              <a:gd name="connsiteX2148" fmla="*/ 5753323 w 9586368"/>
              <a:gd name="connsiteY2148" fmla="*/ 5043507 h 6479439"/>
              <a:gd name="connsiteX2149" fmla="*/ 5743412 w 9586368"/>
              <a:gd name="connsiteY2149" fmla="*/ 5043507 h 6479439"/>
              <a:gd name="connsiteX2150" fmla="*/ 5739393 w 9586368"/>
              <a:gd name="connsiteY2150" fmla="*/ 5039468 h 6479439"/>
              <a:gd name="connsiteX2151" fmla="*/ 5739393 w 9586368"/>
              <a:gd name="connsiteY2151" fmla="*/ 5029597 h 6479439"/>
              <a:gd name="connsiteX2152" fmla="*/ 5504099 w 9586368"/>
              <a:gd name="connsiteY2152" fmla="*/ 5025558 h 6479439"/>
              <a:gd name="connsiteX2153" fmla="*/ 5514010 w 9586368"/>
              <a:gd name="connsiteY2153" fmla="*/ 5025558 h 6479439"/>
              <a:gd name="connsiteX2154" fmla="*/ 5518029 w 9586368"/>
              <a:gd name="connsiteY2154" fmla="*/ 5029597 h 6479439"/>
              <a:gd name="connsiteX2155" fmla="*/ 5518029 w 9586368"/>
              <a:gd name="connsiteY2155" fmla="*/ 5039468 h 6479439"/>
              <a:gd name="connsiteX2156" fmla="*/ 5514010 w 9586368"/>
              <a:gd name="connsiteY2156" fmla="*/ 5043507 h 6479439"/>
              <a:gd name="connsiteX2157" fmla="*/ 5504099 w 9586368"/>
              <a:gd name="connsiteY2157" fmla="*/ 5043507 h 6479439"/>
              <a:gd name="connsiteX2158" fmla="*/ 5500080 w 9586368"/>
              <a:gd name="connsiteY2158" fmla="*/ 5039468 h 6479439"/>
              <a:gd name="connsiteX2159" fmla="*/ 5500080 w 9586368"/>
              <a:gd name="connsiteY2159" fmla="*/ 5029597 h 6479439"/>
              <a:gd name="connsiteX2160" fmla="*/ 5264784 w 9586368"/>
              <a:gd name="connsiteY2160" fmla="*/ 5025558 h 6479439"/>
              <a:gd name="connsiteX2161" fmla="*/ 5274694 w 9586368"/>
              <a:gd name="connsiteY2161" fmla="*/ 5025558 h 6479439"/>
              <a:gd name="connsiteX2162" fmla="*/ 5278713 w 9586368"/>
              <a:gd name="connsiteY2162" fmla="*/ 5029597 h 6479439"/>
              <a:gd name="connsiteX2163" fmla="*/ 5278713 w 9586368"/>
              <a:gd name="connsiteY2163" fmla="*/ 5039468 h 6479439"/>
              <a:gd name="connsiteX2164" fmla="*/ 5274694 w 9586368"/>
              <a:gd name="connsiteY2164" fmla="*/ 5043507 h 6479439"/>
              <a:gd name="connsiteX2165" fmla="*/ 5264784 w 9586368"/>
              <a:gd name="connsiteY2165" fmla="*/ 5043507 h 6479439"/>
              <a:gd name="connsiteX2166" fmla="*/ 5260765 w 9586368"/>
              <a:gd name="connsiteY2166" fmla="*/ 5039468 h 6479439"/>
              <a:gd name="connsiteX2167" fmla="*/ 5260765 w 9586368"/>
              <a:gd name="connsiteY2167" fmla="*/ 5029597 h 6479439"/>
              <a:gd name="connsiteX2168" fmla="*/ 5025470 w 9586368"/>
              <a:gd name="connsiteY2168" fmla="*/ 5025558 h 6479439"/>
              <a:gd name="connsiteX2169" fmla="*/ 5035381 w 9586368"/>
              <a:gd name="connsiteY2169" fmla="*/ 5025558 h 6479439"/>
              <a:gd name="connsiteX2170" fmla="*/ 5039400 w 9586368"/>
              <a:gd name="connsiteY2170" fmla="*/ 5029597 h 6479439"/>
              <a:gd name="connsiteX2171" fmla="*/ 5039400 w 9586368"/>
              <a:gd name="connsiteY2171" fmla="*/ 5039468 h 6479439"/>
              <a:gd name="connsiteX2172" fmla="*/ 5035381 w 9586368"/>
              <a:gd name="connsiteY2172" fmla="*/ 5043507 h 6479439"/>
              <a:gd name="connsiteX2173" fmla="*/ 5025470 w 9586368"/>
              <a:gd name="connsiteY2173" fmla="*/ 5043507 h 6479439"/>
              <a:gd name="connsiteX2174" fmla="*/ 5021451 w 9586368"/>
              <a:gd name="connsiteY2174" fmla="*/ 5039468 h 6479439"/>
              <a:gd name="connsiteX2175" fmla="*/ 5021451 w 9586368"/>
              <a:gd name="connsiteY2175" fmla="*/ 5029597 h 6479439"/>
              <a:gd name="connsiteX2176" fmla="*/ 4786241 w 9586368"/>
              <a:gd name="connsiteY2176" fmla="*/ 5025558 h 6479439"/>
              <a:gd name="connsiteX2177" fmla="*/ 4796152 w 9586368"/>
              <a:gd name="connsiteY2177" fmla="*/ 5025558 h 6479439"/>
              <a:gd name="connsiteX2178" fmla="*/ 4800171 w 9586368"/>
              <a:gd name="connsiteY2178" fmla="*/ 5029597 h 6479439"/>
              <a:gd name="connsiteX2179" fmla="*/ 4800171 w 9586368"/>
              <a:gd name="connsiteY2179" fmla="*/ 5039468 h 6479439"/>
              <a:gd name="connsiteX2180" fmla="*/ 4796152 w 9586368"/>
              <a:gd name="connsiteY2180" fmla="*/ 5043507 h 6479439"/>
              <a:gd name="connsiteX2181" fmla="*/ 4786241 w 9586368"/>
              <a:gd name="connsiteY2181" fmla="*/ 5043507 h 6479439"/>
              <a:gd name="connsiteX2182" fmla="*/ 4782224 w 9586368"/>
              <a:gd name="connsiteY2182" fmla="*/ 5039468 h 6479439"/>
              <a:gd name="connsiteX2183" fmla="*/ 4782224 w 9586368"/>
              <a:gd name="connsiteY2183" fmla="*/ 5029597 h 6479439"/>
              <a:gd name="connsiteX2184" fmla="*/ 4546929 w 9586368"/>
              <a:gd name="connsiteY2184" fmla="*/ 5025558 h 6479439"/>
              <a:gd name="connsiteX2185" fmla="*/ 4556840 w 9586368"/>
              <a:gd name="connsiteY2185" fmla="*/ 5025558 h 6479439"/>
              <a:gd name="connsiteX2186" fmla="*/ 4560859 w 9586368"/>
              <a:gd name="connsiteY2186" fmla="*/ 5029597 h 6479439"/>
              <a:gd name="connsiteX2187" fmla="*/ 4560859 w 9586368"/>
              <a:gd name="connsiteY2187" fmla="*/ 5039468 h 6479439"/>
              <a:gd name="connsiteX2188" fmla="*/ 4556840 w 9586368"/>
              <a:gd name="connsiteY2188" fmla="*/ 5043507 h 6479439"/>
              <a:gd name="connsiteX2189" fmla="*/ 4546929 w 9586368"/>
              <a:gd name="connsiteY2189" fmla="*/ 5043507 h 6479439"/>
              <a:gd name="connsiteX2190" fmla="*/ 4542910 w 9586368"/>
              <a:gd name="connsiteY2190" fmla="*/ 5039468 h 6479439"/>
              <a:gd name="connsiteX2191" fmla="*/ 4542910 w 9586368"/>
              <a:gd name="connsiteY2191" fmla="*/ 5029597 h 6479439"/>
              <a:gd name="connsiteX2192" fmla="*/ 4307612 w 9586368"/>
              <a:gd name="connsiteY2192" fmla="*/ 5025558 h 6479439"/>
              <a:gd name="connsiteX2193" fmla="*/ 4317523 w 9586368"/>
              <a:gd name="connsiteY2193" fmla="*/ 5025558 h 6479439"/>
              <a:gd name="connsiteX2194" fmla="*/ 4321543 w 9586368"/>
              <a:gd name="connsiteY2194" fmla="*/ 5029597 h 6479439"/>
              <a:gd name="connsiteX2195" fmla="*/ 4321543 w 9586368"/>
              <a:gd name="connsiteY2195" fmla="*/ 5039468 h 6479439"/>
              <a:gd name="connsiteX2196" fmla="*/ 4317523 w 9586368"/>
              <a:gd name="connsiteY2196" fmla="*/ 5043507 h 6479439"/>
              <a:gd name="connsiteX2197" fmla="*/ 4307612 w 9586368"/>
              <a:gd name="connsiteY2197" fmla="*/ 5043507 h 6479439"/>
              <a:gd name="connsiteX2198" fmla="*/ 4303595 w 9586368"/>
              <a:gd name="connsiteY2198" fmla="*/ 5039468 h 6479439"/>
              <a:gd name="connsiteX2199" fmla="*/ 4303595 w 9586368"/>
              <a:gd name="connsiteY2199" fmla="*/ 5029597 h 6479439"/>
              <a:gd name="connsiteX2200" fmla="*/ 4068297 w 9586368"/>
              <a:gd name="connsiteY2200" fmla="*/ 5025558 h 6479439"/>
              <a:gd name="connsiteX2201" fmla="*/ 4078210 w 9586368"/>
              <a:gd name="connsiteY2201" fmla="*/ 5025558 h 6479439"/>
              <a:gd name="connsiteX2202" fmla="*/ 4082229 w 9586368"/>
              <a:gd name="connsiteY2202" fmla="*/ 5029597 h 6479439"/>
              <a:gd name="connsiteX2203" fmla="*/ 4082229 w 9586368"/>
              <a:gd name="connsiteY2203" fmla="*/ 5039468 h 6479439"/>
              <a:gd name="connsiteX2204" fmla="*/ 4078210 w 9586368"/>
              <a:gd name="connsiteY2204" fmla="*/ 5043507 h 6479439"/>
              <a:gd name="connsiteX2205" fmla="*/ 4068297 w 9586368"/>
              <a:gd name="connsiteY2205" fmla="*/ 5043507 h 6479439"/>
              <a:gd name="connsiteX2206" fmla="*/ 4064278 w 9586368"/>
              <a:gd name="connsiteY2206" fmla="*/ 5039468 h 6479439"/>
              <a:gd name="connsiteX2207" fmla="*/ 4064278 w 9586368"/>
              <a:gd name="connsiteY2207" fmla="*/ 5029597 h 6479439"/>
              <a:gd name="connsiteX2208" fmla="*/ 3828990 w 9586368"/>
              <a:gd name="connsiteY2208" fmla="*/ 5025558 h 6479439"/>
              <a:gd name="connsiteX2209" fmla="*/ 3838899 w 9586368"/>
              <a:gd name="connsiteY2209" fmla="*/ 5025558 h 6479439"/>
              <a:gd name="connsiteX2210" fmla="*/ 3842917 w 9586368"/>
              <a:gd name="connsiteY2210" fmla="*/ 5029597 h 6479439"/>
              <a:gd name="connsiteX2211" fmla="*/ 3842917 w 9586368"/>
              <a:gd name="connsiteY2211" fmla="*/ 5039468 h 6479439"/>
              <a:gd name="connsiteX2212" fmla="*/ 3838899 w 9586368"/>
              <a:gd name="connsiteY2212" fmla="*/ 5043507 h 6479439"/>
              <a:gd name="connsiteX2213" fmla="*/ 3828990 w 9586368"/>
              <a:gd name="connsiteY2213" fmla="*/ 5043507 h 6479439"/>
              <a:gd name="connsiteX2214" fmla="*/ 3824971 w 9586368"/>
              <a:gd name="connsiteY2214" fmla="*/ 5039468 h 6479439"/>
              <a:gd name="connsiteX2215" fmla="*/ 3824971 w 9586368"/>
              <a:gd name="connsiteY2215" fmla="*/ 5029597 h 6479439"/>
              <a:gd name="connsiteX2216" fmla="*/ 3589676 w 9586368"/>
              <a:gd name="connsiteY2216" fmla="*/ 5025558 h 6479439"/>
              <a:gd name="connsiteX2217" fmla="*/ 3599585 w 9586368"/>
              <a:gd name="connsiteY2217" fmla="*/ 5025558 h 6479439"/>
              <a:gd name="connsiteX2218" fmla="*/ 3603604 w 9586368"/>
              <a:gd name="connsiteY2218" fmla="*/ 5029597 h 6479439"/>
              <a:gd name="connsiteX2219" fmla="*/ 3603604 w 9586368"/>
              <a:gd name="connsiteY2219" fmla="*/ 5039468 h 6479439"/>
              <a:gd name="connsiteX2220" fmla="*/ 3599585 w 9586368"/>
              <a:gd name="connsiteY2220" fmla="*/ 5043507 h 6479439"/>
              <a:gd name="connsiteX2221" fmla="*/ 3589676 w 9586368"/>
              <a:gd name="connsiteY2221" fmla="*/ 5043507 h 6479439"/>
              <a:gd name="connsiteX2222" fmla="*/ 3585657 w 9586368"/>
              <a:gd name="connsiteY2222" fmla="*/ 5039468 h 6479439"/>
              <a:gd name="connsiteX2223" fmla="*/ 3585657 w 9586368"/>
              <a:gd name="connsiteY2223" fmla="*/ 5029597 h 6479439"/>
              <a:gd name="connsiteX2224" fmla="*/ 3350359 w 9586368"/>
              <a:gd name="connsiteY2224" fmla="*/ 5025558 h 6479439"/>
              <a:gd name="connsiteX2225" fmla="*/ 3360268 w 9586368"/>
              <a:gd name="connsiteY2225" fmla="*/ 5025558 h 6479439"/>
              <a:gd name="connsiteX2226" fmla="*/ 3364287 w 9586368"/>
              <a:gd name="connsiteY2226" fmla="*/ 5029597 h 6479439"/>
              <a:gd name="connsiteX2227" fmla="*/ 3364287 w 9586368"/>
              <a:gd name="connsiteY2227" fmla="*/ 5039468 h 6479439"/>
              <a:gd name="connsiteX2228" fmla="*/ 3360268 w 9586368"/>
              <a:gd name="connsiteY2228" fmla="*/ 5043507 h 6479439"/>
              <a:gd name="connsiteX2229" fmla="*/ 3350359 w 9586368"/>
              <a:gd name="connsiteY2229" fmla="*/ 5043507 h 6479439"/>
              <a:gd name="connsiteX2230" fmla="*/ 3346340 w 9586368"/>
              <a:gd name="connsiteY2230" fmla="*/ 5039468 h 6479439"/>
              <a:gd name="connsiteX2231" fmla="*/ 3346340 w 9586368"/>
              <a:gd name="connsiteY2231" fmla="*/ 5029597 h 6479439"/>
              <a:gd name="connsiteX2232" fmla="*/ 3111048 w 9586368"/>
              <a:gd name="connsiteY2232" fmla="*/ 5025558 h 6479439"/>
              <a:gd name="connsiteX2233" fmla="*/ 3120959 w 9586368"/>
              <a:gd name="connsiteY2233" fmla="*/ 5025558 h 6479439"/>
              <a:gd name="connsiteX2234" fmla="*/ 3124977 w 9586368"/>
              <a:gd name="connsiteY2234" fmla="*/ 5029597 h 6479439"/>
              <a:gd name="connsiteX2235" fmla="*/ 3124977 w 9586368"/>
              <a:gd name="connsiteY2235" fmla="*/ 5039468 h 6479439"/>
              <a:gd name="connsiteX2236" fmla="*/ 3120959 w 9586368"/>
              <a:gd name="connsiteY2236" fmla="*/ 5043507 h 6479439"/>
              <a:gd name="connsiteX2237" fmla="*/ 3111048 w 9586368"/>
              <a:gd name="connsiteY2237" fmla="*/ 5043507 h 6479439"/>
              <a:gd name="connsiteX2238" fmla="*/ 3107029 w 9586368"/>
              <a:gd name="connsiteY2238" fmla="*/ 5039468 h 6479439"/>
              <a:gd name="connsiteX2239" fmla="*/ 3107029 w 9586368"/>
              <a:gd name="connsiteY2239" fmla="*/ 5029597 h 6479439"/>
              <a:gd name="connsiteX2240" fmla="*/ 2871737 w 9586368"/>
              <a:gd name="connsiteY2240" fmla="*/ 5025558 h 6479439"/>
              <a:gd name="connsiteX2241" fmla="*/ 2881646 w 9586368"/>
              <a:gd name="connsiteY2241" fmla="*/ 5025558 h 6479439"/>
              <a:gd name="connsiteX2242" fmla="*/ 2885666 w 9586368"/>
              <a:gd name="connsiteY2242" fmla="*/ 5029597 h 6479439"/>
              <a:gd name="connsiteX2243" fmla="*/ 2885666 w 9586368"/>
              <a:gd name="connsiteY2243" fmla="*/ 5039468 h 6479439"/>
              <a:gd name="connsiteX2244" fmla="*/ 2881646 w 9586368"/>
              <a:gd name="connsiteY2244" fmla="*/ 5043507 h 6479439"/>
              <a:gd name="connsiteX2245" fmla="*/ 2871737 w 9586368"/>
              <a:gd name="connsiteY2245" fmla="*/ 5043507 h 6479439"/>
              <a:gd name="connsiteX2246" fmla="*/ 2867717 w 9586368"/>
              <a:gd name="connsiteY2246" fmla="*/ 5039468 h 6479439"/>
              <a:gd name="connsiteX2247" fmla="*/ 2867717 w 9586368"/>
              <a:gd name="connsiteY2247" fmla="*/ 5029597 h 6479439"/>
              <a:gd name="connsiteX2248" fmla="*/ 2632423 w 9586368"/>
              <a:gd name="connsiteY2248" fmla="*/ 5025558 h 6479439"/>
              <a:gd name="connsiteX2249" fmla="*/ 2642334 w 9586368"/>
              <a:gd name="connsiteY2249" fmla="*/ 5025558 h 6479439"/>
              <a:gd name="connsiteX2250" fmla="*/ 2646352 w 9586368"/>
              <a:gd name="connsiteY2250" fmla="*/ 5029597 h 6479439"/>
              <a:gd name="connsiteX2251" fmla="*/ 2646352 w 9586368"/>
              <a:gd name="connsiteY2251" fmla="*/ 5039468 h 6479439"/>
              <a:gd name="connsiteX2252" fmla="*/ 2642334 w 9586368"/>
              <a:gd name="connsiteY2252" fmla="*/ 5043507 h 6479439"/>
              <a:gd name="connsiteX2253" fmla="*/ 2632423 w 9586368"/>
              <a:gd name="connsiteY2253" fmla="*/ 5043507 h 6479439"/>
              <a:gd name="connsiteX2254" fmla="*/ 2628404 w 9586368"/>
              <a:gd name="connsiteY2254" fmla="*/ 5039468 h 6479439"/>
              <a:gd name="connsiteX2255" fmla="*/ 2628404 w 9586368"/>
              <a:gd name="connsiteY2255" fmla="*/ 5029597 h 6479439"/>
              <a:gd name="connsiteX2256" fmla="*/ 2393104 w 9586368"/>
              <a:gd name="connsiteY2256" fmla="*/ 5025558 h 6479439"/>
              <a:gd name="connsiteX2257" fmla="*/ 2403015 w 9586368"/>
              <a:gd name="connsiteY2257" fmla="*/ 5025558 h 6479439"/>
              <a:gd name="connsiteX2258" fmla="*/ 2407034 w 9586368"/>
              <a:gd name="connsiteY2258" fmla="*/ 5029597 h 6479439"/>
              <a:gd name="connsiteX2259" fmla="*/ 2407034 w 9586368"/>
              <a:gd name="connsiteY2259" fmla="*/ 5039468 h 6479439"/>
              <a:gd name="connsiteX2260" fmla="*/ 2403015 w 9586368"/>
              <a:gd name="connsiteY2260" fmla="*/ 5043507 h 6479439"/>
              <a:gd name="connsiteX2261" fmla="*/ 2393104 w 9586368"/>
              <a:gd name="connsiteY2261" fmla="*/ 5043507 h 6479439"/>
              <a:gd name="connsiteX2262" fmla="*/ 2389087 w 9586368"/>
              <a:gd name="connsiteY2262" fmla="*/ 5039468 h 6479439"/>
              <a:gd name="connsiteX2263" fmla="*/ 2389087 w 9586368"/>
              <a:gd name="connsiteY2263" fmla="*/ 5029597 h 6479439"/>
              <a:gd name="connsiteX2264" fmla="*/ 721962 w 9586368"/>
              <a:gd name="connsiteY2264" fmla="*/ 5025558 h 6479439"/>
              <a:gd name="connsiteX2265" fmla="*/ 731872 w 9586368"/>
              <a:gd name="connsiteY2265" fmla="*/ 5025558 h 6479439"/>
              <a:gd name="connsiteX2266" fmla="*/ 735891 w 9586368"/>
              <a:gd name="connsiteY2266" fmla="*/ 5029597 h 6479439"/>
              <a:gd name="connsiteX2267" fmla="*/ 735891 w 9586368"/>
              <a:gd name="connsiteY2267" fmla="*/ 5039468 h 6479439"/>
              <a:gd name="connsiteX2268" fmla="*/ 731872 w 9586368"/>
              <a:gd name="connsiteY2268" fmla="*/ 5043507 h 6479439"/>
              <a:gd name="connsiteX2269" fmla="*/ 721962 w 9586368"/>
              <a:gd name="connsiteY2269" fmla="*/ 5043507 h 6479439"/>
              <a:gd name="connsiteX2270" fmla="*/ 717944 w 9586368"/>
              <a:gd name="connsiteY2270" fmla="*/ 5039468 h 6479439"/>
              <a:gd name="connsiteX2271" fmla="*/ 717944 w 9586368"/>
              <a:gd name="connsiteY2271" fmla="*/ 5029597 h 6479439"/>
              <a:gd name="connsiteX2272" fmla="*/ 482650 w 9586368"/>
              <a:gd name="connsiteY2272" fmla="*/ 5025558 h 6479439"/>
              <a:gd name="connsiteX2273" fmla="*/ 492560 w 9586368"/>
              <a:gd name="connsiteY2273" fmla="*/ 5025558 h 6479439"/>
              <a:gd name="connsiteX2274" fmla="*/ 496580 w 9586368"/>
              <a:gd name="connsiteY2274" fmla="*/ 5029597 h 6479439"/>
              <a:gd name="connsiteX2275" fmla="*/ 496580 w 9586368"/>
              <a:gd name="connsiteY2275" fmla="*/ 5039468 h 6479439"/>
              <a:gd name="connsiteX2276" fmla="*/ 492560 w 9586368"/>
              <a:gd name="connsiteY2276" fmla="*/ 5043507 h 6479439"/>
              <a:gd name="connsiteX2277" fmla="*/ 482650 w 9586368"/>
              <a:gd name="connsiteY2277" fmla="*/ 5043507 h 6479439"/>
              <a:gd name="connsiteX2278" fmla="*/ 478631 w 9586368"/>
              <a:gd name="connsiteY2278" fmla="*/ 5039468 h 6479439"/>
              <a:gd name="connsiteX2279" fmla="*/ 478631 w 9586368"/>
              <a:gd name="connsiteY2279" fmla="*/ 5029597 h 6479439"/>
              <a:gd name="connsiteX2280" fmla="*/ 243336 w 9586368"/>
              <a:gd name="connsiteY2280" fmla="*/ 5025558 h 6479439"/>
              <a:gd name="connsiteX2281" fmla="*/ 253247 w 9586368"/>
              <a:gd name="connsiteY2281" fmla="*/ 5025558 h 6479439"/>
              <a:gd name="connsiteX2282" fmla="*/ 257266 w 9586368"/>
              <a:gd name="connsiteY2282" fmla="*/ 5029597 h 6479439"/>
              <a:gd name="connsiteX2283" fmla="*/ 257266 w 9586368"/>
              <a:gd name="connsiteY2283" fmla="*/ 5039468 h 6479439"/>
              <a:gd name="connsiteX2284" fmla="*/ 253247 w 9586368"/>
              <a:gd name="connsiteY2284" fmla="*/ 5043507 h 6479439"/>
              <a:gd name="connsiteX2285" fmla="*/ 243336 w 9586368"/>
              <a:gd name="connsiteY2285" fmla="*/ 5043507 h 6479439"/>
              <a:gd name="connsiteX2286" fmla="*/ 239317 w 9586368"/>
              <a:gd name="connsiteY2286" fmla="*/ 5039468 h 6479439"/>
              <a:gd name="connsiteX2287" fmla="*/ 239317 w 9586368"/>
              <a:gd name="connsiteY2287" fmla="*/ 5029597 h 6479439"/>
              <a:gd name="connsiteX2288" fmla="*/ 4024 w 9586368"/>
              <a:gd name="connsiteY2288" fmla="*/ 5025558 h 6479439"/>
              <a:gd name="connsiteX2289" fmla="*/ 13933 w 9586368"/>
              <a:gd name="connsiteY2289" fmla="*/ 5025558 h 6479439"/>
              <a:gd name="connsiteX2290" fmla="*/ 17952 w 9586368"/>
              <a:gd name="connsiteY2290" fmla="*/ 5029597 h 6479439"/>
              <a:gd name="connsiteX2291" fmla="*/ 17952 w 9586368"/>
              <a:gd name="connsiteY2291" fmla="*/ 5039468 h 6479439"/>
              <a:gd name="connsiteX2292" fmla="*/ 13933 w 9586368"/>
              <a:gd name="connsiteY2292" fmla="*/ 5043507 h 6479439"/>
              <a:gd name="connsiteX2293" fmla="*/ 4024 w 9586368"/>
              <a:gd name="connsiteY2293" fmla="*/ 5043507 h 6479439"/>
              <a:gd name="connsiteX2294" fmla="*/ 4 w 9586368"/>
              <a:gd name="connsiteY2294" fmla="*/ 5039468 h 6479439"/>
              <a:gd name="connsiteX2295" fmla="*/ 4 w 9586368"/>
              <a:gd name="connsiteY2295" fmla="*/ 5029597 h 6479439"/>
              <a:gd name="connsiteX2296" fmla="*/ 9572438 w 9586368"/>
              <a:gd name="connsiteY2296" fmla="*/ 4786279 h 6479439"/>
              <a:gd name="connsiteX2297" fmla="*/ 9582349 w 9586368"/>
              <a:gd name="connsiteY2297" fmla="*/ 4786279 h 6479439"/>
              <a:gd name="connsiteX2298" fmla="*/ 9586368 w 9586368"/>
              <a:gd name="connsiteY2298" fmla="*/ 4790317 h 6479439"/>
              <a:gd name="connsiteX2299" fmla="*/ 9586368 w 9586368"/>
              <a:gd name="connsiteY2299" fmla="*/ 4800188 h 6479439"/>
              <a:gd name="connsiteX2300" fmla="*/ 9582349 w 9586368"/>
              <a:gd name="connsiteY2300" fmla="*/ 4804227 h 6479439"/>
              <a:gd name="connsiteX2301" fmla="*/ 9572438 w 9586368"/>
              <a:gd name="connsiteY2301" fmla="*/ 4804227 h 6479439"/>
              <a:gd name="connsiteX2302" fmla="*/ 9568419 w 9586368"/>
              <a:gd name="connsiteY2302" fmla="*/ 4800188 h 6479439"/>
              <a:gd name="connsiteX2303" fmla="*/ 9568419 w 9586368"/>
              <a:gd name="connsiteY2303" fmla="*/ 4790317 h 6479439"/>
              <a:gd name="connsiteX2304" fmla="*/ 9333125 w 9586368"/>
              <a:gd name="connsiteY2304" fmla="*/ 4786279 h 6479439"/>
              <a:gd name="connsiteX2305" fmla="*/ 9343036 w 9586368"/>
              <a:gd name="connsiteY2305" fmla="*/ 4786279 h 6479439"/>
              <a:gd name="connsiteX2306" fmla="*/ 9347055 w 9586368"/>
              <a:gd name="connsiteY2306" fmla="*/ 4790317 h 6479439"/>
              <a:gd name="connsiteX2307" fmla="*/ 9347055 w 9586368"/>
              <a:gd name="connsiteY2307" fmla="*/ 4800188 h 6479439"/>
              <a:gd name="connsiteX2308" fmla="*/ 9343036 w 9586368"/>
              <a:gd name="connsiteY2308" fmla="*/ 4804227 h 6479439"/>
              <a:gd name="connsiteX2309" fmla="*/ 9333125 w 9586368"/>
              <a:gd name="connsiteY2309" fmla="*/ 4804227 h 6479439"/>
              <a:gd name="connsiteX2310" fmla="*/ 9329106 w 9586368"/>
              <a:gd name="connsiteY2310" fmla="*/ 4800188 h 6479439"/>
              <a:gd name="connsiteX2311" fmla="*/ 9329106 w 9586368"/>
              <a:gd name="connsiteY2311" fmla="*/ 4790317 h 6479439"/>
              <a:gd name="connsiteX2312" fmla="*/ 9093811 w 9586368"/>
              <a:gd name="connsiteY2312" fmla="*/ 4786279 h 6479439"/>
              <a:gd name="connsiteX2313" fmla="*/ 9103722 w 9586368"/>
              <a:gd name="connsiteY2313" fmla="*/ 4786279 h 6479439"/>
              <a:gd name="connsiteX2314" fmla="*/ 9107741 w 9586368"/>
              <a:gd name="connsiteY2314" fmla="*/ 4790317 h 6479439"/>
              <a:gd name="connsiteX2315" fmla="*/ 9107741 w 9586368"/>
              <a:gd name="connsiteY2315" fmla="*/ 4800188 h 6479439"/>
              <a:gd name="connsiteX2316" fmla="*/ 9103722 w 9586368"/>
              <a:gd name="connsiteY2316" fmla="*/ 4804227 h 6479439"/>
              <a:gd name="connsiteX2317" fmla="*/ 9093811 w 9586368"/>
              <a:gd name="connsiteY2317" fmla="*/ 4804227 h 6479439"/>
              <a:gd name="connsiteX2318" fmla="*/ 9089792 w 9586368"/>
              <a:gd name="connsiteY2318" fmla="*/ 4800188 h 6479439"/>
              <a:gd name="connsiteX2319" fmla="*/ 9089792 w 9586368"/>
              <a:gd name="connsiteY2319" fmla="*/ 4790317 h 6479439"/>
              <a:gd name="connsiteX2320" fmla="*/ 8854496 w 9586368"/>
              <a:gd name="connsiteY2320" fmla="*/ 4786279 h 6479439"/>
              <a:gd name="connsiteX2321" fmla="*/ 8864407 w 9586368"/>
              <a:gd name="connsiteY2321" fmla="*/ 4786279 h 6479439"/>
              <a:gd name="connsiteX2322" fmla="*/ 8868426 w 9586368"/>
              <a:gd name="connsiteY2322" fmla="*/ 4790317 h 6479439"/>
              <a:gd name="connsiteX2323" fmla="*/ 8868426 w 9586368"/>
              <a:gd name="connsiteY2323" fmla="*/ 4800188 h 6479439"/>
              <a:gd name="connsiteX2324" fmla="*/ 8864407 w 9586368"/>
              <a:gd name="connsiteY2324" fmla="*/ 4804227 h 6479439"/>
              <a:gd name="connsiteX2325" fmla="*/ 8854496 w 9586368"/>
              <a:gd name="connsiteY2325" fmla="*/ 4804227 h 6479439"/>
              <a:gd name="connsiteX2326" fmla="*/ 8850477 w 9586368"/>
              <a:gd name="connsiteY2326" fmla="*/ 4800188 h 6479439"/>
              <a:gd name="connsiteX2327" fmla="*/ 8850477 w 9586368"/>
              <a:gd name="connsiteY2327" fmla="*/ 4790317 h 6479439"/>
              <a:gd name="connsiteX2328" fmla="*/ 8615184 w 9586368"/>
              <a:gd name="connsiteY2328" fmla="*/ 4786279 h 6479439"/>
              <a:gd name="connsiteX2329" fmla="*/ 8625095 w 9586368"/>
              <a:gd name="connsiteY2329" fmla="*/ 4786279 h 6479439"/>
              <a:gd name="connsiteX2330" fmla="*/ 8629114 w 9586368"/>
              <a:gd name="connsiteY2330" fmla="*/ 4790317 h 6479439"/>
              <a:gd name="connsiteX2331" fmla="*/ 8629114 w 9586368"/>
              <a:gd name="connsiteY2331" fmla="*/ 4800188 h 6479439"/>
              <a:gd name="connsiteX2332" fmla="*/ 8625095 w 9586368"/>
              <a:gd name="connsiteY2332" fmla="*/ 4804227 h 6479439"/>
              <a:gd name="connsiteX2333" fmla="*/ 8615184 w 9586368"/>
              <a:gd name="connsiteY2333" fmla="*/ 4804227 h 6479439"/>
              <a:gd name="connsiteX2334" fmla="*/ 8611165 w 9586368"/>
              <a:gd name="connsiteY2334" fmla="*/ 4800188 h 6479439"/>
              <a:gd name="connsiteX2335" fmla="*/ 8611165 w 9586368"/>
              <a:gd name="connsiteY2335" fmla="*/ 4790317 h 6479439"/>
              <a:gd name="connsiteX2336" fmla="*/ 8375869 w 9586368"/>
              <a:gd name="connsiteY2336" fmla="*/ 4786279 h 6479439"/>
              <a:gd name="connsiteX2337" fmla="*/ 8385779 w 9586368"/>
              <a:gd name="connsiteY2337" fmla="*/ 4786279 h 6479439"/>
              <a:gd name="connsiteX2338" fmla="*/ 8389799 w 9586368"/>
              <a:gd name="connsiteY2338" fmla="*/ 4790317 h 6479439"/>
              <a:gd name="connsiteX2339" fmla="*/ 8389799 w 9586368"/>
              <a:gd name="connsiteY2339" fmla="*/ 4800188 h 6479439"/>
              <a:gd name="connsiteX2340" fmla="*/ 8385779 w 9586368"/>
              <a:gd name="connsiteY2340" fmla="*/ 4804227 h 6479439"/>
              <a:gd name="connsiteX2341" fmla="*/ 8375869 w 9586368"/>
              <a:gd name="connsiteY2341" fmla="*/ 4804227 h 6479439"/>
              <a:gd name="connsiteX2342" fmla="*/ 8371850 w 9586368"/>
              <a:gd name="connsiteY2342" fmla="*/ 4800188 h 6479439"/>
              <a:gd name="connsiteX2343" fmla="*/ 8371850 w 9586368"/>
              <a:gd name="connsiteY2343" fmla="*/ 4790317 h 6479439"/>
              <a:gd name="connsiteX2344" fmla="*/ 8136553 w 9586368"/>
              <a:gd name="connsiteY2344" fmla="*/ 4786279 h 6479439"/>
              <a:gd name="connsiteX2345" fmla="*/ 8146464 w 9586368"/>
              <a:gd name="connsiteY2345" fmla="*/ 4786279 h 6479439"/>
              <a:gd name="connsiteX2346" fmla="*/ 8150483 w 9586368"/>
              <a:gd name="connsiteY2346" fmla="*/ 4790317 h 6479439"/>
              <a:gd name="connsiteX2347" fmla="*/ 8150483 w 9586368"/>
              <a:gd name="connsiteY2347" fmla="*/ 4800188 h 6479439"/>
              <a:gd name="connsiteX2348" fmla="*/ 8146464 w 9586368"/>
              <a:gd name="connsiteY2348" fmla="*/ 4804227 h 6479439"/>
              <a:gd name="connsiteX2349" fmla="*/ 8136553 w 9586368"/>
              <a:gd name="connsiteY2349" fmla="*/ 4804227 h 6479439"/>
              <a:gd name="connsiteX2350" fmla="*/ 8132534 w 9586368"/>
              <a:gd name="connsiteY2350" fmla="*/ 4800188 h 6479439"/>
              <a:gd name="connsiteX2351" fmla="*/ 8132534 w 9586368"/>
              <a:gd name="connsiteY2351" fmla="*/ 4790317 h 6479439"/>
              <a:gd name="connsiteX2352" fmla="*/ 7897241 w 9586368"/>
              <a:gd name="connsiteY2352" fmla="*/ 4786279 h 6479439"/>
              <a:gd name="connsiteX2353" fmla="*/ 7907151 w 9586368"/>
              <a:gd name="connsiteY2353" fmla="*/ 4786279 h 6479439"/>
              <a:gd name="connsiteX2354" fmla="*/ 7911170 w 9586368"/>
              <a:gd name="connsiteY2354" fmla="*/ 4790317 h 6479439"/>
              <a:gd name="connsiteX2355" fmla="*/ 7911170 w 9586368"/>
              <a:gd name="connsiteY2355" fmla="*/ 4800188 h 6479439"/>
              <a:gd name="connsiteX2356" fmla="*/ 7907151 w 9586368"/>
              <a:gd name="connsiteY2356" fmla="*/ 4804227 h 6479439"/>
              <a:gd name="connsiteX2357" fmla="*/ 7897241 w 9586368"/>
              <a:gd name="connsiteY2357" fmla="*/ 4804227 h 6479439"/>
              <a:gd name="connsiteX2358" fmla="*/ 7893222 w 9586368"/>
              <a:gd name="connsiteY2358" fmla="*/ 4800188 h 6479439"/>
              <a:gd name="connsiteX2359" fmla="*/ 7893222 w 9586368"/>
              <a:gd name="connsiteY2359" fmla="*/ 4790317 h 6479439"/>
              <a:gd name="connsiteX2360" fmla="*/ 7657926 w 9586368"/>
              <a:gd name="connsiteY2360" fmla="*/ 4786279 h 6479439"/>
              <a:gd name="connsiteX2361" fmla="*/ 7667836 w 9586368"/>
              <a:gd name="connsiteY2361" fmla="*/ 4786279 h 6479439"/>
              <a:gd name="connsiteX2362" fmla="*/ 7671855 w 9586368"/>
              <a:gd name="connsiteY2362" fmla="*/ 4790317 h 6479439"/>
              <a:gd name="connsiteX2363" fmla="*/ 7671855 w 9586368"/>
              <a:gd name="connsiteY2363" fmla="*/ 4800188 h 6479439"/>
              <a:gd name="connsiteX2364" fmla="*/ 7667836 w 9586368"/>
              <a:gd name="connsiteY2364" fmla="*/ 4804227 h 6479439"/>
              <a:gd name="connsiteX2365" fmla="*/ 7657926 w 9586368"/>
              <a:gd name="connsiteY2365" fmla="*/ 4804227 h 6479439"/>
              <a:gd name="connsiteX2366" fmla="*/ 7653906 w 9586368"/>
              <a:gd name="connsiteY2366" fmla="*/ 4800188 h 6479439"/>
              <a:gd name="connsiteX2367" fmla="*/ 7653906 w 9586368"/>
              <a:gd name="connsiteY2367" fmla="*/ 4790317 h 6479439"/>
              <a:gd name="connsiteX2368" fmla="*/ 7418611 w 9586368"/>
              <a:gd name="connsiteY2368" fmla="*/ 4786279 h 6479439"/>
              <a:gd name="connsiteX2369" fmla="*/ 7428521 w 9586368"/>
              <a:gd name="connsiteY2369" fmla="*/ 4786279 h 6479439"/>
              <a:gd name="connsiteX2370" fmla="*/ 7432540 w 9586368"/>
              <a:gd name="connsiteY2370" fmla="*/ 4790317 h 6479439"/>
              <a:gd name="connsiteX2371" fmla="*/ 7432540 w 9586368"/>
              <a:gd name="connsiteY2371" fmla="*/ 4800188 h 6479439"/>
              <a:gd name="connsiteX2372" fmla="*/ 7428521 w 9586368"/>
              <a:gd name="connsiteY2372" fmla="*/ 4804227 h 6479439"/>
              <a:gd name="connsiteX2373" fmla="*/ 7418611 w 9586368"/>
              <a:gd name="connsiteY2373" fmla="*/ 4804227 h 6479439"/>
              <a:gd name="connsiteX2374" fmla="*/ 7414592 w 9586368"/>
              <a:gd name="connsiteY2374" fmla="*/ 4800188 h 6479439"/>
              <a:gd name="connsiteX2375" fmla="*/ 7414592 w 9586368"/>
              <a:gd name="connsiteY2375" fmla="*/ 4790317 h 6479439"/>
              <a:gd name="connsiteX2376" fmla="*/ 7179298 w 9586368"/>
              <a:gd name="connsiteY2376" fmla="*/ 4786279 h 6479439"/>
              <a:gd name="connsiteX2377" fmla="*/ 7189209 w 9586368"/>
              <a:gd name="connsiteY2377" fmla="*/ 4786279 h 6479439"/>
              <a:gd name="connsiteX2378" fmla="*/ 7193228 w 9586368"/>
              <a:gd name="connsiteY2378" fmla="*/ 4790317 h 6479439"/>
              <a:gd name="connsiteX2379" fmla="*/ 7193228 w 9586368"/>
              <a:gd name="connsiteY2379" fmla="*/ 4800188 h 6479439"/>
              <a:gd name="connsiteX2380" fmla="*/ 7189209 w 9586368"/>
              <a:gd name="connsiteY2380" fmla="*/ 4804227 h 6479439"/>
              <a:gd name="connsiteX2381" fmla="*/ 7179298 w 9586368"/>
              <a:gd name="connsiteY2381" fmla="*/ 4804227 h 6479439"/>
              <a:gd name="connsiteX2382" fmla="*/ 7175279 w 9586368"/>
              <a:gd name="connsiteY2382" fmla="*/ 4800188 h 6479439"/>
              <a:gd name="connsiteX2383" fmla="*/ 7175279 w 9586368"/>
              <a:gd name="connsiteY2383" fmla="*/ 4790317 h 6479439"/>
              <a:gd name="connsiteX2384" fmla="*/ 6939983 w 9586368"/>
              <a:gd name="connsiteY2384" fmla="*/ 4786279 h 6479439"/>
              <a:gd name="connsiteX2385" fmla="*/ 6949894 w 9586368"/>
              <a:gd name="connsiteY2385" fmla="*/ 4786279 h 6479439"/>
              <a:gd name="connsiteX2386" fmla="*/ 6953913 w 9586368"/>
              <a:gd name="connsiteY2386" fmla="*/ 4790317 h 6479439"/>
              <a:gd name="connsiteX2387" fmla="*/ 6953913 w 9586368"/>
              <a:gd name="connsiteY2387" fmla="*/ 4800188 h 6479439"/>
              <a:gd name="connsiteX2388" fmla="*/ 6949894 w 9586368"/>
              <a:gd name="connsiteY2388" fmla="*/ 4804227 h 6479439"/>
              <a:gd name="connsiteX2389" fmla="*/ 6939983 w 9586368"/>
              <a:gd name="connsiteY2389" fmla="*/ 4804227 h 6479439"/>
              <a:gd name="connsiteX2390" fmla="*/ 6935964 w 9586368"/>
              <a:gd name="connsiteY2390" fmla="*/ 4800188 h 6479439"/>
              <a:gd name="connsiteX2391" fmla="*/ 6935964 w 9586368"/>
              <a:gd name="connsiteY2391" fmla="*/ 4790317 h 6479439"/>
              <a:gd name="connsiteX2392" fmla="*/ 6700670 w 9586368"/>
              <a:gd name="connsiteY2392" fmla="*/ 4786279 h 6479439"/>
              <a:gd name="connsiteX2393" fmla="*/ 6710581 w 9586368"/>
              <a:gd name="connsiteY2393" fmla="*/ 4786279 h 6479439"/>
              <a:gd name="connsiteX2394" fmla="*/ 6714600 w 9586368"/>
              <a:gd name="connsiteY2394" fmla="*/ 4790317 h 6479439"/>
              <a:gd name="connsiteX2395" fmla="*/ 6714600 w 9586368"/>
              <a:gd name="connsiteY2395" fmla="*/ 4800188 h 6479439"/>
              <a:gd name="connsiteX2396" fmla="*/ 6710581 w 9586368"/>
              <a:gd name="connsiteY2396" fmla="*/ 4804227 h 6479439"/>
              <a:gd name="connsiteX2397" fmla="*/ 6700670 w 9586368"/>
              <a:gd name="connsiteY2397" fmla="*/ 4804227 h 6479439"/>
              <a:gd name="connsiteX2398" fmla="*/ 6696651 w 9586368"/>
              <a:gd name="connsiteY2398" fmla="*/ 4800188 h 6479439"/>
              <a:gd name="connsiteX2399" fmla="*/ 6696651 w 9586368"/>
              <a:gd name="connsiteY2399" fmla="*/ 4790317 h 6479439"/>
              <a:gd name="connsiteX2400" fmla="*/ 6461356 w 9586368"/>
              <a:gd name="connsiteY2400" fmla="*/ 4786279 h 6479439"/>
              <a:gd name="connsiteX2401" fmla="*/ 6471266 w 9586368"/>
              <a:gd name="connsiteY2401" fmla="*/ 4786279 h 6479439"/>
              <a:gd name="connsiteX2402" fmla="*/ 6475285 w 9586368"/>
              <a:gd name="connsiteY2402" fmla="*/ 4790317 h 6479439"/>
              <a:gd name="connsiteX2403" fmla="*/ 6475285 w 9586368"/>
              <a:gd name="connsiteY2403" fmla="*/ 4800188 h 6479439"/>
              <a:gd name="connsiteX2404" fmla="*/ 6471266 w 9586368"/>
              <a:gd name="connsiteY2404" fmla="*/ 4804227 h 6479439"/>
              <a:gd name="connsiteX2405" fmla="*/ 6461356 w 9586368"/>
              <a:gd name="connsiteY2405" fmla="*/ 4804227 h 6479439"/>
              <a:gd name="connsiteX2406" fmla="*/ 6457337 w 9586368"/>
              <a:gd name="connsiteY2406" fmla="*/ 4800188 h 6479439"/>
              <a:gd name="connsiteX2407" fmla="*/ 6457337 w 9586368"/>
              <a:gd name="connsiteY2407" fmla="*/ 4790317 h 6479439"/>
              <a:gd name="connsiteX2408" fmla="*/ 6222042 w 9586368"/>
              <a:gd name="connsiteY2408" fmla="*/ 4786279 h 6479439"/>
              <a:gd name="connsiteX2409" fmla="*/ 6231952 w 9586368"/>
              <a:gd name="connsiteY2409" fmla="*/ 4786279 h 6479439"/>
              <a:gd name="connsiteX2410" fmla="*/ 6235971 w 9586368"/>
              <a:gd name="connsiteY2410" fmla="*/ 4790317 h 6479439"/>
              <a:gd name="connsiteX2411" fmla="*/ 6235971 w 9586368"/>
              <a:gd name="connsiteY2411" fmla="*/ 4800188 h 6479439"/>
              <a:gd name="connsiteX2412" fmla="*/ 6231952 w 9586368"/>
              <a:gd name="connsiteY2412" fmla="*/ 4804227 h 6479439"/>
              <a:gd name="connsiteX2413" fmla="*/ 6222042 w 9586368"/>
              <a:gd name="connsiteY2413" fmla="*/ 4804227 h 6479439"/>
              <a:gd name="connsiteX2414" fmla="*/ 6218023 w 9586368"/>
              <a:gd name="connsiteY2414" fmla="*/ 4800188 h 6479439"/>
              <a:gd name="connsiteX2415" fmla="*/ 6218023 w 9586368"/>
              <a:gd name="connsiteY2415" fmla="*/ 4790317 h 6479439"/>
              <a:gd name="connsiteX2416" fmla="*/ 5982729 w 9586368"/>
              <a:gd name="connsiteY2416" fmla="*/ 4786279 h 6479439"/>
              <a:gd name="connsiteX2417" fmla="*/ 5992639 w 9586368"/>
              <a:gd name="connsiteY2417" fmla="*/ 4786279 h 6479439"/>
              <a:gd name="connsiteX2418" fmla="*/ 5996658 w 9586368"/>
              <a:gd name="connsiteY2418" fmla="*/ 4790317 h 6479439"/>
              <a:gd name="connsiteX2419" fmla="*/ 5996658 w 9586368"/>
              <a:gd name="connsiteY2419" fmla="*/ 4800188 h 6479439"/>
              <a:gd name="connsiteX2420" fmla="*/ 5992639 w 9586368"/>
              <a:gd name="connsiteY2420" fmla="*/ 4804227 h 6479439"/>
              <a:gd name="connsiteX2421" fmla="*/ 5982729 w 9586368"/>
              <a:gd name="connsiteY2421" fmla="*/ 4804227 h 6479439"/>
              <a:gd name="connsiteX2422" fmla="*/ 5978710 w 9586368"/>
              <a:gd name="connsiteY2422" fmla="*/ 4800188 h 6479439"/>
              <a:gd name="connsiteX2423" fmla="*/ 5978710 w 9586368"/>
              <a:gd name="connsiteY2423" fmla="*/ 4790317 h 6479439"/>
              <a:gd name="connsiteX2424" fmla="*/ 5743412 w 9586368"/>
              <a:gd name="connsiteY2424" fmla="*/ 4786279 h 6479439"/>
              <a:gd name="connsiteX2425" fmla="*/ 5753323 w 9586368"/>
              <a:gd name="connsiteY2425" fmla="*/ 4786279 h 6479439"/>
              <a:gd name="connsiteX2426" fmla="*/ 5757342 w 9586368"/>
              <a:gd name="connsiteY2426" fmla="*/ 4790317 h 6479439"/>
              <a:gd name="connsiteX2427" fmla="*/ 5757342 w 9586368"/>
              <a:gd name="connsiteY2427" fmla="*/ 4800188 h 6479439"/>
              <a:gd name="connsiteX2428" fmla="*/ 5753323 w 9586368"/>
              <a:gd name="connsiteY2428" fmla="*/ 4804227 h 6479439"/>
              <a:gd name="connsiteX2429" fmla="*/ 5743412 w 9586368"/>
              <a:gd name="connsiteY2429" fmla="*/ 4804227 h 6479439"/>
              <a:gd name="connsiteX2430" fmla="*/ 5739393 w 9586368"/>
              <a:gd name="connsiteY2430" fmla="*/ 4800188 h 6479439"/>
              <a:gd name="connsiteX2431" fmla="*/ 5739393 w 9586368"/>
              <a:gd name="connsiteY2431" fmla="*/ 4790317 h 6479439"/>
              <a:gd name="connsiteX2432" fmla="*/ 5504099 w 9586368"/>
              <a:gd name="connsiteY2432" fmla="*/ 4786279 h 6479439"/>
              <a:gd name="connsiteX2433" fmla="*/ 5514010 w 9586368"/>
              <a:gd name="connsiteY2433" fmla="*/ 4786279 h 6479439"/>
              <a:gd name="connsiteX2434" fmla="*/ 5518029 w 9586368"/>
              <a:gd name="connsiteY2434" fmla="*/ 4790317 h 6479439"/>
              <a:gd name="connsiteX2435" fmla="*/ 5518029 w 9586368"/>
              <a:gd name="connsiteY2435" fmla="*/ 4800188 h 6479439"/>
              <a:gd name="connsiteX2436" fmla="*/ 5514010 w 9586368"/>
              <a:gd name="connsiteY2436" fmla="*/ 4804227 h 6479439"/>
              <a:gd name="connsiteX2437" fmla="*/ 5504099 w 9586368"/>
              <a:gd name="connsiteY2437" fmla="*/ 4804227 h 6479439"/>
              <a:gd name="connsiteX2438" fmla="*/ 5500080 w 9586368"/>
              <a:gd name="connsiteY2438" fmla="*/ 4800188 h 6479439"/>
              <a:gd name="connsiteX2439" fmla="*/ 5500080 w 9586368"/>
              <a:gd name="connsiteY2439" fmla="*/ 4790317 h 6479439"/>
              <a:gd name="connsiteX2440" fmla="*/ 5264784 w 9586368"/>
              <a:gd name="connsiteY2440" fmla="*/ 4786279 h 6479439"/>
              <a:gd name="connsiteX2441" fmla="*/ 5274694 w 9586368"/>
              <a:gd name="connsiteY2441" fmla="*/ 4786279 h 6479439"/>
              <a:gd name="connsiteX2442" fmla="*/ 5278713 w 9586368"/>
              <a:gd name="connsiteY2442" fmla="*/ 4790317 h 6479439"/>
              <a:gd name="connsiteX2443" fmla="*/ 5278713 w 9586368"/>
              <a:gd name="connsiteY2443" fmla="*/ 4800188 h 6479439"/>
              <a:gd name="connsiteX2444" fmla="*/ 5274694 w 9586368"/>
              <a:gd name="connsiteY2444" fmla="*/ 4804227 h 6479439"/>
              <a:gd name="connsiteX2445" fmla="*/ 5264784 w 9586368"/>
              <a:gd name="connsiteY2445" fmla="*/ 4804227 h 6479439"/>
              <a:gd name="connsiteX2446" fmla="*/ 5260765 w 9586368"/>
              <a:gd name="connsiteY2446" fmla="*/ 4800188 h 6479439"/>
              <a:gd name="connsiteX2447" fmla="*/ 5260765 w 9586368"/>
              <a:gd name="connsiteY2447" fmla="*/ 4790317 h 6479439"/>
              <a:gd name="connsiteX2448" fmla="*/ 5025470 w 9586368"/>
              <a:gd name="connsiteY2448" fmla="*/ 4786279 h 6479439"/>
              <a:gd name="connsiteX2449" fmla="*/ 5035381 w 9586368"/>
              <a:gd name="connsiteY2449" fmla="*/ 4786279 h 6479439"/>
              <a:gd name="connsiteX2450" fmla="*/ 5039400 w 9586368"/>
              <a:gd name="connsiteY2450" fmla="*/ 4790317 h 6479439"/>
              <a:gd name="connsiteX2451" fmla="*/ 5039400 w 9586368"/>
              <a:gd name="connsiteY2451" fmla="*/ 4800188 h 6479439"/>
              <a:gd name="connsiteX2452" fmla="*/ 5035381 w 9586368"/>
              <a:gd name="connsiteY2452" fmla="*/ 4804227 h 6479439"/>
              <a:gd name="connsiteX2453" fmla="*/ 5025470 w 9586368"/>
              <a:gd name="connsiteY2453" fmla="*/ 4804227 h 6479439"/>
              <a:gd name="connsiteX2454" fmla="*/ 5021451 w 9586368"/>
              <a:gd name="connsiteY2454" fmla="*/ 4800188 h 6479439"/>
              <a:gd name="connsiteX2455" fmla="*/ 5021451 w 9586368"/>
              <a:gd name="connsiteY2455" fmla="*/ 4790317 h 6479439"/>
              <a:gd name="connsiteX2456" fmla="*/ 4786241 w 9586368"/>
              <a:gd name="connsiteY2456" fmla="*/ 4786279 h 6479439"/>
              <a:gd name="connsiteX2457" fmla="*/ 4796152 w 9586368"/>
              <a:gd name="connsiteY2457" fmla="*/ 4786279 h 6479439"/>
              <a:gd name="connsiteX2458" fmla="*/ 4800171 w 9586368"/>
              <a:gd name="connsiteY2458" fmla="*/ 4790317 h 6479439"/>
              <a:gd name="connsiteX2459" fmla="*/ 4800171 w 9586368"/>
              <a:gd name="connsiteY2459" fmla="*/ 4800188 h 6479439"/>
              <a:gd name="connsiteX2460" fmla="*/ 4796152 w 9586368"/>
              <a:gd name="connsiteY2460" fmla="*/ 4804227 h 6479439"/>
              <a:gd name="connsiteX2461" fmla="*/ 4786241 w 9586368"/>
              <a:gd name="connsiteY2461" fmla="*/ 4804227 h 6479439"/>
              <a:gd name="connsiteX2462" fmla="*/ 4782224 w 9586368"/>
              <a:gd name="connsiteY2462" fmla="*/ 4800188 h 6479439"/>
              <a:gd name="connsiteX2463" fmla="*/ 4782224 w 9586368"/>
              <a:gd name="connsiteY2463" fmla="*/ 4790317 h 6479439"/>
              <a:gd name="connsiteX2464" fmla="*/ 4546929 w 9586368"/>
              <a:gd name="connsiteY2464" fmla="*/ 4786279 h 6479439"/>
              <a:gd name="connsiteX2465" fmla="*/ 4556840 w 9586368"/>
              <a:gd name="connsiteY2465" fmla="*/ 4786279 h 6479439"/>
              <a:gd name="connsiteX2466" fmla="*/ 4560859 w 9586368"/>
              <a:gd name="connsiteY2466" fmla="*/ 4790317 h 6479439"/>
              <a:gd name="connsiteX2467" fmla="*/ 4560859 w 9586368"/>
              <a:gd name="connsiteY2467" fmla="*/ 4800188 h 6479439"/>
              <a:gd name="connsiteX2468" fmla="*/ 4556840 w 9586368"/>
              <a:gd name="connsiteY2468" fmla="*/ 4804227 h 6479439"/>
              <a:gd name="connsiteX2469" fmla="*/ 4546929 w 9586368"/>
              <a:gd name="connsiteY2469" fmla="*/ 4804227 h 6479439"/>
              <a:gd name="connsiteX2470" fmla="*/ 4542910 w 9586368"/>
              <a:gd name="connsiteY2470" fmla="*/ 4800188 h 6479439"/>
              <a:gd name="connsiteX2471" fmla="*/ 4542910 w 9586368"/>
              <a:gd name="connsiteY2471" fmla="*/ 4790317 h 6479439"/>
              <a:gd name="connsiteX2472" fmla="*/ 4307612 w 9586368"/>
              <a:gd name="connsiteY2472" fmla="*/ 4786279 h 6479439"/>
              <a:gd name="connsiteX2473" fmla="*/ 4317523 w 9586368"/>
              <a:gd name="connsiteY2473" fmla="*/ 4786279 h 6479439"/>
              <a:gd name="connsiteX2474" fmla="*/ 4321543 w 9586368"/>
              <a:gd name="connsiteY2474" fmla="*/ 4790317 h 6479439"/>
              <a:gd name="connsiteX2475" fmla="*/ 4321543 w 9586368"/>
              <a:gd name="connsiteY2475" fmla="*/ 4800188 h 6479439"/>
              <a:gd name="connsiteX2476" fmla="*/ 4317523 w 9586368"/>
              <a:gd name="connsiteY2476" fmla="*/ 4804227 h 6479439"/>
              <a:gd name="connsiteX2477" fmla="*/ 4307612 w 9586368"/>
              <a:gd name="connsiteY2477" fmla="*/ 4804227 h 6479439"/>
              <a:gd name="connsiteX2478" fmla="*/ 4303595 w 9586368"/>
              <a:gd name="connsiteY2478" fmla="*/ 4800188 h 6479439"/>
              <a:gd name="connsiteX2479" fmla="*/ 4303595 w 9586368"/>
              <a:gd name="connsiteY2479" fmla="*/ 4790317 h 6479439"/>
              <a:gd name="connsiteX2480" fmla="*/ 4068297 w 9586368"/>
              <a:gd name="connsiteY2480" fmla="*/ 4786279 h 6479439"/>
              <a:gd name="connsiteX2481" fmla="*/ 4078210 w 9586368"/>
              <a:gd name="connsiteY2481" fmla="*/ 4786279 h 6479439"/>
              <a:gd name="connsiteX2482" fmla="*/ 4082229 w 9586368"/>
              <a:gd name="connsiteY2482" fmla="*/ 4790317 h 6479439"/>
              <a:gd name="connsiteX2483" fmla="*/ 4082229 w 9586368"/>
              <a:gd name="connsiteY2483" fmla="*/ 4800188 h 6479439"/>
              <a:gd name="connsiteX2484" fmla="*/ 4078210 w 9586368"/>
              <a:gd name="connsiteY2484" fmla="*/ 4804227 h 6479439"/>
              <a:gd name="connsiteX2485" fmla="*/ 4068297 w 9586368"/>
              <a:gd name="connsiteY2485" fmla="*/ 4804227 h 6479439"/>
              <a:gd name="connsiteX2486" fmla="*/ 4064278 w 9586368"/>
              <a:gd name="connsiteY2486" fmla="*/ 4800188 h 6479439"/>
              <a:gd name="connsiteX2487" fmla="*/ 4064278 w 9586368"/>
              <a:gd name="connsiteY2487" fmla="*/ 4790317 h 6479439"/>
              <a:gd name="connsiteX2488" fmla="*/ 3828990 w 9586368"/>
              <a:gd name="connsiteY2488" fmla="*/ 4786279 h 6479439"/>
              <a:gd name="connsiteX2489" fmla="*/ 3838899 w 9586368"/>
              <a:gd name="connsiteY2489" fmla="*/ 4786279 h 6479439"/>
              <a:gd name="connsiteX2490" fmla="*/ 3842917 w 9586368"/>
              <a:gd name="connsiteY2490" fmla="*/ 4790317 h 6479439"/>
              <a:gd name="connsiteX2491" fmla="*/ 3842917 w 9586368"/>
              <a:gd name="connsiteY2491" fmla="*/ 4800188 h 6479439"/>
              <a:gd name="connsiteX2492" fmla="*/ 3838899 w 9586368"/>
              <a:gd name="connsiteY2492" fmla="*/ 4804227 h 6479439"/>
              <a:gd name="connsiteX2493" fmla="*/ 3828990 w 9586368"/>
              <a:gd name="connsiteY2493" fmla="*/ 4804227 h 6479439"/>
              <a:gd name="connsiteX2494" fmla="*/ 3824971 w 9586368"/>
              <a:gd name="connsiteY2494" fmla="*/ 4800188 h 6479439"/>
              <a:gd name="connsiteX2495" fmla="*/ 3824971 w 9586368"/>
              <a:gd name="connsiteY2495" fmla="*/ 4790317 h 6479439"/>
              <a:gd name="connsiteX2496" fmla="*/ 3589676 w 9586368"/>
              <a:gd name="connsiteY2496" fmla="*/ 4786279 h 6479439"/>
              <a:gd name="connsiteX2497" fmla="*/ 3599585 w 9586368"/>
              <a:gd name="connsiteY2497" fmla="*/ 4786279 h 6479439"/>
              <a:gd name="connsiteX2498" fmla="*/ 3603604 w 9586368"/>
              <a:gd name="connsiteY2498" fmla="*/ 4790317 h 6479439"/>
              <a:gd name="connsiteX2499" fmla="*/ 3603604 w 9586368"/>
              <a:gd name="connsiteY2499" fmla="*/ 4800188 h 6479439"/>
              <a:gd name="connsiteX2500" fmla="*/ 3599585 w 9586368"/>
              <a:gd name="connsiteY2500" fmla="*/ 4804227 h 6479439"/>
              <a:gd name="connsiteX2501" fmla="*/ 3589676 w 9586368"/>
              <a:gd name="connsiteY2501" fmla="*/ 4804227 h 6479439"/>
              <a:gd name="connsiteX2502" fmla="*/ 3585657 w 9586368"/>
              <a:gd name="connsiteY2502" fmla="*/ 4800188 h 6479439"/>
              <a:gd name="connsiteX2503" fmla="*/ 3585657 w 9586368"/>
              <a:gd name="connsiteY2503" fmla="*/ 4790317 h 6479439"/>
              <a:gd name="connsiteX2504" fmla="*/ 3350359 w 9586368"/>
              <a:gd name="connsiteY2504" fmla="*/ 4786279 h 6479439"/>
              <a:gd name="connsiteX2505" fmla="*/ 3360268 w 9586368"/>
              <a:gd name="connsiteY2505" fmla="*/ 4786279 h 6479439"/>
              <a:gd name="connsiteX2506" fmla="*/ 3364287 w 9586368"/>
              <a:gd name="connsiteY2506" fmla="*/ 4790317 h 6479439"/>
              <a:gd name="connsiteX2507" fmla="*/ 3364287 w 9586368"/>
              <a:gd name="connsiteY2507" fmla="*/ 4800188 h 6479439"/>
              <a:gd name="connsiteX2508" fmla="*/ 3360268 w 9586368"/>
              <a:gd name="connsiteY2508" fmla="*/ 4804227 h 6479439"/>
              <a:gd name="connsiteX2509" fmla="*/ 3350359 w 9586368"/>
              <a:gd name="connsiteY2509" fmla="*/ 4804227 h 6479439"/>
              <a:gd name="connsiteX2510" fmla="*/ 3346340 w 9586368"/>
              <a:gd name="connsiteY2510" fmla="*/ 4800188 h 6479439"/>
              <a:gd name="connsiteX2511" fmla="*/ 3346340 w 9586368"/>
              <a:gd name="connsiteY2511" fmla="*/ 4790317 h 6479439"/>
              <a:gd name="connsiteX2512" fmla="*/ 3111048 w 9586368"/>
              <a:gd name="connsiteY2512" fmla="*/ 4786279 h 6479439"/>
              <a:gd name="connsiteX2513" fmla="*/ 3120959 w 9586368"/>
              <a:gd name="connsiteY2513" fmla="*/ 4786279 h 6479439"/>
              <a:gd name="connsiteX2514" fmla="*/ 3124977 w 9586368"/>
              <a:gd name="connsiteY2514" fmla="*/ 4790317 h 6479439"/>
              <a:gd name="connsiteX2515" fmla="*/ 3124977 w 9586368"/>
              <a:gd name="connsiteY2515" fmla="*/ 4800188 h 6479439"/>
              <a:gd name="connsiteX2516" fmla="*/ 3120959 w 9586368"/>
              <a:gd name="connsiteY2516" fmla="*/ 4804227 h 6479439"/>
              <a:gd name="connsiteX2517" fmla="*/ 3111048 w 9586368"/>
              <a:gd name="connsiteY2517" fmla="*/ 4804227 h 6479439"/>
              <a:gd name="connsiteX2518" fmla="*/ 3107029 w 9586368"/>
              <a:gd name="connsiteY2518" fmla="*/ 4800188 h 6479439"/>
              <a:gd name="connsiteX2519" fmla="*/ 3107029 w 9586368"/>
              <a:gd name="connsiteY2519" fmla="*/ 4790317 h 6479439"/>
              <a:gd name="connsiteX2520" fmla="*/ 2871737 w 9586368"/>
              <a:gd name="connsiteY2520" fmla="*/ 4786279 h 6479439"/>
              <a:gd name="connsiteX2521" fmla="*/ 2881646 w 9586368"/>
              <a:gd name="connsiteY2521" fmla="*/ 4786279 h 6479439"/>
              <a:gd name="connsiteX2522" fmla="*/ 2885666 w 9586368"/>
              <a:gd name="connsiteY2522" fmla="*/ 4790317 h 6479439"/>
              <a:gd name="connsiteX2523" fmla="*/ 2885666 w 9586368"/>
              <a:gd name="connsiteY2523" fmla="*/ 4800188 h 6479439"/>
              <a:gd name="connsiteX2524" fmla="*/ 2881646 w 9586368"/>
              <a:gd name="connsiteY2524" fmla="*/ 4804227 h 6479439"/>
              <a:gd name="connsiteX2525" fmla="*/ 2871737 w 9586368"/>
              <a:gd name="connsiteY2525" fmla="*/ 4804227 h 6479439"/>
              <a:gd name="connsiteX2526" fmla="*/ 2867717 w 9586368"/>
              <a:gd name="connsiteY2526" fmla="*/ 4800188 h 6479439"/>
              <a:gd name="connsiteX2527" fmla="*/ 2867717 w 9586368"/>
              <a:gd name="connsiteY2527" fmla="*/ 4790317 h 6479439"/>
              <a:gd name="connsiteX2528" fmla="*/ 2632423 w 9586368"/>
              <a:gd name="connsiteY2528" fmla="*/ 4786279 h 6479439"/>
              <a:gd name="connsiteX2529" fmla="*/ 2642334 w 9586368"/>
              <a:gd name="connsiteY2529" fmla="*/ 4786279 h 6479439"/>
              <a:gd name="connsiteX2530" fmla="*/ 2646352 w 9586368"/>
              <a:gd name="connsiteY2530" fmla="*/ 4790317 h 6479439"/>
              <a:gd name="connsiteX2531" fmla="*/ 2646352 w 9586368"/>
              <a:gd name="connsiteY2531" fmla="*/ 4800188 h 6479439"/>
              <a:gd name="connsiteX2532" fmla="*/ 2642334 w 9586368"/>
              <a:gd name="connsiteY2532" fmla="*/ 4804227 h 6479439"/>
              <a:gd name="connsiteX2533" fmla="*/ 2632423 w 9586368"/>
              <a:gd name="connsiteY2533" fmla="*/ 4804227 h 6479439"/>
              <a:gd name="connsiteX2534" fmla="*/ 2628404 w 9586368"/>
              <a:gd name="connsiteY2534" fmla="*/ 4800188 h 6479439"/>
              <a:gd name="connsiteX2535" fmla="*/ 2628404 w 9586368"/>
              <a:gd name="connsiteY2535" fmla="*/ 4790317 h 6479439"/>
              <a:gd name="connsiteX2536" fmla="*/ 2393104 w 9586368"/>
              <a:gd name="connsiteY2536" fmla="*/ 4786279 h 6479439"/>
              <a:gd name="connsiteX2537" fmla="*/ 2403015 w 9586368"/>
              <a:gd name="connsiteY2537" fmla="*/ 4786279 h 6479439"/>
              <a:gd name="connsiteX2538" fmla="*/ 2407034 w 9586368"/>
              <a:gd name="connsiteY2538" fmla="*/ 4790317 h 6479439"/>
              <a:gd name="connsiteX2539" fmla="*/ 2407034 w 9586368"/>
              <a:gd name="connsiteY2539" fmla="*/ 4800188 h 6479439"/>
              <a:gd name="connsiteX2540" fmla="*/ 2403015 w 9586368"/>
              <a:gd name="connsiteY2540" fmla="*/ 4804227 h 6479439"/>
              <a:gd name="connsiteX2541" fmla="*/ 2393104 w 9586368"/>
              <a:gd name="connsiteY2541" fmla="*/ 4804227 h 6479439"/>
              <a:gd name="connsiteX2542" fmla="*/ 2389087 w 9586368"/>
              <a:gd name="connsiteY2542" fmla="*/ 4800188 h 6479439"/>
              <a:gd name="connsiteX2543" fmla="*/ 2389087 w 9586368"/>
              <a:gd name="connsiteY2543" fmla="*/ 4790317 h 6479439"/>
              <a:gd name="connsiteX2544" fmla="*/ 2157819 w 9586368"/>
              <a:gd name="connsiteY2544" fmla="*/ 4786279 h 6479439"/>
              <a:gd name="connsiteX2545" fmla="*/ 2167729 w 9586368"/>
              <a:gd name="connsiteY2545" fmla="*/ 4786279 h 6479439"/>
              <a:gd name="connsiteX2546" fmla="*/ 2171748 w 9586368"/>
              <a:gd name="connsiteY2546" fmla="*/ 4790317 h 6479439"/>
              <a:gd name="connsiteX2547" fmla="*/ 2171748 w 9586368"/>
              <a:gd name="connsiteY2547" fmla="*/ 4800188 h 6479439"/>
              <a:gd name="connsiteX2548" fmla="*/ 2167729 w 9586368"/>
              <a:gd name="connsiteY2548" fmla="*/ 4804227 h 6479439"/>
              <a:gd name="connsiteX2549" fmla="*/ 2157819 w 9586368"/>
              <a:gd name="connsiteY2549" fmla="*/ 4804227 h 6479439"/>
              <a:gd name="connsiteX2550" fmla="*/ 2153800 w 9586368"/>
              <a:gd name="connsiteY2550" fmla="*/ 4800188 h 6479439"/>
              <a:gd name="connsiteX2551" fmla="*/ 2153800 w 9586368"/>
              <a:gd name="connsiteY2551" fmla="*/ 4790317 h 6479439"/>
              <a:gd name="connsiteX2552" fmla="*/ 1918510 w 9586368"/>
              <a:gd name="connsiteY2552" fmla="*/ 4786279 h 6479439"/>
              <a:gd name="connsiteX2553" fmla="*/ 1928420 w 9586368"/>
              <a:gd name="connsiteY2553" fmla="*/ 4786279 h 6479439"/>
              <a:gd name="connsiteX2554" fmla="*/ 1932440 w 9586368"/>
              <a:gd name="connsiteY2554" fmla="*/ 4790317 h 6479439"/>
              <a:gd name="connsiteX2555" fmla="*/ 1932440 w 9586368"/>
              <a:gd name="connsiteY2555" fmla="*/ 4800188 h 6479439"/>
              <a:gd name="connsiteX2556" fmla="*/ 1928420 w 9586368"/>
              <a:gd name="connsiteY2556" fmla="*/ 4804227 h 6479439"/>
              <a:gd name="connsiteX2557" fmla="*/ 1918510 w 9586368"/>
              <a:gd name="connsiteY2557" fmla="*/ 4804227 h 6479439"/>
              <a:gd name="connsiteX2558" fmla="*/ 1914492 w 9586368"/>
              <a:gd name="connsiteY2558" fmla="*/ 4800188 h 6479439"/>
              <a:gd name="connsiteX2559" fmla="*/ 1914492 w 9586368"/>
              <a:gd name="connsiteY2559" fmla="*/ 4790317 h 6479439"/>
              <a:gd name="connsiteX2560" fmla="*/ 1679205 w 9586368"/>
              <a:gd name="connsiteY2560" fmla="*/ 4786279 h 6479439"/>
              <a:gd name="connsiteX2561" fmla="*/ 1689115 w 9586368"/>
              <a:gd name="connsiteY2561" fmla="*/ 4786279 h 6479439"/>
              <a:gd name="connsiteX2562" fmla="*/ 1693134 w 9586368"/>
              <a:gd name="connsiteY2562" fmla="*/ 4790317 h 6479439"/>
              <a:gd name="connsiteX2563" fmla="*/ 1693134 w 9586368"/>
              <a:gd name="connsiteY2563" fmla="*/ 4800188 h 6479439"/>
              <a:gd name="connsiteX2564" fmla="*/ 1689115 w 9586368"/>
              <a:gd name="connsiteY2564" fmla="*/ 4804227 h 6479439"/>
              <a:gd name="connsiteX2565" fmla="*/ 1679205 w 9586368"/>
              <a:gd name="connsiteY2565" fmla="*/ 4804227 h 6479439"/>
              <a:gd name="connsiteX2566" fmla="*/ 1675187 w 9586368"/>
              <a:gd name="connsiteY2566" fmla="*/ 4800188 h 6479439"/>
              <a:gd name="connsiteX2567" fmla="*/ 1675187 w 9586368"/>
              <a:gd name="connsiteY2567" fmla="*/ 4790317 h 6479439"/>
              <a:gd name="connsiteX2568" fmla="*/ 1439890 w 9586368"/>
              <a:gd name="connsiteY2568" fmla="*/ 4786279 h 6479439"/>
              <a:gd name="connsiteX2569" fmla="*/ 1449800 w 9586368"/>
              <a:gd name="connsiteY2569" fmla="*/ 4786279 h 6479439"/>
              <a:gd name="connsiteX2570" fmla="*/ 1453818 w 9586368"/>
              <a:gd name="connsiteY2570" fmla="*/ 4790317 h 6479439"/>
              <a:gd name="connsiteX2571" fmla="*/ 1453818 w 9586368"/>
              <a:gd name="connsiteY2571" fmla="*/ 4800188 h 6479439"/>
              <a:gd name="connsiteX2572" fmla="*/ 1449800 w 9586368"/>
              <a:gd name="connsiteY2572" fmla="*/ 4804227 h 6479439"/>
              <a:gd name="connsiteX2573" fmla="*/ 1439890 w 9586368"/>
              <a:gd name="connsiteY2573" fmla="*/ 4804227 h 6479439"/>
              <a:gd name="connsiteX2574" fmla="*/ 1435870 w 9586368"/>
              <a:gd name="connsiteY2574" fmla="*/ 4800188 h 6479439"/>
              <a:gd name="connsiteX2575" fmla="*/ 1435870 w 9586368"/>
              <a:gd name="connsiteY2575" fmla="*/ 4790317 h 6479439"/>
              <a:gd name="connsiteX2576" fmla="*/ 1200574 w 9586368"/>
              <a:gd name="connsiteY2576" fmla="*/ 4786279 h 6479439"/>
              <a:gd name="connsiteX2577" fmla="*/ 1210484 w 9586368"/>
              <a:gd name="connsiteY2577" fmla="*/ 4786279 h 6479439"/>
              <a:gd name="connsiteX2578" fmla="*/ 1214503 w 9586368"/>
              <a:gd name="connsiteY2578" fmla="*/ 4790317 h 6479439"/>
              <a:gd name="connsiteX2579" fmla="*/ 1214503 w 9586368"/>
              <a:gd name="connsiteY2579" fmla="*/ 4800188 h 6479439"/>
              <a:gd name="connsiteX2580" fmla="*/ 1210484 w 9586368"/>
              <a:gd name="connsiteY2580" fmla="*/ 4804227 h 6479439"/>
              <a:gd name="connsiteX2581" fmla="*/ 1200574 w 9586368"/>
              <a:gd name="connsiteY2581" fmla="*/ 4804227 h 6479439"/>
              <a:gd name="connsiteX2582" fmla="*/ 1196555 w 9586368"/>
              <a:gd name="connsiteY2582" fmla="*/ 4800188 h 6479439"/>
              <a:gd name="connsiteX2583" fmla="*/ 1196555 w 9586368"/>
              <a:gd name="connsiteY2583" fmla="*/ 4790317 h 6479439"/>
              <a:gd name="connsiteX2584" fmla="*/ 961262 w 9586368"/>
              <a:gd name="connsiteY2584" fmla="*/ 4786279 h 6479439"/>
              <a:gd name="connsiteX2585" fmla="*/ 971172 w 9586368"/>
              <a:gd name="connsiteY2585" fmla="*/ 4786279 h 6479439"/>
              <a:gd name="connsiteX2586" fmla="*/ 975190 w 9586368"/>
              <a:gd name="connsiteY2586" fmla="*/ 4790317 h 6479439"/>
              <a:gd name="connsiteX2587" fmla="*/ 975190 w 9586368"/>
              <a:gd name="connsiteY2587" fmla="*/ 4800188 h 6479439"/>
              <a:gd name="connsiteX2588" fmla="*/ 971172 w 9586368"/>
              <a:gd name="connsiteY2588" fmla="*/ 4804227 h 6479439"/>
              <a:gd name="connsiteX2589" fmla="*/ 961262 w 9586368"/>
              <a:gd name="connsiteY2589" fmla="*/ 4804227 h 6479439"/>
              <a:gd name="connsiteX2590" fmla="*/ 957242 w 9586368"/>
              <a:gd name="connsiteY2590" fmla="*/ 4800188 h 6479439"/>
              <a:gd name="connsiteX2591" fmla="*/ 957242 w 9586368"/>
              <a:gd name="connsiteY2591" fmla="*/ 4790317 h 6479439"/>
              <a:gd name="connsiteX2592" fmla="*/ 721963 w 9586368"/>
              <a:gd name="connsiteY2592" fmla="*/ 4786279 h 6479439"/>
              <a:gd name="connsiteX2593" fmla="*/ 731873 w 9586368"/>
              <a:gd name="connsiteY2593" fmla="*/ 4786279 h 6479439"/>
              <a:gd name="connsiteX2594" fmla="*/ 735892 w 9586368"/>
              <a:gd name="connsiteY2594" fmla="*/ 4790317 h 6479439"/>
              <a:gd name="connsiteX2595" fmla="*/ 735892 w 9586368"/>
              <a:gd name="connsiteY2595" fmla="*/ 4800188 h 6479439"/>
              <a:gd name="connsiteX2596" fmla="*/ 731873 w 9586368"/>
              <a:gd name="connsiteY2596" fmla="*/ 4804227 h 6479439"/>
              <a:gd name="connsiteX2597" fmla="*/ 721963 w 9586368"/>
              <a:gd name="connsiteY2597" fmla="*/ 4804227 h 6479439"/>
              <a:gd name="connsiteX2598" fmla="*/ 717944 w 9586368"/>
              <a:gd name="connsiteY2598" fmla="*/ 4800188 h 6479439"/>
              <a:gd name="connsiteX2599" fmla="*/ 717944 w 9586368"/>
              <a:gd name="connsiteY2599" fmla="*/ 4790317 h 6479439"/>
              <a:gd name="connsiteX2600" fmla="*/ 482651 w 9586368"/>
              <a:gd name="connsiteY2600" fmla="*/ 4786279 h 6479439"/>
              <a:gd name="connsiteX2601" fmla="*/ 492561 w 9586368"/>
              <a:gd name="connsiteY2601" fmla="*/ 4786279 h 6479439"/>
              <a:gd name="connsiteX2602" fmla="*/ 496580 w 9586368"/>
              <a:gd name="connsiteY2602" fmla="*/ 4790317 h 6479439"/>
              <a:gd name="connsiteX2603" fmla="*/ 496580 w 9586368"/>
              <a:gd name="connsiteY2603" fmla="*/ 4800188 h 6479439"/>
              <a:gd name="connsiteX2604" fmla="*/ 492561 w 9586368"/>
              <a:gd name="connsiteY2604" fmla="*/ 4804227 h 6479439"/>
              <a:gd name="connsiteX2605" fmla="*/ 482651 w 9586368"/>
              <a:gd name="connsiteY2605" fmla="*/ 4804227 h 6479439"/>
              <a:gd name="connsiteX2606" fmla="*/ 478632 w 9586368"/>
              <a:gd name="connsiteY2606" fmla="*/ 4800188 h 6479439"/>
              <a:gd name="connsiteX2607" fmla="*/ 478632 w 9586368"/>
              <a:gd name="connsiteY2607" fmla="*/ 4790317 h 6479439"/>
              <a:gd name="connsiteX2608" fmla="*/ 243338 w 9586368"/>
              <a:gd name="connsiteY2608" fmla="*/ 4786279 h 6479439"/>
              <a:gd name="connsiteX2609" fmla="*/ 253247 w 9586368"/>
              <a:gd name="connsiteY2609" fmla="*/ 4786279 h 6479439"/>
              <a:gd name="connsiteX2610" fmla="*/ 257266 w 9586368"/>
              <a:gd name="connsiteY2610" fmla="*/ 4790317 h 6479439"/>
              <a:gd name="connsiteX2611" fmla="*/ 257266 w 9586368"/>
              <a:gd name="connsiteY2611" fmla="*/ 4800188 h 6479439"/>
              <a:gd name="connsiteX2612" fmla="*/ 253247 w 9586368"/>
              <a:gd name="connsiteY2612" fmla="*/ 4804227 h 6479439"/>
              <a:gd name="connsiteX2613" fmla="*/ 243338 w 9586368"/>
              <a:gd name="connsiteY2613" fmla="*/ 4804227 h 6479439"/>
              <a:gd name="connsiteX2614" fmla="*/ 239318 w 9586368"/>
              <a:gd name="connsiteY2614" fmla="*/ 4800188 h 6479439"/>
              <a:gd name="connsiteX2615" fmla="*/ 239318 w 9586368"/>
              <a:gd name="connsiteY2615" fmla="*/ 4790317 h 6479439"/>
              <a:gd name="connsiteX2616" fmla="*/ 4024 w 9586368"/>
              <a:gd name="connsiteY2616" fmla="*/ 4786279 h 6479439"/>
              <a:gd name="connsiteX2617" fmla="*/ 13934 w 9586368"/>
              <a:gd name="connsiteY2617" fmla="*/ 4786279 h 6479439"/>
              <a:gd name="connsiteX2618" fmla="*/ 17954 w 9586368"/>
              <a:gd name="connsiteY2618" fmla="*/ 4790317 h 6479439"/>
              <a:gd name="connsiteX2619" fmla="*/ 17954 w 9586368"/>
              <a:gd name="connsiteY2619" fmla="*/ 4800188 h 6479439"/>
              <a:gd name="connsiteX2620" fmla="*/ 13934 w 9586368"/>
              <a:gd name="connsiteY2620" fmla="*/ 4804227 h 6479439"/>
              <a:gd name="connsiteX2621" fmla="*/ 4024 w 9586368"/>
              <a:gd name="connsiteY2621" fmla="*/ 4804227 h 6479439"/>
              <a:gd name="connsiteX2622" fmla="*/ 5 w 9586368"/>
              <a:gd name="connsiteY2622" fmla="*/ 4800188 h 6479439"/>
              <a:gd name="connsiteX2623" fmla="*/ 5 w 9586368"/>
              <a:gd name="connsiteY2623" fmla="*/ 4790317 h 6479439"/>
              <a:gd name="connsiteX2624" fmla="*/ 2157819 w 9586368"/>
              <a:gd name="connsiteY2624" fmla="*/ 4546999 h 6479439"/>
              <a:gd name="connsiteX2625" fmla="*/ 2167729 w 9586368"/>
              <a:gd name="connsiteY2625" fmla="*/ 4546999 h 6479439"/>
              <a:gd name="connsiteX2626" fmla="*/ 2171748 w 9586368"/>
              <a:gd name="connsiteY2626" fmla="*/ 4551038 h 6479439"/>
              <a:gd name="connsiteX2627" fmla="*/ 2171748 w 9586368"/>
              <a:gd name="connsiteY2627" fmla="*/ 4560909 h 6479439"/>
              <a:gd name="connsiteX2628" fmla="*/ 2167729 w 9586368"/>
              <a:gd name="connsiteY2628" fmla="*/ 4564948 h 6479439"/>
              <a:gd name="connsiteX2629" fmla="*/ 2157819 w 9586368"/>
              <a:gd name="connsiteY2629" fmla="*/ 4564948 h 6479439"/>
              <a:gd name="connsiteX2630" fmla="*/ 2153801 w 9586368"/>
              <a:gd name="connsiteY2630" fmla="*/ 4560909 h 6479439"/>
              <a:gd name="connsiteX2631" fmla="*/ 2153801 w 9586368"/>
              <a:gd name="connsiteY2631" fmla="*/ 4551038 h 6479439"/>
              <a:gd name="connsiteX2632" fmla="*/ 1918510 w 9586368"/>
              <a:gd name="connsiteY2632" fmla="*/ 4546999 h 6479439"/>
              <a:gd name="connsiteX2633" fmla="*/ 1928421 w 9586368"/>
              <a:gd name="connsiteY2633" fmla="*/ 4546999 h 6479439"/>
              <a:gd name="connsiteX2634" fmla="*/ 1932440 w 9586368"/>
              <a:gd name="connsiteY2634" fmla="*/ 4551038 h 6479439"/>
              <a:gd name="connsiteX2635" fmla="*/ 1932440 w 9586368"/>
              <a:gd name="connsiteY2635" fmla="*/ 4560909 h 6479439"/>
              <a:gd name="connsiteX2636" fmla="*/ 1928421 w 9586368"/>
              <a:gd name="connsiteY2636" fmla="*/ 4564948 h 6479439"/>
              <a:gd name="connsiteX2637" fmla="*/ 1918510 w 9586368"/>
              <a:gd name="connsiteY2637" fmla="*/ 4564948 h 6479439"/>
              <a:gd name="connsiteX2638" fmla="*/ 1914492 w 9586368"/>
              <a:gd name="connsiteY2638" fmla="*/ 4560909 h 6479439"/>
              <a:gd name="connsiteX2639" fmla="*/ 1914492 w 9586368"/>
              <a:gd name="connsiteY2639" fmla="*/ 4551038 h 6479439"/>
              <a:gd name="connsiteX2640" fmla="*/ 1679206 w 9586368"/>
              <a:gd name="connsiteY2640" fmla="*/ 4546999 h 6479439"/>
              <a:gd name="connsiteX2641" fmla="*/ 1689116 w 9586368"/>
              <a:gd name="connsiteY2641" fmla="*/ 4546999 h 6479439"/>
              <a:gd name="connsiteX2642" fmla="*/ 1693134 w 9586368"/>
              <a:gd name="connsiteY2642" fmla="*/ 4551038 h 6479439"/>
              <a:gd name="connsiteX2643" fmla="*/ 1693134 w 9586368"/>
              <a:gd name="connsiteY2643" fmla="*/ 4560909 h 6479439"/>
              <a:gd name="connsiteX2644" fmla="*/ 1689116 w 9586368"/>
              <a:gd name="connsiteY2644" fmla="*/ 4564948 h 6479439"/>
              <a:gd name="connsiteX2645" fmla="*/ 1679206 w 9586368"/>
              <a:gd name="connsiteY2645" fmla="*/ 4564948 h 6479439"/>
              <a:gd name="connsiteX2646" fmla="*/ 1675187 w 9586368"/>
              <a:gd name="connsiteY2646" fmla="*/ 4560909 h 6479439"/>
              <a:gd name="connsiteX2647" fmla="*/ 1675187 w 9586368"/>
              <a:gd name="connsiteY2647" fmla="*/ 4551038 h 6479439"/>
              <a:gd name="connsiteX2648" fmla="*/ 1439890 w 9586368"/>
              <a:gd name="connsiteY2648" fmla="*/ 4546999 h 6479439"/>
              <a:gd name="connsiteX2649" fmla="*/ 1449800 w 9586368"/>
              <a:gd name="connsiteY2649" fmla="*/ 4546999 h 6479439"/>
              <a:gd name="connsiteX2650" fmla="*/ 1453819 w 9586368"/>
              <a:gd name="connsiteY2650" fmla="*/ 4551038 h 6479439"/>
              <a:gd name="connsiteX2651" fmla="*/ 1453819 w 9586368"/>
              <a:gd name="connsiteY2651" fmla="*/ 4560909 h 6479439"/>
              <a:gd name="connsiteX2652" fmla="*/ 1449800 w 9586368"/>
              <a:gd name="connsiteY2652" fmla="*/ 4564948 h 6479439"/>
              <a:gd name="connsiteX2653" fmla="*/ 1439890 w 9586368"/>
              <a:gd name="connsiteY2653" fmla="*/ 4564948 h 6479439"/>
              <a:gd name="connsiteX2654" fmla="*/ 1435871 w 9586368"/>
              <a:gd name="connsiteY2654" fmla="*/ 4560909 h 6479439"/>
              <a:gd name="connsiteX2655" fmla="*/ 1435871 w 9586368"/>
              <a:gd name="connsiteY2655" fmla="*/ 4551038 h 6479439"/>
              <a:gd name="connsiteX2656" fmla="*/ 1200575 w 9586368"/>
              <a:gd name="connsiteY2656" fmla="*/ 4546999 h 6479439"/>
              <a:gd name="connsiteX2657" fmla="*/ 1210485 w 9586368"/>
              <a:gd name="connsiteY2657" fmla="*/ 4546999 h 6479439"/>
              <a:gd name="connsiteX2658" fmla="*/ 1214504 w 9586368"/>
              <a:gd name="connsiteY2658" fmla="*/ 4551038 h 6479439"/>
              <a:gd name="connsiteX2659" fmla="*/ 1214504 w 9586368"/>
              <a:gd name="connsiteY2659" fmla="*/ 4560909 h 6479439"/>
              <a:gd name="connsiteX2660" fmla="*/ 1210485 w 9586368"/>
              <a:gd name="connsiteY2660" fmla="*/ 4564948 h 6479439"/>
              <a:gd name="connsiteX2661" fmla="*/ 1200575 w 9586368"/>
              <a:gd name="connsiteY2661" fmla="*/ 4564948 h 6479439"/>
              <a:gd name="connsiteX2662" fmla="*/ 1196556 w 9586368"/>
              <a:gd name="connsiteY2662" fmla="*/ 4560909 h 6479439"/>
              <a:gd name="connsiteX2663" fmla="*/ 1196556 w 9586368"/>
              <a:gd name="connsiteY2663" fmla="*/ 4551038 h 6479439"/>
              <a:gd name="connsiteX2664" fmla="*/ 961262 w 9586368"/>
              <a:gd name="connsiteY2664" fmla="*/ 4546999 h 6479439"/>
              <a:gd name="connsiteX2665" fmla="*/ 971172 w 9586368"/>
              <a:gd name="connsiteY2665" fmla="*/ 4546999 h 6479439"/>
              <a:gd name="connsiteX2666" fmla="*/ 975191 w 9586368"/>
              <a:gd name="connsiteY2666" fmla="*/ 4551038 h 6479439"/>
              <a:gd name="connsiteX2667" fmla="*/ 975191 w 9586368"/>
              <a:gd name="connsiteY2667" fmla="*/ 4560909 h 6479439"/>
              <a:gd name="connsiteX2668" fmla="*/ 971172 w 9586368"/>
              <a:gd name="connsiteY2668" fmla="*/ 4564948 h 6479439"/>
              <a:gd name="connsiteX2669" fmla="*/ 961262 w 9586368"/>
              <a:gd name="connsiteY2669" fmla="*/ 4564948 h 6479439"/>
              <a:gd name="connsiteX2670" fmla="*/ 957243 w 9586368"/>
              <a:gd name="connsiteY2670" fmla="*/ 4560909 h 6479439"/>
              <a:gd name="connsiteX2671" fmla="*/ 957243 w 9586368"/>
              <a:gd name="connsiteY2671" fmla="*/ 4551038 h 6479439"/>
              <a:gd name="connsiteX2672" fmla="*/ 9572438 w 9586368"/>
              <a:gd name="connsiteY2672" fmla="*/ 4546948 h 6479439"/>
              <a:gd name="connsiteX2673" fmla="*/ 9582349 w 9586368"/>
              <a:gd name="connsiteY2673" fmla="*/ 4546948 h 6479439"/>
              <a:gd name="connsiteX2674" fmla="*/ 9586368 w 9586368"/>
              <a:gd name="connsiteY2674" fmla="*/ 4550987 h 6479439"/>
              <a:gd name="connsiteX2675" fmla="*/ 9586368 w 9586368"/>
              <a:gd name="connsiteY2675" fmla="*/ 4560858 h 6479439"/>
              <a:gd name="connsiteX2676" fmla="*/ 9582349 w 9586368"/>
              <a:gd name="connsiteY2676" fmla="*/ 4564897 h 6479439"/>
              <a:gd name="connsiteX2677" fmla="*/ 9572438 w 9586368"/>
              <a:gd name="connsiteY2677" fmla="*/ 4564897 h 6479439"/>
              <a:gd name="connsiteX2678" fmla="*/ 9568419 w 9586368"/>
              <a:gd name="connsiteY2678" fmla="*/ 4560858 h 6479439"/>
              <a:gd name="connsiteX2679" fmla="*/ 9568419 w 9586368"/>
              <a:gd name="connsiteY2679" fmla="*/ 4550987 h 6479439"/>
              <a:gd name="connsiteX2680" fmla="*/ 9333125 w 9586368"/>
              <a:gd name="connsiteY2680" fmla="*/ 4546948 h 6479439"/>
              <a:gd name="connsiteX2681" fmla="*/ 9343036 w 9586368"/>
              <a:gd name="connsiteY2681" fmla="*/ 4546948 h 6479439"/>
              <a:gd name="connsiteX2682" fmla="*/ 9347055 w 9586368"/>
              <a:gd name="connsiteY2682" fmla="*/ 4550987 h 6479439"/>
              <a:gd name="connsiteX2683" fmla="*/ 9347055 w 9586368"/>
              <a:gd name="connsiteY2683" fmla="*/ 4560858 h 6479439"/>
              <a:gd name="connsiteX2684" fmla="*/ 9343036 w 9586368"/>
              <a:gd name="connsiteY2684" fmla="*/ 4564897 h 6479439"/>
              <a:gd name="connsiteX2685" fmla="*/ 9333125 w 9586368"/>
              <a:gd name="connsiteY2685" fmla="*/ 4564897 h 6479439"/>
              <a:gd name="connsiteX2686" fmla="*/ 9329106 w 9586368"/>
              <a:gd name="connsiteY2686" fmla="*/ 4560858 h 6479439"/>
              <a:gd name="connsiteX2687" fmla="*/ 9329106 w 9586368"/>
              <a:gd name="connsiteY2687" fmla="*/ 4550987 h 6479439"/>
              <a:gd name="connsiteX2688" fmla="*/ 9093811 w 9586368"/>
              <a:gd name="connsiteY2688" fmla="*/ 4546948 h 6479439"/>
              <a:gd name="connsiteX2689" fmla="*/ 9103722 w 9586368"/>
              <a:gd name="connsiteY2689" fmla="*/ 4546948 h 6479439"/>
              <a:gd name="connsiteX2690" fmla="*/ 9107741 w 9586368"/>
              <a:gd name="connsiteY2690" fmla="*/ 4550987 h 6479439"/>
              <a:gd name="connsiteX2691" fmla="*/ 9107741 w 9586368"/>
              <a:gd name="connsiteY2691" fmla="*/ 4560858 h 6479439"/>
              <a:gd name="connsiteX2692" fmla="*/ 9103722 w 9586368"/>
              <a:gd name="connsiteY2692" fmla="*/ 4564897 h 6479439"/>
              <a:gd name="connsiteX2693" fmla="*/ 9093811 w 9586368"/>
              <a:gd name="connsiteY2693" fmla="*/ 4564897 h 6479439"/>
              <a:gd name="connsiteX2694" fmla="*/ 9089792 w 9586368"/>
              <a:gd name="connsiteY2694" fmla="*/ 4560858 h 6479439"/>
              <a:gd name="connsiteX2695" fmla="*/ 9089792 w 9586368"/>
              <a:gd name="connsiteY2695" fmla="*/ 4550987 h 6479439"/>
              <a:gd name="connsiteX2696" fmla="*/ 8854496 w 9586368"/>
              <a:gd name="connsiteY2696" fmla="*/ 4546948 h 6479439"/>
              <a:gd name="connsiteX2697" fmla="*/ 8864407 w 9586368"/>
              <a:gd name="connsiteY2697" fmla="*/ 4546948 h 6479439"/>
              <a:gd name="connsiteX2698" fmla="*/ 8868426 w 9586368"/>
              <a:gd name="connsiteY2698" fmla="*/ 4550987 h 6479439"/>
              <a:gd name="connsiteX2699" fmla="*/ 8868426 w 9586368"/>
              <a:gd name="connsiteY2699" fmla="*/ 4560858 h 6479439"/>
              <a:gd name="connsiteX2700" fmla="*/ 8864407 w 9586368"/>
              <a:gd name="connsiteY2700" fmla="*/ 4564897 h 6479439"/>
              <a:gd name="connsiteX2701" fmla="*/ 8854496 w 9586368"/>
              <a:gd name="connsiteY2701" fmla="*/ 4564897 h 6479439"/>
              <a:gd name="connsiteX2702" fmla="*/ 8850477 w 9586368"/>
              <a:gd name="connsiteY2702" fmla="*/ 4560858 h 6479439"/>
              <a:gd name="connsiteX2703" fmla="*/ 8850477 w 9586368"/>
              <a:gd name="connsiteY2703" fmla="*/ 4550987 h 6479439"/>
              <a:gd name="connsiteX2704" fmla="*/ 8615184 w 9586368"/>
              <a:gd name="connsiteY2704" fmla="*/ 4546948 h 6479439"/>
              <a:gd name="connsiteX2705" fmla="*/ 8625095 w 9586368"/>
              <a:gd name="connsiteY2705" fmla="*/ 4546948 h 6479439"/>
              <a:gd name="connsiteX2706" fmla="*/ 8629114 w 9586368"/>
              <a:gd name="connsiteY2706" fmla="*/ 4550987 h 6479439"/>
              <a:gd name="connsiteX2707" fmla="*/ 8629114 w 9586368"/>
              <a:gd name="connsiteY2707" fmla="*/ 4560858 h 6479439"/>
              <a:gd name="connsiteX2708" fmla="*/ 8625095 w 9586368"/>
              <a:gd name="connsiteY2708" fmla="*/ 4564897 h 6479439"/>
              <a:gd name="connsiteX2709" fmla="*/ 8615184 w 9586368"/>
              <a:gd name="connsiteY2709" fmla="*/ 4564897 h 6479439"/>
              <a:gd name="connsiteX2710" fmla="*/ 8611165 w 9586368"/>
              <a:gd name="connsiteY2710" fmla="*/ 4560858 h 6479439"/>
              <a:gd name="connsiteX2711" fmla="*/ 8611165 w 9586368"/>
              <a:gd name="connsiteY2711" fmla="*/ 4550987 h 6479439"/>
              <a:gd name="connsiteX2712" fmla="*/ 8375869 w 9586368"/>
              <a:gd name="connsiteY2712" fmla="*/ 4546948 h 6479439"/>
              <a:gd name="connsiteX2713" fmla="*/ 8385779 w 9586368"/>
              <a:gd name="connsiteY2713" fmla="*/ 4546948 h 6479439"/>
              <a:gd name="connsiteX2714" fmla="*/ 8389799 w 9586368"/>
              <a:gd name="connsiteY2714" fmla="*/ 4550987 h 6479439"/>
              <a:gd name="connsiteX2715" fmla="*/ 8389799 w 9586368"/>
              <a:gd name="connsiteY2715" fmla="*/ 4560858 h 6479439"/>
              <a:gd name="connsiteX2716" fmla="*/ 8385779 w 9586368"/>
              <a:gd name="connsiteY2716" fmla="*/ 4564897 h 6479439"/>
              <a:gd name="connsiteX2717" fmla="*/ 8375869 w 9586368"/>
              <a:gd name="connsiteY2717" fmla="*/ 4564897 h 6479439"/>
              <a:gd name="connsiteX2718" fmla="*/ 8371850 w 9586368"/>
              <a:gd name="connsiteY2718" fmla="*/ 4560858 h 6479439"/>
              <a:gd name="connsiteX2719" fmla="*/ 8371850 w 9586368"/>
              <a:gd name="connsiteY2719" fmla="*/ 4550987 h 6479439"/>
              <a:gd name="connsiteX2720" fmla="*/ 8136553 w 9586368"/>
              <a:gd name="connsiteY2720" fmla="*/ 4546948 h 6479439"/>
              <a:gd name="connsiteX2721" fmla="*/ 8146464 w 9586368"/>
              <a:gd name="connsiteY2721" fmla="*/ 4546948 h 6479439"/>
              <a:gd name="connsiteX2722" fmla="*/ 8150483 w 9586368"/>
              <a:gd name="connsiteY2722" fmla="*/ 4550987 h 6479439"/>
              <a:gd name="connsiteX2723" fmla="*/ 8150483 w 9586368"/>
              <a:gd name="connsiteY2723" fmla="*/ 4560858 h 6479439"/>
              <a:gd name="connsiteX2724" fmla="*/ 8146464 w 9586368"/>
              <a:gd name="connsiteY2724" fmla="*/ 4564897 h 6479439"/>
              <a:gd name="connsiteX2725" fmla="*/ 8136553 w 9586368"/>
              <a:gd name="connsiteY2725" fmla="*/ 4564897 h 6479439"/>
              <a:gd name="connsiteX2726" fmla="*/ 8132534 w 9586368"/>
              <a:gd name="connsiteY2726" fmla="*/ 4560858 h 6479439"/>
              <a:gd name="connsiteX2727" fmla="*/ 8132534 w 9586368"/>
              <a:gd name="connsiteY2727" fmla="*/ 4550987 h 6479439"/>
              <a:gd name="connsiteX2728" fmla="*/ 7897241 w 9586368"/>
              <a:gd name="connsiteY2728" fmla="*/ 4546948 h 6479439"/>
              <a:gd name="connsiteX2729" fmla="*/ 7907151 w 9586368"/>
              <a:gd name="connsiteY2729" fmla="*/ 4546948 h 6479439"/>
              <a:gd name="connsiteX2730" fmla="*/ 7911170 w 9586368"/>
              <a:gd name="connsiteY2730" fmla="*/ 4550987 h 6479439"/>
              <a:gd name="connsiteX2731" fmla="*/ 7911170 w 9586368"/>
              <a:gd name="connsiteY2731" fmla="*/ 4560858 h 6479439"/>
              <a:gd name="connsiteX2732" fmla="*/ 7907151 w 9586368"/>
              <a:gd name="connsiteY2732" fmla="*/ 4564897 h 6479439"/>
              <a:gd name="connsiteX2733" fmla="*/ 7897241 w 9586368"/>
              <a:gd name="connsiteY2733" fmla="*/ 4564897 h 6479439"/>
              <a:gd name="connsiteX2734" fmla="*/ 7893222 w 9586368"/>
              <a:gd name="connsiteY2734" fmla="*/ 4560858 h 6479439"/>
              <a:gd name="connsiteX2735" fmla="*/ 7893222 w 9586368"/>
              <a:gd name="connsiteY2735" fmla="*/ 4550987 h 6479439"/>
              <a:gd name="connsiteX2736" fmla="*/ 7657926 w 9586368"/>
              <a:gd name="connsiteY2736" fmla="*/ 4546948 h 6479439"/>
              <a:gd name="connsiteX2737" fmla="*/ 7667836 w 9586368"/>
              <a:gd name="connsiteY2737" fmla="*/ 4546948 h 6479439"/>
              <a:gd name="connsiteX2738" fmla="*/ 7671855 w 9586368"/>
              <a:gd name="connsiteY2738" fmla="*/ 4550987 h 6479439"/>
              <a:gd name="connsiteX2739" fmla="*/ 7671855 w 9586368"/>
              <a:gd name="connsiteY2739" fmla="*/ 4560858 h 6479439"/>
              <a:gd name="connsiteX2740" fmla="*/ 7667836 w 9586368"/>
              <a:gd name="connsiteY2740" fmla="*/ 4564897 h 6479439"/>
              <a:gd name="connsiteX2741" fmla="*/ 7657926 w 9586368"/>
              <a:gd name="connsiteY2741" fmla="*/ 4564897 h 6479439"/>
              <a:gd name="connsiteX2742" fmla="*/ 7653906 w 9586368"/>
              <a:gd name="connsiteY2742" fmla="*/ 4560858 h 6479439"/>
              <a:gd name="connsiteX2743" fmla="*/ 7653906 w 9586368"/>
              <a:gd name="connsiteY2743" fmla="*/ 4550987 h 6479439"/>
              <a:gd name="connsiteX2744" fmla="*/ 7418611 w 9586368"/>
              <a:gd name="connsiteY2744" fmla="*/ 4546948 h 6479439"/>
              <a:gd name="connsiteX2745" fmla="*/ 7428521 w 9586368"/>
              <a:gd name="connsiteY2745" fmla="*/ 4546948 h 6479439"/>
              <a:gd name="connsiteX2746" fmla="*/ 7432540 w 9586368"/>
              <a:gd name="connsiteY2746" fmla="*/ 4550987 h 6479439"/>
              <a:gd name="connsiteX2747" fmla="*/ 7432540 w 9586368"/>
              <a:gd name="connsiteY2747" fmla="*/ 4560858 h 6479439"/>
              <a:gd name="connsiteX2748" fmla="*/ 7428521 w 9586368"/>
              <a:gd name="connsiteY2748" fmla="*/ 4564897 h 6479439"/>
              <a:gd name="connsiteX2749" fmla="*/ 7418611 w 9586368"/>
              <a:gd name="connsiteY2749" fmla="*/ 4564897 h 6479439"/>
              <a:gd name="connsiteX2750" fmla="*/ 7414592 w 9586368"/>
              <a:gd name="connsiteY2750" fmla="*/ 4560858 h 6479439"/>
              <a:gd name="connsiteX2751" fmla="*/ 7414592 w 9586368"/>
              <a:gd name="connsiteY2751" fmla="*/ 4550987 h 6479439"/>
              <a:gd name="connsiteX2752" fmla="*/ 7179298 w 9586368"/>
              <a:gd name="connsiteY2752" fmla="*/ 4546948 h 6479439"/>
              <a:gd name="connsiteX2753" fmla="*/ 7189209 w 9586368"/>
              <a:gd name="connsiteY2753" fmla="*/ 4546948 h 6479439"/>
              <a:gd name="connsiteX2754" fmla="*/ 7193228 w 9586368"/>
              <a:gd name="connsiteY2754" fmla="*/ 4550987 h 6479439"/>
              <a:gd name="connsiteX2755" fmla="*/ 7193228 w 9586368"/>
              <a:gd name="connsiteY2755" fmla="*/ 4560858 h 6479439"/>
              <a:gd name="connsiteX2756" fmla="*/ 7189209 w 9586368"/>
              <a:gd name="connsiteY2756" fmla="*/ 4564897 h 6479439"/>
              <a:gd name="connsiteX2757" fmla="*/ 7179298 w 9586368"/>
              <a:gd name="connsiteY2757" fmla="*/ 4564897 h 6479439"/>
              <a:gd name="connsiteX2758" fmla="*/ 7175279 w 9586368"/>
              <a:gd name="connsiteY2758" fmla="*/ 4560858 h 6479439"/>
              <a:gd name="connsiteX2759" fmla="*/ 7175279 w 9586368"/>
              <a:gd name="connsiteY2759" fmla="*/ 4550987 h 6479439"/>
              <a:gd name="connsiteX2760" fmla="*/ 6939983 w 9586368"/>
              <a:gd name="connsiteY2760" fmla="*/ 4546948 h 6479439"/>
              <a:gd name="connsiteX2761" fmla="*/ 6949894 w 9586368"/>
              <a:gd name="connsiteY2761" fmla="*/ 4546948 h 6479439"/>
              <a:gd name="connsiteX2762" fmla="*/ 6953913 w 9586368"/>
              <a:gd name="connsiteY2762" fmla="*/ 4550987 h 6479439"/>
              <a:gd name="connsiteX2763" fmla="*/ 6953913 w 9586368"/>
              <a:gd name="connsiteY2763" fmla="*/ 4560858 h 6479439"/>
              <a:gd name="connsiteX2764" fmla="*/ 6949894 w 9586368"/>
              <a:gd name="connsiteY2764" fmla="*/ 4564897 h 6479439"/>
              <a:gd name="connsiteX2765" fmla="*/ 6939983 w 9586368"/>
              <a:gd name="connsiteY2765" fmla="*/ 4564897 h 6479439"/>
              <a:gd name="connsiteX2766" fmla="*/ 6935964 w 9586368"/>
              <a:gd name="connsiteY2766" fmla="*/ 4560858 h 6479439"/>
              <a:gd name="connsiteX2767" fmla="*/ 6935964 w 9586368"/>
              <a:gd name="connsiteY2767" fmla="*/ 4550987 h 6479439"/>
              <a:gd name="connsiteX2768" fmla="*/ 6700670 w 9586368"/>
              <a:gd name="connsiteY2768" fmla="*/ 4546948 h 6479439"/>
              <a:gd name="connsiteX2769" fmla="*/ 6710581 w 9586368"/>
              <a:gd name="connsiteY2769" fmla="*/ 4546948 h 6479439"/>
              <a:gd name="connsiteX2770" fmla="*/ 6714600 w 9586368"/>
              <a:gd name="connsiteY2770" fmla="*/ 4550987 h 6479439"/>
              <a:gd name="connsiteX2771" fmla="*/ 6714600 w 9586368"/>
              <a:gd name="connsiteY2771" fmla="*/ 4560858 h 6479439"/>
              <a:gd name="connsiteX2772" fmla="*/ 6710581 w 9586368"/>
              <a:gd name="connsiteY2772" fmla="*/ 4564897 h 6479439"/>
              <a:gd name="connsiteX2773" fmla="*/ 6700670 w 9586368"/>
              <a:gd name="connsiteY2773" fmla="*/ 4564897 h 6479439"/>
              <a:gd name="connsiteX2774" fmla="*/ 6696651 w 9586368"/>
              <a:gd name="connsiteY2774" fmla="*/ 4560858 h 6479439"/>
              <a:gd name="connsiteX2775" fmla="*/ 6696651 w 9586368"/>
              <a:gd name="connsiteY2775" fmla="*/ 4550987 h 6479439"/>
              <a:gd name="connsiteX2776" fmla="*/ 6461356 w 9586368"/>
              <a:gd name="connsiteY2776" fmla="*/ 4546948 h 6479439"/>
              <a:gd name="connsiteX2777" fmla="*/ 6471266 w 9586368"/>
              <a:gd name="connsiteY2777" fmla="*/ 4546948 h 6479439"/>
              <a:gd name="connsiteX2778" fmla="*/ 6475285 w 9586368"/>
              <a:gd name="connsiteY2778" fmla="*/ 4550987 h 6479439"/>
              <a:gd name="connsiteX2779" fmla="*/ 6475285 w 9586368"/>
              <a:gd name="connsiteY2779" fmla="*/ 4560858 h 6479439"/>
              <a:gd name="connsiteX2780" fmla="*/ 6471266 w 9586368"/>
              <a:gd name="connsiteY2780" fmla="*/ 4564897 h 6479439"/>
              <a:gd name="connsiteX2781" fmla="*/ 6461356 w 9586368"/>
              <a:gd name="connsiteY2781" fmla="*/ 4564897 h 6479439"/>
              <a:gd name="connsiteX2782" fmla="*/ 6457337 w 9586368"/>
              <a:gd name="connsiteY2782" fmla="*/ 4560858 h 6479439"/>
              <a:gd name="connsiteX2783" fmla="*/ 6457337 w 9586368"/>
              <a:gd name="connsiteY2783" fmla="*/ 4550987 h 6479439"/>
              <a:gd name="connsiteX2784" fmla="*/ 6222042 w 9586368"/>
              <a:gd name="connsiteY2784" fmla="*/ 4546948 h 6479439"/>
              <a:gd name="connsiteX2785" fmla="*/ 6231952 w 9586368"/>
              <a:gd name="connsiteY2785" fmla="*/ 4546948 h 6479439"/>
              <a:gd name="connsiteX2786" fmla="*/ 6235971 w 9586368"/>
              <a:gd name="connsiteY2786" fmla="*/ 4550987 h 6479439"/>
              <a:gd name="connsiteX2787" fmla="*/ 6235971 w 9586368"/>
              <a:gd name="connsiteY2787" fmla="*/ 4560858 h 6479439"/>
              <a:gd name="connsiteX2788" fmla="*/ 6231952 w 9586368"/>
              <a:gd name="connsiteY2788" fmla="*/ 4564897 h 6479439"/>
              <a:gd name="connsiteX2789" fmla="*/ 6222042 w 9586368"/>
              <a:gd name="connsiteY2789" fmla="*/ 4564897 h 6479439"/>
              <a:gd name="connsiteX2790" fmla="*/ 6218023 w 9586368"/>
              <a:gd name="connsiteY2790" fmla="*/ 4560858 h 6479439"/>
              <a:gd name="connsiteX2791" fmla="*/ 6218023 w 9586368"/>
              <a:gd name="connsiteY2791" fmla="*/ 4550987 h 6479439"/>
              <a:gd name="connsiteX2792" fmla="*/ 5982729 w 9586368"/>
              <a:gd name="connsiteY2792" fmla="*/ 4546948 h 6479439"/>
              <a:gd name="connsiteX2793" fmla="*/ 5992639 w 9586368"/>
              <a:gd name="connsiteY2793" fmla="*/ 4546948 h 6479439"/>
              <a:gd name="connsiteX2794" fmla="*/ 5996658 w 9586368"/>
              <a:gd name="connsiteY2794" fmla="*/ 4550987 h 6479439"/>
              <a:gd name="connsiteX2795" fmla="*/ 5996658 w 9586368"/>
              <a:gd name="connsiteY2795" fmla="*/ 4560858 h 6479439"/>
              <a:gd name="connsiteX2796" fmla="*/ 5992639 w 9586368"/>
              <a:gd name="connsiteY2796" fmla="*/ 4564897 h 6479439"/>
              <a:gd name="connsiteX2797" fmla="*/ 5982729 w 9586368"/>
              <a:gd name="connsiteY2797" fmla="*/ 4564897 h 6479439"/>
              <a:gd name="connsiteX2798" fmla="*/ 5978710 w 9586368"/>
              <a:gd name="connsiteY2798" fmla="*/ 4560858 h 6479439"/>
              <a:gd name="connsiteX2799" fmla="*/ 5978710 w 9586368"/>
              <a:gd name="connsiteY2799" fmla="*/ 4550987 h 6479439"/>
              <a:gd name="connsiteX2800" fmla="*/ 5743412 w 9586368"/>
              <a:gd name="connsiteY2800" fmla="*/ 4546948 h 6479439"/>
              <a:gd name="connsiteX2801" fmla="*/ 5753323 w 9586368"/>
              <a:gd name="connsiteY2801" fmla="*/ 4546948 h 6479439"/>
              <a:gd name="connsiteX2802" fmla="*/ 5757342 w 9586368"/>
              <a:gd name="connsiteY2802" fmla="*/ 4550987 h 6479439"/>
              <a:gd name="connsiteX2803" fmla="*/ 5757342 w 9586368"/>
              <a:gd name="connsiteY2803" fmla="*/ 4560858 h 6479439"/>
              <a:gd name="connsiteX2804" fmla="*/ 5753323 w 9586368"/>
              <a:gd name="connsiteY2804" fmla="*/ 4564897 h 6479439"/>
              <a:gd name="connsiteX2805" fmla="*/ 5743412 w 9586368"/>
              <a:gd name="connsiteY2805" fmla="*/ 4564897 h 6479439"/>
              <a:gd name="connsiteX2806" fmla="*/ 5739393 w 9586368"/>
              <a:gd name="connsiteY2806" fmla="*/ 4560858 h 6479439"/>
              <a:gd name="connsiteX2807" fmla="*/ 5739393 w 9586368"/>
              <a:gd name="connsiteY2807" fmla="*/ 4550987 h 6479439"/>
              <a:gd name="connsiteX2808" fmla="*/ 5504099 w 9586368"/>
              <a:gd name="connsiteY2808" fmla="*/ 4546948 h 6479439"/>
              <a:gd name="connsiteX2809" fmla="*/ 5514010 w 9586368"/>
              <a:gd name="connsiteY2809" fmla="*/ 4546948 h 6479439"/>
              <a:gd name="connsiteX2810" fmla="*/ 5518029 w 9586368"/>
              <a:gd name="connsiteY2810" fmla="*/ 4550987 h 6479439"/>
              <a:gd name="connsiteX2811" fmla="*/ 5518029 w 9586368"/>
              <a:gd name="connsiteY2811" fmla="*/ 4560858 h 6479439"/>
              <a:gd name="connsiteX2812" fmla="*/ 5514010 w 9586368"/>
              <a:gd name="connsiteY2812" fmla="*/ 4564897 h 6479439"/>
              <a:gd name="connsiteX2813" fmla="*/ 5504099 w 9586368"/>
              <a:gd name="connsiteY2813" fmla="*/ 4564897 h 6479439"/>
              <a:gd name="connsiteX2814" fmla="*/ 5500080 w 9586368"/>
              <a:gd name="connsiteY2814" fmla="*/ 4560858 h 6479439"/>
              <a:gd name="connsiteX2815" fmla="*/ 5500080 w 9586368"/>
              <a:gd name="connsiteY2815" fmla="*/ 4550987 h 6479439"/>
              <a:gd name="connsiteX2816" fmla="*/ 5264784 w 9586368"/>
              <a:gd name="connsiteY2816" fmla="*/ 4546948 h 6479439"/>
              <a:gd name="connsiteX2817" fmla="*/ 5274694 w 9586368"/>
              <a:gd name="connsiteY2817" fmla="*/ 4546948 h 6479439"/>
              <a:gd name="connsiteX2818" fmla="*/ 5278713 w 9586368"/>
              <a:gd name="connsiteY2818" fmla="*/ 4550987 h 6479439"/>
              <a:gd name="connsiteX2819" fmla="*/ 5278713 w 9586368"/>
              <a:gd name="connsiteY2819" fmla="*/ 4560858 h 6479439"/>
              <a:gd name="connsiteX2820" fmla="*/ 5274694 w 9586368"/>
              <a:gd name="connsiteY2820" fmla="*/ 4564897 h 6479439"/>
              <a:gd name="connsiteX2821" fmla="*/ 5264784 w 9586368"/>
              <a:gd name="connsiteY2821" fmla="*/ 4564897 h 6479439"/>
              <a:gd name="connsiteX2822" fmla="*/ 5260765 w 9586368"/>
              <a:gd name="connsiteY2822" fmla="*/ 4560858 h 6479439"/>
              <a:gd name="connsiteX2823" fmla="*/ 5260765 w 9586368"/>
              <a:gd name="connsiteY2823" fmla="*/ 4550987 h 6479439"/>
              <a:gd name="connsiteX2824" fmla="*/ 5025470 w 9586368"/>
              <a:gd name="connsiteY2824" fmla="*/ 4546948 h 6479439"/>
              <a:gd name="connsiteX2825" fmla="*/ 5035381 w 9586368"/>
              <a:gd name="connsiteY2825" fmla="*/ 4546948 h 6479439"/>
              <a:gd name="connsiteX2826" fmla="*/ 5039400 w 9586368"/>
              <a:gd name="connsiteY2826" fmla="*/ 4550987 h 6479439"/>
              <a:gd name="connsiteX2827" fmla="*/ 5039400 w 9586368"/>
              <a:gd name="connsiteY2827" fmla="*/ 4560858 h 6479439"/>
              <a:gd name="connsiteX2828" fmla="*/ 5035381 w 9586368"/>
              <a:gd name="connsiteY2828" fmla="*/ 4564897 h 6479439"/>
              <a:gd name="connsiteX2829" fmla="*/ 5025470 w 9586368"/>
              <a:gd name="connsiteY2829" fmla="*/ 4564897 h 6479439"/>
              <a:gd name="connsiteX2830" fmla="*/ 5021451 w 9586368"/>
              <a:gd name="connsiteY2830" fmla="*/ 4560858 h 6479439"/>
              <a:gd name="connsiteX2831" fmla="*/ 5021451 w 9586368"/>
              <a:gd name="connsiteY2831" fmla="*/ 4550987 h 6479439"/>
              <a:gd name="connsiteX2832" fmla="*/ 4786241 w 9586368"/>
              <a:gd name="connsiteY2832" fmla="*/ 4546948 h 6479439"/>
              <a:gd name="connsiteX2833" fmla="*/ 4796152 w 9586368"/>
              <a:gd name="connsiteY2833" fmla="*/ 4546948 h 6479439"/>
              <a:gd name="connsiteX2834" fmla="*/ 4800171 w 9586368"/>
              <a:gd name="connsiteY2834" fmla="*/ 4550987 h 6479439"/>
              <a:gd name="connsiteX2835" fmla="*/ 4800171 w 9586368"/>
              <a:gd name="connsiteY2835" fmla="*/ 4560858 h 6479439"/>
              <a:gd name="connsiteX2836" fmla="*/ 4796152 w 9586368"/>
              <a:gd name="connsiteY2836" fmla="*/ 4564897 h 6479439"/>
              <a:gd name="connsiteX2837" fmla="*/ 4786241 w 9586368"/>
              <a:gd name="connsiteY2837" fmla="*/ 4564897 h 6479439"/>
              <a:gd name="connsiteX2838" fmla="*/ 4782224 w 9586368"/>
              <a:gd name="connsiteY2838" fmla="*/ 4560858 h 6479439"/>
              <a:gd name="connsiteX2839" fmla="*/ 4782224 w 9586368"/>
              <a:gd name="connsiteY2839" fmla="*/ 4550987 h 6479439"/>
              <a:gd name="connsiteX2840" fmla="*/ 4546929 w 9586368"/>
              <a:gd name="connsiteY2840" fmla="*/ 4546948 h 6479439"/>
              <a:gd name="connsiteX2841" fmla="*/ 4556840 w 9586368"/>
              <a:gd name="connsiteY2841" fmla="*/ 4546948 h 6479439"/>
              <a:gd name="connsiteX2842" fmla="*/ 4560859 w 9586368"/>
              <a:gd name="connsiteY2842" fmla="*/ 4550987 h 6479439"/>
              <a:gd name="connsiteX2843" fmla="*/ 4560859 w 9586368"/>
              <a:gd name="connsiteY2843" fmla="*/ 4560858 h 6479439"/>
              <a:gd name="connsiteX2844" fmla="*/ 4556840 w 9586368"/>
              <a:gd name="connsiteY2844" fmla="*/ 4564897 h 6479439"/>
              <a:gd name="connsiteX2845" fmla="*/ 4546929 w 9586368"/>
              <a:gd name="connsiteY2845" fmla="*/ 4564897 h 6479439"/>
              <a:gd name="connsiteX2846" fmla="*/ 4542910 w 9586368"/>
              <a:gd name="connsiteY2846" fmla="*/ 4560858 h 6479439"/>
              <a:gd name="connsiteX2847" fmla="*/ 4542910 w 9586368"/>
              <a:gd name="connsiteY2847" fmla="*/ 4550987 h 6479439"/>
              <a:gd name="connsiteX2848" fmla="*/ 4307612 w 9586368"/>
              <a:gd name="connsiteY2848" fmla="*/ 4546948 h 6479439"/>
              <a:gd name="connsiteX2849" fmla="*/ 4317523 w 9586368"/>
              <a:gd name="connsiteY2849" fmla="*/ 4546948 h 6479439"/>
              <a:gd name="connsiteX2850" fmla="*/ 4321543 w 9586368"/>
              <a:gd name="connsiteY2850" fmla="*/ 4550987 h 6479439"/>
              <a:gd name="connsiteX2851" fmla="*/ 4321543 w 9586368"/>
              <a:gd name="connsiteY2851" fmla="*/ 4560858 h 6479439"/>
              <a:gd name="connsiteX2852" fmla="*/ 4317523 w 9586368"/>
              <a:gd name="connsiteY2852" fmla="*/ 4564897 h 6479439"/>
              <a:gd name="connsiteX2853" fmla="*/ 4307612 w 9586368"/>
              <a:gd name="connsiteY2853" fmla="*/ 4564897 h 6479439"/>
              <a:gd name="connsiteX2854" fmla="*/ 4303595 w 9586368"/>
              <a:gd name="connsiteY2854" fmla="*/ 4560858 h 6479439"/>
              <a:gd name="connsiteX2855" fmla="*/ 4303595 w 9586368"/>
              <a:gd name="connsiteY2855" fmla="*/ 4550987 h 6479439"/>
              <a:gd name="connsiteX2856" fmla="*/ 4068297 w 9586368"/>
              <a:gd name="connsiteY2856" fmla="*/ 4546948 h 6479439"/>
              <a:gd name="connsiteX2857" fmla="*/ 4078210 w 9586368"/>
              <a:gd name="connsiteY2857" fmla="*/ 4546948 h 6479439"/>
              <a:gd name="connsiteX2858" fmla="*/ 4082229 w 9586368"/>
              <a:gd name="connsiteY2858" fmla="*/ 4550987 h 6479439"/>
              <a:gd name="connsiteX2859" fmla="*/ 4082229 w 9586368"/>
              <a:gd name="connsiteY2859" fmla="*/ 4560858 h 6479439"/>
              <a:gd name="connsiteX2860" fmla="*/ 4078210 w 9586368"/>
              <a:gd name="connsiteY2860" fmla="*/ 4564897 h 6479439"/>
              <a:gd name="connsiteX2861" fmla="*/ 4068297 w 9586368"/>
              <a:gd name="connsiteY2861" fmla="*/ 4564897 h 6479439"/>
              <a:gd name="connsiteX2862" fmla="*/ 4064278 w 9586368"/>
              <a:gd name="connsiteY2862" fmla="*/ 4560858 h 6479439"/>
              <a:gd name="connsiteX2863" fmla="*/ 4064278 w 9586368"/>
              <a:gd name="connsiteY2863" fmla="*/ 4550987 h 6479439"/>
              <a:gd name="connsiteX2864" fmla="*/ 3828990 w 9586368"/>
              <a:gd name="connsiteY2864" fmla="*/ 4546948 h 6479439"/>
              <a:gd name="connsiteX2865" fmla="*/ 3838899 w 9586368"/>
              <a:gd name="connsiteY2865" fmla="*/ 4546948 h 6479439"/>
              <a:gd name="connsiteX2866" fmla="*/ 3842917 w 9586368"/>
              <a:gd name="connsiteY2866" fmla="*/ 4550987 h 6479439"/>
              <a:gd name="connsiteX2867" fmla="*/ 3842917 w 9586368"/>
              <a:gd name="connsiteY2867" fmla="*/ 4560858 h 6479439"/>
              <a:gd name="connsiteX2868" fmla="*/ 3838899 w 9586368"/>
              <a:gd name="connsiteY2868" fmla="*/ 4564897 h 6479439"/>
              <a:gd name="connsiteX2869" fmla="*/ 3828990 w 9586368"/>
              <a:gd name="connsiteY2869" fmla="*/ 4564897 h 6479439"/>
              <a:gd name="connsiteX2870" fmla="*/ 3824971 w 9586368"/>
              <a:gd name="connsiteY2870" fmla="*/ 4560858 h 6479439"/>
              <a:gd name="connsiteX2871" fmla="*/ 3824971 w 9586368"/>
              <a:gd name="connsiteY2871" fmla="*/ 4550987 h 6479439"/>
              <a:gd name="connsiteX2872" fmla="*/ 3589676 w 9586368"/>
              <a:gd name="connsiteY2872" fmla="*/ 4546948 h 6479439"/>
              <a:gd name="connsiteX2873" fmla="*/ 3599585 w 9586368"/>
              <a:gd name="connsiteY2873" fmla="*/ 4546948 h 6479439"/>
              <a:gd name="connsiteX2874" fmla="*/ 3603604 w 9586368"/>
              <a:gd name="connsiteY2874" fmla="*/ 4550987 h 6479439"/>
              <a:gd name="connsiteX2875" fmla="*/ 3603604 w 9586368"/>
              <a:gd name="connsiteY2875" fmla="*/ 4560858 h 6479439"/>
              <a:gd name="connsiteX2876" fmla="*/ 3599585 w 9586368"/>
              <a:gd name="connsiteY2876" fmla="*/ 4564897 h 6479439"/>
              <a:gd name="connsiteX2877" fmla="*/ 3589676 w 9586368"/>
              <a:gd name="connsiteY2877" fmla="*/ 4564897 h 6479439"/>
              <a:gd name="connsiteX2878" fmla="*/ 3585657 w 9586368"/>
              <a:gd name="connsiteY2878" fmla="*/ 4560858 h 6479439"/>
              <a:gd name="connsiteX2879" fmla="*/ 3585657 w 9586368"/>
              <a:gd name="connsiteY2879" fmla="*/ 4550987 h 6479439"/>
              <a:gd name="connsiteX2880" fmla="*/ 3350359 w 9586368"/>
              <a:gd name="connsiteY2880" fmla="*/ 4546948 h 6479439"/>
              <a:gd name="connsiteX2881" fmla="*/ 3360268 w 9586368"/>
              <a:gd name="connsiteY2881" fmla="*/ 4546948 h 6479439"/>
              <a:gd name="connsiteX2882" fmla="*/ 3364287 w 9586368"/>
              <a:gd name="connsiteY2882" fmla="*/ 4550987 h 6479439"/>
              <a:gd name="connsiteX2883" fmla="*/ 3364287 w 9586368"/>
              <a:gd name="connsiteY2883" fmla="*/ 4560858 h 6479439"/>
              <a:gd name="connsiteX2884" fmla="*/ 3360268 w 9586368"/>
              <a:gd name="connsiteY2884" fmla="*/ 4564897 h 6479439"/>
              <a:gd name="connsiteX2885" fmla="*/ 3350359 w 9586368"/>
              <a:gd name="connsiteY2885" fmla="*/ 4564897 h 6479439"/>
              <a:gd name="connsiteX2886" fmla="*/ 3346340 w 9586368"/>
              <a:gd name="connsiteY2886" fmla="*/ 4560858 h 6479439"/>
              <a:gd name="connsiteX2887" fmla="*/ 3346340 w 9586368"/>
              <a:gd name="connsiteY2887" fmla="*/ 4550987 h 6479439"/>
              <a:gd name="connsiteX2888" fmla="*/ 3111048 w 9586368"/>
              <a:gd name="connsiteY2888" fmla="*/ 4546948 h 6479439"/>
              <a:gd name="connsiteX2889" fmla="*/ 3120959 w 9586368"/>
              <a:gd name="connsiteY2889" fmla="*/ 4546948 h 6479439"/>
              <a:gd name="connsiteX2890" fmla="*/ 3124977 w 9586368"/>
              <a:gd name="connsiteY2890" fmla="*/ 4550987 h 6479439"/>
              <a:gd name="connsiteX2891" fmla="*/ 3124977 w 9586368"/>
              <a:gd name="connsiteY2891" fmla="*/ 4560858 h 6479439"/>
              <a:gd name="connsiteX2892" fmla="*/ 3120959 w 9586368"/>
              <a:gd name="connsiteY2892" fmla="*/ 4564897 h 6479439"/>
              <a:gd name="connsiteX2893" fmla="*/ 3111048 w 9586368"/>
              <a:gd name="connsiteY2893" fmla="*/ 4564897 h 6479439"/>
              <a:gd name="connsiteX2894" fmla="*/ 3107029 w 9586368"/>
              <a:gd name="connsiteY2894" fmla="*/ 4560858 h 6479439"/>
              <a:gd name="connsiteX2895" fmla="*/ 3107029 w 9586368"/>
              <a:gd name="connsiteY2895" fmla="*/ 4550987 h 6479439"/>
              <a:gd name="connsiteX2896" fmla="*/ 2871737 w 9586368"/>
              <a:gd name="connsiteY2896" fmla="*/ 4546948 h 6479439"/>
              <a:gd name="connsiteX2897" fmla="*/ 2881646 w 9586368"/>
              <a:gd name="connsiteY2897" fmla="*/ 4546948 h 6479439"/>
              <a:gd name="connsiteX2898" fmla="*/ 2885666 w 9586368"/>
              <a:gd name="connsiteY2898" fmla="*/ 4550987 h 6479439"/>
              <a:gd name="connsiteX2899" fmla="*/ 2885666 w 9586368"/>
              <a:gd name="connsiteY2899" fmla="*/ 4560858 h 6479439"/>
              <a:gd name="connsiteX2900" fmla="*/ 2881646 w 9586368"/>
              <a:gd name="connsiteY2900" fmla="*/ 4564897 h 6479439"/>
              <a:gd name="connsiteX2901" fmla="*/ 2871737 w 9586368"/>
              <a:gd name="connsiteY2901" fmla="*/ 4564897 h 6479439"/>
              <a:gd name="connsiteX2902" fmla="*/ 2867717 w 9586368"/>
              <a:gd name="connsiteY2902" fmla="*/ 4560858 h 6479439"/>
              <a:gd name="connsiteX2903" fmla="*/ 2867717 w 9586368"/>
              <a:gd name="connsiteY2903" fmla="*/ 4550987 h 6479439"/>
              <a:gd name="connsiteX2904" fmla="*/ 2632423 w 9586368"/>
              <a:gd name="connsiteY2904" fmla="*/ 4546948 h 6479439"/>
              <a:gd name="connsiteX2905" fmla="*/ 2642334 w 9586368"/>
              <a:gd name="connsiteY2905" fmla="*/ 4546948 h 6479439"/>
              <a:gd name="connsiteX2906" fmla="*/ 2646352 w 9586368"/>
              <a:gd name="connsiteY2906" fmla="*/ 4550987 h 6479439"/>
              <a:gd name="connsiteX2907" fmla="*/ 2646352 w 9586368"/>
              <a:gd name="connsiteY2907" fmla="*/ 4560858 h 6479439"/>
              <a:gd name="connsiteX2908" fmla="*/ 2642334 w 9586368"/>
              <a:gd name="connsiteY2908" fmla="*/ 4564897 h 6479439"/>
              <a:gd name="connsiteX2909" fmla="*/ 2632423 w 9586368"/>
              <a:gd name="connsiteY2909" fmla="*/ 4564897 h 6479439"/>
              <a:gd name="connsiteX2910" fmla="*/ 2628404 w 9586368"/>
              <a:gd name="connsiteY2910" fmla="*/ 4560858 h 6479439"/>
              <a:gd name="connsiteX2911" fmla="*/ 2628404 w 9586368"/>
              <a:gd name="connsiteY2911" fmla="*/ 4550987 h 6479439"/>
              <a:gd name="connsiteX2912" fmla="*/ 2393104 w 9586368"/>
              <a:gd name="connsiteY2912" fmla="*/ 4546948 h 6479439"/>
              <a:gd name="connsiteX2913" fmla="*/ 2403015 w 9586368"/>
              <a:gd name="connsiteY2913" fmla="*/ 4546948 h 6479439"/>
              <a:gd name="connsiteX2914" fmla="*/ 2407034 w 9586368"/>
              <a:gd name="connsiteY2914" fmla="*/ 4550987 h 6479439"/>
              <a:gd name="connsiteX2915" fmla="*/ 2407034 w 9586368"/>
              <a:gd name="connsiteY2915" fmla="*/ 4560858 h 6479439"/>
              <a:gd name="connsiteX2916" fmla="*/ 2403015 w 9586368"/>
              <a:gd name="connsiteY2916" fmla="*/ 4564897 h 6479439"/>
              <a:gd name="connsiteX2917" fmla="*/ 2393104 w 9586368"/>
              <a:gd name="connsiteY2917" fmla="*/ 4564897 h 6479439"/>
              <a:gd name="connsiteX2918" fmla="*/ 2389087 w 9586368"/>
              <a:gd name="connsiteY2918" fmla="*/ 4560858 h 6479439"/>
              <a:gd name="connsiteX2919" fmla="*/ 2389087 w 9586368"/>
              <a:gd name="connsiteY2919" fmla="*/ 4550987 h 6479439"/>
              <a:gd name="connsiteX2920" fmla="*/ 721964 w 9586368"/>
              <a:gd name="connsiteY2920" fmla="*/ 4546948 h 6479439"/>
              <a:gd name="connsiteX2921" fmla="*/ 731874 w 9586368"/>
              <a:gd name="connsiteY2921" fmla="*/ 4546948 h 6479439"/>
              <a:gd name="connsiteX2922" fmla="*/ 735893 w 9586368"/>
              <a:gd name="connsiteY2922" fmla="*/ 4550987 h 6479439"/>
              <a:gd name="connsiteX2923" fmla="*/ 735893 w 9586368"/>
              <a:gd name="connsiteY2923" fmla="*/ 4560858 h 6479439"/>
              <a:gd name="connsiteX2924" fmla="*/ 731874 w 9586368"/>
              <a:gd name="connsiteY2924" fmla="*/ 4564897 h 6479439"/>
              <a:gd name="connsiteX2925" fmla="*/ 721964 w 9586368"/>
              <a:gd name="connsiteY2925" fmla="*/ 4564897 h 6479439"/>
              <a:gd name="connsiteX2926" fmla="*/ 717945 w 9586368"/>
              <a:gd name="connsiteY2926" fmla="*/ 4560858 h 6479439"/>
              <a:gd name="connsiteX2927" fmla="*/ 717945 w 9586368"/>
              <a:gd name="connsiteY2927" fmla="*/ 4550987 h 6479439"/>
              <a:gd name="connsiteX2928" fmla="*/ 482651 w 9586368"/>
              <a:gd name="connsiteY2928" fmla="*/ 4546948 h 6479439"/>
              <a:gd name="connsiteX2929" fmla="*/ 492562 w 9586368"/>
              <a:gd name="connsiteY2929" fmla="*/ 4546948 h 6479439"/>
              <a:gd name="connsiteX2930" fmla="*/ 496581 w 9586368"/>
              <a:gd name="connsiteY2930" fmla="*/ 4550987 h 6479439"/>
              <a:gd name="connsiteX2931" fmla="*/ 496581 w 9586368"/>
              <a:gd name="connsiteY2931" fmla="*/ 4560858 h 6479439"/>
              <a:gd name="connsiteX2932" fmla="*/ 492562 w 9586368"/>
              <a:gd name="connsiteY2932" fmla="*/ 4564897 h 6479439"/>
              <a:gd name="connsiteX2933" fmla="*/ 482651 w 9586368"/>
              <a:gd name="connsiteY2933" fmla="*/ 4564897 h 6479439"/>
              <a:gd name="connsiteX2934" fmla="*/ 478632 w 9586368"/>
              <a:gd name="connsiteY2934" fmla="*/ 4560858 h 6479439"/>
              <a:gd name="connsiteX2935" fmla="*/ 478632 w 9586368"/>
              <a:gd name="connsiteY2935" fmla="*/ 4550987 h 6479439"/>
              <a:gd name="connsiteX2936" fmla="*/ 243338 w 9586368"/>
              <a:gd name="connsiteY2936" fmla="*/ 4546948 h 6479439"/>
              <a:gd name="connsiteX2937" fmla="*/ 253248 w 9586368"/>
              <a:gd name="connsiteY2937" fmla="*/ 4546948 h 6479439"/>
              <a:gd name="connsiteX2938" fmla="*/ 257267 w 9586368"/>
              <a:gd name="connsiteY2938" fmla="*/ 4550987 h 6479439"/>
              <a:gd name="connsiteX2939" fmla="*/ 257267 w 9586368"/>
              <a:gd name="connsiteY2939" fmla="*/ 4560858 h 6479439"/>
              <a:gd name="connsiteX2940" fmla="*/ 253248 w 9586368"/>
              <a:gd name="connsiteY2940" fmla="*/ 4564897 h 6479439"/>
              <a:gd name="connsiteX2941" fmla="*/ 243338 w 9586368"/>
              <a:gd name="connsiteY2941" fmla="*/ 4564897 h 6479439"/>
              <a:gd name="connsiteX2942" fmla="*/ 239319 w 9586368"/>
              <a:gd name="connsiteY2942" fmla="*/ 4560858 h 6479439"/>
              <a:gd name="connsiteX2943" fmla="*/ 239319 w 9586368"/>
              <a:gd name="connsiteY2943" fmla="*/ 4550987 h 6479439"/>
              <a:gd name="connsiteX2944" fmla="*/ 4025 w 9586368"/>
              <a:gd name="connsiteY2944" fmla="*/ 4546948 h 6479439"/>
              <a:gd name="connsiteX2945" fmla="*/ 13935 w 9586368"/>
              <a:gd name="connsiteY2945" fmla="*/ 4546948 h 6479439"/>
              <a:gd name="connsiteX2946" fmla="*/ 17954 w 9586368"/>
              <a:gd name="connsiteY2946" fmla="*/ 4550987 h 6479439"/>
              <a:gd name="connsiteX2947" fmla="*/ 17954 w 9586368"/>
              <a:gd name="connsiteY2947" fmla="*/ 4560858 h 6479439"/>
              <a:gd name="connsiteX2948" fmla="*/ 13935 w 9586368"/>
              <a:gd name="connsiteY2948" fmla="*/ 4564897 h 6479439"/>
              <a:gd name="connsiteX2949" fmla="*/ 4025 w 9586368"/>
              <a:gd name="connsiteY2949" fmla="*/ 4564897 h 6479439"/>
              <a:gd name="connsiteX2950" fmla="*/ 6 w 9586368"/>
              <a:gd name="connsiteY2950" fmla="*/ 4560858 h 6479439"/>
              <a:gd name="connsiteX2951" fmla="*/ 6 w 9586368"/>
              <a:gd name="connsiteY2951" fmla="*/ 4550987 h 6479439"/>
              <a:gd name="connsiteX2952" fmla="*/ 2157819 w 9586368"/>
              <a:gd name="connsiteY2952" fmla="*/ 4307669 h 6479439"/>
              <a:gd name="connsiteX2953" fmla="*/ 2167729 w 9586368"/>
              <a:gd name="connsiteY2953" fmla="*/ 4307669 h 6479439"/>
              <a:gd name="connsiteX2954" fmla="*/ 2171749 w 9586368"/>
              <a:gd name="connsiteY2954" fmla="*/ 4311708 h 6479439"/>
              <a:gd name="connsiteX2955" fmla="*/ 2171749 w 9586368"/>
              <a:gd name="connsiteY2955" fmla="*/ 4321579 h 6479439"/>
              <a:gd name="connsiteX2956" fmla="*/ 2167729 w 9586368"/>
              <a:gd name="connsiteY2956" fmla="*/ 4325618 h 6479439"/>
              <a:gd name="connsiteX2957" fmla="*/ 2157819 w 9586368"/>
              <a:gd name="connsiteY2957" fmla="*/ 4325618 h 6479439"/>
              <a:gd name="connsiteX2958" fmla="*/ 2153801 w 9586368"/>
              <a:gd name="connsiteY2958" fmla="*/ 4321579 h 6479439"/>
              <a:gd name="connsiteX2959" fmla="*/ 2153801 w 9586368"/>
              <a:gd name="connsiteY2959" fmla="*/ 4311708 h 6479439"/>
              <a:gd name="connsiteX2960" fmla="*/ 1918511 w 9586368"/>
              <a:gd name="connsiteY2960" fmla="*/ 4307669 h 6479439"/>
              <a:gd name="connsiteX2961" fmla="*/ 1928421 w 9586368"/>
              <a:gd name="connsiteY2961" fmla="*/ 4307669 h 6479439"/>
              <a:gd name="connsiteX2962" fmla="*/ 1932440 w 9586368"/>
              <a:gd name="connsiteY2962" fmla="*/ 4311708 h 6479439"/>
              <a:gd name="connsiteX2963" fmla="*/ 1932440 w 9586368"/>
              <a:gd name="connsiteY2963" fmla="*/ 4321579 h 6479439"/>
              <a:gd name="connsiteX2964" fmla="*/ 1928421 w 9586368"/>
              <a:gd name="connsiteY2964" fmla="*/ 4325618 h 6479439"/>
              <a:gd name="connsiteX2965" fmla="*/ 1918511 w 9586368"/>
              <a:gd name="connsiteY2965" fmla="*/ 4325618 h 6479439"/>
              <a:gd name="connsiteX2966" fmla="*/ 1914492 w 9586368"/>
              <a:gd name="connsiteY2966" fmla="*/ 4321579 h 6479439"/>
              <a:gd name="connsiteX2967" fmla="*/ 1914492 w 9586368"/>
              <a:gd name="connsiteY2967" fmla="*/ 4311708 h 6479439"/>
              <a:gd name="connsiteX2968" fmla="*/ 1679206 w 9586368"/>
              <a:gd name="connsiteY2968" fmla="*/ 4307669 h 6479439"/>
              <a:gd name="connsiteX2969" fmla="*/ 1689117 w 9586368"/>
              <a:gd name="connsiteY2969" fmla="*/ 4307669 h 6479439"/>
              <a:gd name="connsiteX2970" fmla="*/ 1693136 w 9586368"/>
              <a:gd name="connsiteY2970" fmla="*/ 4311708 h 6479439"/>
              <a:gd name="connsiteX2971" fmla="*/ 1693136 w 9586368"/>
              <a:gd name="connsiteY2971" fmla="*/ 4321579 h 6479439"/>
              <a:gd name="connsiteX2972" fmla="*/ 1689117 w 9586368"/>
              <a:gd name="connsiteY2972" fmla="*/ 4325618 h 6479439"/>
              <a:gd name="connsiteX2973" fmla="*/ 1679206 w 9586368"/>
              <a:gd name="connsiteY2973" fmla="*/ 4325618 h 6479439"/>
              <a:gd name="connsiteX2974" fmla="*/ 1675188 w 9586368"/>
              <a:gd name="connsiteY2974" fmla="*/ 4321579 h 6479439"/>
              <a:gd name="connsiteX2975" fmla="*/ 1675188 w 9586368"/>
              <a:gd name="connsiteY2975" fmla="*/ 4311708 h 6479439"/>
              <a:gd name="connsiteX2976" fmla="*/ 1439891 w 9586368"/>
              <a:gd name="connsiteY2976" fmla="*/ 4307669 h 6479439"/>
              <a:gd name="connsiteX2977" fmla="*/ 1449801 w 9586368"/>
              <a:gd name="connsiteY2977" fmla="*/ 4307669 h 6479439"/>
              <a:gd name="connsiteX2978" fmla="*/ 1453819 w 9586368"/>
              <a:gd name="connsiteY2978" fmla="*/ 4311708 h 6479439"/>
              <a:gd name="connsiteX2979" fmla="*/ 1453819 w 9586368"/>
              <a:gd name="connsiteY2979" fmla="*/ 4321579 h 6479439"/>
              <a:gd name="connsiteX2980" fmla="*/ 1449801 w 9586368"/>
              <a:gd name="connsiteY2980" fmla="*/ 4325618 h 6479439"/>
              <a:gd name="connsiteX2981" fmla="*/ 1439891 w 9586368"/>
              <a:gd name="connsiteY2981" fmla="*/ 4325618 h 6479439"/>
              <a:gd name="connsiteX2982" fmla="*/ 1435871 w 9586368"/>
              <a:gd name="connsiteY2982" fmla="*/ 4321579 h 6479439"/>
              <a:gd name="connsiteX2983" fmla="*/ 1435871 w 9586368"/>
              <a:gd name="connsiteY2983" fmla="*/ 4311708 h 6479439"/>
              <a:gd name="connsiteX2984" fmla="*/ 1200575 w 9586368"/>
              <a:gd name="connsiteY2984" fmla="*/ 4307669 h 6479439"/>
              <a:gd name="connsiteX2985" fmla="*/ 1210486 w 9586368"/>
              <a:gd name="connsiteY2985" fmla="*/ 4307669 h 6479439"/>
              <a:gd name="connsiteX2986" fmla="*/ 1214505 w 9586368"/>
              <a:gd name="connsiteY2986" fmla="*/ 4311708 h 6479439"/>
              <a:gd name="connsiteX2987" fmla="*/ 1214505 w 9586368"/>
              <a:gd name="connsiteY2987" fmla="*/ 4321579 h 6479439"/>
              <a:gd name="connsiteX2988" fmla="*/ 1210486 w 9586368"/>
              <a:gd name="connsiteY2988" fmla="*/ 4325618 h 6479439"/>
              <a:gd name="connsiteX2989" fmla="*/ 1200575 w 9586368"/>
              <a:gd name="connsiteY2989" fmla="*/ 4325618 h 6479439"/>
              <a:gd name="connsiteX2990" fmla="*/ 1196556 w 9586368"/>
              <a:gd name="connsiteY2990" fmla="*/ 4321579 h 6479439"/>
              <a:gd name="connsiteX2991" fmla="*/ 1196556 w 9586368"/>
              <a:gd name="connsiteY2991" fmla="*/ 4311708 h 6479439"/>
              <a:gd name="connsiteX2992" fmla="*/ 961263 w 9586368"/>
              <a:gd name="connsiteY2992" fmla="*/ 4307669 h 6479439"/>
              <a:gd name="connsiteX2993" fmla="*/ 971173 w 9586368"/>
              <a:gd name="connsiteY2993" fmla="*/ 4307669 h 6479439"/>
              <a:gd name="connsiteX2994" fmla="*/ 975191 w 9586368"/>
              <a:gd name="connsiteY2994" fmla="*/ 4311708 h 6479439"/>
              <a:gd name="connsiteX2995" fmla="*/ 975191 w 9586368"/>
              <a:gd name="connsiteY2995" fmla="*/ 4321579 h 6479439"/>
              <a:gd name="connsiteX2996" fmla="*/ 971173 w 9586368"/>
              <a:gd name="connsiteY2996" fmla="*/ 4325618 h 6479439"/>
              <a:gd name="connsiteX2997" fmla="*/ 961263 w 9586368"/>
              <a:gd name="connsiteY2997" fmla="*/ 4325618 h 6479439"/>
              <a:gd name="connsiteX2998" fmla="*/ 957244 w 9586368"/>
              <a:gd name="connsiteY2998" fmla="*/ 4321579 h 6479439"/>
              <a:gd name="connsiteX2999" fmla="*/ 957244 w 9586368"/>
              <a:gd name="connsiteY2999" fmla="*/ 4311708 h 6479439"/>
              <a:gd name="connsiteX3000" fmla="*/ 9572438 w 9586368"/>
              <a:gd name="connsiteY3000" fmla="*/ 4307617 h 6479439"/>
              <a:gd name="connsiteX3001" fmla="*/ 9582349 w 9586368"/>
              <a:gd name="connsiteY3001" fmla="*/ 4307617 h 6479439"/>
              <a:gd name="connsiteX3002" fmla="*/ 9586368 w 9586368"/>
              <a:gd name="connsiteY3002" fmla="*/ 4311656 h 6479439"/>
              <a:gd name="connsiteX3003" fmla="*/ 9586368 w 9586368"/>
              <a:gd name="connsiteY3003" fmla="*/ 4321527 h 6479439"/>
              <a:gd name="connsiteX3004" fmla="*/ 9582349 w 9586368"/>
              <a:gd name="connsiteY3004" fmla="*/ 4325566 h 6479439"/>
              <a:gd name="connsiteX3005" fmla="*/ 9572438 w 9586368"/>
              <a:gd name="connsiteY3005" fmla="*/ 4325566 h 6479439"/>
              <a:gd name="connsiteX3006" fmla="*/ 9568419 w 9586368"/>
              <a:gd name="connsiteY3006" fmla="*/ 4321527 h 6479439"/>
              <a:gd name="connsiteX3007" fmla="*/ 9568419 w 9586368"/>
              <a:gd name="connsiteY3007" fmla="*/ 4311656 h 6479439"/>
              <a:gd name="connsiteX3008" fmla="*/ 9333125 w 9586368"/>
              <a:gd name="connsiteY3008" fmla="*/ 4307617 h 6479439"/>
              <a:gd name="connsiteX3009" fmla="*/ 9343036 w 9586368"/>
              <a:gd name="connsiteY3009" fmla="*/ 4307617 h 6479439"/>
              <a:gd name="connsiteX3010" fmla="*/ 9347055 w 9586368"/>
              <a:gd name="connsiteY3010" fmla="*/ 4311656 h 6479439"/>
              <a:gd name="connsiteX3011" fmla="*/ 9347055 w 9586368"/>
              <a:gd name="connsiteY3011" fmla="*/ 4321527 h 6479439"/>
              <a:gd name="connsiteX3012" fmla="*/ 9343036 w 9586368"/>
              <a:gd name="connsiteY3012" fmla="*/ 4325566 h 6479439"/>
              <a:gd name="connsiteX3013" fmla="*/ 9333125 w 9586368"/>
              <a:gd name="connsiteY3013" fmla="*/ 4325566 h 6479439"/>
              <a:gd name="connsiteX3014" fmla="*/ 9329106 w 9586368"/>
              <a:gd name="connsiteY3014" fmla="*/ 4321527 h 6479439"/>
              <a:gd name="connsiteX3015" fmla="*/ 9329106 w 9586368"/>
              <a:gd name="connsiteY3015" fmla="*/ 4311656 h 6479439"/>
              <a:gd name="connsiteX3016" fmla="*/ 9093811 w 9586368"/>
              <a:gd name="connsiteY3016" fmla="*/ 4307617 h 6479439"/>
              <a:gd name="connsiteX3017" fmla="*/ 9103722 w 9586368"/>
              <a:gd name="connsiteY3017" fmla="*/ 4307617 h 6479439"/>
              <a:gd name="connsiteX3018" fmla="*/ 9107741 w 9586368"/>
              <a:gd name="connsiteY3018" fmla="*/ 4311656 h 6479439"/>
              <a:gd name="connsiteX3019" fmla="*/ 9107741 w 9586368"/>
              <a:gd name="connsiteY3019" fmla="*/ 4321527 h 6479439"/>
              <a:gd name="connsiteX3020" fmla="*/ 9103722 w 9586368"/>
              <a:gd name="connsiteY3020" fmla="*/ 4325566 h 6479439"/>
              <a:gd name="connsiteX3021" fmla="*/ 9093811 w 9586368"/>
              <a:gd name="connsiteY3021" fmla="*/ 4325566 h 6479439"/>
              <a:gd name="connsiteX3022" fmla="*/ 9089792 w 9586368"/>
              <a:gd name="connsiteY3022" fmla="*/ 4321527 h 6479439"/>
              <a:gd name="connsiteX3023" fmla="*/ 9089792 w 9586368"/>
              <a:gd name="connsiteY3023" fmla="*/ 4311656 h 6479439"/>
              <a:gd name="connsiteX3024" fmla="*/ 8854496 w 9586368"/>
              <a:gd name="connsiteY3024" fmla="*/ 4307617 h 6479439"/>
              <a:gd name="connsiteX3025" fmla="*/ 8864407 w 9586368"/>
              <a:gd name="connsiteY3025" fmla="*/ 4307617 h 6479439"/>
              <a:gd name="connsiteX3026" fmla="*/ 8868426 w 9586368"/>
              <a:gd name="connsiteY3026" fmla="*/ 4311656 h 6479439"/>
              <a:gd name="connsiteX3027" fmla="*/ 8868426 w 9586368"/>
              <a:gd name="connsiteY3027" fmla="*/ 4321527 h 6479439"/>
              <a:gd name="connsiteX3028" fmla="*/ 8864407 w 9586368"/>
              <a:gd name="connsiteY3028" fmla="*/ 4325566 h 6479439"/>
              <a:gd name="connsiteX3029" fmla="*/ 8854496 w 9586368"/>
              <a:gd name="connsiteY3029" fmla="*/ 4325566 h 6479439"/>
              <a:gd name="connsiteX3030" fmla="*/ 8850477 w 9586368"/>
              <a:gd name="connsiteY3030" fmla="*/ 4321527 h 6479439"/>
              <a:gd name="connsiteX3031" fmla="*/ 8850477 w 9586368"/>
              <a:gd name="connsiteY3031" fmla="*/ 4311656 h 6479439"/>
              <a:gd name="connsiteX3032" fmla="*/ 8615184 w 9586368"/>
              <a:gd name="connsiteY3032" fmla="*/ 4307617 h 6479439"/>
              <a:gd name="connsiteX3033" fmla="*/ 8625095 w 9586368"/>
              <a:gd name="connsiteY3033" fmla="*/ 4307617 h 6479439"/>
              <a:gd name="connsiteX3034" fmla="*/ 8629114 w 9586368"/>
              <a:gd name="connsiteY3034" fmla="*/ 4311656 h 6479439"/>
              <a:gd name="connsiteX3035" fmla="*/ 8629114 w 9586368"/>
              <a:gd name="connsiteY3035" fmla="*/ 4321527 h 6479439"/>
              <a:gd name="connsiteX3036" fmla="*/ 8625095 w 9586368"/>
              <a:gd name="connsiteY3036" fmla="*/ 4325566 h 6479439"/>
              <a:gd name="connsiteX3037" fmla="*/ 8615184 w 9586368"/>
              <a:gd name="connsiteY3037" fmla="*/ 4325566 h 6479439"/>
              <a:gd name="connsiteX3038" fmla="*/ 8611165 w 9586368"/>
              <a:gd name="connsiteY3038" fmla="*/ 4321527 h 6479439"/>
              <a:gd name="connsiteX3039" fmla="*/ 8611165 w 9586368"/>
              <a:gd name="connsiteY3039" fmla="*/ 4311656 h 6479439"/>
              <a:gd name="connsiteX3040" fmla="*/ 8375869 w 9586368"/>
              <a:gd name="connsiteY3040" fmla="*/ 4307617 h 6479439"/>
              <a:gd name="connsiteX3041" fmla="*/ 8385779 w 9586368"/>
              <a:gd name="connsiteY3041" fmla="*/ 4307617 h 6479439"/>
              <a:gd name="connsiteX3042" fmla="*/ 8389799 w 9586368"/>
              <a:gd name="connsiteY3042" fmla="*/ 4311656 h 6479439"/>
              <a:gd name="connsiteX3043" fmla="*/ 8389799 w 9586368"/>
              <a:gd name="connsiteY3043" fmla="*/ 4321527 h 6479439"/>
              <a:gd name="connsiteX3044" fmla="*/ 8385779 w 9586368"/>
              <a:gd name="connsiteY3044" fmla="*/ 4325566 h 6479439"/>
              <a:gd name="connsiteX3045" fmla="*/ 8375869 w 9586368"/>
              <a:gd name="connsiteY3045" fmla="*/ 4325566 h 6479439"/>
              <a:gd name="connsiteX3046" fmla="*/ 8371850 w 9586368"/>
              <a:gd name="connsiteY3046" fmla="*/ 4321527 h 6479439"/>
              <a:gd name="connsiteX3047" fmla="*/ 8371850 w 9586368"/>
              <a:gd name="connsiteY3047" fmla="*/ 4311656 h 6479439"/>
              <a:gd name="connsiteX3048" fmla="*/ 8136553 w 9586368"/>
              <a:gd name="connsiteY3048" fmla="*/ 4307617 h 6479439"/>
              <a:gd name="connsiteX3049" fmla="*/ 8146464 w 9586368"/>
              <a:gd name="connsiteY3049" fmla="*/ 4307617 h 6479439"/>
              <a:gd name="connsiteX3050" fmla="*/ 8150483 w 9586368"/>
              <a:gd name="connsiteY3050" fmla="*/ 4311656 h 6479439"/>
              <a:gd name="connsiteX3051" fmla="*/ 8150483 w 9586368"/>
              <a:gd name="connsiteY3051" fmla="*/ 4321527 h 6479439"/>
              <a:gd name="connsiteX3052" fmla="*/ 8146464 w 9586368"/>
              <a:gd name="connsiteY3052" fmla="*/ 4325566 h 6479439"/>
              <a:gd name="connsiteX3053" fmla="*/ 8136553 w 9586368"/>
              <a:gd name="connsiteY3053" fmla="*/ 4325566 h 6479439"/>
              <a:gd name="connsiteX3054" fmla="*/ 8132534 w 9586368"/>
              <a:gd name="connsiteY3054" fmla="*/ 4321527 h 6479439"/>
              <a:gd name="connsiteX3055" fmla="*/ 8132534 w 9586368"/>
              <a:gd name="connsiteY3055" fmla="*/ 4311656 h 6479439"/>
              <a:gd name="connsiteX3056" fmla="*/ 7897241 w 9586368"/>
              <a:gd name="connsiteY3056" fmla="*/ 4307617 h 6479439"/>
              <a:gd name="connsiteX3057" fmla="*/ 7907151 w 9586368"/>
              <a:gd name="connsiteY3057" fmla="*/ 4307617 h 6479439"/>
              <a:gd name="connsiteX3058" fmla="*/ 7911170 w 9586368"/>
              <a:gd name="connsiteY3058" fmla="*/ 4311656 h 6479439"/>
              <a:gd name="connsiteX3059" fmla="*/ 7911170 w 9586368"/>
              <a:gd name="connsiteY3059" fmla="*/ 4321527 h 6479439"/>
              <a:gd name="connsiteX3060" fmla="*/ 7907151 w 9586368"/>
              <a:gd name="connsiteY3060" fmla="*/ 4325566 h 6479439"/>
              <a:gd name="connsiteX3061" fmla="*/ 7897241 w 9586368"/>
              <a:gd name="connsiteY3061" fmla="*/ 4325566 h 6479439"/>
              <a:gd name="connsiteX3062" fmla="*/ 7893222 w 9586368"/>
              <a:gd name="connsiteY3062" fmla="*/ 4321527 h 6479439"/>
              <a:gd name="connsiteX3063" fmla="*/ 7893222 w 9586368"/>
              <a:gd name="connsiteY3063" fmla="*/ 4311656 h 6479439"/>
              <a:gd name="connsiteX3064" fmla="*/ 7657926 w 9586368"/>
              <a:gd name="connsiteY3064" fmla="*/ 4307617 h 6479439"/>
              <a:gd name="connsiteX3065" fmla="*/ 7667836 w 9586368"/>
              <a:gd name="connsiteY3065" fmla="*/ 4307617 h 6479439"/>
              <a:gd name="connsiteX3066" fmla="*/ 7671855 w 9586368"/>
              <a:gd name="connsiteY3066" fmla="*/ 4311656 h 6479439"/>
              <a:gd name="connsiteX3067" fmla="*/ 7671855 w 9586368"/>
              <a:gd name="connsiteY3067" fmla="*/ 4321527 h 6479439"/>
              <a:gd name="connsiteX3068" fmla="*/ 7667836 w 9586368"/>
              <a:gd name="connsiteY3068" fmla="*/ 4325566 h 6479439"/>
              <a:gd name="connsiteX3069" fmla="*/ 7657926 w 9586368"/>
              <a:gd name="connsiteY3069" fmla="*/ 4325566 h 6479439"/>
              <a:gd name="connsiteX3070" fmla="*/ 7653906 w 9586368"/>
              <a:gd name="connsiteY3070" fmla="*/ 4321527 h 6479439"/>
              <a:gd name="connsiteX3071" fmla="*/ 7653906 w 9586368"/>
              <a:gd name="connsiteY3071" fmla="*/ 4311656 h 6479439"/>
              <a:gd name="connsiteX3072" fmla="*/ 7418611 w 9586368"/>
              <a:gd name="connsiteY3072" fmla="*/ 4307617 h 6479439"/>
              <a:gd name="connsiteX3073" fmla="*/ 7428521 w 9586368"/>
              <a:gd name="connsiteY3073" fmla="*/ 4307617 h 6479439"/>
              <a:gd name="connsiteX3074" fmla="*/ 7432540 w 9586368"/>
              <a:gd name="connsiteY3074" fmla="*/ 4311656 h 6479439"/>
              <a:gd name="connsiteX3075" fmla="*/ 7432540 w 9586368"/>
              <a:gd name="connsiteY3075" fmla="*/ 4321527 h 6479439"/>
              <a:gd name="connsiteX3076" fmla="*/ 7428521 w 9586368"/>
              <a:gd name="connsiteY3076" fmla="*/ 4325566 h 6479439"/>
              <a:gd name="connsiteX3077" fmla="*/ 7418611 w 9586368"/>
              <a:gd name="connsiteY3077" fmla="*/ 4325566 h 6479439"/>
              <a:gd name="connsiteX3078" fmla="*/ 7414592 w 9586368"/>
              <a:gd name="connsiteY3078" fmla="*/ 4321527 h 6479439"/>
              <a:gd name="connsiteX3079" fmla="*/ 7414592 w 9586368"/>
              <a:gd name="connsiteY3079" fmla="*/ 4311656 h 6479439"/>
              <a:gd name="connsiteX3080" fmla="*/ 7179298 w 9586368"/>
              <a:gd name="connsiteY3080" fmla="*/ 4307617 h 6479439"/>
              <a:gd name="connsiteX3081" fmla="*/ 7189209 w 9586368"/>
              <a:gd name="connsiteY3081" fmla="*/ 4307617 h 6479439"/>
              <a:gd name="connsiteX3082" fmla="*/ 7193228 w 9586368"/>
              <a:gd name="connsiteY3082" fmla="*/ 4311656 h 6479439"/>
              <a:gd name="connsiteX3083" fmla="*/ 7193228 w 9586368"/>
              <a:gd name="connsiteY3083" fmla="*/ 4321527 h 6479439"/>
              <a:gd name="connsiteX3084" fmla="*/ 7189209 w 9586368"/>
              <a:gd name="connsiteY3084" fmla="*/ 4325566 h 6479439"/>
              <a:gd name="connsiteX3085" fmla="*/ 7179298 w 9586368"/>
              <a:gd name="connsiteY3085" fmla="*/ 4325566 h 6479439"/>
              <a:gd name="connsiteX3086" fmla="*/ 7175279 w 9586368"/>
              <a:gd name="connsiteY3086" fmla="*/ 4321527 h 6479439"/>
              <a:gd name="connsiteX3087" fmla="*/ 7175279 w 9586368"/>
              <a:gd name="connsiteY3087" fmla="*/ 4311656 h 6479439"/>
              <a:gd name="connsiteX3088" fmla="*/ 6939983 w 9586368"/>
              <a:gd name="connsiteY3088" fmla="*/ 4307617 h 6479439"/>
              <a:gd name="connsiteX3089" fmla="*/ 6949894 w 9586368"/>
              <a:gd name="connsiteY3089" fmla="*/ 4307617 h 6479439"/>
              <a:gd name="connsiteX3090" fmla="*/ 6953913 w 9586368"/>
              <a:gd name="connsiteY3090" fmla="*/ 4311656 h 6479439"/>
              <a:gd name="connsiteX3091" fmla="*/ 6953913 w 9586368"/>
              <a:gd name="connsiteY3091" fmla="*/ 4321527 h 6479439"/>
              <a:gd name="connsiteX3092" fmla="*/ 6949894 w 9586368"/>
              <a:gd name="connsiteY3092" fmla="*/ 4325566 h 6479439"/>
              <a:gd name="connsiteX3093" fmla="*/ 6939983 w 9586368"/>
              <a:gd name="connsiteY3093" fmla="*/ 4325566 h 6479439"/>
              <a:gd name="connsiteX3094" fmla="*/ 6935964 w 9586368"/>
              <a:gd name="connsiteY3094" fmla="*/ 4321527 h 6479439"/>
              <a:gd name="connsiteX3095" fmla="*/ 6935964 w 9586368"/>
              <a:gd name="connsiteY3095" fmla="*/ 4311656 h 6479439"/>
              <a:gd name="connsiteX3096" fmla="*/ 6700670 w 9586368"/>
              <a:gd name="connsiteY3096" fmla="*/ 4307617 h 6479439"/>
              <a:gd name="connsiteX3097" fmla="*/ 6710581 w 9586368"/>
              <a:gd name="connsiteY3097" fmla="*/ 4307617 h 6479439"/>
              <a:gd name="connsiteX3098" fmla="*/ 6714600 w 9586368"/>
              <a:gd name="connsiteY3098" fmla="*/ 4311656 h 6479439"/>
              <a:gd name="connsiteX3099" fmla="*/ 6714600 w 9586368"/>
              <a:gd name="connsiteY3099" fmla="*/ 4321527 h 6479439"/>
              <a:gd name="connsiteX3100" fmla="*/ 6710581 w 9586368"/>
              <a:gd name="connsiteY3100" fmla="*/ 4325566 h 6479439"/>
              <a:gd name="connsiteX3101" fmla="*/ 6700670 w 9586368"/>
              <a:gd name="connsiteY3101" fmla="*/ 4325566 h 6479439"/>
              <a:gd name="connsiteX3102" fmla="*/ 6696651 w 9586368"/>
              <a:gd name="connsiteY3102" fmla="*/ 4321527 h 6479439"/>
              <a:gd name="connsiteX3103" fmla="*/ 6696651 w 9586368"/>
              <a:gd name="connsiteY3103" fmla="*/ 4311656 h 6479439"/>
              <a:gd name="connsiteX3104" fmla="*/ 6461356 w 9586368"/>
              <a:gd name="connsiteY3104" fmla="*/ 4307617 h 6479439"/>
              <a:gd name="connsiteX3105" fmla="*/ 6471266 w 9586368"/>
              <a:gd name="connsiteY3105" fmla="*/ 4307617 h 6479439"/>
              <a:gd name="connsiteX3106" fmla="*/ 6475285 w 9586368"/>
              <a:gd name="connsiteY3106" fmla="*/ 4311656 h 6479439"/>
              <a:gd name="connsiteX3107" fmla="*/ 6475285 w 9586368"/>
              <a:gd name="connsiteY3107" fmla="*/ 4321527 h 6479439"/>
              <a:gd name="connsiteX3108" fmla="*/ 6471266 w 9586368"/>
              <a:gd name="connsiteY3108" fmla="*/ 4325566 h 6479439"/>
              <a:gd name="connsiteX3109" fmla="*/ 6461356 w 9586368"/>
              <a:gd name="connsiteY3109" fmla="*/ 4325566 h 6479439"/>
              <a:gd name="connsiteX3110" fmla="*/ 6457337 w 9586368"/>
              <a:gd name="connsiteY3110" fmla="*/ 4321527 h 6479439"/>
              <a:gd name="connsiteX3111" fmla="*/ 6457337 w 9586368"/>
              <a:gd name="connsiteY3111" fmla="*/ 4311656 h 6479439"/>
              <a:gd name="connsiteX3112" fmla="*/ 6222042 w 9586368"/>
              <a:gd name="connsiteY3112" fmla="*/ 4307617 h 6479439"/>
              <a:gd name="connsiteX3113" fmla="*/ 6231952 w 9586368"/>
              <a:gd name="connsiteY3113" fmla="*/ 4307617 h 6479439"/>
              <a:gd name="connsiteX3114" fmla="*/ 6235971 w 9586368"/>
              <a:gd name="connsiteY3114" fmla="*/ 4311656 h 6479439"/>
              <a:gd name="connsiteX3115" fmla="*/ 6235971 w 9586368"/>
              <a:gd name="connsiteY3115" fmla="*/ 4321527 h 6479439"/>
              <a:gd name="connsiteX3116" fmla="*/ 6231952 w 9586368"/>
              <a:gd name="connsiteY3116" fmla="*/ 4325566 h 6479439"/>
              <a:gd name="connsiteX3117" fmla="*/ 6222042 w 9586368"/>
              <a:gd name="connsiteY3117" fmla="*/ 4325566 h 6479439"/>
              <a:gd name="connsiteX3118" fmla="*/ 6218023 w 9586368"/>
              <a:gd name="connsiteY3118" fmla="*/ 4321527 h 6479439"/>
              <a:gd name="connsiteX3119" fmla="*/ 6218023 w 9586368"/>
              <a:gd name="connsiteY3119" fmla="*/ 4311656 h 6479439"/>
              <a:gd name="connsiteX3120" fmla="*/ 5982729 w 9586368"/>
              <a:gd name="connsiteY3120" fmla="*/ 4307617 h 6479439"/>
              <a:gd name="connsiteX3121" fmla="*/ 5992639 w 9586368"/>
              <a:gd name="connsiteY3121" fmla="*/ 4307617 h 6479439"/>
              <a:gd name="connsiteX3122" fmla="*/ 5996658 w 9586368"/>
              <a:gd name="connsiteY3122" fmla="*/ 4311656 h 6479439"/>
              <a:gd name="connsiteX3123" fmla="*/ 5996658 w 9586368"/>
              <a:gd name="connsiteY3123" fmla="*/ 4321527 h 6479439"/>
              <a:gd name="connsiteX3124" fmla="*/ 5992639 w 9586368"/>
              <a:gd name="connsiteY3124" fmla="*/ 4325566 h 6479439"/>
              <a:gd name="connsiteX3125" fmla="*/ 5982729 w 9586368"/>
              <a:gd name="connsiteY3125" fmla="*/ 4325566 h 6479439"/>
              <a:gd name="connsiteX3126" fmla="*/ 5978710 w 9586368"/>
              <a:gd name="connsiteY3126" fmla="*/ 4321527 h 6479439"/>
              <a:gd name="connsiteX3127" fmla="*/ 5978710 w 9586368"/>
              <a:gd name="connsiteY3127" fmla="*/ 4311656 h 6479439"/>
              <a:gd name="connsiteX3128" fmla="*/ 5743412 w 9586368"/>
              <a:gd name="connsiteY3128" fmla="*/ 4307617 h 6479439"/>
              <a:gd name="connsiteX3129" fmla="*/ 5753323 w 9586368"/>
              <a:gd name="connsiteY3129" fmla="*/ 4307617 h 6479439"/>
              <a:gd name="connsiteX3130" fmla="*/ 5757342 w 9586368"/>
              <a:gd name="connsiteY3130" fmla="*/ 4311656 h 6479439"/>
              <a:gd name="connsiteX3131" fmla="*/ 5757342 w 9586368"/>
              <a:gd name="connsiteY3131" fmla="*/ 4321527 h 6479439"/>
              <a:gd name="connsiteX3132" fmla="*/ 5753323 w 9586368"/>
              <a:gd name="connsiteY3132" fmla="*/ 4325566 h 6479439"/>
              <a:gd name="connsiteX3133" fmla="*/ 5743412 w 9586368"/>
              <a:gd name="connsiteY3133" fmla="*/ 4325566 h 6479439"/>
              <a:gd name="connsiteX3134" fmla="*/ 5739393 w 9586368"/>
              <a:gd name="connsiteY3134" fmla="*/ 4321527 h 6479439"/>
              <a:gd name="connsiteX3135" fmla="*/ 5739393 w 9586368"/>
              <a:gd name="connsiteY3135" fmla="*/ 4311656 h 6479439"/>
              <a:gd name="connsiteX3136" fmla="*/ 5504099 w 9586368"/>
              <a:gd name="connsiteY3136" fmla="*/ 4307617 h 6479439"/>
              <a:gd name="connsiteX3137" fmla="*/ 5514010 w 9586368"/>
              <a:gd name="connsiteY3137" fmla="*/ 4307617 h 6479439"/>
              <a:gd name="connsiteX3138" fmla="*/ 5518029 w 9586368"/>
              <a:gd name="connsiteY3138" fmla="*/ 4311656 h 6479439"/>
              <a:gd name="connsiteX3139" fmla="*/ 5518029 w 9586368"/>
              <a:gd name="connsiteY3139" fmla="*/ 4321527 h 6479439"/>
              <a:gd name="connsiteX3140" fmla="*/ 5514010 w 9586368"/>
              <a:gd name="connsiteY3140" fmla="*/ 4325566 h 6479439"/>
              <a:gd name="connsiteX3141" fmla="*/ 5504099 w 9586368"/>
              <a:gd name="connsiteY3141" fmla="*/ 4325566 h 6479439"/>
              <a:gd name="connsiteX3142" fmla="*/ 5500080 w 9586368"/>
              <a:gd name="connsiteY3142" fmla="*/ 4321527 h 6479439"/>
              <a:gd name="connsiteX3143" fmla="*/ 5500080 w 9586368"/>
              <a:gd name="connsiteY3143" fmla="*/ 4311656 h 6479439"/>
              <a:gd name="connsiteX3144" fmla="*/ 5264784 w 9586368"/>
              <a:gd name="connsiteY3144" fmla="*/ 4307617 h 6479439"/>
              <a:gd name="connsiteX3145" fmla="*/ 5274694 w 9586368"/>
              <a:gd name="connsiteY3145" fmla="*/ 4307617 h 6479439"/>
              <a:gd name="connsiteX3146" fmla="*/ 5278713 w 9586368"/>
              <a:gd name="connsiteY3146" fmla="*/ 4311656 h 6479439"/>
              <a:gd name="connsiteX3147" fmla="*/ 5278713 w 9586368"/>
              <a:gd name="connsiteY3147" fmla="*/ 4321527 h 6479439"/>
              <a:gd name="connsiteX3148" fmla="*/ 5274694 w 9586368"/>
              <a:gd name="connsiteY3148" fmla="*/ 4325566 h 6479439"/>
              <a:gd name="connsiteX3149" fmla="*/ 5264784 w 9586368"/>
              <a:gd name="connsiteY3149" fmla="*/ 4325566 h 6479439"/>
              <a:gd name="connsiteX3150" fmla="*/ 5260765 w 9586368"/>
              <a:gd name="connsiteY3150" fmla="*/ 4321527 h 6479439"/>
              <a:gd name="connsiteX3151" fmla="*/ 5260765 w 9586368"/>
              <a:gd name="connsiteY3151" fmla="*/ 4311656 h 6479439"/>
              <a:gd name="connsiteX3152" fmla="*/ 5025470 w 9586368"/>
              <a:gd name="connsiteY3152" fmla="*/ 4307617 h 6479439"/>
              <a:gd name="connsiteX3153" fmla="*/ 5035381 w 9586368"/>
              <a:gd name="connsiteY3153" fmla="*/ 4307617 h 6479439"/>
              <a:gd name="connsiteX3154" fmla="*/ 5039400 w 9586368"/>
              <a:gd name="connsiteY3154" fmla="*/ 4311656 h 6479439"/>
              <a:gd name="connsiteX3155" fmla="*/ 5039400 w 9586368"/>
              <a:gd name="connsiteY3155" fmla="*/ 4321527 h 6479439"/>
              <a:gd name="connsiteX3156" fmla="*/ 5035381 w 9586368"/>
              <a:gd name="connsiteY3156" fmla="*/ 4325566 h 6479439"/>
              <a:gd name="connsiteX3157" fmla="*/ 5025470 w 9586368"/>
              <a:gd name="connsiteY3157" fmla="*/ 4325566 h 6479439"/>
              <a:gd name="connsiteX3158" fmla="*/ 5021451 w 9586368"/>
              <a:gd name="connsiteY3158" fmla="*/ 4321527 h 6479439"/>
              <a:gd name="connsiteX3159" fmla="*/ 5021451 w 9586368"/>
              <a:gd name="connsiteY3159" fmla="*/ 4311656 h 6479439"/>
              <a:gd name="connsiteX3160" fmla="*/ 4786241 w 9586368"/>
              <a:gd name="connsiteY3160" fmla="*/ 4307617 h 6479439"/>
              <a:gd name="connsiteX3161" fmla="*/ 4796152 w 9586368"/>
              <a:gd name="connsiteY3161" fmla="*/ 4307617 h 6479439"/>
              <a:gd name="connsiteX3162" fmla="*/ 4800171 w 9586368"/>
              <a:gd name="connsiteY3162" fmla="*/ 4311656 h 6479439"/>
              <a:gd name="connsiteX3163" fmla="*/ 4800171 w 9586368"/>
              <a:gd name="connsiteY3163" fmla="*/ 4321527 h 6479439"/>
              <a:gd name="connsiteX3164" fmla="*/ 4796152 w 9586368"/>
              <a:gd name="connsiteY3164" fmla="*/ 4325566 h 6479439"/>
              <a:gd name="connsiteX3165" fmla="*/ 4786241 w 9586368"/>
              <a:gd name="connsiteY3165" fmla="*/ 4325566 h 6479439"/>
              <a:gd name="connsiteX3166" fmla="*/ 4782224 w 9586368"/>
              <a:gd name="connsiteY3166" fmla="*/ 4321527 h 6479439"/>
              <a:gd name="connsiteX3167" fmla="*/ 4782224 w 9586368"/>
              <a:gd name="connsiteY3167" fmla="*/ 4311656 h 6479439"/>
              <a:gd name="connsiteX3168" fmla="*/ 4546929 w 9586368"/>
              <a:gd name="connsiteY3168" fmla="*/ 4307617 h 6479439"/>
              <a:gd name="connsiteX3169" fmla="*/ 4556840 w 9586368"/>
              <a:gd name="connsiteY3169" fmla="*/ 4307617 h 6479439"/>
              <a:gd name="connsiteX3170" fmla="*/ 4560859 w 9586368"/>
              <a:gd name="connsiteY3170" fmla="*/ 4311656 h 6479439"/>
              <a:gd name="connsiteX3171" fmla="*/ 4560859 w 9586368"/>
              <a:gd name="connsiteY3171" fmla="*/ 4321527 h 6479439"/>
              <a:gd name="connsiteX3172" fmla="*/ 4556840 w 9586368"/>
              <a:gd name="connsiteY3172" fmla="*/ 4325566 h 6479439"/>
              <a:gd name="connsiteX3173" fmla="*/ 4546929 w 9586368"/>
              <a:gd name="connsiteY3173" fmla="*/ 4325566 h 6479439"/>
              <a:gd name="connsiteX3174" fmla="*/ 4542910 w 9586368"/>
              <a:gd name="connsiteY3174" fmla="*/ 4321527 h 6479439"/>
              <a:gd name="connsiteX3175" fmla="*/ 4542910 w 9586368"/>
              <a:gd name="connsiteY3175" fmla="*/ 4311656 h 6479439"/>
              <a:gd name="connsiteX3176" fmla="*/ 4307612 w 9586368"/>
              <a:gd name="connsiteY3176" fmla="*/ 4307617 h 6479439"/>
              <a:gd name="connsiteX3177" fmla="*/ 4317523 w 9586368"/>
              <a:gd name="connsiteY3177" fmla="*/ 4307617 h 6479439"/>
              <a:gd name="connsiteX3178" fmla="*/ 4321543 w 9586368"/>
              <a:gd name="connsiteY3178" fmla="*/ 4311656 h 6479439"/>
              <a:gd name="connsiteX3179" fmla="*/ 4321543 w 9586368"/>
              <a:gd name="connsiteY3179" fmla="*/ 4321527 h 6479439"/>
              <a:gd name="connsiteX3180" fmla="*/ 4317523 w 9586368"/>
              <a:gd name="connsiteY3180" fmla="*/ 4325566 h 6479439"/>
              <a:gd name="connsiteX3181" fmla="*/ 4307612 w 9586368"/>
              <a:gd name="connsiteY3181" fmla="*/ 4325566 h 6479439"/>
              <a:gd name="connsiteX3182" fmla="*/ 4303595 w 9586368"/>
              <a:gd name="connsiteY3182" fmla="*/ 4321527 h 6479439"/>
              <a:gd name="connsiteX3183" fmla="*/ 4303595 w 9586368"/>
              <a:gd name="connsiteY3183" fmla="*/ 4311656 h 6479439"/>
              <a:gd name="connsiteX3184" fmla="*/ 4068297 w 9586368"/>
              <a:gd name="connsiteY3184" fmla="*/ 4307617 h 6479439"/>
              <a:gd name="connsiteX3185" fmla="*/ 4078210 w 9586368"/>
              <a:gd name="connsiteY3185" fmla="*/ 4307617 h 6479439"/>
              <a:gd name="connsiteX3186" fmla="*/ 4082229 w 9586368"/>
              <a:gd name="connsiteY3186" fmla="*/ 4311656 h 6479439"/>
              <a:gd name="connsiteX3187" fmla="*/ 4082229 w 9586368"/>
              <a:gd name="connsiteY3187" fmla="*/ 4321527 h 6479439"/>
              <a:gd name="connsiteX3188" fmla="*/ 4078210 w 9586368"/>
              <a:gd name="connsiteY3188" fmla="*/ 4325566 h 6479439"/>
              <a:gd name="connsiteX3189" fmla="*/ 4068297 w 9586368"/>
              <a:gd name="connsiteY3189" fmla="*/ 4325566 h 6479439"/>
              <a:gd name="connsiteX3190" fmla="*/ 4064278 w 9586368"/>
              <a:gd name="connsiteY3190" fmla="*/ 4321527 h 6479439"/>
              <a:gd name="connsiteX3191" fmla="*/ 4064278 w 9586368"/>
              <a:gd name="connsiteY3191" fmla="*/ 4311656 h 6479439"/>
              <a:gd name="connsiteX3192" fmla="*/ 3828990 w 9586368"/>
              <a:gd name="connsiteY3192" fmla="*/ 4307617 h 6479439"/>
              <a:gd name="connsiteX3193" fmla="*/ 3838899 w 9586368"/>
              <a:gd name="connsiteY3193" fmla="*/ 4307617 h 6479439"/>
              <a:gd name="connsiteX3194" fmla="*/ 3842917 w 9586368"/>
              <a:gd name="connsiteY3194" fmla="*/ 4311656 h 6479439"/>
              <a:gd name="connsiteX3195" fmla="*/ 3842917 w 9586368"/>
              <a:gd name="connsiteY3195" fmla="*/ 4321527 h 6479439"/>
              <a:gd name="connsiteX3196" fmla="*/ 3838899 w 9586368"/>
              <a:gd name="connsiteY3196" fmla="*/ 4325566 h 6479439"/>
              <a:gd name="connsiteX3197" fmla="*/ 3828990 w 9586368"/>
              <a:gd name="connsiteY3197" fmla="*/ 4325566 h 6479439"/>
              <a:gd name="connsiteX3198" fmla="*/ 3824971 w 9586368"/>
              <a:gd name="connsiteY3198" fmla="*/ 4321527 h 6479439"/>
              <a:gd name="connsiteX3199" fmla="*/ 3824971 w 9586368"/>
              <a:gd name="connsiteY3199" fmla="*/ 4311656 h 6479439"/>
              <a:gd name="connsiteX3200" fmla="*/ 3589676 w 9586368"/>
              <a:gd name="connsiteY3200" fmla="*/ 4307617 h 6479439"/>
              <a:gd name="connsiteX3201" fmla="*/ 3599585 w 9586368"/>
              <a:gd name="connsiteY3201" fmla="*/ 4307617 h 6479439"/>
              <a:gd name="connsiteX3202" fmla="*/ 3603604 w 9586368"/>
              <a:gd name="connsiteY3202" fmla="*/ 4311656 h 6479439"/>
              <a:gd name="connsiteX3203" fmla="*/ 3603604 w 9586368"/>
              <a:gd name="connsiteY3203" fmla="*/ 4321527 h 6479439"/>
              <a:gd name="connsiteX3204" fmla="*/ 3599585 w 9586368"/>
              <a:gd name="connsiteY3204" fmla="*/ 4325566 h 6479439"/>
              <a:gd name="connsiteX3205" fmla="*/ 3589676 w 9586368"/>
              <a:gd name="connsiteY3205" fmla="*/ 4325566 h 6479439"/>
              <a:gd name="connsiteX3206" fmla="*/ 3585657 w 9586368"/>
              <a:gd name="connsiteY3206" fmla="*/ 4321527 h 6479439"/>
              <a:gd name="connsiteX3207" fmla="*/ 3585657 w 9586368"/>
              <a:gd name="connsiteY3207" fmla="*/ 4311656 h 6479439"/>
              <a:gd name="connsiteX3208" fmla="*/ 3350359 w 9586368"/>
              <a:gd name="connsiteY3208" fmla="*/ 4307617 h 6479439"/>
              <a:gd name="connsiteX3209" fmla="*/ 3360268 w 9586368"/>
              <a:gd name="connsiteY3209" fmla="*/ 4307617 h 6479439"/>
              <a:gd name="connsiteX3210" fmla="*/ 3364287 w 9586368"/>
              <a:gd name="connsiteY3210" fmla="*/ 4311656 h 6479439"/>
              <a:gd name="connsiteX3211" fmla="*/ 3364287 w 9586368"/>
              <a:gd name="connsiteY3211" fmla="*/ 4321527 h 6479439"/>
              <a:gd name="connsiteX3212" fmla="*/ 3360268 w 9586368"/>
              <a:gd name="connsiteY3212" fmla="*/ 4325566 h 6479439"/>
              <a:gd name="connsiteX3213" fmla="*/ 3350359 w 9586368"/>
              <a:gd name="connsiteY3213" fmla="*/ 4325566 h 6479439"/>
              <a:gd name="connsiteX3214" fmla="*/ 3346340 w 9586368"/>
              <a:gd name="connsiteY3214" fmla="*/ 4321527 h 6479439"/>
              <a:gd name="connsiteX3215" fmla="*/ 3346340 w 9586368"/>
              <a:gd name="connsiteY3215" fmla="*/ 4311656 h 6479439"/>
              <a:gd name="connsiteX3216" fmla="*/ 3111048 w 9586368"/>
              <a:gd name="connsiteY3216" fmla="*/ 4307617 h 6479439"/>
              <a:gd name="connsiteX3217" fmla="*/ 3120959 w 9586368"/>
              <a:gd name="connsiteY3217" fmla="*/ 4307617 h 6479439"/>
              <a:gd name="connsiteX3218" fmla="*/ 3124977 w 9586368"/>
              <a:gd name="connsiteY3218" fmla="*/ 4311656 h 6479439"/>
              <a:gd name="connsiteX3219" fmla="*/ 3124977 w 9586368"/>
              <a:gd name="connsiteY3219" fmla="*/ 4321527 h 6479439"/>
              <a:gd name="connsiteX3220" fmla="*/ 3120959 w 9586368"/>
              <a:gd name="connsiteY3220" fmla="*/ 4325566 h 6479439"/>
              <a:gd name="connsiteX3221" fmla="*/ 3111048 w 9586368"/>
              <a:gd name="connsiteY3221" fmla="*/ 4325566 h 6479439"/>
              <a:gd name="connsiteX3222" fmla="*/ 3107029 w 9586368"/>
              <a:gd name="connsiteY3222" fmla="*/ 4321527 h 6479439"/>
              <a:gd name="connsiteX3223" fmla="*/ 3107029 w 9586368"/>
              <a:gd name="connsiteY3223" fmla="*/ 4311656 h 6479439"/>
              <a:gd name="connsiteX3224" fmla="*/ 2871737 w 9586368"/>
              <a:gd name="connsiteY3224" fmla="*/ 4307617 h 6479439"/>
              <a:gd name="connsiteX3225" fmla="*/ 2881646 w 9586368"/>
              <a:gd name="connsiteY3225" fmla="*/ 4307617 h 6479439"/>
              <a:gd name="connsiteX3226" fmla="*/ 2885666 w 9586368"/>
              <a:gd name="connsiteY3226" fmla="*/ 4311656 h 6479439"/>
              <a:gd name="connsiteX3227" fmla="*/ 2885666 w 9586368"/>
              <a:gd name="connsiteY3227" fmla="*/ 4321527 h 6479439"/>
              <a:gd name="connsiteX3228" fmla="*/ 2881646 w 9586368"/>
              <a:gd name="connsiteY3228" fmla="*/ 4325566 h 6479439"/>
              <a:gd name="connsiteX3229" fmla="*/ 2871737 w 9586368"/>
              <a:gd name="connsiteY3229" fmla="*/ 4325566 h 6479439"/>
              <a:gd name="connsiteX3230" fmla="*/ 2867717 w 9586368"/>
              <a:gd name="connsiteY3230" fmla="*/ 4321527 h 6479439"/>
              <a:gd name="connsiteX3231" fmla="*/ 2867717 w 9586368"/>
              <a:gd name="connsiteY3231" fmla="*/ 4311656 h 6479439"/>
              <a:gd name="connsiteX3232" fmla="*/ 2632423 w 9586368"/>
              <a:gd name="connsiteY3232" fmla="*/ 4307617 h 6479439"/>
              <a:gd name="connsiteX3233" fmla="*/ 2642334 w 9586368"/>
              <a:gd name="connsiteY3233" fmla="*/ 4307617 h 6479439"/>
              <a:gd name="connsiteX3234" fmla="*/ 2646352 w 9586368"/>
              <a:gd name="connsiteY3234" fmla="*/ 4311656 h 6479439"/>
              <a:gd name="connsiteX3235" fmla="*/ 2646352 w 9586368"/>
              <a:gd name="connsiteY3235" fmla="*/ 4321527 h 6479439"/>
              <a:gd name="connsiteX3236" fmla="*/ 2642334 w 9586368"/>
              <a:gd name="connsiteY3236" fmla="*/ 4325566 h 6479439"/>
              <a:gd name="connsiteX3237" fmla="*/ 2632423 w 9586368"/>
              <a:gd name="connsiteY3237" fmla="*/ 4325566 h 6479439"/>
              <a:gd name="connsiteX3238" fmla="*/ 2628404 w 9586368"/>
              <a:gd name="connsiteY3238" fmla="*/ 4321527 h 6479439"/>
              <a:gd name="connsiteX3239" fmla="*/ 2628404 w 9586368"/>
              <a:gd name="connsiteY3239" fmla="*/ 4311656 h 6479439"/>
              <a:gd name="connsiteX3240" fmla="*/ 2393104 w 9586368"/>
              <a:gd name="connsiteY3240" fmla="*/ 4307617 h 6479439"/>
              <a:gd name="connsiteX3241" fmla="*/ 2403015 w 9586368"/>
              <a:gd name="connsiteY3241" fmla="*/ 4307617 h 6479439"/>
              <a:gd name="connsiteX3242" fmla="*/ 2407034 w 9586368"/>
              <a:gd name="connsiteY3242" fmla="*/ 4311656 h 6479439"/>
              <a:gd name="connsiteX3243" fmla="*/ 2407034 w 9586368"/>
              <a:gd name="connsiteY3243" fmla="*/ 4321527 h 6479439"/>
              <a:gd name="connsiteX3244" fmla="*/ 2403015 w 9586368"/>
              <a:gd name="connsiteY3244" fmla="*/ 4325566 h 6479439"/>
              <a:gd name="connsiteX3245" fmla="*/ 2393104 w 9586368"/>
              <a:gd name="connsiteY3245" fmla="*/ 4325566 h 6479439"/>
              <a:gd name="connsiteX3246" fmla="*/ 2389087 w 9586368"/>
              <a:gd name="connsiteY3246" fmla="*/ 4321527 h 6479439"/>
              <a:gd name="connsiteX3247" fmla="*/ 2389087 w 9586368"/>
              <a:gd name="connsiteY3247" fmla="*/ 4311656 h 6479439"/>
              <a:gd name="connsiteX3248" fmla="*/ 721965 w 9586368"/>
              <a:gd name="connsiteY3248" fmla="*/ 4307617 h 6479439"/>
              <a:gd name="connsiteX3249" fmla="*/ 731874 w 9586368"/>
              <a:gd name="connsiteY3249" fmla="*/ 4307617 h 6479439"/>
              <a:gd name="connsiteX3250" fmla="*/ 735893 w 9586368"/>
              <a:gd name="connsiteY3250" fmla="*/ 4311656 h 6479439"/>
              <a:gd name="connsiteX3251" fmla="*/ 735893 w 9586368"/>
              <a:gd name="connsiteY3251" fmla="*/ 4321527 h 6479439"/>
              <a:gd name="connsiteX3252" fmla="*/ 731874 w 9586368"/>
              <a:gd name="connsiteY3252" fmla="*/ 4325566 h 6479439"/>
              <a:gd name="connsiteX3253" fmla="*/ 721965 w 9586368"/>
              <a:gd name="connsiteY3253" fmla="*/ 4325566 h 6479439"/>
              <a:gd name="connsiteX3254" fmla="*/ 717945 w 9586368"/>
              <a:gd name="connsiteY3254" fmla="*/ 4321527 h 6479439"/>
              <a:gd name="connsiteX3255" fmla="*/ 717945 w 9586368"/>
              <a:gd name="connsiteY3255" fmla="*/ 4311656 h 6479439"/>
              <a:gd name="connsiteX3256" fmla="*/ 482652 w 9586368"/>
              <a:gd name="connsiteY3256" fmla="*/ 4307617 h 6479439"/>
              <a:gd name="connsiteX3257" fmla="*/ 492562 w 9586368"/>
              <a:gd name="connsiteY3257" fmla="*/ 4307617 h 6479439"/>
              <a:gd name="connsiteX3258" fmla="*/ 496581 w 9586368"/>
              <a:gd name="connsiteY3258" fmla="*/ 4311656 h 6479439"/>
              <a:gd name="connsiteX3259" fmla="*/ 496581 w 9586368"/>
              <a:gd name="connsiteY3259" fmla="*/ 4321527 h 6479439"/>
              <a:gd name="connsiteX3260" fmla="*/ 492562 w 9586368"/>
              <a:gd name="connsiteY3260" fmla="*/ 4325566 h 6479439"/>
              <a:gd name="connsiteX3261" fmla="*/ 482652 w 9586368"/>
              <a:gd name="connsiteY3261" fmla="*/ 4325566 h 6479439"/>
              <a:gd name="connsiteX3262" fmla="*/ 478633 w 9586368"/>
              <a:gd name="connsiteY3262" fmla="*/ 4321527 h 6479439"/>
              <a:gd name="connsiteX3263" fmla="*/ 478633 w 9586368"/>
              <a:gd name="connsiteY3263" fmla="*/ 4311656 h 6479439"/>
              <a:gd name="connsiteX3264" fmla="*/ 243339 w 9586368"/>
              <a:gd name="connsiteY3264" fmla="*/ 4307617 h 6479439"/>
              <a:gd name="connsiteX3265" fmla="*/ 253249 w 9586368"/>
              <a:gd name="connsiteY3265" fmla="*/ 4307617 h 6479439"/>
              <a:gd name="connsiteX3266" fmla="*/ 257268 w 9586368"/>
              <a:gd name="connsiteY3266" fmla="*/ 4311656 h 6479439"/>
              <a:gd name="connsiteX3267" fmla="*/ 257268 w 9586368"/>
              <a:gd name="connsiteY3267" fmla="*/ 4321527 h 6479439"/>
              <a:gd name="connsiteX3268" fmla="*/ 253249 w 9586368"/>
              <a:gd name="connsiteY3268" fmla="*/ 4325566 h 6479439"/>
              <a:gd name="connsiteX3269" fmla="*/ 243339 w 9586368"/>
              <a:gd name="connsiteY3269" fmla="*/ 4325566 h 6479439"/>
              <a:gd name="connsiteX3270" fmla="*/ 239320 w 9586368"/>
              <a:gd name="connsiteY3270" fmla="*/ 4321527 h 6479439"/>
              <a:gd name="connsiteX3271" fmla="*/ 239320 w 9586368"/>
              <a:gd name="connsiteY3271" fmla="*/ 4311656 h 6479439"/>
              <a:gd name="connsiteX3272" fmla="*/ 4025 w 9586368"/>
              <a:gd name="connsiteY3272" fmla="*/ 4307617 h 6479439"/>
              <a:gd name="connsiteX3273" fmla="*/ 13936 w 9586368"/>
              <a:gd name="connsiteY3273" fmla="*/ 4307617 h 6479439"/>
              <a:gd name="connsiteX3274" fmla="*/ 17955 w 9586368"/>
              <a:gd name="connsiteY3274" fmla="*/ 4311656 h 6479439"/>
              <a:gd name="connsiteX3275" fmla="*/ 17955 w 9586368"/>
              <a:gd name="connsiteY3275" fmla="*/ 4321527 h 6479439"/>
              <a:gd name="connsiteX3276" fmla="*/ 13936 w 9586368"/>
              <a:gd name="connsiteY3276" fmla="*/ 4325566 h 6479439"/>
              <a:gd name="connsiteX3277" fmla="*/ 4025 w 9586368"/>
              <a:gd name="connsiteY3277" fmla="*/ 4325566 h 6479439"/>
              <a:gd name="connsiteX3278" fmla="*/ 7 w 9586368"/>
              <a:gd name="connsiteY3278" fmla="*/ 4321527 h 6479439"/>
              <a:gd name="connsiteX3279" fmla="*/ 7 w 9586368"/>
              <a:gd name="connsiteY3279" fmla="*/ 4311656 h 6479439"/>
              <a:gd name="connsiteX3280" fmla="*/ 9572438 w 9586368"/>
              <a:gd name="connsiteY3280" fmla="*/ 4068339 h 6479439"/>
              <a:gd name="connsiteX3281" fmla="*/ 9582349 w 9586368"/>
              <a:gd name="connsiteY3281" fmla="*/ 4068339 h 6479439"/>
              <a:gd name="connsiteX3282" fmla="*/ 9586368 w 9586368"/>
              <a:gd name="connsiteY3282" fmla="*/ 4072377 h 6479439"/>
              <a:gd name="connsiteX3283" fmla="*/ 9586368 w 9586368"/>
              <a:gd name="connsiteY3283" fmla="*/ 4082248 h 6479439"/>
              <a:gd name="connsiteX3284" fmla="*/ 9582349 w 9586368"/>
              <a:gd name="connsiteY3284" fmla="*/ 4086287 h 6479439"/>
              <a:gd name="connsiteX3285" fmla="*/ 9572438 w 9586368"/>
              <a:gd name="connsiteY3285" fmla="*/ 4086287 h 6479439"/>
              <a:gd name="connsiteX3286" fmla="*/ 9568419 w 9586368"/>
              <a:gd name="connsiteY3286" fmla="*/ 4082248 h 6479439"/>
              <a:gd name="connsiteX3287" fmla="*/ 9568419 w 9586368"/>
              <a:gd name="connsiteY3287" fmla="*/ 4072377 h 6479439"/>
              <a:gd name="connsiteX3288" fmla="*/ 9333125 w 9586368"/>
              <a:gd name="connsiteY3288" fmla="*/ 4068339 h 6479439"/>
              <a:gd name="connsiteX3289" fmla="*/ 9343036 w 9586368"/>
              <a:gd name="connsiteY3289" fmla="*/ 4068339 h 6479439"/>
              <a:gd name="connsiteX3290" fmla="*/ 9347055 w 9586368"/>
              <a:gd name="connsiteY3290" fmla="*/ 4072377 h 6479439"/>
              <a:gd name="connsiteX3291" fmla="*/ 9347055 w 9586368"/>
              <a:gd name="connsiteY3291" fmla="*/ 4082248 h 6479439"/>
              <a:gd name="connsiteX3292" fmla="*/ 9343036 w 9586368"/>
              <a:gd name="connsiteY3292" fmla="*/ 4086287 h 6479439"/>
              <a:gd name="connsiteX3293" fmla="*/ 9333125 w 9586368"/>
              <a:gd name="connsiteY3293" fmla="*/ 4086287 h 6479439"/>
              <a:gd name="connsiteX3294" fmla="*/ 9329106 w 9586368"/>
              <a:gd name="connsiteY3294" fmla="*/ 4082248 h 6479439"/>
              <a:gd name="connsiteX3295" fmla="*/ 9329106 w 9586368"/>
              <a:gd name="connsiteY3295" fmla="*/ 4072377 h 6479439"/>
              <a:gd name="connsiteX3296" fmla="*/ 9093811 w 9586368"/>
              <a:gd name="connsiteY3296" fmla="*/ 4068339 h 6479439"/>
              <a:gd name="connsiteX3297" fmla="*/ 9103722 w 9586368"/>
              <a:gd name="connsiteY3297" fmla="*/ 4068339 h 6479439"/>
              <a:gd name="connsiteX3298" fmla="*/ 9107741 w 9586368"/>
              <a:gd name="connsiteY3298" fmla="*/ 4072377 h 6479439"/>
              <a:gd name="connsiteX3299" fmla="*/ 9107741 w 9586368"/>
              <a:gd name="connsiteY3299" fmla="*/ 4082248 h 6479439"/>
              <a:gd name="connsiteX3300" fmla="*/ 9103722 w 9586368"/>
              <a:gd name="connsiteY3300" fmla="*/ 4086287 h 6479439"/>
              <a:gd name="connsiteX3301" fmla="*/ 9093811 w 9586368"/>
              <a:gd name="connsiteY3301" fmla="*/ 4086287 h 6479439"/>
              <a:gd name="connsiteX3302" fmla="*/ 9089792 w 9586368"/>
              <a:gd name="connsiteY3302" fmla="*/ 4082248 h 6479439"/>
              <a:gd name="connsiteX3303" fmla="*/ 9089792 w 9586368"/>
              <a:gd name="connsiteY3303" fmla="*/ 4072377 h 6479439"/>
              <a:gd name="connsiteX3304" fmla="*/ 8854496 w 9586368"/>
              <a:gd name="connsiteY3304" fmla="*/ 4068339 h 6479439"/>
              <a:gd name="connsiteX3305" fmla="*/ 8864407 w 9586368"/>
              <a:gd name="connsiteY3305" fmla="*/ 4068339 h 6479439"/>
              <a:gd name="connsiteX3306" fmla="*/ 8868426 w 9586368"/>
              <a:gd name="connsiteY3306" fmla="*/ 4072377 h 6479439"/>
              <a:gd name="connsiteX3307" fmla="*/ 8868426 w 9586368"/>
              <a:gd name="connsiteY3307" fmla="*/ 4082248 h 6479439"/>
              <a:gd name="connsiteX3308" fmla="*/ 8864407 w 9586368"/>
              <a:gd name="connsiteY3308" fmla="*/ 4086287 h 6479439"/>
              <a:gd name="connsiteX3309" fmla="*/ 8854496 w 9586368"/>
              <a:gd name="connsiteY3309" fmla="*/ 4086287 h 6479439"/>
              <a:gd name="connsiteX3310" fmla="*/ 8850477 w 9586368"/>
              <a:gd name="connsiteY3310" fmla="*/ 4082248 h 6479439"/>
              <a:gd name="connsiteX3311" fmla="*/ 8850477 w 9586368"/>
              <a:gd name="connsiteY3311" fmla="*/ 4072377 h 6479439"/>
              <a:gd name="connsiteX3312" fmla="*/ 8615184 w 9586368"/>
              <a:gd name="connsiteY3312" fmla="*/ 4068339 h 6479439"/>
              <a:gd name="connsiteX3313" fmla="*/ 8625095 w 9586368"/>
              <a:gd name="connsiteY3313" fmla="*/ 4068339 h 6479439"/>
              <a:gd name="connsiteX3314" fmla="*/ 8629114 w 9586368"/>
              <a:gd name="connsiteY3314" fmla="*/ 4072377 h 6479439"/>
              <a:gd name="connsiteX3315" fmla="*/ 8629114 w 9586368"/>
              <a:gd name="connsiteY3315" fmla="*/ 4082248 h 6479439"/>
              <a:gd name="connsiteX3316" fmla="*/ 8625095 w 9586368"/>
              <a:gd name="connsiteY3316" fmla="*/ 4086287 h 6479439"/>
              <a:gd name="connsiteX3317" fmla="*/ 8615184 w 9586368"/>
              <a:gd name="connsiteY3317" fmla="*/ 4086287 h 6479439"/>
              <a:gd name="connsiteX3318" fmla="*/ 8611165 w 9586368"/>
              <a:gd name="connsiteY3318" fmla="*/ 4082248 h 6479439"/>
              <a:gd name="connsiteX3319" fmla="*/ 8611165 w 9586368"/>
              <a:gd name="connsiteY3319" fmla="*/ 4072377 h 6479439"/>
              <a:gd name="connsiteX3320" fmla="*/ 8375869 w 9586368"/>
              <a:gd name="connsiteY3320" fmla="*/ 4068339 h 6479439"/>
              <a:gd name="connsiteX3321" fmla="*/ 8385779 w 9586368"/>
              <a:gd name="connsiteY3321" fmla="*/ 4068339 h 6479439"/>
              <a:gd name="connsiteX3322" fmla="*/ 8389799 w 9586368"/>
              <a:gd name="connsiteY3322" fmla="*/ 4072377 h 6479439"/>
              <a:gd name="connsiteX3323" fmla="*/ 8389799 w 9586368"/>
              <a:gd name="connsiteY3323" fmla="*/ 4082248 h 6479439"/>
              <a:gd name="connsiteX3324" fmla="*/ 8385779 w 9586368"/>
              <a:gd name="connsiteY3324" fmla="*/ 4086287 h 6479439"/>
              <a:gd name="connsiteX3325" fmla="*/ 8375869 w 9586368"/>
              <a:gd name="connsiteY3325" fmla="*/ 4086287 h 6479439"/>
              <a:gd name="connsiteX3326" fmla="*/ 8371850 w 9586368"/>
              <a:gd name="connsiteY3326" fmla="*/ 4082248 h 6479439"/>
              <a:gd name="connsiteX3327" fmla="*/ 8371850 w 9586368"/>
              <a:gd name="connsiteY3327" fmla="*/ 4072377 h 6479439"/>
              <a:gd name="connsiteX3328" fmla="*/ 8136553 w 9586368"/>
              <a:gd name="connsiteY3328" fmla="*/ 4068339 h 6479439"/>
              <a:gd name="connsiteX3329" fmla="*/ 8146464 w 9586368"/>
              <a:gd name="connsiteY3329" fmla="*/ 4068339 h 6479439"/>
              <a:gd name="connsiteX3330" fmla="*/ 8150483 w 9586368"/>
              <a:gd name="connsiteY3330" fmla="*/ 4072377 h 6479439"/>
              <a:gd name="connsiteX3331" fmla="*/ 8150483 w 9586368"/>
              <a:gd name="connsiteY3331" fmla="*/ 4082248 h 6479439"/>
              <a:gd name="connsiteX3332" fmla="*/ 8146464 w 9586368"/>
              <a:gd name="connsiteY3332" fmla="*/ 4086287 h 6479439"/>
              <a:gd name="connsiteX3333" fmla="*/ 8136553 w 9586368"/>
              <a:gd name="connsiteY3333" fmla="*/ 4086287 h 6479439"/>
              <a:gd name="connsiteX3334" fmla="*/ 8132534 w 9586368"/>
              <a:gd name="connsiteY3334" fmla="*/ 4082248 h 6479439"/>
              <a:gd name="connsiteX3335" fmla="*/ 8132534 w 9586368"/>
              <a:gd name="connsiteY3335" fmla="*/ 4072377 h 6479439"/>
              <a:gd name="connsiteX3336" fmla="*/ 7897241 w 9586368"/>
              <a:gd name="connsiteY3336" fmla="*/ 4068339 h 6479439"/>
              <a:gd name="connsiteX3337" fmla="*/ 7907151 w 9586368"/>
              <a:gd name="connsiteY3337" fmla="*/ 4068339 h 6479439"/>
              <a:gd name="connsiteX3338" fmla="*/ 7911170 w 9586368"/>
              <a:gd name="connsiteY3338" fmla="*/ 4072377 h 6479439"/>
              <a:gd name="connsiteX3339" fmla="*/ 7911170 w 9586368"/>
              <a:gd name="connsiteY3339" fmla="*/ 4082248 h 6479439"/>
              <a:gd name="connsiteX3340" fmla="*/ 7907151 w 9586368"/>
              <a:gd name="connsiteY3340" fmla="*/ 4086287 h 6479439"/>
              <a:gd name="connsiteX3341" fmla="*/ 7897241 w 9586368"/>
              <a:gd name="connsiteY3341" fmla="*/ 4086287 h 6479439"/>
              <a:gd name="connsiteX3342" fmla="*/ 7893222 w 9586368"/>
              <a:gd name="connsiteY3342" fmla="*/ 4082248 h 6479439"/>
              <a:gd name="connsiteX3343" fmla="*/ 7893222 w 9586368"/>
              <a:gd name="connsiteY3343" fmla="*/ 4072377 h 6479439"/>
              <a:gd name="connsiteX3344" fmla="*/ 7657926 w 9586368"/>
              <a:gd name="connsiteY3344" fmla="*/ 4068339 h 6479439"/>
              <a:gd name="connsiteX3345" fmla="*/ 7667836 w 9586368"/>
              <a:gd name="connsiteY3345" fmla="*/ 4068339 h 6479439"/>
              <a:gd name="connsiteX3346" fmla="*/ 7671855 w 9586368"/>
              <a:gd name="connsiteY3346" fmla="*/ 4072377 h 6479439"/>
              <a:gd name="connsiteX3347" fmla="*/ 7671855 w 9586368"/>
              <a:gd name="connsiteY3347" fmla="*/ 4082248 h 6479439"/>
              <a:gd name="connsiteX3348" fmla="*/ 7667836 w 9586368"/>
              <a:gd name="connsiteY3348" fmla="*/ 4086287 h 6479439"/>
              <a:gd name="connsiteX3349" fmla="*/ 7657926 w 9586368"/>
              <a:gd name="connsiteY3349" fmla="*/ 4086287 h 6479439"/>
              <a:gd name="connsiteX3350" fmla="*/ 7653906 w 9586368"/>
              <a:gd name="connsiteY3350" fmla="*/ 4082248 h 6479439"/>
              <a:gd name="connsiteX3351" fmla="*/ 7653906 w 9586368"/>
              <a:gd name="connsiteY3351" fmla="*/ 4072377 h 6479439"/>
              <a:gd name="connsiteX3352" fmla="*/ 7418611 w 9586368"/>
              <a:gd name="connsiteY3352" fmla="*/ 4068339 h 6479439"/>
              <a:gd name="connsiteX3353" fmla="*/ 7428521 w 9586368"/>
              <a:gd name="connsiteY3353" fmla="*/ 4068339 h 6479439"/>
              <a:gd name="connsiteX3354" fmla="*/ 7432540 w 9586368"/>
              <a:gd name="connsiteY3354" fmla="*/ 4072377 h 6479439"/>
              <a:gd name="connsiteX3355" fmla="*/ 7432540 w 9586368"/>
              <a:gd name="connsiteY3355" fmla="*/ 4082248 h 6479439"/>
              <a:gd name="connsiteX3356" fmla="*/ 7428521 w 9586368"/>
              <a:gd name="connsiteY3356" fmla="*/ 4086287 h 6479439"/>
              <a:gd name="connsiteX3357" fmla="*/ 7418611 w 9586368"/>
              <a:gd name="connsiteY3357" fmla="*/ 4086287 h 6479439"/>
              <a:gd name="connsiteX3358" fmla="*/ 7414592 w 9586368"/>
              <a:gd name="connsiteY3358" fmla="*/ 4082248 h 6479439"/>
              <a:gd name="connsiteX3359" fmla="*/ 7414592 w 9586368"/>
              <a:gd name="connsiteY3359" fmla="*/ 4072377 h 6479439"/>
              <a:gd name="connsiteX3360" fmla="*/ 7179298 w 9586368"/>
              <a:gd name="connsiteY3360" fmla="*/ 4068339 h 6479439"/>
              <a:gd name="connsiteX3361" fmla="*/ 7189209 w 9586368"/>
              <a:gd name="connsiteY3361" fmla="*/ 4068339 h 6479439"/>
              <a:gd name="connsiteX3362" fmla="*/ 7193228 w 9586368"/>
              <a:gd name="connsiteY3362" fmla="*/ 4072377 h 6479439"/>
              <a:gd name="connsiteX3363" fmla="*/ 7193228 w 9586368"/>
              <a:gd name="connsiteY3363" fmla="*/ 4082248 h 6479439"/>
              <a:gd name="connsiteX3364" fmla="*/ 7189209 w 9586368"/>
              <a:gd name="connsiteY3364" fmla="*/ 4086287 h 6479439"/>
              <a:gd name="connsiteX3365" fmla="*/ 7179298 w 9586368"/>
              <a:gd name="connsiteY3365" fmla="*/ 4086287 h 6479439"/>
              <a:gd name="connsiteX3366" fmla="*/ 7175279 w 9586368"/>
              <a:gd name="connsiteY3366" fmla="*/ 4082248 h 6479439"/>
              <a:gd name="connsiteX3367" fmla="*/ 7175279 w 9586368"/>
              <a:gd name="connsiteY3367" fmla="*/ 4072377 h 6479439"/>
              <a:gd name="connsiteX3368" fmla="*/ 6939983 w 9586368"/>
              <a:gd name="connsiteY3368" fmla="*/ 4068339 h 6479439"/>
              <a:gd name="connsiteX3369" fmla="*/ 6949894 w 9586368"/>
              <a:gd name="connsiteY3369" fmla="*/ 4068339 h 6479439"/>
              <a:gd name="connsiteX3370" fmla="*/ 6953913 w 9586368"/>
              <a:gd name="connsiteY3370" fmla="*/ 4072377 h 6479439"/>
              <a:gd name="connsiteX3371" fmla="*/ 6953913 w 9586368"/>
              <a:gd name="connsiteY3371" fmla="*/ 4082248 h 6479439"/>
              <a:gd name="connsiteX3372" fmla="*/ 6949894 w 9586368"/>
              <a:gd name="connsiteY3372" fmla="*/ 4086287 h 6479439"/>
              <a:gd name="connsiteX3373" fmla="*/ 6939983 w 9586368"/>
              <a:gd name="connsiteY3373" fmla="*/ 4086287 h 6479439"/>
              <a:gd name="connsiteX3374" fmla="*/ 6935964 w 9586368"/>
              <a:gd name="connsiteY3374" fmla="*/ 4082248 h 6479439"/>
              <a:gd name="connsiteX3375" fmla="*/ 6935964 w 9586368"/>
              <a:gd name="connsiteY3375" fmla="*/ 4072377 h 6479439"/>
              <a:gd name="connsiteX3376" fmla="*/ 6700670 w 9586368"/>
              <a:gd name="connsiteY3376" fmla="*/ 4068339 h 6479439"/>
              <a:gd name="connsiteX3377" fmla="*/ 6710581 w 9586368"/>
              <a:gd name="connsiteY3377" fmla="*/ 4068339 h 6479439"/>
              <a:gd name="connsiteX3378" fmla="*/ 6714600 w 9586368"/>
              <a:gd name="connsiteY3378" fmla="*/ 4072377 h 6479439"/>
              <a:gd name="connsiteX3379" fmla="*/ 6714600 w 9586368"/>
              <a:gd name="connsiteY3379" fmla="*/ 4082248 h 6479439"/>
              <a:gd name="connsiteX3380" fmla="*/ 6710581 w 9586368"/>
              <a:gd name="connsiteY3380" fmla="*/ 4086287 h 6479439"/>
              <a:gd name="connsiteX3381" fmla="*/ 6700670 w 9586368"/>
              <a:gd name="connsiteY3381" fmla="*/ 4086287 h 6479439"/>
              <a:gd name="connsiteX3382" fmla="*/ 6696651 w 9586368"/>
              <a:gd name="connsiteY3382" fmla="*/ 4082248 h 6479439"/>
              <a:gd name="connsiteX3383" fmla="*/ 6696651 w 9586368"/>
              <a:gd name="connsiteY3383" fmla="*/ 4072377 h 6479439"/>
              <a:gd name="connsiteX3384" fmla="*/ 6461356 w 9586368"/>
              <a:gd name="connsiteY3384" fmla="*/ 4068339 h 6479439"/>
              <a:gd name="connsiteX3385" fmla="*/ 6471266 w 9586368"/>
              <a:gd name="connsiteY3385" fmla="*/ 4068339 h 6479439"/>
              <a:gd name="connsiteX3386" fmla="*/ 6475285 w 9586368"/>
              <a:gd name="connsiteY3386" fmla="*/ 4072377 h 6479439"/>
              <a:gd name="connsiteX3387" fmla="*/ 6475285 w 9586368"/>
              <a:gd name="connsiteY3387" fmla="*/ 4082248 h 6479439"/>
              <a:gd name="connsiteX3388" fmla="*/ 6471266 w 9586368"/>
              <a:gd name="connsiteY3388" fmla="*/ 4086287 h 6479439"/>
              <a:gd name="connsiteX3389" fmla="*/ 6461356 w 9586368"/>
              <a:gd name="connsiteY3389" fmla="*/ 4086287 h 6479439"/>
              <a:gd name="connsiteX3390" fmla="*/ 6457337 w 9586368"/>
              <a:gd name="connsiteY3390" fmla="*/ 4082248 h 6479439"/>
              <a:gd name="connsiteX3391" fmla="*/ 6457337 w 9586368"/>
              <a:gd name="connsiteY3391" fmla="*/ 4072377 h 6479439"/>
              <a:gd name="connsiteX3392" fmla="*/ 6222042 w 9586368"/>
              <a:gd name="connsiteY3392" fmla="*/ 4068339 h 6479439"/>
              <a:gd name="connsiteX3393" fmla="*/ 6231952 w 9586368"/>
              <a:gd name="connsiteY3393" fmla="*/ 4068339 h 6479439"/>
              <a:gd name="connsiteX3394" fmla="*/ 6235971 w 9586368"/>
              <a:gd name="connsiteY3394" fmla="*/ 4072377 h 6479439"/>
              <a:gd name="connsiteX3395" fmla="*/ 6235971 w 9586368"/>
              <a:gd name="connsiteY3395" fmla="*/ 4082248 h 6479439"/>
              <a:gd name="connsiteX3396" fmla="*/ 6231952 w 9586368"/>
              <a:gd name="connsiteY3396" fmla="*/ 4086287 h 6479439"/>
              <a:gd name="connsiteX3397" fmla="*/ 6222042 w 9586368"/>
              <a:gd name="connsiteY3397" fmla="*/ 4086287 h 6479439"/>
              <a:gd name="connsiteX3398" fmla="*/ 6218023 w 9586368"/>
              <a:gd name="connsiteY3398" fmla="*/ 4082248 h 6479439"/>
              <a:gd name="connsiteX3399" fmla="*/ 6218023 w 9586368"/>
              <a:gd name="connsiteY3399" fmla="*/ 4072377 h 6479439"/>
              <a:gd name="connsiteX3400" fmla="*/ 5982729 w 9586368"/>
              <a:gd name="connsiteY3400" fmla="*/ 4068339 h 6479439"/>
              <a:gd name="connsiteX3401" fmla="*/ 5992639 w 9586368"/>
              <a:gd name="connsiteY3401" fmla="*/ 4068339 h 6479439"/>
              <a:gd name="connsiteX3402" fmla="*/ 5996658 w 9586368"/>
              <a:gd name="connsiteY3402" fmla="*/ 4072377 h 6479439"/>
              <a:gd name="connsiteX3403" fmla="*/ 5996658 w 9586368"/>
              <a:gd name="connsiteY3403" fmla="*/ 4082248 h 6479439"/>
              <a:gd name="connsiteX3404" fmla="*/ 5992639 w 9586368"/>
              <a:gd name="connsiteY3404" fmla="*/ 4086287 h 6479439"/>
              <a:gd name="connsiteX3405" fmla="*/ 5982729 w 9586368"/>
              <a:gd name="connsiteY3405" fmla="*/ 4086287 h 6479439"/>
              <a:gd name="connsiteX3406" fmla="*/ 5978710 w 9586368"/>
              <a:gd name="connsiteY3406" fmla="*/ 4082248 h 6479439"/>
              <a:gd name="connsiteX3407" fmla="*/ 5978710 w 9586368"/>
              <a:gd name="connsiteY3407" fmla="*/ 4072377 h 6479439"/>
              <a:gd name="connsiteX3408" fmla="*/ 5743412 w 9586368"/>
              <a:gd name="connsiteY3408" fmla="*/ 4068339 h 6479439"/>
              <a:gd name="connsiteX3409" fmla="*/ 5753323 w 9586368"/>
              <a:gd name="connsiteY3409" fmla="*/ 4068339 h 6479439"/>
              <a:gd name="connsiteX3410" fmla="*/ 5757342 w 9586368"/>
              <a:gd name="connsiteY3410" fmla="*/ 4072377 h 6479439"/>
              <a:gd name="connsiteX3411" fmla="*/ 5757342 w 9586368"/>
              <a:gd name="connsiteY3411" fmla="*/ 4082248 h 6479439"/>
              <a:gd name="connsiteX3412" fmla="*/ 5753323 w 9586368"/>
              <a:gd name="connsiteY3412" fmla="*/ 4086287 h 6479439"/>
              <a:gd name="connsiteX3413" fmla="*/ 5743412 w 9586368"/>
              <a:gd name="connsiteY3413" fmla="*/ 4086287 h 6479439"/>
              <a:gd name="connsiteX3414" fmla="*/ 5739393 w 9586368"/>
              <a:gd name="connsiteY3414" fmla="*/ 4082248 h 6479439"/>
              <a:gd name="connsiteX3415" fmla="*/ 5739393 w 9586368"/>
              <a:gd name="connsiteY3415" fmla="*/ 4072377 h 6479439"/>
              <a:gd name="connsiteX3416" fmla="*/ 5504099 w 9586368"/>
              <a:gd name="connsiteY3416" fmla="*/ 4068339 h 6479439"/>
              <a:gd name="connsiteX3417" fmla="*/ 5514010 w 9586368"/>
              <a:gd name="connsiteY3417" fmla="*/ 4068339 h 6479439"/>
              <a:gd name="connsiteX3418" fmla="*/ 5518029 w 9586368"/>
              <a:gd name="connsiteY3418" fmla="*/ 4072377 h 6479439"/>
              <a:gd name="connsiteX3419" fmla="*/ 5518029 w 9586368"/>
              <a:gd name="connsiteY3419" fmla="*/ 4082248 h 6479439"/>
              <a:gd name="connsiteX3420" fmla="*/ 5514010 w 9586368"/>
              <a:gd name="connsiteY3420" fmla="*/ 4086287 h 6479439"/>
              <a:gd name="connsiteX3421" fmla="*/ 5504099 w 9586368"/>
              <a:gd name="connsiteY3421" fmla="*/ 4086287 h 6479439"/>
              <a:gd name="connsiteX3422" fmla="*/ 5500080 w 9586368"/>
              <a:gd name="connsiteY3422" fmla="*/ 4082248 h 6479439"/>
              <a:gd name="connsiteX3423" fmla="*/ 5500080 w 9586368"/>
              <a:gd name="connsiteY3423" fmla="*/ 4072377 h 6479439"/>
              <a:gd name="connsiteX3424" fmla="*/ 5264784 w 9586368"/>
              <a:gd name="connsiteY3424" fmla="*/ 4068339 h 6479439"/>
              <a:gd name="connsiteX3425" fmla="*/ 5274694 w 9586368"/>
              <a:gd name="connsiteY3425" fmla="*/ 4068339 h 6479439"/>
              <a:gd name="connsiteX3426" fmla="*/ 5278713 w 9586368"/>
              <a:gd name="connsiteY3426" fmla="*/ 4072377 h 6479439"/>
              <a:gd name="connsiteX3427" fmla="*/ 5278713 w 9586368"/>
              <a:gd name="connsiteY3427" fmla="*/ 4082248 h 6479439"/>
              <a:gd name="connsiteX3428" fmla="*/ 5274694 w 9586368"/>
              <a:gd name="connsiteY3428" fmla="*/ 4086287 h 6479439"/>
              <a:gd name="connsiteX3429" fmla="*/ 5264784 w 9586368"/>
              <a:gd name="connsiteY3429" fmla="*/ 4086287 h 6479439"/>
              <a:gd name="connsiteX3430" fmla="*/ 5260765 w 9586368"/>
              <a:gd name="connsiteY3430" fmla="*/ 4082248 h 6479439"/>
              <a:gd name="connsiteX3431" fmla="*/ 5260765 w 9586368"/>
              <a:gd name="connsiteY3431" fmla="*/ 4072377 h 6479439"/>
              <a:gd name="connsiteX3432" fmla="*/ 5025470 w 9586368"/>
              <a:gd name="connsiteY3432" fmla="*/ 4068339 h 6479439"/>
              <a:gd name="connsiteX3433" fmla="*/ 5035381 w 9586368"/>
              <a:gd name="connsiteY3433" fmla="*/ 4068339 h 6479439"/>
              <a:gd name="connsiteX3434" fmla="*/ 5039400 w 9586368"/>
              <a:gd name="connsiteY3434" fmla="*/ 4072377 h 6479439"/>
              <a:gd name="connsiteX3435" fmla="*/ 5039400 w 9586368"/>
              <a:gd name="connsiteY3435" fmla="*/ 4082248 h 6479439"/>
              <a:gd name="connsiteX3436" fmla="*/ 5035381 w 9586368"/>
              <a:gd name="connsiteY3436" fmla="*/ 4086287 h 6479439"/>
              <a:gd name="connsiteX3437" fmla="*/ 5025470 w 9586368"/>
              <a:gd name="connsiteY3437" fmla="*/ 4086287 h 6479439"/>
              <a:gd name="connsiteX3438" fmla="*/ 5021451 w 9586368"/>
              <a:gd name="connsiteY3438" fmla="*/ 4082248 h 6479439"/>
              <a:gd name="connsiteX3439" fmla="*/ 5021451 w 9586368"/>
              <a:gd name="connsiteY3439" fmla="*/ 4072377 h 6479439"/>
              <a:gd name="connsiteX3440" fmla="*/ 4786241 w 9586368"/>
              <a:gd name="connsiteY3440" fmla="*/ 4068339 h 6479439"/>
              <a:gd name="connsiteX3441" fmla="*/ 4796152 w 9586368"/>
              <a:gd name="connsiteY3441" fmla="*/ 4068339 h 6479439"/>
              <a:gd name="connsiteX3442" fmla="*/ 4800171 w 9586368"/>
              <a:gd name="connsiteY3442" fmla="*/ 4072377 h 6479439"/>
              <a:gd name="connsiteX3443" fmla="*/ 4800171 w 9586368"/>
              <a:gd name="connsiteY3443" fmla="*/ 4082248 h 6479439"/>
              <a:gd name="connsiteX3444" fmla="*/ 4796152 w 9586368"/>
              <a:gd name="connsiteY3444" fmla="*/ 4086287 h 6479439"/>
              <a:gd name="connsiteX3445" fmla="*/ 4786241 w 9586368"/>
              <a:gd name="connsiteY3445" fmla="*/ 4086287 h 6479439"/>
              <a:gd name="connsiteX3446" fmla="*/ 4782224 w 9586368"/>
              <a:gd name="connsiteY3446" fmla="*/ 4082248 h 6479439"/>
              <a:gd name="connsiteX3447" fmla="*/ 4782224 w 9586368"/>
              <a:gd name="connsiteY3447" fmla="*/ 4072377 h 6479439"/>
              <a:gd name="connsiteX3448" fmla="*/ 4546929 w 9586368"/>
              <a:gd name="connsiteY3448" fmla="*/ 4068339 h 6479439"/>
              <a:gd name="connsiteX3449" fmla="*/ 4556840 w 9586368"/>
              <a:gd name="connsiteY3449" fmla="*/ 4068339 h 6479439"/>
              <a:gd name="connsiteX3450" fmla="*/ 4560859 w 9586368"/>
              <a:gd name="connsiteY3450" fmla="*/ 4072377 h 6479439"/>
              <a:gd name="connsiteX3451" fmla="*/ 4560859 w 9586368"/>
              <a:gd name="connsiteY3451" fmla="*/ 4082248 h 6479439"/>
              <a:gd name="connsiteX3452" fmla="*/ 4556840 w 9586368"/>
              <a:gd name="connsiteY3452" fmla="*/ 4086287 h 6479439"/>
              <a:gd name="connsiteX3453" fmla="*/ 4546929 w 9586368"/>
              <a:gd name="connsiteY3453" fmla="*/ 4086287 h 6479439"/>
              <a:gd name="connsiteX3454" fmla="*/ 4542910 w 9586368"/>
              <a:gd name="connsiteY3454" fmla="*/ 4082248 h 6479439"/>
              <a:gd name="connsiteX3455" fmla="*/ 4542910 w 9586368"/>
              <a:gd name="connsiteY3455" fmla="*/ 4072377 h 6479439"/>
              <a:gd name="connsiteX3456" fmla="*/ 4307612 w 9586368"/>
              <a:gd name="connsiteY3456" fmla="*/ 4068339 h 6479439"/>
              <a:gd name="connsiteX3457" fmla="*/ 4317523 w 9586368"/>
              <a:gd name="connsiteY3457" fmla="*/ 4068339 h 6479439"/>
              <a:gd name="connsiteX3458" fmla="*/ 4321543 w 9586368"/>
              <a:gd name="connsiteY3458" fmla="*/ 4072377 h 6479439"/>
              <a:gd name="connsiteX3459" fmla="*/ 4321543 w 9586368"/>
              <a:gd name="connsiteY3459" fmla="*/ 4082248 h 6479439"/>
              <a:gd name="connsiteX3460" fmla="*/ 4317523 w 9586368"/>
              <a:gd name="connsiteY3460" fmla="*/ 4086287 h 6479439"/>
              <a:gd name="connsiteX3461" fmla="*/ 4307612 w 9586368"/>
              <a:gd name="connsiteY3461" fmla="*/ 4086287 h 6479439"/>
              <a:gd name="connsiteX3462" fmla="*/ 4303595 w 9586368"/>
              <a:gd name="connsiteY3462" fmla="*/ 4082248 h 6479439"/>
              <a:gd name="connsiteX3463" fmla="*/ 4303595 w 9586368"/>
              <a:gd name="connsiteY3463" fmla="*/ 4072377 h 6479439"/>
              <a:gd name="connsiteX3464" fmla="*/ 4068297 w 9586368"/>
              <a:gd name="connsiteY3464" fmla="*/ 4068339 h 6479439"/>
              <a:gd name="connsiteX3465" fmla="*/ 4078210 w 9586368"/>
              <a:gd name="connsiteY3465" fmla="*/ 4068339 h 6479439"/>
              <a:gd name="connsiteX3466" fmla="*/ 4082229 w 9586368"/>
              <a:gd name="connsiteY3466" fmla="*/ 4072377 h 6479439"/>
              <a:gd name="connsiteX3467" fmla="*/ 4082229 w 9586368"/>
              <a:gd name="connsiteY3467" fmla="*/ 4082248 h 6479439"/>
              <a:gd name="connsiteX3468" fmla="*/ 4078210 w 9586368"/>
              <a:gd name="connsiteY3468" fmla="*/ 4086287 h 6479439"/>
              <a:gd name="connsiteX3469" fmla="*/ 4068297 w 9586368"/>
              <a:gd name="connsiteY3469" fmla="*/ 4086287 h 6479439"/>
              <a:gd name="connsiteX3470" fmla="*/ 4064278 w 9586368"/>
              <a:gd name="connsiteY3470" fmla="*/ 4082248 h 6479439"/>
              <a:gd name="connsiteX3471" fmla="*/ 4064278 w 9586368"/>
              <a:gd name="connsiteY3471" fmla="*/ 4072377 h 6479439"/>
              <a:gd name="connsiteX3472" fmla="*/ 3828990 w 9586368"/>
              <a:gd name="connsiteY3472" fmla="*/ 4068339 h 6479439"/>
              <a:gd name="connsiteX3473" fmla="*/ 3838899 w 9586368"/>
              <a:gd name="connsiteY3473" fmla="*/ 4068339 h 6479439"/>
              <a:gd name="connsiteX3474" fmla="*/ 3842917 w 9586368"/>
              <a:gd name="connsiteY3474" fmla="*/ 4072377 h 6479439"/>
              <a:gd name="connsiteX3475" fmla="*/ 3842917 w 9586368"/>
              <a:gd name="connsiteY3475" fmla="*/ 4082248 h 6479439"/>
              <a:gd name="connsiteX3476" fmla="*/ 3838899 w 9586368"/>
              <a:gd name="connsiteY3476" fmla="*/ 4086287 h 6479439"/>
              <a:gd name="connsiteX3477" fmla="*/ 3828990 w 9586368"/>
              <a:gd name="connsiteY3477" fmla="*/ 4086287 h 6479439"/>
              <a:gd name="connsiteX3478" fmla="*/ 3824971 w 9586368"/>
              <a:gd name="connsiteY3478" fmla="*/ 4082248 h 6479439"/>
              <a:gd name="connsiteX3479" fmla="*/ 3824971 w 9586368"/>
              <a:gd name="connsiteY3479" fmla="*/ 4072377 h 6479439"/>
              <a:gd name="connsiteX3480" fmla="*/ 3589676 w 9586368"/>
              <a:gd name="connsiteY3480" fmla="*/ 4068339 h 6479439"/>
              <a:gd name="connsiteX3481" fmla="*/ 3599585 w 9586368"/>
              <a:gd name="connsiteY3481" fmla="*/ 4068339 h 6479439"/>
              <a:gd name="connsiteX3482" fmla="*/ 3603604 w 9586368"/>
              <a:gd name="connsiteY3482" fmla="*/ 4072377 h 6479439"/>
              <a:gd name="connsiteX3483" fmla="*/ 3603604 w 9586368"/>
              <a:gd name="connsiteY3483" fmla="*/ 4082248 h 6479439"/>
              <a:gd name="connsiteX3484" fmla="*/ 3599585 w 9586368"/>
              <a:gd name="connsiteY3484" fmla="*/ 4086287 h 6479439"/>
              <a:gd name="connsiteX3485" fmla="*/ 3589676 w 9586368"/>
              <a:gd name="connsiteY3485" fmla="*/ 4086287 h 6479439"/>
              <a:gd name="connsiteX3486" fmla="*/ 3585657 w 9586368"/>
              <a:gd name="connsiteY3486" fmla="*/ 4082248 h 6479439"/>
              <a:gd name="connsiteX3487" fmla="*/ 3585657 w 9586368"/>
              <a:gd name="connsiteY3487" fmla="*/ 4072377 h 6479439"/>
              <a:gd name="connsiteX3488" fmla="*/ 3350359 w 9586368"/>
              <a:gd name="connsiteY3488" fmla="*/ 4068339 h 6479439"/>
              <a:gd name="connsiteX3489" fmla="*/ 3360268 w 9586368"/>
              <a:gd name="connsiteY3489" fmla="*/ 4068339 h 6479439"/>
              <a:gd name="connsiteX3490" fmla="*/ 3364287 w 9586368"/>
              <a:gd name="connsiteY3490" fmla="*/ 4072377 h 6479439"/>
              <a:gd name="connsiteX3491" fmla="*/ 3364287 w 9586368"/>
              <a:gd name="connsiteY3491" fmla="*/ 4082248 h 6479439"/>
              <a:gd name="connsiteX3492" fmla="*/ 3360268 w 9586368"/>
              <a:gd name="connsiteY3492" fmla="*/ 4086287 h 6479439"/>
              <a:gd name="connsiteX3493" fmla="*/ 3350359 w 9586368"/>
              <a:gd name="connsiteY3493" fmla="*/ 4086287 h 6479439"/>
              <a:gd name="connsiteX3494" fmla="*/ 3346340 w 9586368"/>
              <a:gd name="connsiteY3494" fmla="*/ 4082248 h 6479439"/>
              <a:gd name="connsiteX3495" fmla="*/ 3346340 w 9586368"/>
              <a:gd name="connsiteY3495" fmla="*/ 4072377 h 6479439"/>
              <a:gd name="connsiteX3496" fmla="*/ 3111048 w 9586368"/>
              <a:gd name="connsiteY3496" fmla="*/ 4068339 h 6479439"/>
              <a:gd name="connsiteX3497" fmla="*/ 3120959 w 9586368"/>
              <a:gd name="connsiteY3497" fmla="*/ 4068339 h 6479439"/>
              <a:gd name="connsiteX3498" fmla="*/ 3124977 w 9586368"/>
              <a:gd name="connsiteY3498" fmla="*/ 4072377 h 6479439"/>
              <a:gd name="connsiteX3499" fmla="*/ 3124977 w 9586368"/>
              <a:gd name="connsiteY3499" fmla="*/ 4082248 h 6479439"/>
              <a:gd name="connsiteX3500" fmla="*/ 3120959 w 9586368"/>
              <a:gd name="connsiteY3500" fmla="*/ 4086287 h 6479439"/>
              <a:gd name="connsiteX3501" fmla="*/ 3111048 w 9586368"/>
              <a:gd name="connsiteY3501" fmla="*/ 4086287 h 6479439"/>
              <a:gd name="connsiteX3502" fmla="*/ 3107029 w 9586368"/>
              <a:gd name="connsiteY3502" fmla="*/ 4082248 h 6479439"/>
              <a:gd name="connsiteX3503" fmla="*/ 3107029 w 9586368"/>
              <a:gd name="connsiteY3503" fmla="*/ 4072377 h 6479439"/>
              <a:gd name="connsiteX3504" fmla="*/ 2871737 w 9586368"/>
              <a:gd name="connsiteY3504" fmla="*/ 4068339 h 6479439"/>
              <a:gd name="connsiteX3505" fmla="*/ 2881646 w 9586368"/>
              <a:gd name="connsiteY3505" fmla="*/ 4068339 h 6479439"/>
              <a:gd name="connsiteX3506" fmla="*/ 2885666 w 9586368"/>
              <a:gd name="connsiteY3506" fmla="*/ 4072377 h 6479439"/>
              <a:gd name="connsiteX3507" fmla="*/ 2885666 w 9586368"/>
              <a:gd name="connsiteY3507" fmla="*/ 4082248 h 6479439"/>
              <a:gd name="connsiteX3508" fmla="*/ 2881646 w 9586368"/>
              <a:gd name="connsiteY3508" fmla="*/ 4086287 h 6479439"/>
              <a:gd name="connsiteX3509" fmla="*/ 2871737 w 9586368"/>
              <a:gd name="connsiteY3509" fmla="*/ 4086287 h 6479439"/>
              <a:gd name="connsiteX3510" fmla="*/ 2867717 w 9586368"/>
              <a:gd name="connsiteY3510" fmla="*/ 4082248 h 6479439"/>
              <a:gd name="connsiteX3511" fmla="*/ 2867717 w 9586368"/>
              <a:gd name="connsiteY3511" fmla="*/ 4072377 h 6479439"/>
              <a:gd name="connsiteX3512" fmla="*/ 2632423 w 9586368"/>
              <a:gd name="connsiteY3512" fmla="*/ 4068339 h 6479439"/>
              <a:gd name="connsiteX3513" fmla="*/ 2642334 w 9586368"/>
              <a:gd name="connsiteY3513" fmla="*/ 4068339 h 6479439"/>
              <a:gd name="connsiteX3514" fmla="*/ 2646352 w 9586368"/>
              <a:gd name="connsiteY3514" fmla="*/ 4072377 h 6479439"/>
              <a:gd name="connsiteX3515" fmla="*/ 2646352 w 9586368"/>
              <a:gd name="connsiteY3515" fmla="*/ 4082248 h 6479439"/>
              <a:gd name="connsiteX3516" fmla="*/ 2642334 w 9586368"/>
              <a:gd name="connsiteY3516" fmla="*/ 4086287 h 6479439"/>
              <a:gd name="connsiteX3517" fmla="*/ 2632423 w 9586368"/>
              <a:gd name="connsiteY3517" fmla="*/ 4086287 h 6479439"/>
              <a:gd name="connsiteX3518" fmla="*/ 2628404 w 9586368"/>
              <a:gd name="connsiteY3518" fmla="*/ 4082248 h 6479439"/>
              <a:gd name="connsiteX3519" fmla="*/ 2628404 w 9586368"/>
              <a:gd name="connsiteY3519" fmla="*/ 4072377 h 6479439"/>
              <a:gd name="connsiteX3520" fmla="*/ 2393104 w 9586368"/>
              <a:gd name="connsiteY3520" fmla="*/ 4068339 h 6479439"/>
              <a:gd name="connsiteX3521" fmla="*/ 2403015 w 9586368"/>
              <a:gd name="connsiteY3521" fmla="*/ 4068339 h 6479439"/>
              <a:gd name="connsiteX3522" fmla="*/ 2407034 w 9586368"/>
              <a:gd name="connsiteY3522" fmla="*/ 4072377 h 6479439"/>
              <a:gd name="connsiteX3523" fmla="*/ 2407034 w 9586368"/>
              <a:gd name="connsiteY3523" fmla="*/ 4082248 h 6479439"/>
              <a:gd name="connsiteX3524" fmla="*/ 2403015 w 9586368"/>
              <a:gd name="connsiteY3524" fmla="*/ 4086287 h 6479439"/>
              <a:gd name="connsiteX3525" fmla="*/ 2393104 w 9586368"/>
              <a:gd name="connsiteY3525" fmla="*/ 4086287 h 6479439"/>
              <a:gd name="connsiteX3526" fmla="*/ 2389087 w 9586368"/>
              <a:gd name="connsiteY3526" fmla="*/ 4082248 h 6479439"/>
              <a:gd name="connsiteX3527" fmla="*/ 2389087 w 9586368"/>
              <a:gd name="connsiteY3527" fmla="*/ 4072377 h 6479439"/>
              <a:gd name="connsiteX3528" fmla="*/ 2157819 w 9586368"/>
              <a:gd name="connsiteY3528" fmla="*/ 4068339 h 6479439"/>
              <a:gd name="connsiteX3529" fmla="*/ 2167729 w 9586368"/>
              <a:gd name="connsiteY3529" fmla="*/ 4068339 h 6479439"/>
              <a:gd name="connsiteX3530" fmla="*/ 2171749 w 9586368"/>
              <a:gd name="connsiteY3530" fmla="*/ 4072377 h 6479439"/>
              <a:gd name="connsiteX3531" fmla="*/ 2171749 w 9586368"/>
              <a:gd name="connsiteY3531" fmla="*/ 4082248 h 6479439"/>
              <a:gd name="connsiteX3532" fmla="*/ 2167729 w 9586368"/>
              <a:gd name="connsiteY3532" fmla="*/ 4086287 h 6479439"/>
              <a:gd name="connsiteX3533" fmla="*/ 2157819 w 9586368"/>
              <a:gd name="connsiteY3533" fmla="*/ 4086287 h 6479439"/>
              <a:gd name="connsiteX3534" fmla="*/ 2153801 w 9586368"/>
              <a:gd name="connsiteY3534" fmla="*/ 4082248 h 6479439"/>
              <a:gd name="connsiteX3535" fmla="*/ 2153801 w 9586368"/>
              <a:gd name="connsiteY3535" fmla="*/ 4072377 h 6479439"/>
              <a:gd name="connsiteX3536" fmla="*/ 1918511 w 9586368"/>
              <a:gd name="connsiteY3536" fmla="*/ 4068339 h 6479439"/>
              <a:gd name="connsiteX3537" fmla="*/ 1928421 w 9586368"/>
              <a:gd name="connsiteY3537" fmla="*/ 4068339 h 6479439"/>
              <a:gd name="connsiteX3538" fmla="*/ 1932440 w 9586368"/>
              <a:gd name="connsiteY3538" fmla="*/ 4072377 h 6479439"/>
              <a:gd name="connsiteX3539" fmla="*/ 1932440 w 9586368"/>
              <a:gd name="connsiteY3539" fmla="*/ 4082248 h 6479439"/>
              <a:gd name="connsiteX3540" fmla="*/ 1928421 w 9586368"/>
              <a:gd name="connsiteY3540" fmla="*/ 4086287 h 6479439"/>
              <a:gd name="connsiteX3541" fmla="*/ 1918511 w 9586368"/>
              <a:gd name="connsiteY3541" fmla="*/ 4086287 h 6479439"/>
              <a:gd name="connsiteX3542" fmla="*/ 1914492 w 9586368"/>
              <a:gd name="connsiteY3542" fmla="*/ 4082248 h 6479439"/>
              <a:gd name="connsiteX3543" fmla="*/ 1914492 w 9586368"/>
              <a:gd name="connsiteY3543" fmla="*/ 4072377 h 6479439"/>
              <a:gd name="connsiteX3544" fmla="*/ 1679207 w 9586368"/>
              <a:gd name="connsiteY3544" fmla="*/ 4068339 h 6479439"/>
              <a:gd name="connsiteX3545" fmla="*/ 1689117 w 9586368"/>
              <a:gd name="connsiteY3545" fmla="*/ 4068339 h 6479439"/>
              <a:gd name="connsiteX3546" fmla="*/ 1693137 w 9586368"/>
              <a:gd name="connsiteY3546" fmla="*/ 4072377 h 6479439"/>
              <a:gd name="connsiteX3547" fmla="*/ 1693137 w 9586368"/>
              <a:gd name="connsiteY3547" fmla="*/ 4082248 h 6479439"/>
              <a:gd name="connsiteX3548" fmla="*/ 1689117 w 9586368"/>
              <a:gd name="connsiteY3548" fmla="*/ 4086287 h 6479439"/>
              <a:gd name="connsiteX3549" fmla="*/ 1679207 w 9586368"/>
              <a:gd name="connsiteY3549" fmla="*/ 4086287 h 6479439"/>
              <a:gd name="connsiteX3550" fmla="*/ 1675189 w 9586368"/>
              <a:gd name="connsiteY3550" fmla="*/ 4082248 h 6479439"/>
              <a:gd name="connsiteX3551" fmla="*/ 1675189 w 9586368"/>
              <a:gd name="connsiteY3551" fmla="*/ 4072377 h 6479439"/>
              <a:gd name="connsiteX3552" fmla="*/ 1439891 w 9586368"/>
              <a:gd name="connsiteY3552" fmla="*/ 4068339 h 6479439"/>
              <a:gd name="connsiteX3553" fmla="*/ 1449802 w 9586368"/>
              <a:gd name="connsiteY3553" fmla="*/ 4068339 h 6479439"/>
              <a:gd name="connsiteX3554" fmla="*/ 1453820 w 9586368"/>
              <a:gd name="connsiteY3554" fmla="*/ 4072377 h 6479439"/>
              <a:gd name="connsiteX3555" fmla="*/ 1453820 w 9586368"/>
              <a:gd name="connsiteY3555" fmla="*/ 4082248 h 6479439"/>
              <a:gd name="connsiteX3556" fmla="*/ 1449802 w 9586368"/>
              <a:gd name="connsiteY3556" fmla="*/ 4086287 h 6479439"/>
              <a:gd name="connsiteX3557" fmla="*/ 1439891 w 9586368"/>
              <a:gd name="connsiteY3557" fmla="*/ 4086287 h 6479439"/>
              <a:gd name="connsiteX3558" fmla="*/ 1435873 w 9586368"/>
              <a:gd name="connsiteY3558" fmla="*/ 4082248 h 6479439"/>
              <a:gd name="connsiteX3559" fmla="*/ 1435873 w 9586368"/>
              <a:gd name="connsiteY3559" fmla="*/ 4072377 h 6479439"/>
              <a:gd name="connsiteX3560" fmla="*/ 1200576 w 9586368"/>
              <a:gd name="connsiteY3560" fmla="*/ 4068339 h 6479439"/>
              <a:gd name="connsiteX3561" fmla="*/ 1210486 w 9586368"/>
              <a:gd name="connsiteY3561" fmla="*/ 4068339 h 6479439"/>
              <a:gd name="connsiteX3562" fmla="*/ 1214505 w 9586368"/>
              <a:gd name="connsiteY3562" fmla="*/ 4072377 h 6479439"/>
              <a:gd name="connsiteX3563" fmla="*/ 1214505 w 9586368"/>
              <a:gd name="connsiteY3563" fmla="*/ 4082248 h 6479439"/>
              <a:gd name="connsiteX3564" fmla="*/ 1210486 w 9586368"/>
              <a:gd name="connsiteY3564" fmla="*/ 4086287 h 6479439"/>
              <a:gd name="connsiteX3565" fmla="*/ 1200576 w 9586368"/>
              <a:gd name="connsiteY3565" fmla="*/ 4086287 h 6479439"/>
              <a:gd name="connsiteX3566" fmla="*/ 1196558 w 9586368"/>
              <a:gd name="connsiteY3566" fmla="*/ 4082248 h 6479439"/>
              <a:gd name="connsiteX3567" fmla="*/ 1196558 w 9586368"/>
              <a:gd name="connsiteY3567" fmla="*/ 4072377 h 6479439"/>
              <a:gd name="connsiteX3568" fmla="*/ 961263 w 9586368"/>
              <a:gd name="connsiteY3568" fmla="*/ 4068339 h 6479439"/>
              <a:gd name="connsiteX3569" fmla="*/ 971174 w 9586368"/>
              <a:gd name="connsiteY3569" fmla="*/ 4068339 h 6479439"/>
              <a:gd name="connsiteX3570" fmla="*/ 975192 w 9586368"/>
              <a:gd name="connsiteY3570" fmla="*/ 4072377 h 6479439"/>
              <a:gd name="connsiteX3571" fmla="*/ 975192 w 9586368"/>
              <a:gd name="connsiteY3571" fmla="*/ 4082248 h 6479439"/>
              <a:gd name="connsiteX3572" fmla="*/ 971174 w 9586368"/>
              <a:gd name="connsiteY3572" fmla="*/ 4086287 h 6479439"/>
              <a:gd name="connsiteX3573" fmla="*/ 961263 w 9586368"/>
              <a:gd name="connsiteY3573" fmla="*/ 4086287 h 6479439"/>
              <a:gd name="connsiteX3574" fmla="*/ 957244 w 9586368"/>
              <a:gd name="connsiteY3574" fmla="*/ 4082248 h 6479439"/>
              <a:gd name="connsiteX3575" fmla="*/ 957244 w 9586368"/>
              <a:gd name="connsiteY3575" fmla="*/ 4072377 h 6479439"/>
              <a:gd name="connsiteX3576" fmla="*/ 721965 w 9586368"/>
              <a:gd name="connsiteY3576" fmla="*/ 4068339 h 6479439"/>
              <a:gd name="connsiteX3577" fmla="*/ 731876 w 9586368"/>
              <a:gd name="connsiteY3577" fmla="*/ 4068339 h 6479439"/>
              <a:gd name="connsiteX3578" fmla="*/ 735894 w 9586368"/>
              <a:gd name="connsiteY3578" fmla="*/ 4072377 h 6479439"/>
              <a:gd name="connsiteX3579" fmla="*/ 735894 w 9586368"/>
              <a:gd name="connsiteY3579" fmla="*/ 4082248 h 6479439"/>
              <a:gd name="connsiteX3580" fmla="*/ 731876 w 9586368"/>
              <a:gd name="connsiteY3580" fmla="*/ 4086287 h 6479439"/>
              <a:gd name="connsiteX3581" fmla="*/ 721965 w 9586368"/>
              <a:gd name="connsiteY3581" fmla="*/ 4086287 h 6479439"/>
              <a:gd name="connsiteX3582" fmla="*/ 717946 w 9586368"/>
              <a:gd name="connsiteY3582" fmla="*/ 4082248 h 6479439"/>
              <a:gd name="connsiteX3583" fmla="*/ 717946 w 9586368"/>
              <a:gd name="connsiteY3583" fmla="*/ 4072377 h 6479439"/>
              <a:gd name="connsiteX3584" fmla="*/ 482653 w 9586368"/>
              <a:gd name="connsiteY3584" fmla="*/ 4068339 h 6479439"/>
              <a:gd name="connsiteX3585" fmla="*/ 492563 w 9586368"/>
              <a:gd name="connsiteY3585" fmla="*/ 4068339 h 6479439"/>
              <a:gd name="connsiteX3586" fmla="*/ 496583 w 9586368"/>
              <a:gd name="connsiteY3586" fmla="*/ 4072377 h 6479439"/>
              <a:gd name="connsiteX3587" fmla="*/ 496583 w 9586368"/>
              <a:gd name="connsiteY3587" fmla="*/ 4082248 h 6479439"/>
              <a:gd name="connsiteX3588" fmla="*/ 492563 w 9586368"/>
              <a:gd name="connsiteY3588" fmla="*/ 4086287 h 6479439"/>
              <a:gd name="connsiteX3589" fmla="*/ 482653 w 9586368"/>
              <a:gd name="connsiteY3589" fmla="*/ 4086287 h 6479439"/>
              <a:gd name="connsiteX3590" fmla="*/ 478634 w 9586368"/>
              <a:gd name="connsiteY3590" fmla="*/ 4082248 h 6479439"/>
              <a:gd name="connsiteX3591" fmla="*/ 478634 w 9586368"/>
              <a:gd name="connsiteY3591" fmla="*/ 4072377 h 6479439"/>
              <a:gd name="connsiteX3592" fmla="*/ 243339 w 9586368"/>
              <a:gd name="connsiteY3592" fmla="*/ 4068339 h 6479439"/>
              <a:gd name="connsiteX3593" fmla="*/ 253250 w 9586368"/>
              <a:gd name="connsiteY3593" fmla="*/ 4068339 h 6479439"/>
              <a:gd name="connsiteX3594" fmla="*/ 257269 w 9586368"/>
              <a:gd name="connsiteY3594" fmla="*/ 4072377 h 6479439"/>
              <a:gd name="connsiteX3595" fmla="*/ 257269 w 9586368"/>
              <a:gd name="connsiteY3595" fmla="*/ 4082248 h 6479439"/>
              <a:gd name="connsiteX3596" fmla="*/ 253250 w 9586368"/>
              <a:gd name="connsiteY3596" fmla="*/ 4086287 h 6479439"/>
              <a:gd name="connsiteX3597" fmla="*/ 243339 w 9586368"/>
              <a:gd name="connsiteY3597" fmla="*/ 4086287 h 6479439"/>
              <a:gd name="connsiteX3598" fmla="*/ 239320 w 9586368"/>
              <a:gd name="connsiteY3598" fmla="*/ 4082248 h 6479439"/>
              <a:gd name="connsiteX3599" fmla="*/ 239320 w 9586368"/>
              <a:gd name="connsiteY3599" fmla="*/ 4072377 h 6479439"/>
              <a:gd name="connsiteX3600" fmla="*/ 4026 w 9586368"/>
              <a:gd name="connsiteY3600" fmla="*/ 4068339 h 6479439"/>
              <a:gd name="connsiteX3601" fmla="*/ 13936 w 9586368"/>
              <a:gd name="connsiteY3601" fmla="*/ 4068339 h 6479439"/>
              <a:gd name="connsiteX3602" fmla="*/ 17956 w 9586368"/>
              <a:gd name="connsiteY3602" fmla="*/ 4072377 h 6479439"/>
              <a:gd name="connsiteX3603" fmla="*/ 17956 w 9586368"/>
              <a:gd name="connsiteY3603" fmla="*/ 4082248 h 6479439"/>
              <a:gd name="connsiteX3604" fmla="*/ 13936 w 9586368"/>
              <a:gd name="connsiteY3604" fmla="*/ 4086287 h 6479439"/>
              <a:gd name="connsiteX3605" fmla="*/ 4026 w 9586368"/>
              <a:gd name="connsiteY3605" fmla="*/ 4086287 h 6479439"/>
              <a:gd name="connsiteX3606" fmla="*/ 7 w 9586368"/>
              <a:gd name="connsiteY3606" fmla="*/ 4082248 h 6479439"/>
              <a:gd name="connsiteX3607" fmla="*/ 7 w 9586368"/>
              <a:gd name="connsiteY3607" fmla="*/ 4072377 h 6479439"/>
              <a:gd name="connsiteX3608" fmla="*/ 2157820 w 9586368"/>
              <a:gd name="connsiteY3608" fmla="*/ 3829058 h 6479439"/>
              <a:gd name="connsiteX3609" fmla="*/ 2167731 w 9586368"/>
              <a:gd name="connsiteY3609" fmla="*/ 3829058 h 6479439"/>
              <a:gd name="connsiteX3610" fmla="*/ 2171749 w 9586368"/>
              <a:gd name="connsiteY3610" fmla="*/ 3833097 h 6479439"/>
              <a:gd name="connsiteX3611" fmla="*/ 2171749 w 9586368"/>
              <a:gd name="connsiteY3611" fmla="*/ 3842968 h 6479439"/>
              <a:gd name="connsiteX3612" fmla="*/ 2167731 w 9586368"/>
              <a:gd name="connsiteY3612" fmla="*/ 3847007 h 6479439"/>
              <a:gd name="connsiteX3613" fmla="*/ 2157820 w 9586368"/>
              <a:gd name="connsiteY3613" fmla="*/ 3847007 h 6479439"/>
              <a:gd name="connsiteX3614" fmla="*/ 2153801 w 9586368"/>
              <a:gd name="connsiteY3614" fmla="*/ 3842968 h 6479439"/>
              <a:gd name="connsiteX3615" fmla="*/ 2153801 w 9586368"/>
              <a:gd name="connsiteY3615" fmla="*/ 3833097 h 6479439"/>
              <a:gd name="connsiteX3616" fmla="*/ 1918511 w 9586368"/>
              <a:gd name="connsiteY3616" fmla="*/ 3829058 h 6479439"/>
              <a:gd name="connsiteX3617" fmla="*/ 1928421 w 9586368"/>
              <a:gd name="connsiteY3617" fmla="*/ 3829058 h 6479439"/>
              <a:gd name="connsiteX3618" fmla="*/ 1932440 w 9586368"/>
              <a:gd name="connsiteY3618" fmla="*/ 3833097 h 6479439"/>
              <a:gd name="connsiteX3619" fmla="*/ 1932440 w 9586368"/>
              <a:gd name="connsiteY3619" fmla="*/ 3842968 h 6479439"/>
              <a:gd name="connsiteX3620" fmla="*/ 1928421 w 9586368"/>
              <a:gd name="connsiteY3620" fmla="*/ 3847007 h 6479439"/>
              <a:gd name="connsiteX3621" fmla="*/ 1918511 w 9586368"/>
              <a:gd name="connsiteY3621" fmla="*/ 3847007 h 6479439"/>
              <a:gd name="connsiteX3622" fmla="*/ 1914493 w 9586368"/>
              <a:gd name="connsiteY3622" fmla="*/ 3842968 h 6479439"/>
              <a:gd name="connsiteX3623" fmla="*/ 1914493 w 9586368"/>
              <a:gd name="connsiteY3623" fmla="*/ 3833097 h 6479439"/>
              <a:gd name="connsiteX3624" fmla="*/ 1679209 w 9586368"/>
              <a:gd name="connsiteY3624" fmla="*/ 3829058 h 6479439"/>
              <a:gd name="connsiteX3625" fmla="*/ 1689118 w 9586368"/>
              <a:gd name="connsiteY3625" fmla="*/ 3829058 h 6479439"/>
              <a:gd name="connsiteX3626" fmla="*/ 1693137 w 9586368"/>
              <a:gd name="connsiteY3626" fmla="*/ 3833097 h 6479439"/>
              <a:gd name="connsiteX3627" fmla="*/ 1693137 w 9586368"/>
              <a:gd name="connsiteY3627" fmla="*/ 3842968 h 6479439"/>
              <a:gd name="connsiteX3628" fmla="*/ 1689118 w 9586368"/>
              <a:gd name="connsiteY3628" fmla="*/ 3847007 h 6479439"/>
              <a:gd name="connsiteX3629" fmla="*/ 1679209 w 9586368"/>
              <a:gd name="connsiteY3629" fmla="*/ 3847007 h 6479439"/>
              <a:gd name="connsiteX3630" fmla="*/ 1675189 w 9586368"/>
              <a:gd name="connsiteY3630" fmla="*/ 3842968 h 6479439"/>
              <a:gd name="connsiteX3631" fmla="*/ 1675189 w 9586368"/>
              <a:gd name="connsiteY3631" fmla="*/ 3833097 h 6479439"/>
              <a:gd name="connsiteX3632" fmla="*/ 1439892 w 9586368"/>
              <a:gd name="connsiteY3632" fmla="*/ 3829058 h 6479439"/>
              <a:gd name="connsiteX3633" fmla="*/ 1449802 w 9586368"/>
              <a:gd name="connsiteY3633" fmla="*/ 3829058 h 6479439"/>
              <a:gd name="connsiteX3634" fmla="*/ 1453820 w 9586368"/>
              <a:gd name="connsiteY3634" fmla="*/ 3833097 h 6479439"/>
              <a:gd name="connsiteX3635" fmla="*/ 1453820 w 9586368"/>
              <a:gd name="connsiteY3635" fmla="*/ 3842968 h 6479439"/>
              <a:gd name="connsiteX3636" fmla="*/ 1449802 w 9586368"/>
              <a:gd name="connsiteY3636" fmla="*/ 3847007 h 6479439"/>
              <a:gd name="connsiteX3637" fmla="*/ 1439892 w 9586368"/>
              <a:gd name="connsiteY3637" fmla="*/ 3847007 h 6479439"/>
              <a:gd name="connsiteX3638" fmla="*/ 1435874 w 9586368"/>
              <a:gd name="connsiteY3638" fmla="*/ 3842968 h 6479439"/>
              <a:gd name="connsiteX3639" fmla="*/ 1435874 w 9586368"/>
              <a:gd name="connsiteY3639" fmla="*/ 3833097 h 6479439"/>
              <a:gd name="connsiteX3640" fmla="*/ 1200577 w 9586368"/>
              <a:gd name="connsiteY3640" fmla="*/ 3829058 h 6479439"/>
              <a:gd name="connsiteX3641" fmla="*/ 1210487 w 9586368"/>
              <a:gd name="connsiteY3641" fmla="*/ 3829058 h 6479439"/>
              <a:gd name="connsiteX3642" fmla="*/ 1214506 w 9586368"/>
              <a:gd name="connsiteY3642" fmla="*/ 3833097 h 6479439"/>
              <a:gd name="connsiteX3643" fmla="*/ 1214506 w 9586368"/>
              <a:gd name="connsiteY3643" fmla="*/ 3842968 h 6479439"/>
              <a:gd name="connsiteX3644" fmla="*/ 1210487 w 9586368"/>
              <a:gd name="connsiteY3644" fmla="*/ 3847007 h 6479439"/>
              <a:gd name="connsiteX3645" fmla="*/ 1200577 w 9586368"/>
              <a:gd name="connsiteY3645" fmla="*/ 3847007 h 6479439"/>
              <a:gd name="connsiteX3646" fmla="*/ 1196558 w 9586368"/>
              <a:gd name="connsiteY3646" fmla="*/ 3842968 h 6479439"/>
              <a:gd name="connsiteX3647" fmla="*/ 1196558 w 9586368"/>
              <a:gd name="connsiteY3647" fmla="*/ 3833097 h 6479439"/>
              <a:gd name="connsiteX3648" fmla="*/ 961264 w 9586368"/>
              <a:gd name="connsiteY3648" fmla="*/ 3829058 h 6479439"/>
              <a:gd name="connsiteX3649" fmla="*/ 971174 w 9586368"/>
              <a:gd name="connsiteY3649" fmla="*/ 3829058 h 6479439"/>
              <a:gd name="connsiteX3650" fmla="*/ 975193 w 9586368"/>
              <a:gd name="connsiteY3650" fmla="*/ 3833097 h 6479439"/>
              <a:gd name="connsiteX3651" fmla="*/ 975193 w 9586368"/>
              <a:gd name="connsiteY3651" fmla="*/ 3842968 h 6479439"/>
              <a:gd name="connsiteX3652" fmla="*/ 971174 w 9586368"/>
              <a:gd name="connsiteY3652" fmla="*/ 3847007 h 6479439"/>
              <a:gd name="connsiteX3653" fmla="*/ 961264 w 9586368"/>
              <a:gd name="connsiteY3653" fmla="*/ 3847007 h 6479439"/>
              <a:gd name="connsiteX3654" fmla="*/ 957245 w 9586368"/>
              <a:gd name="connsiteY3654" fmla="*/ 3842968 h 6479439"/>
              <a:gd name="connsiteX3655" fmla="*/ 957245 w 9586368"/>
              <a:gd name="connsiteY3655" fmla="*/ 3833097 h 6479439"/>
              <a:gd name="connsiteX3656" fmla="*/ 9572438 w 9586368"/>
              <a:gd name="connsiteY3656" fmla="*/ 3829008 h 6479439"/>
              <a:gd name="connsiteX3657" fmla="*/ 9582349 w 9586368"/>
              <a:gd name="connsiteY3657" fmla="*/ 3829008 h 6479439"/>
              <a:gd name="connsiteX3658" fmla="*/ 9586368 w 9586368"/>
              <a:gd name="connsiteY3658" fmla="*/ 3833046 h 6479439"/>
              <a:gd name="connsiteX3659" fmla="*/ 9586368 w 9586368"/>
              <a:gd name="connsiteY3659" fmla="*/ 3842917 h 6479439"/>
              <a:gd name="connsiteX3660" fmla="*/ 9582349 w 9586368"/>
              <a:gd name="connsiteY3660" fmla="*/ 3846956 h 6479439"/>
              <a:gd name="connsiteX3661" fmla="*/ 9572438 w 9586368"/>
              <a:gd name="connsiteY3661" fmla="*/ 3846956 h 6479439"/>
              <a:gd name="connsiteX3662" fmla="*/ 9568419 w 9586368"/>
              <a:gd name="connsiteY3662" fmla="*/ 3842917 h 6479439"/>
              <a:gd name="connsiteX3663" fmla="*/ 9568419 w 9586368"/>
              <a:gd name="connsiteY3663" fmla="*/ 3833046 h 6479439"/>
              <a:gd name="connsiteX3664" fmla="*/ 9333125 w 9586368"/>
              <a:gd name="connsiteY3664" fmla="*/ 3829008 h 6479439"/>
              <a:gd name="connsiteX3665" fmla="*/ 9343036 w 9586368"/>
              <a:gd name="connsiteY3665" fmla="*/ 3829008 h 6479439"/>
              <a:gd name="connsiteX3666" fmla="*/ 9347055 w 9586368"/>
              <a:gd name="connsiteY3666" fmla="*/ 3833046 h 6479439"/>
              <a:gd name="connsiteX3667" fmla="*/ 9347055 w 9586368"/>
              <a:gd name="connsiteY3667" fmla="*/ 3842917 h 6479439"/>
              <a:gd name="connsiteX3668" fmla="*/ 9343036 w 9586368"/>
              <a:gd name="connsiteY3668" fmla="*/ 3846956 h 6479439"/>
              <a:gd name="connsiteX3669" fmla="*/ 9333125 w 9586368"/>
              <a:gd name="connsiteY3669" fmla="*/ 3846956 h 6479439"/>
              <a:gd name="connsiteX3670" fmla="*/ 9329106 w 9586368"/>
              <a:gd name="connsiteY3670" fmla="*/ 3842917 h 6479439"/>
              <a:gd name="connsiteX3671" fmla="*/ 9329106 w 9586368"/>
              <a:gd name="connsiteY3671" fmla="*/ 3833046 h 6479439"/>
              <a:gd name="connsiteX3672" fmla="*/ 9093811 w 9586368"/>
              <a:gd name="connsiteY3672" fmla="*/ 3829008 h 6479439"/>
              <a:gd name="connsiteX3673" fmla="*/ 9103722 w 9586368"/>
              <a:gd name="connsiteY3673" fmla="*/ 3829008 h 6479439"/>
              <a:gd name="connsiteX3674" fmla="*/ 9107741 w 9586368"/>
              <a:gd name="connsiteY3674" fmla="*/ 3833046 h 6479439"/>
              <a:gd name="connsiteX3675" fmla="*/ 9107741 w 9586368"/>
              <a:gd name="connsiteY3675" fmla="*/ 3842917 h 6479439"/>
              <a:gd name="connsiteX3676" fmla="*/ 9103722 w 9586368"/>
              <a:gd name="connsiteY3676" fmla="*/ 3846956 h 6479439"/>
              <a:gd name="connsiteX3677" fmla="*/ 9093811 w 9586368"/>
              <a:gd name="connsiteY3677" fmla="*/ 3846956 h 6479439"/>
              <a:gd name="connsiteX3678" fmla="*/ 9089792 w 9586368"/>
              <a:gd name="connsiteY3678" fmla="*/ 3842917 h 6479439"/>
              <a:gd name="connsiteX3679" fmla="*/ 9089792 w 9586368"/>
              <a:gd name="connsiteY3679" fmla="*/ 3833046 h 6479439"/>
              <a:gd name="connsiteX3680" fmla="*/ 8854496 w 9586368"/>
              <a:gd name="connsiteY3680" fmla="*/ 3829008 h 6479439"/>
              <a:gd name="connsiteX3681" fmla="*/ 8864407 w 9586368"/>
              <a:gd name="connsiteY3681" fmla="*/ 3829008 h 6479439"/>
              <a:gd name="connsiteX3682" fmla="*/ 8868426 w 9586368"/>
              <a:gd name="connsiteY3682" fmla="*/ 3833046 h 6479439"/>
              <a:gd name="connsiteX3683" fmla="*/ 8868426 w 9586368"/>
              <a:gd name="connsiteY3683" fmla="*/ 3842917 h 6479439"/>
              <a:gd name="connsiteX3684" fmla="*/ 8864407 w 9586368"/>
              <a:gd name="connsiteY3684" fmla="*/ 3846956 h 6479439"/>
              <a:gd name="connsiteX3685" fmla="*/ 8854496 w 9586368"/>
              <a:gd name="connsiteY3685" fmla="*/ 3846956 h 6479439"/>
              <a:gd name="connsiteX3686" fmla="*/ 8850477 w 9586368"/>
              <a:gd name="connsiteY3686" fmla="*/ 3842917 h 6479439"/>
              <a:gd name="connsiteX3687" fmla="*/ 8850477 w 9586368"/>
              <a:gd name="connsiteY3687" fmla="*/ 3833046 h 6479439"/>
              <a:gd name="connsiteX3688" fmla="*/ 8615184 w 9586368"/>
              <a:gd name="connsiteY3688" fmla="*/ 3829008 h 6479439"/>
              <a:gd name="connsiteX3689" fmla="*/ 8625095 w 9586368"/>
              <a:gd name="connsiteY3689" fmla="*/ 3829008 h 6479439"/>
              <a:gd name="connsiteX3690" fmla="*/ 8629114 w 9586368"/>
              <a:gd name="connsiteY3690" fmla="*/ 3833046 h 6479439"/>
              <a:gd name="connsiteX3691" fmla="*/ 8629114 w 9586368"/>
              <a:gd name="connsiteY3691" fmla="*/ 3842917 h 6479439"/>
              <a:gd name="connsiteX3692" fmla="*/ 8625095 w 9586368"/>
              <a:gd name="connsiteY3692" fmla="*/ 3846956 h 6479439"/>
              <a:gd name="connsiteX3693" fmla="*/ 8615184 w 9586368"/>
              <a:gd name="connsiteY3693" fmla="*/ 3846956 h 6479439"/>
              <a:gd name="connsiteX3694" fmla="*/ 8611165 w 9586368"/>
              <a:gd name="connsiteY3694" fmla="*/ 3842917 h 6479439"/>
              <a:gd name="connsiteX3695" fmla="*/ 8611165 w 9586368"/>
              <a:gd name="connsiteY3695" fmla="*/ 3833046 h 6479439"/>
              <a:gd name="connsiteX3696" fmla="*/ 8375869 w 9586368"/>
              <a:gd name="connsiteY3696" fmla="*/ 3829008 h 6479439"/>
              <a:gd name="connsiteX3697" fmla="*/ 8385779 w 9586368"/>
              <a:gd name="connsiteY3697" fmla="*/ 3829008 h 6479439"/>
              <a:gd name="connsiteX3698" fmla="*/ 8389799 w 9586368"/>
              <a:gd name="connsiteY3698" fmla="*/ 3833046 h 6479439"/>
              <a:gd name="connsiteX3699" fmla="*/ 8389799 w 9586368"/>
              <a:gd name="connsiteY3699" fmla="*/ 3842917 h 6479439"/>
              <a:gd name="connsiteX3700" fmla="*/ 8385779 w 9586368"/>
              <a:gd name="connsiteY3700" fmla="*/ 3846956 h 6479439"/>
              <a:gd name="connsiteX3701" fmla="*/ 8375869 w 9586368"/>
              <a:gd name="connsiteY3701" fmla="*/ 3846956 h 6479439"/>
              <a:gd name="connsiteX3702" fmla="*/ 8371850 w 9586368"/>
              <a:gd name="connsiteY3702" fmla="*/ 3842917 h 6479439"/>
              <a:gd name="connsiteX3703" fmla="*/ 8371850 w 9586368"/>
              <a:gd name="connsiteY3703" fmla="*/ 3833046 h 6479439"/>
              <a:gd name="connsiteX3704" fmla="*/ 8136553 w 9586368"/>
              <a:gd name="connsiteY3704" fmla="*/ 3829008 h 6479439"/>
              <a:gd name="connsiteX3705" fmla="*/ 8146464 w 9586368"/>
              <a:gd name="connsiteY3705" fmla="*/ 3829008 h 6479439"/>
              <a:gd name="connsiteX3706" fmla="*/ 8150483 w 9586368"/>
              <a:gd name="connsiteY3706" fmla="*/ 3833046 h 6479439"/>
              <a:gd name="connsiteX3707" fmla="*/ 8150483 w 9586368"/>
              <a:gd name="connsiteY3707" fmla="*/ 3842917 h 6479439"/>
              <a:gd name="connsiteX3708" fmla="*/ 8146464 w 9586368"/>
              <a:gd name="connsiteY3708" fmla="*/ 3846956 h 6479439"/>
              <a:gd name="connsiteX3709" fmla="*/ 8136553 w 9586368"/>
              <a:gd name="connsiteY3709" fmla="*/ 3846956 h 6479439"/>
              <a:gd name="connsiteX3710" fmla="*/ 8132534 w 9586368"/>
              <a:gd name="connsiteY3710" fmla="*/ 3842917 h 6479439"/>
              <a:gd name="connsiteX3711" fmla="*/ 8132534 w 9586368"/>
              <a:gd name="connsiteY3711" fmla="*/ 3833046 h 6479439"/>
              <a:gd name="connsiteX3712" fmla="*/ 7897241 w 9586368"/>
              <a:gd name="connsiteY3712" fmla="*/ 3829008 h 6479439"/>
              <a:gd name="connsiteX3713" fmla="*/ 7907151 w 9586368"/>
              <a:gd name="connsiteY3713" fmla="*/ 3829008 h 6479439"/>
              <a:gd name="connsiteX3714" fmla="*/ 7911170 w 9586368"/>
              <a:gd name="connsiteY3714" fmla="*/ 3833046 h 6479439"/>
              <a:gd name="connsiteX3715" fmla="*/ 7911170 w 9586368"/>
              <a:gd name="connsiteY3715" fmla="*/ 3842917 h 6479439"/>
              <a:gd name="connsiteX3716" fmla="*/ 7907151 w 9586368"/>
              <a:gd name="connsiteY3716" fmla="*/ 3846956 h 6479439"/>
              <a:gd name="connsiteX3717" fmla="*/ 7897241 w 9586368"/>
              <a:gd name="connsiteY3717" fmla="*/ 3846956 h 6479439"/>
              <a:gd name="connsiteX3718" fmla="*/ 7893222 w 9586368"/>
              <a:gd name="connsiteY3718" fmla="*/ 3842917 h 6479439"/>
              <a:gd name="connsiteX3719" fmla="*/ 7893222 w 9586368"/>
              <a:gd name="connsiteY3719" fmla="*/ 3833046 h 6479439"/>
              <a:gd name="connsiteX3720" fmla="*/ 7657926 w 9586368"/>
              <a:gd name="connsiteY3720" fmla="*/ 3829008 h 6479439"/>
              <a:gd name="connsiteX3721" fmla="*/ 7667836 w 9586368"/>
              <a:gd name="connsiteY3721" fmla="*/ 3829008 h 6479439"/>
              <a:gd name="connsiteX3722" fmla="*/ 7671855 w 9586368"/>
              <a:gd name="connsiteY3722" fmla="*/ 3833046 h 6479439"/>
              <a:gd name="connsiteX3723" fmla="*/ 7671855 w 9586368"/>
              <a:gd name="connsiteY3723" fmla="*/ 3842917 h 6479439"/>
              <a:gd name="connsiteX3724" fmla="*/ 7667836 w 9586368"/>
              <a:gd name="connsiteY3724" fmla="*/ 3846956 h 6479439"/>
              <a:gd name="connsiteX3725" fmla="*/ 7657926 w 9586368"/>
              <a:gd name="connsiteY3725" fmla="*/ 3846956 h 6479439"/>
              <a:gd name="connsiteX3726" fmla="*/ 7653906 w 9586368"/>
              <a:gd name="connsiteY3726" fmla="*/ 3842917 h 6479439"/>
              <a:gd name="connsiteX3727" fmla="*/ 7653906 w 9586368"/>
              <a:gd name="connsiteY3727" fmla="*/ 3833046 h 6479439"/>
              <a:gd name="connsiteX3728" fmla="*/ 7418611 w 9586368"/>
              <a:gd name="connsiteY3728" fmla="*/ 3829008 h 6479439"/>
              <a:gd name="connsiteX3729" fmla="*/ 7428521 w 9586368"/>
              <a:gd name="connsiteY3729" fmla="*/ 3829008 h 6479439"/>
              <a:gd name="connsiteX3730" fmla="*/ 7432540 w 9586368"/>
              <a:gd name="connsiteY3730" fmla="*/ 3833046 h 6479439"/>
              <a:gd name="connsiteX3731" fmla="*/ 7432540 w 9586368"/>
              <a:gd name="connsiteY3731" fmla="*/ 3842917 h 6479439"/>
              <a:gd name="connsiteX3732" fmla="*/ 7428521 w 9586368"/>
              <a:gd name="connsiteY3732" fmla="*/ 3846956 h 6479439"/>
              <a:gd name="connsiteX3733" fmla="*/ 7418611 w 9586368"/>
              <a:gd name="connsiteY3733" fmla="*/ 3846956 h 6479439"/>
              <a:gd name="connsiteX3734" fmla="*/ 7414592 w 9586368"/>
              <a:gd name="connsiteY3734" fmla="*/ 3842917 h 6479439"/>
              <a:gd name="connsiteX3735" fmla="*/ 7414592 w 9586368"/>
              <a:gd name="connsiteY3735" fmla="*/ 3833046 h 6479439"/>
              <a:gd name="connsiteX3736" fmla="*/ 7179298 w 9586368"/>
              <a:gd name="connsiteY3736" fmla="*/ 3829008 h 6479439"/>
              <a:gd name="connsiteX3737" fmla="*/ 7189209 w 9586368"/>
              <a:gd name="connsiteY3737" fmla="*/ 3829008 h 6479439"/>
              <a:gd name="connsiteX3738" fmla="*/ 7193228 w 9586368"/>
              <a:gd name="connsiteY3738" fmla="*/ 3833046 h 6479439"/>
              <a:gd name="connsiteX3739" fmla="*/ 7193228 w 9586368"/>
              <a:gd name="connsiteY3739" fmla="*/ 3842917 h 6479439"/>
              <a:gd name="connsiteX3740" fmla="*/ 7189209 w 9586368"/>
              <a:gd name="connsiteY3740" fmla="*/ 3846956 h 6479439"/>
              <a:gd name="connsiteX3741" fmla="*/ 7179298 w 9586368"/>
              <a:gd name="connsiteY3741" fmla="*/ 3846956 h 6479439"/>
              <a:gd name="connsiteX3742" fmla="*/ 7175279 w 9586368"/>
              <a:gd name="connsiteY3742" fmla="*/ 3842917 h 6479439"/>
              <a:gd name="connsiteX3743" fmla="*/ 7175279 w 9586368"/>
              <a:gd name="connsiteY3743" fmla="*/ 3833046 h 6479439"/>
              <a:gd name="connsiteX3744" fmla="*/ 6939983 w 9586368"/>
              <a:gd name="connsiteY3744" fmla="*/ 3829008 h 6479439"/>
              <a:gd name="connsiteX3745" fmla="*/ 6949894 w 9586368"/>
              <a:gd name="connsiteY3745" fmla="*/ 3829008 h 6479439"/>
              <a:gd name="connsiteX3746" fmla="*/ 6953913 w 9586368"/>
              <a:gd name="connsiteY3746" fmla="*/ 3833046 h 6479439"/>
              <a:gd name="connsiteX3747" fmla="*/ 6953913 w 9586368"/>
              <a:gd name="connsiteY3747" fmla="*/ 3842917 h 6479439"/>
              <a:gd name="connsiteX3748" fmla="*/ 6949894 w 9586368"/>
              <a:gd name="connsiteY3748" fmla="*/ 3846956 h 6479439"/>
              <a:gd name="connsiteX3749" fmla="*/ 6939983 w 9586368"/>
              <a:gd name="connsiteY3749" fmla="*/ 3846956 h 6479439"/>
              <a:gd name="connsiteX3750" fmla="*/ 6935964 w 9586368"/>
              <a:gd name="connsiteY3750" fmla="*/ 3842917 h 6479439"/>
              <a:gd name="connsiteX3751" fmla="*/ 6935964 w 9586368"/>
              <a:gd name="connsiteY3751" fmla="*/ 3833046 h 6479439"/>
              <a:gd name="connsiteX3752" fmla="*/ 6700670 w 9586368"/>
              <a:gd name="connsiteY3752" fmla="*/ 3829008 h 6479439"/>
              <a:gd name="connsiteX3753" fmla="*/ 6710581 w 9586368"/>
              <a:gd name="connsiteY3753" fmla="*/ 3829008 h 6479439"/>
              <a:gd name="connsiteX3754" fmla="*/ 6714600 w 9586368"/>
              <a:gd name="connsiteY3754" fmla="*/ 3833046 h 6479439"/>
              <a:gd name="connsiteX3755" fmla="*/ 6714600 w 9586368"/>
              <a:gd name="connsiteY3755" fmla="*/ 3842917 h 6479439"/>
              <a:gd name="connsiteX3756" fmla="*/ 6710581 w 9586368"/>
              <a:gd name="connsiteY3756" fmla="*/ 3846956 h 6479439"/>
              <a:gd name="connsiteX3757" fmla="*/ 6700670 w 9586368"/>
              <a:gd name="connsiteY3757" fmla="*/ 3846956 h 6479439"/>
              <a:gd name="connsiteX3758" fmla="*/ 6696651 w 9586368"/>
              <a:gd name="connsiteY3758" fmla="*/ 3842917 h 6479439"/>
              <a:gd name="connsiteX3759" fmla="*/ 6696651 w 9586368"/>
              <a:gd name="connsiteY3759" fmla="*/ 3833046 h 6479439"/>
              <a:gd name="connsiteX3760" fmla="*/ 6461356 w 9586368"/>
              <a:gd name="connsiteY3760" fmla="*/ 3829008 h 6479439"/>
              <a:gd name="connsiteX3761" fmla="*/ 6471266 w 9586368"/>
              <a:gd name="connsiteY3761" fmla="*/ 3829008 h 6479439"/>
              <a:gd name="connsiteX3762" fmla="*/ 6475285 w 9586368"/>
              <a:gd name="connsiteY3762" fmla="*/ 3833046 h 6479439"/>
              <a:gd name="connsiteX3763" fmla="*/ 6475285 w 9586368"/>
              <a:gd name="connsiteY3763" fmla="*/ 3842917 h 6479439"/>
              <a:gd name="connsiteX3764" fmla="*/ 6471266 w 9586368"/>
              <a:gd name="connsiteY3764" fmla="*/ 3846956 h 6479439"/>
              <a:gd name="connsiteX3765" fmla="*/ 6461356 w 9586368"/>
              <a:gd name="connsiteY3765" fmla="*/ 3846956 h 6479439"/>
              <a:gd name="connsiteX3766" fmla="*/ 6457337 w 9586368"/>
              <a:gd name="connsiteY3766" fmla="*/ 3842917 h 6479439"/>
              <a:gd name="connsiteX3767" fmla="*/ 6457337 w 9586368"/>
              <a:gd name="connsiteY3767" fmla="*/ 3833046 h 6479439"/>
              <a:gd name="connsiteX3768" fmla="*/ 6222042 w 9586368"/>
              <a:gd name="connsiteY3768" fmla="*/ 3829008 h 6479439"/>
              <a:gd name="connsiteX3769" fmla="*/ 6231952 w 9586368"/>
              <a:gd name="connsiteY3769" fmla="*/ 3829008 h 6479439"/>
              <a:gd name="connsiteX3770" fmla="*/ 6235971 w 9586368"/>
              <a:gd name="connsiteY3770" fmla="*/ 3833046 h 6479439"/>
              <a:gd name="connsiteX3771" fmla="*/ 6235971 w 9586368"/>
              <a:gd name="connsiteY3771" fmla="*/ 3842917 h 6479439"/>
              <a:gd name="connsiteX3772" fmla="*/ 6231952 w 9586368"/>
              <a:gd name="connsiteY3772" fmla="*/ 3846956 h 6479439"/>
              <a:gd name="connsiteX3773" fmla="*/ 6222042 w 9586368"/>
              <a:gd name="connsiteY3773" fmla="*/ 3846956 h 6479439"/>
              <a:gd name="connsiteX3774" fmla="*/ 6218023 w 9586368"/>
              <a:gd name="connsiteY3774" fmla="*/ 3842917 h 6479439"/>
              <a:gd name="connsiteX3775" fmla="*/ 6218023 w 9586368"/>
              <a:gd name="connsiteY3775" fmla="*/ 3833046 h 6479439"/>
              <a:gd name="connsiteX3776" fmla="*/ 5982729 w 9586368"/>
              <a:gd name="connsiteY3776" fmla="*/ 3829008 h 6479439"/>
              <a:gd name="connsiteX3777" fmla="*/ 5992639 w 9586368"/>
              <a:gd name="connsiteY3777" fmla="*/ 3829008 h 6479439"/>
              <a:gd name="connsiteX3778" fmla="*/ 5996658 w 9586368"/>
              <a:gd name="connsiteY3778" fmla="*/ 3833046 h 6479439"/>
              <a:gd name="connsiteX3779" fmla="*/ 5996658 w 9586368"/>
              <a:gd name="connsiteY3779" fmla="*/ 3842917 h 6479439"/>
              <a:gd name="connsiteX3780" fmla="*/ 5992639 w 9586368"/>
              <a:gd name="connsiteY3780" fmla="*/ 3846956 h 6479439"/>
              <a:gd name="connsiteX3781" fmla="*/ 5982729 w 9586368"/>
              <a:gd name="connsiteY3781" fmla="*/ 3846956 h 6479439"/>
              <a:gd name="connsiteX3782" fmla="*/ 5978710 w 9586368"/>
              <a:gd name="connsiteY3782" fmla="*/ 3842917 h 6479439"/>
              <a:gd name="connsiteX3783" fmla="*/ 5978710 w 9586368"/>
              <a:gd name="connsiteY3783" fmla="*/ 3833046 h 6479439"/>
              <a:gd name="connsiteX3784" fmla="*/ 5743412 w 9586368"/>
              <a:gd name="connsiteY3784" fmla="*/ 3829008 h 6479439"/>
              <a:gd name="connsiteX3785" fmla="*/ 5753323 w 9586368"/>
              <a:gd name="connsiteY3785" fmla="*/ 3829008 h 6479439"/>
              <a:gd name="connsiteX3786" fmla="*/ 5757342 w 9586368"/>
              <a:gd name="connsiteY3786" fmla="*/ 3833046 h 6479439"/>
              <a:gd name="connsiteX3787" fmla="*/ 5757342 w 9586368"/>
              <a:gd name="connsiteY3787" fmla="*/ 3842917 h 6479439"/>
              <a:gd name="connsiteX3788" fmla="*/ 5753323 w 9586368"/>
              <a:gd name="connsiteY3788" fmla="*/ 3846956 h 6479439"/>
              <a:gd name="connsiteX3789" fmla="*/ 5743412 w 9586368"/>
              <a:gd name="connsiteY3789" fmla="*/ 3846956 h 6479439"/>
              <a:gd name="connsiteX3790" fmla="*/ 5739393 w 9586368"/>
              <a:gd name="connsiteY3790" fmla="*/ 3842917 h 6479439"/>
              <a:gd name="connsiteX3791" fmla="*/ 5739393 w 9586368"/>
              <a:gd name="connsiteY3791" fmla="*/ 3833046 h 6479439"/>
              <a:gd name="connsiteX3792" fmla="*/ 5504099 w 9586368"/>
              <a:gd name="connsiteY3792" fmla="*/ 3829008 h 6479439"/>
              <a:gd name="connsiteX3793" fmla="*/ 5514010 w 9586368"/>
              <a:gd name="connsiteY3793" fmla="*/ 3829008 h 6479439"/>
              <a:gd name="connsiteX3794" fmla="*/ 5518029 w 9586368"/>
              <a:gd name="connsiteY3794" fmla="*/ 3833046 h 6479439"/>
              <a:gd name="connsiteX3795" fmla="*/ 5518029 w 9586368"/>
              <a:gd name="connsiteY3795" fmla="*/ 3842917 h 6479439"/>
              <a:gd name="connsiteX3796" fmla="*/ 5514010 w 9586368"/>
              <a:gd name="connsiteY3796" fmla="*/ 3846956 h 6479439"/>
              <a:gd name="connsiteX3797" fmla="*/ 5504099 w 9586368"/>
              <a:gd name="connsiteY3797" fmla="*/ 3846956 h 6479439"/>
              <a:gd name="connsiteX3798" fmla="*/ 5500080 w 9586368"/>
              <a:gd name="connsiteY3798" fmla="*/ 3842917 h 6479439"/>
              <a:gd name="connsiteX3799" fmla="*/ 5500080 w 9586368"/>
              <a:gd name="connsiteY3799" fmla="*/ 3833046 h 6479439"/>
              <a:gd name="connsiteX3800" fmla="*/ 5264784 w 9586368"/>
              <a:gd name="connsiteY3800" fmla="*/ 3829008 h 6479439"/>
              <a:gd name="connsiteX3801" fmla="*/ 5274694 w 9586368"/>
              <a:gd name="connsiteY3801" fmla="*/ 3829008 h 6479439"/>
              <a:gd name="connsiteX3802" fmla="*/ 5278713 w 9586368"/>
              <a:gd name="connsiteY3802" fmla="*/ 3833046 h 6479439"/>
              <a:gd name="connsiteX3803" fmla="*/ 5278713 w 9586368"/>
              <a:gd name="connsiteY3803" fmla="*/ 3842917 h 6479439"/>
              <a:gd name="connsiteX3804" fmla="*/ 5274694 w 9586368"/>
              <a:gd name="connsiteY3804" fmla="*/ 3846956 h 6479439"/>
              <a:gd name="connsiteX3805" fmla="*/ 5264784 w 9586368"/>
              <a:gd name="connsiteY3805" fmla="*/ 3846956 h 6479439"/>
              <a:gd name="connsiteX3806" fmla="*/ 5260765 w 9586368"/>
              <a:gd name="connsiteY3806" fmla="*/ 3842917 h 6479439"/>
              <a:gd name="connsiteX3807" fmla="*/ 5260765 w 9586368"/>
              <a:gd name="connsiteY3807" fmla="*/ 3833046 h 6479439"/>
              <a:gd name="connsiteX3808" fmla="*/ 5025470 w 9586368"/>
              <a:gd name="connsiteY3808" fmla="*/ 3829008 h 6479439"/>
              <a:gd name="connsiteX3809" fmla="*/ 5035381 w 9586368"/>
              <a:gd name="connsiteY3809" fmla="*/ 3829008 h 6479439"/>
              <a:gd name="connsiteX3810" fmla="*/ 5039400 w 9586368"/>
              <a:gd name="connsiteY3810" fmla="*/ 3833046 h 6479439"/>
              <a:gd name="connsiteX3811" fmla="*/ 5039400 w 9586368"/>
              <a:gd name="connsiteY3811" fmla="*/ 3842917 h 6479439"/>
              <a:gd name="connsiteX3812" fmla="*/ 5035381 w 9586368"/>
              <a:gd name="connsiteY3812" fmla="*/ 3846956 h 6479439"/>
              <a:gd name="connsiteX3813" fmla="*/ 5025470 w 9586368"/>
              <a:gd name="connsiteY3813" fmla="*/ 3846956 h 6479439"/>
              <a:gd name="connsiteX3814" fmla="*/ 5021451 w 9586368"/>
              <a:gd name="connsiteY3814" fmla="*/ 3842917 h 6479439"/>
              <a:gd name="connsiteX3815" fmla="*/ 5021451 w 9586368"/>
              <a:gd name="connsiteY3815" fmla="*/ 3833046 h 6479439"/>
              <a:gd name="connsiteX3816" fmla="*/ 4786241 w 9586368"/>
              <a:gd name="connsiteY3816" fmla="*/ 3829008 h 6479439"/>
              <a:gd name="connsiteX3817" fmla="*/ 4796152 w 9586368"/>
              <a:gd name="connsiteY3817" fmla="*/ 3829008 h 6479439"/>
              <a:gd name="connsiteX3818" fmla="*/ 4800171 w 9586368"/>
              <a:gd name="connsiteY3818" fmla="*/ 3833046 h 6479439"/>
              <a:gd name="connsiteX3819" fmla="*/ 4800171 w 9586368"/>
              <a:gd name="connsiteY3819" fmla="*/ 3842917 h 6479439"/>
              <a:gd name="connsiteX3820" fmla="*/ 4796152 w 9586368"/>
              <a:gd name="connsiteY3820" fmla="*/ 3846956 h 6479439"/>
              <a:gd name="connsiteX3821" fmla="*/ 4786241 w 9586368"/>
              <a:gd name="connsiteY3821" fmla="*/ 3846956 h 6479439"/>
              <a:gd name="connsiteX3822" fmla="*/ 4782224 w 9586368"/>
              <a:gd name="connsiteY3822" fmla="*/ 3842917 h 6479439"/>
              <a:gd name="connsiteX3823" fmla="*/ 4782224 w 9586368"/>
              <a:gd name="connsiteY3823" fmla="*/ 3833046 h 6479439"/>
              <a:gd name="connsiteX3824" fmla="*/ 4546929 w 9586368"/>
              <a:gd name="connsiteY3824" fmla="*/ 3829008 h 6479439"/>
              <a:gd name="connsiteX3825" fmla="*/ 4556840 w 9586368"/>
              <a:gd name="connsiteY3825" fmla="*/ 3829008 h 6479439"/>
              <a:gd name="connsiteX3826" fmla="*/ 4560859 w 9586368"/>
              <a:gd name="connsiteY3826" fmla="*/ 3833046 h 6479439"/>
              <a:gd name="connsiteX3827" fmla="*/ 4560859 w 9586368"/>
              <a:gd name="connsiteY3827" fmla="*/ 3842917 h 6479439"/>
              <a:gd name="connsiteX3828" fmla="*/ 4556840 w 9586368"/>
              <a:gd name="connsiteY3828" fmla="*/ 3846956 h 6479439"/>
              <a:gd name="connsiteX3829" fmla="*/ 4546929 w 9586368"/>
              <a:gd name="connsiteY3829" fmla="*/ 3846956 h 6479439"/>
              <a:gd name="connsiteX3830" fmla="*/ 4542910 w 9586368"/>
              <a:gd name="connsiteY3830" fmla="*/ 3842917 h 6479439"/>
              <a:gd name="connsiteX3831" fmla="*/ 4542910 w 9586368"/>
              <a:gd name="connsiteY3831" fmla="*/ 3833046 h 6479439"/>
              <a:gd name="connsiteX3832" fmla="*/ 4307612 w 9586368"/>
              <a:gd name="connsiteY3832" fmla="*/ 3829008 h 6479439"/>
              <a:gd name="connsiteX3833" fmla="*/ 4317523 w 9586368"/>
              <a:gd name="connsiteY3833" fmla="*/ 3829008 h 6479439"/>
              <a:gd name="connsiteX3834" fmla="*/ 4321543 w 9586368"/>
              <a:gd name="connsiteY3834" fmla="*/ 3833046 h 6479439"/>
              <a:gd name="connsiteX3835" fmla="*/ 4321543 w 9586368"/>
              <a:gd name="connsiteY3835" fmla="*/ 3842917 h 6479439"/>
              <a:gd name="connsiteX3836" fmla="*/ 4317523 w 9586368"/>
              <a:gd name="connsiteY3836" fmla="*/ 3846956 h 6479439"/>
              <a:gd name="connsiteX3837" fmla="*/ 4307612 w 9586368"/>
              <a:gd name="connsiteY3837" fmla="*/ 3846956 h 6479439"/>
              <a:gd name="connsiteX3838" fmla="*/ 4303595 w 9586368"/>
              <a:gd name="connsiteY3838" fmla="*/ 3842917 h 6479439"/>
              <a:gd name="connsiteX3839" fmla="*/ 4303595 w 9586368"/>
              <a:gd name="connsiteY3839" fmla="*/ 3833046 h 6479439"/>
              <a:gd name="connsiteX3840" fmla="*/ 4068297 w 9586368"/>
              <a:gd name="connsiteY3840" fmla="*/ 3829008 h 6479439"/>
              <a:gd name="connsiteX3841" fmla="*/ 4078210 w 9586368"/>
              <a:gd name="connsiteY3841" fmla="*/ 3829008 h 6479439"/>
              <a:gd name="connsiteX3842" fmla="*/ 4082229 w 9586368"/>
              <a:gd name="connsiteY3842" fmla="*/ 3833046 h 6479439"/>
              <a:gd name="connsiteX3843" fmla="*/ 4082229 w 9586368"/>
              <a:gd name="connsiteY3843" fmla="*/ 3842917 h 6479439"/>
              <a:gd name="connsiteX3844" fmla="*/ 4078210 w 9586368"/>
              <a:gd name="connsiteY3844" fmla="*/ 3846956 h 6479439"/>
              <a:gd name="connsiteX3845" fmla="*/ 4068297 w 9586368"/>
              <a:gd name="connsiteY3845" fmla="*/ 3846956 h 6479439"/>
              <a:gd name="connsiteX3846" fmla="*/ 4064278 w 9586368"/>
              <a:gd name="connsiteY3846" fmla="*/ 3842917 h 6479439"/>
              <a:gd name="connsiteX3847" fmla="*/ 4064278 w 9586368"/>
              <a:gd name="connsiteY3847" fmla="*/ 3833046 h 6479439"/>
              <a:gd name="connsiteX3848" fmla="*/ 3828990 w 9586368"/>
              <a:gd name="connsiteY3848" fmla="*/ 3829008 h 6479439"/>
              <a:gd name="connsiteX3849" fmla="*/ 3838899 w 9586368"/>
              <a:gd name="connsiteY3849" fmla="*/ 3829008 h 6479439"/>
              <a:gd name="connsiteX3850" fmla="*/ 3842917 w 9586368"/>
              <a:gd name="connsiteY3850" fmla="*/ 3833046 h 6479439"/>
              <a:gd name="connsiteX3851" fmla="*/ 3842917 w 9586368"/>
              <a:gd name="connsiteY3851" fmla="*/ 3842917 h 6479439"/>
              <a:gd name="connsiteX3852" fmla="*/ 3838899 w 9586368"/>
              <a:gd name="connsiteY3852" fmla="*/ 3846956 h 6479439"/>
              <a:gd name="connsiteX3853" fmla="*/ 3828990 w 9586368"/>
              <a:gd name="connsiteY3853" fmla="*/ 3846956 h 6479439"/>
              <a:gd name="connsiteX3854" fmla="*/ 3824971 w 9586368"/>
              <a:gd name="connsiteY3854" fmla="*/ 3842917 h 6479439"/>
              <a:gd name="connsiteX3855" fmla="*/ 3824971 w 9586368"/>
              <a:gd name="connsiteY3855" fmla="*/ 3833046 h 6479439"/>
              <a:gd name="connsiteX3856" fmla="*/ 3589676 w 9586368"/>
              <a:gd name="connsiteY3856" fmla="*/ 3829008 h 6479439"/>
              <a:gd name="connsiteX3857" fmla="*/ 3599585 w 9586368"/>
              <a:gd name="connsiteY3857" fmla="*/ 3829008 h 6479439"/>
              <a:gd name="connsiteX3858" fmla="*/ 3603604 w 9586368"/>
              <a:gd name="connsiteY3858" fmla="*/ 3833046 h 6479439"/>
              <a:gd name="connsiteX3859" fmla="*/ 3603604 w 9586368"/>
              <a:gd name="connsiteY3859" fmla="*/ 3842917 h 6479439"/>
              <a:gd name="connsiteX3860" fmla="*/ 3599585 w 9586368"/>
              <a:gd name="connsiteY3860" fmla="*/ 3846956 h 6479439"/>
              <a:gd name="connsiteX3861" fmla="*/ 3589676 w 9586368"/>
              <a:gd name="connsiteY3861" fmla="*/ 3846956 h 6479439"/>
              <a:gd name="connsiteX3862" fmla="*/ 3585657 w 9586368"/>
              <a:gd name="connsiteY3862" fmla="*/ 3842917 h 6479439"/>
              <a:gd name="connsiteX3863" fmla="*/ 3585657 w 9586368"/>
              <a:gd name="connsiteY3863" fmla="*/ 3833046 h 6479439"/>
              <a:gd name="connsiteX3864" fmla="*/ 3350359 w 9586368"/>
              <a:gd name="connsiteY3864" fmla="*/ 3829008 h 6479439"/>
              <a:gd name="connsiteX3865" fmla="*/ 3360268 w 9586368"/>
              <a:gd name="connsiteY3865" fmla="*/ 3829008 h 6479439"/>
              <a:gd name="connsiteX3866" fmla="*/ 3364287 w 9586368"/>
              <a:gd name="connsiteY3866" fmla="*/ 3833046 h 6479439"/>
              <a:gd name="connsiteX3867" fmla="*/ 3364287 w 9586368"/>
              <a:gd name="connsiteY3867" fmla="*/ 3842917 h 6479439"/>
              <a:gd name="connsiteX3868" fmla="*/ 3360268 w 9586368"/>
              <a:gd name="connsiteY3868" fmla="*/ 3846956 h 6479439"/>
              <a:gd name="connsiteX3869" fmla="*/ 3350359 w 9586368"/>
              <a:gd name="connsiteY3869" fmla="*/ 3846956 h 6479439"/>
              <a:gd name="connsiteX3870" fmla="*/ 3346340 w 9586368"/>
              <a:gd name="connsiteY3870" fmla="*/ 3842917 h 6479439"/>
              <a:gd name="connsiteX3871" fmla="*/ 3346340 w 9586368"/>
              <a:gd name="connsiteY3871" fmla="*/ 3833046 h 6479439"/>
              <a:gd name="connsiteX3872" fmla="*/ 3111048 w 9586368"/>
              <a:gd name="connsiteY3872" fmla="*/ 3829008 h 6479439"/>
              <a:gd name="connsiteX3873" fmla="*/ 3120959 w 9586368"/>
              <a:gd name="connsiteY3873" fmla="*/ 3829008 h 6479439"/>
              <a:gd name="connsiteX3874" fmla="*/ 3124977 w 9586368"/>
              <a:gd name="connsiteY3874" fmla="*/ 3833046 h 6479439"/>
              <a:gd name="connsiteX3875" fmla="*/ 3124977 w 9586368"/>
              <a:gd name="connsiteY3875" fmla="*/ 3842917 h 6479439"/>
              <a:gd name="connsiteX3876" fmla="*/ 3120959 w 9586368"/>
              <a:gd name="connsiteY3876" fmla="*/ 3846956 h 6479439"/>
              <a:gd name="connsiteX3877" fmla="*/ 3111048 w 9586368"/>
              <a:gd name="connsiteY3877" fmla="*/ 3846956 h 6479439"/>
              <a:gd name="connsiteX3878" fmla="*/ 3107029 w 9586368"/>
              <a:gd name="connsiteY3878" fmla="*/ 3842917 h 6479439"/>
              <a:gd name="connsiteX3879" fmla="*/ 3107029 w 9586368"/>
              <a:gd name="connsiteY3879" fmla="*/ 3833046 h 6479439"/>
              <a:gd name="connsiteX3880" fmla="*/ 2871737 w 9586368"/>
              <a:gd name="connsiteY3880" fmla="*/ 3829008 h 6479439"/>
              <a:gd name="connsiteX3881" fmla="*/ 2881646 w 9586368"/>
              <a:gd name="connsiteY3881" fmla="*/ 3829008 h 6479439"/>
              <a:gd name="connsiteX3882" fmla="*/ 2885666 w 9586368"/>
              <a:gd name="connsiteY3882" fmla="*/ 3833046 h 6479439"/>
              <a:gd name="connsiteX3883" fmla="*/ 2885666 w 9586368"/>
              <a:gd name="connsiteY3883" fmla="*/ 3842917 h 6479439"/>
              <a:gd name="connsiteX3884" fmla="*/ 2881646 w 9586368"/>
              <a:gd name="connsiteY3884" fmla="*/ 3846956 h 6479439"/>
              <a:gd name="connsiteX3885" fmla="*/ 2871737 w 9586368"/>
              <a:gd name="connsiteY3885" fmla="*/ 3846956 h 6479439"/>
              <a:gd name="connsiteX3886" fmla="*/ 2867717 w 9586368"/>
              <a:gd name="connsiteY3886" fmla="*/ 3842917 h 6479439"/>
              <a:gd name="connsiteX3887" fmla="*/ 2867717 w 9586368"/>
              <a:gd name="connsiteY3887" fmla="*/ 3833046 h 6479439"/>
              <a:gd name="connsiteX3888" fmla="*/ 2632423 w 9586368"/>
              <a:gd name="connsiteY3888" fmla="*/ 3829008 h 6479439"/>
              <a:gd name="connsiteX3889" fmla="*/ 2642334 w 9586368"/>
              <a:gd name="connsiteY3889" fmla="*/ 3829008 h 6479439"/>
              <a:gd name="connsiteX3890" fmla="*/ 2646352 w 9586368"/>
              <a:gd name="connsiteY3890" fmla="*/ 3833046 h 6479439"/>
              <a:gd name="connsiteX3891" fmla="*/ 2646352 w 9586368"/>
              <a:gd name="connsiteY3891" fmla="*/ 3842917 h 6479439"/>
              <a:gd name="connsiteX3892" fmla="*/ 2642334 w 9586368"/>
              <a:gd name="connsiteY3892" fmla="*/ 3846956 h 6479439"/>
              <a:gd name="connsiteX3893" fmla="*/ 2632423 w 9586368"/>
              <a:gd name="connsiteY3893" fmla="*/ 3846956 h 6479439"/>
              <a:gd name="connsiteX3894" fmla="*/ 2628404 w 9586368"/>
              <a:gd name="connsiteY3894" fmla="*/ 3842917 h 6479439"/>
              <a:gd name="connsiteX3895" fmla="*/ 2628404 w 9586368"/>
              <a:gd name="connsiteY3895" fmla="*/ 3833046 h 6479439"/>
              <a:gd name="connsiteX3896" fmla="*/ 2393104 w 9586368"/>
              <a:gd name="connsiteY3896" fmla="*/ 3829008 h 6479439"/>
              <a:gd name="connsiteX3897" fmla="*/ 2403015 w 9586368"/>
              <a:gd name="connsiteY3897" fmla="*/ 3829008 h 6479439"/>
              <a:gd name="connsiteX3898" fmla="*/ 2407034 w 9586368"/>
              <a:gd name="connsiteY3898" fmla="*/ 3833046 h 6479439"/>
              <a:gd name="connsiteX3899" fmla="*/ 2407034 w 9586368"/>
              <a:gd name="connsiteY3899" fmla="*/ 3842917 h 6479439"/>
              <a:gd name="connsiteX3900" fmla="*/ 2403015 w 9586368"/>
              <a:gd name="connsiteY3900" fmla="*/ 3846956 h 6479439"/>
              <a:gd name="connsiteX3901" fmla="*/ 2393104 w 9586368"/>
              <a:gd name="connsiteY3901" fmla="*/ 3846956 h 6479439"/>
              <a:gd name="connsiteX3902" fmla="*/ 2389087 w 9586368"/>
              <a:gd name="connsiteY3902" fmla="*/ 3842917 h 6479439"/>
              <a:gd name="connsiteX3903" fmla="*/ 2389087 w 9586368"/>
              <a:gd name="connsiteY3903" fmla="*/ 3833046 h 6479439"/>
              <a:gd name="connsiteX3904" fmla="*/ 721966 w 9586368"/>
              <a:gd name="connsiteY3904" fmla="*/ 3829008 h 6479439"/>
              <a:gd name="connsiteX3905" fmla="*/ 731876 w 9586368"/>
              <a:gd name="connsiteY3905" fmla="*/ 3829008 h 6479439"/>
              <a:gd name="connsiteX3906" fmla="*/ 735895 w 9586368"/>
              <a:gd name="connsiteY3906" fmla="*/ 3833046 h 6479439"/>
              <a:gd name="connsiteX3907" fmla="*/ 735895 w 9586368"/>
              <a:gd name="connsiteY3907" fmla="*/ 3842917 h 6479439"/>
              <a:gd name="connsiteX3908" fmla="*/ 731876 w 9586368"/>
              <a:gd name="connsiteY3908" fmla="*/ 3846956 h 6479439"/>
              <a:gd name="connsiteX3909" fmla="*/ 721966 w 9586368"/>
              <a:gd name="connsiteY3909" fmla="*/ 3846956 h 6479439"/>
              <a:gd name="connsiteX3910" fmla="*/ 717947 w 9586368"/>
              <a:gd name="connsiteY3910" fmla="*/ 3842917 h 6479439"/>
              <a:gd name="connsiteX3911" fmla="*/ 717947 w 9586368"/>
              <a:gd name="connsiteY3911" fmla="*/ 3833046 h 6479439"/>
              <a:gd name="connsiteX3912" fmla="*/ 482654 w 9586368"/>
              <a:gd name="connsiteY3912" fmla="*/ 3829008 h 6479439"/>
              <a:gd name="connsiteX3913" fmla="*/ 492564 w 9586368"/>
              <a:gd name="connsiteY3913" fmla="*/ 3829008 h 6479439"/>
              <a:gd name="connsiteX3914" fmla="*/ 496583 w 9586368"/>
              <a:gd name="connsiteY3914" fmla="*/ 3833046 h 6479439"/>
              <a:gd name="connsiteX3915" fmla="*/ 496583 w 9586368"/>
              <a:gd name="connsiteY3915" fmla="*/ 3842917 h 6479439"/>
              <a:gd name="connsiteX3916" fmla="*/ 492564 w 9586368"/>
              <a:gd name="connsiteY3916" fmla="*/ 3846956 h 6479439"/>
              <a:gd name="connsiteX3917" fmla="*/ 482654 w 9586368"/>
              <a:gd name="connsiteY3917" fmla="*/ 3846956 h 6479439"/>
              <a:gd name="connsiteX3918" fmla="*/ 478635 w 9586368"/>
              <a:gd name="connsiteY3918" fmla="*/ 3842917 h 6479439"/>
              <a:gd name="connsiteX3919" fmla="*/ 478635 w 9586368"/>
              <a:gd name="connsiteY3919" fmla="*/ 3833046 h 6479439"/>
              <a:gd name="connsiteX3920" fmla="*/ 243340 w 9586368"/>
              <a:gd name="connsiteY3920" fmla="*/ 3829008 h 6479439"/>
              <a:gd name="connsiteX3921" fmla="*/ 253250 w 9586368"/>
              <a:gd name="connsiteY3921" fmla="*/ 3829008 h 6479439"/>
              <a:gd name="connsiteX3922" fmla="*/ 257269 w 9586368"/>
              <a:gd name="connsiteY3922" fmla="*/ 3833046 h 6479439"/>
              <a:gd name="connsiteX3923" fmla="*/ 257269 w 9586368"/>
              <a:gd name="connsiteY3923" fmla="*/ 3842917 h 6479439"/>
              <a:gd name="connsiteX3924" fmla="*/ 253250 w 9586368"/>
              <a:gd name="connsiteY3924" fmla="*/ 3846956 h 6479439"/>
              <a:gd name="connsiteX3925" fmla="*/ 243340 w 9586368"/>
              <a:gd name="connsiteY3925" fmla="*/ 3846956 h 6479439"/>
              <a:gd name="connsiteX3926" fmla="*/ 239321 w 9586368"/>
              <a:gd name="connsiteY3926" fmla="*/ 3842917 h 6479439"/>
              <a:gd name="connsiteX3927" fmla="*/ 239321 w 9586368"/>
              <a:gd name="connsiteY3927" fmla="*/ 3833046 h 6479439"/>
              <a:gd name="connsiteX3928" fmla="*/ 4027 w 9586368"/>
              <a:gd name="connsiteY3928" fmla="*/ 3829008 h 6479439"/>
              <a:gd name="connsiteX3929" fmla="*/ 13937 w 9586368"/>
              <a:gd name="connsiteY3929" fmla="*/ 3829008 h 6479439"/>
              <a:gd name="connsiteX3930" fmla="*/ 17956 w 9586368"/>
              <a:gd name="connsiteY3930" fmla="*/ 3833046 h 6479439"/>
              <a:gd name="connsiteX3931" fmla="*/ 17956 w 9586368"/>
              <a:gd name="connsiteY3931" fmla="*/ 3842917 h 6479439"/>
              <a:gd name="connsiteX3932" fmla="*/ 13937 w 9586368"/>
              <a:gd name="connsiteY3932" fmla="*/ 3846956 h 6479439"/>
              <a:gd name="connsiteX3933" fmla="*/ 4027 w 9586368"/>
              <a:gd name="connsiteY3933" fmla="*/ 3846956 h 6479439"/>
              <a:gd name="connsiteX3934" fmla="*/ 8 w 9586368"/>
              <a:gd name="connsiteY3934" fmla="*/ 3842917 h 6479439"/>
              <a:gd name="connsiteX3935" fmla="*/ 8 w 9586368"/>
              <a:gd name="connsiteY3935" fmla="*/ 3833046 h 6479439"/>
              <a:gd name="connsiteX3936" fmla="*/ 2157820 w 9586368"/>
              <a:gd name="connsiteY3936" fmla="*/ 3589728 h 6479439"/>
              <a:gd name="connsiteX3937" fmla="*/ 2167731 w 9586368"/>
              <a:gd name="connsiteY3937" fmla="*/ 3589728 h 6479439"/>
              <a:gd name="connsiteX3938" fmla="*/ 2171749 w 9586368"/>
              <a:gd name="connsiteY3938" fmla="*/ 3593767 h 6479439"/>
              <a:gd name="connsiteX3939" fmla="*/ 2171749 w 9586368"/>
              <a:gd name="connsiteY3939" fmla="*/ 3603637 h 6479439"/>
              <a:gd name="connsiteX3940" fmla="*/ 2167731 w 9586368"/>
              <a:gd name="connsiteY3940" fmla="*/ 3607676 h 6479439"/>
              <a:gd name="connsiteX3941" fmla="*/ 2157820 w 9586368"/>
              <a:gd name="connsiteY3941" fmla="*/ 3607676 h 6479439"/>
              <a:gd name="connsiteX3942" fmla="*/ 2153801 w 9586368"/>
              <a:gd name="connsiteY3942" fmla="*/ 3603637 h 6479439"/>
              <a:gd name="connsiteX3943" fmla="*/ 2153801 w 9586368"/>
              <a:gd name="connsiteY3943" fmla="*/ 3593767 h 6479439"/>
              <a:gd name="connsiteX3944" fmla="*/ 1918511 w 9586368"/>
              <a:gd name="connsiteY3944" fmla="*/ 3589728 h 6479439"/>
              <a:gd name="connsiteX3945" fmla="*/ 1928421 w 9586368"/>
              <a:gd name="connsiteY3945" fmla="*/ 3589728 h 6479439"/>
              <a:gd name="connsiteX3946" fmla="*/ 1932441 w 9586368"/>
              <a:gd name="connsiteY3946" fmla="*/ 3593767 h 6479439"/>
              <a:gd name="connsiteX3947" fmla="*/ 1932441 w 9586368"/>
              <a:gd name="connsiteY3947" fmla="*/ 3603637 h 6479439"/>
              <a:gd name="connsiteX3948" fmla="*/ 1928421 w 9586368"/>
              <a:gd name="connsiteY3948" fmla="*/ 3607676 h 6479439"/>
              <a:gd name="connsiteX3949" fmla="*/ 1918511 w 9586368"/>
              <a:gd name="connsiteY3949" fmla="*/ 3607676 h 6479439"/>
              <a:gd name="connsiteX3950" fmla="*/ 1914493 w 9586368"/>
              <a:gd name="connsiteY3950" fmla="*/ 3603637 h 6479439"/>
              <a:gd name="connsiteX3951" fmla="*/ 1914493 w 9586368"/>
              <a:gd name="connsiteY3951" fmla="*/ 3593767 h 6479439"/>
              <a:gd name="connsiteX3952" fmla="*/ 1679209 w 9586368"/>
              <a:gd name="connsiteY3952" fmla="*/ 3589728 h 6479439"/>
              <a:gd name="connsiteX3953" fmla="*/ 1689118 w 9586368"/>
              <a:gd name="connsiteY3953" fmla="*/ 3589728 h 6479439"/>
              <a:gd name="connsiteX3954" fmla="*/ 1693138 w 9586368"/>
              <a:gd name="connsiteY3954" fmla="*/ 3593767 h 6479439"/>
              <a:gd name="connsiteX3955" fmla="*/ 1693138 w 9586368"/>
              <a:gd name="connsiteY3955" fmla="*/ 3603637 h 6479439"/>
              <a:gd name="connsiteX3956" fmla="*/ 1689118 w 9586368"/>
              <a:gd name="connsiteY3956" fmla="*/ 3607676 h 6479439"/>
              <a:gd name="connsiteX3957" fmla="*/ 1679209 w 9586368"/>
              <a:gd name="connsiteY3957" fmla="*/ 3607676 h 6479439"/>
              <a:gd name="connsiteX3958" fmla="*/ 1675190 w 9586368"/>
              <a:gd name="connsiteY3958" fmla="*/ 3603637 h 6479439"/>
              <a:gd name="connsiteX3959" fmla="*/ 1675190 w 9586368"/>
              <a:gd name="connsiteY3959" fmla="*/ 3593767 h 6479439"/>
              <a:gd name="connsiteX3960" fmla="*/ 1439892 w 9586368"/>
              <a:gd name="connsiteY3960" fmla="*/ 3589728 h 6479439"/>
              <a:gd name="connsiteX3961" fmla="*/ 1449803 w 9586368"/>
              <a:gd name="connsiteY3961" fmla="*/ 3589728 h 6479439"/>
              <a:gd name="connsiteX3962" fmla="*/ 1453822 w 9586368"/>
              <a:gd name="connsiteY3962" fmla="*/ 3593767 h 6479439"/>
              <a:gd name="connsiteX3963" fmla="*/ 1453822 w 9586368"/>
              <a:gd name="connsiteY3963" fmla="*/ 3603637 h 6479439"/>
              <a:gd name="connsiteX3964" fmla="*/ 1449803 w 9586368"/>
              <a:gd name="connsiteY3964" fmla="*/ 3607676 h 6479439"/>
              <a:gd name="connsiteX3965" fmla="*/ 1439892 w 9586368"/>
              <a:gd name="connsiteY3965" fmla="*/ 3607676 h 6479439"/>
              <a:gd name="connsiteX3966" fmla="*/ 1435874 w 9586368"/>
              <a:gd name="connsiteY3966" fmla="*/ 3603637 h 6479439"/>
              <a:gd name="connsiteX3967" fmla="*/ 1435874 w 9586368"/>
              <a:gd name="connsiteY3967" fmla="*/ 3593767 h 6479439"/>
              <a:gd name="connsiteX3968" fmla="*/ 1200577 w 9586368"/>
              <a:gd name="connsiteY3968" fmla="*/ 3589728 h 6479439"/>
              <a:gd name="connsiteX3969" fmla="*/ 1210488 w 9586368"/>
              <a:gd name="connsiteY3969" fmla="*/ 3589728 h 6479439"/>
              <a:gd name="connsiteX3970" fmla="*/ 1214506 w 9586368"/>
              <a:gd name="connsiteY3970" fmla="*/ 3593767 h 6479439"/>
              <a:gd name="connsiteX3971" fmla="*/ 1214506 w 9586368"/>
              <a:gd name="connsiteY3971" fmla="*/ 3603637 h 6479439"/>
              <a:gd name="connsiteX3972" fmla="*/ 1210488 w 9586368"/>
              <a:gd name="connsiteY3972" fmla="*/ 3607676 h 6479439"/>
              <a:gd name="connsiteX3973" fmla="*/ 1200577 w 9586368"/>
              <a:gd name="connsiteY3973" fmla="*/ 3607676 h 6479439"/>
              <a:gd name="connsiteX3974" fmla="*/ 1196559 w 9586368"/>
              <a:gd name="connsiteY3974" fmla="*/ 3603637 h 6479439"/>
              <a:gd name="connsiteX3975" fmla="*/ 1196559 w 9586368"/>
              <a:gd name="connsiteY3975" fmla="*/ 3593767 h 6479439"/>
              <a:gd name="connsiteX3976" fmla="*/ 961265 w 9586368"/>
              <a:gd name="connsiteY3976" fmla="*/ 3589728 h 6479439"/>
              <a:gd name="connsiteX3977" fmla="*/ 971175 w 9586368"/>
              <a:gd name="connsiteY3977" fmla="*/ 3589728 h 6479439"/>
              <a:gd name="connsiteX3978" fmla="*/ 975193 w 9586368"/>
              <a:gd name="connsiteY3978" fmla="*/ 3593767 h 6479439"/>
              <a:gd name="connsiteX3979" fmla="*/ 975193 w 9586368"/>
              <a:gd name="connsiteY3979" fmla="*/ 3603637 h 6479439"/>
              <a:gd name="connsiteX3980" fmla="*/ 971175 w 9586368"/>
              <a:gd name="connsiteY3980" fmla="*/ 3607676 h 6479439"/>
              <a:gd name="connsiteX3981" fmla="*/ 961265 w 9586368"/>
              <a:gd name="connsiteY3981" fmla="*/ 3607676 h 6479439"/>
              <a:gd name="connsiteX3982" fmla="*/ 957246 w 9586368"/>
              <a:gd name="connsiteY3982" fmla="*/ 3603637 h 6479439"/>
              <a:gd name="connsiteX3983" fmla="*/ 957246 w 9586368"/>
              <a:gd name="connsiteY3983" fmla="*/ 3593767 h 6479439"/>
              <a:gd name="connsiteX3984" fmla="*/ 9572438 w 9586368"/>
              <a:gd name="connsiteY3984" fmla="*/ 3589677 h 6479439"/>
              <a:gd name="connsiteX3985" fmla="*/ 9582349 w 9586368"/>
              <a:gd name="connsiteY3985" fmla="*/ 3589677 h 6479439"/>
              <a:gd name="connsiteX3986" fmla="*/ 9586368 w 9586368"/>
              <a:gd name="connsiteY3986" fmla="*/ 3593716 h 6479439"/>
              <a:gd name="connsiteX3987" fmla="*/ 9586368 w 9586368"/>
              <a:gd name="connsiteY3987" fmla="*/ 3603586 h 6479439"/>
              <a:gd name="connsiteX3988" fmla="*/ 9582349 w 9586368"/>
              <a:gd name="connsiteY3988" fmla="*/ 3607625 h 6479439"/>
              <a:gd name="connsiteX3989" fmla="*/ 9572438 w 9586368"/>
              <a:gd name="connsiteY3989" fmla="*/ 3607625 h 6479439"/>
              <a:gd name="connsiteX3990" fmla="*/ 9568419 w 9586368"/>
              <a:gd name="connsiteY3990" fmla="*/ 3603586 h 6479439"/>
              <a:gd name="connsiteX3991" fmla="*/ 9568419 w 9586368"/>
              <a:gd name="connsiteY3991" fmla="*/ 3593716 h 6479439"/>
              <a:gd name="connsiteX3992" fmla="*/ 9333125 w 9586368"/>
              <a:gd name="connsiteY3992" fmla="*/ 3589677 h 6479439"/>
              <a:gd name="connsiteX3993" fmla="*/ 9343036 w 9586368"/>
              <a:gd name="connsiteY3993" fmla="*/ 3589677 h 6479439"/>
              <a:gd name="connsiteX3994" fmla="*/ 9347055 w 9586368"/>
              <a:gd name="connsiteY3994" fmla="*/ 3593716 h 6479439"/>
              <a:gd name="connsiteX3995" fmla="*/ 9347055 w 9586368"/>
              <a:gd name="connsiteY3995" fmla="*/ 3603586 h 6479439"/>
              <a:gd name="connsiteX3996" fmla="*/ 9343036 w 9586368"/>
              <a:gd name="connsiteY3996" fmla="*/ 3607625 h 6479439"/>
              <a:gd name="connsiteX3997" fmla="*/ 9333125 w 9586368"/>
              <a:gd name="connsiteY3997" fmla="*/ 3607625 h 6479439"/>
              <a:gd name="connsiteX3998" fmla="*/ 9329106 w 9586368"/>
              <a:gd name="connsiteY3998" fmla="*/ 3603586 h 6479439"/>
              <a:gd name="connsiteX3999" fmla="*/ 9329106 w 9586368"/>
              <a:gd name="connsiteY3999" fmla="*/ 3593716 h 6479439"/>
              <a:gd name="connsiteX4000" fmla="*/ 9093811 w 9586368"/>
              <a:gd name="connsiteY4000" fmla="*/ 3589677 h 6479439"/>
              <a:gd name="connsiteX4001" fmla="*/ 9103722 w 9586368"/>
              <a:gd name="connsiteY4001" fmla="*/ 3589677 h 6479439"/>
              <a:gd name="connsiteX4002" fmla="*/ 9107741 w 9586368"/>
              <a:gd name="connsiteY4002" fmla="*/ 3593716 h 6479439"/>
              <a:gd name="connsiteX4003" fmla="*/ 9107741 w 9586368"/>
              <a:gd name="connsiteY4003" fmla="*/ 3603586 h 6479439"/>
              <a:gd name="connsiteX4004" fmla="*/ 9103722 w 9586368"/>
              <a:gd name="connsiteY4004" fmla="*/ 3607625 h 6479439"/>
              <a:gd name="connsiteX4005" fmla="*/ 9093811 w 9586368"/>
              <a:gd name="connsiteY4005" fmla="*/ 3607625 h 6479439"/>
              <a:gd name="connsiteX4006" fmla="*/ 9089792 w 9586368"/>
              <a:gd name="connsiteY4006" fmla="*/ 3603586 h 6479439"/>
              <a:gd name="connsiteX4007" fmla="*/ 9089792 w 9586368"/>
              <a:gd name="connsiteY4007" fmla="*/ 3593716 h 6479439"/>
              <a:gd name="connsiteX4008" fmla="*/ 8854496 w 9586368"/>
              <a:gd name="connsiteY4008" fmla="*/ 3589677 h 6479439"/>
              <a:gd name="connsiteX4009" fmla="*/ 8864407 w 9586368"/>
              <a:gd name="connsiteY4009" fmla="*/ 3589677 h 6479439"/>
              <a:gd name="connsiteX4010" fmla="*/ 8868426 w 9586368"/>
              <a:gd name="connsiteY4010" fmla="*/ 3593716 h 6479439"/>
              <a:gd name="connsiteX4011" fmla="*/ 8868426 w 9586368"/>
              <a:gd name="connsiteY4011" fmla="*/ 3603586 h 6479439"/>
              <a:gd name="connsiteX4012" fmla="*/ 8864407 w 9586368"/>
              <a:gd name="connsiteY4012" fmla="*/ 3607625 h 6479439"/>
              <a:gd name="connsiteX4013" fmla="*/ 8854496 w 9586368"/>
              <a:gd name="connsiteY4013" fmla="*/ 3607625 h 6479439"/>
              <a:gd name="connsiteX4014" fmla="*/ 8850477 w 9586368"/>
              <a:gd name="connsiteY4014" fmla="*/ 3603586 h 6479439"/>
              <a:gd name="connsiteX4015" fmla="*/ 8850477 w 9586368"/>
              <a:gd name="connsiteY4015" fmla="*/ 3593716 h 6479439"/>
              <a:gd name="connsiteX4016" fmla="*/ 8615184 w 9586368"/>
              <a:gd name="connsiteY4016" fmla="*/ 3589677 h 6479439"/>
              <a:gd name="connsiteX4017" fmla="*/ 8625095 w 9586368"/>
              <a:gd name="connsiteY4017" fmla="*/ 3589677 h 6479439"/>
              <a:gd name="connsiteX4018" fmla="*/ 8629114 w 9586368"/>
              <a:gd name="connsiteY4018" fmla="*/ 3593716 h 6479439"/>
              <a:gd name="connsiteX4019" fmla="*/ 8629114 w 9586368"/>
              <a:gd name="connsiteY4019" fmla="*/ 3603586 h 6479439"/>
              <a:gd name="connsiteX4020" fmla="*/ 8625095 w 9586368"/>
              <a:gd name="connsiteY4020" fmla="*/ 3607625 h 6479439"/>
              <a:gd name="connsiteX4021" fmla="*/ 8615184 w 9586368"/>
              <a:gd name="connsiteY4021" fmla="*/ 3607625 h 6479439"/>
              <a:gd name="connsiteX4022" fmla="*/ 8611165 w 9586368"/>
              <a:gd name="connsiteY4022" fmla="*/ 3603586 h 6479439"/>
              <a:gd name="connsiteX4023" fmla="*/ 8611165 w 9586368"/>
              <a:gd name="connsiteY4023" fmla="*/ 3593716 h 6479439"/>
              <a:gd name="connsiteX4024" fmla="*/ 8375869 w 9586368"/>
              <a:gd name="connsiteY4024" fmla="*/ 3589677 h 6479439"/>
              <a:gd name="connsiteX4025" fmla="*/ 8385779 w 9586368"/>
              <a:gd name="connsiteY4025" fmla="*/ 3589677 h 6479439"/>
              <a:gd name="connsiteX4026" fmla="*/ 8389799 w 9586368"/>
              <a:gd name="connsiteY4026" fmla="*/ 3593716 h 6479439"/>
              <a:gd name="connsiteX4027" fmla="*/ 8389799 w 9586368"/>
              <a:gd name="connsiteY4027" fmla="*/ 3603586 h 6479439"/>
              <a:gd name="connsiteX4028" fmla="*/ 8385779 w 9586368"/>
              <a:gd name="connsiteY4028" fmla="*/ 3607625 h 6479439"/>
              <a:gd name="connsiteX4029" fmla="*/ 8375869 w 9586368"/>
              <a:gd name="connsiteY4029" fmla="*/ 3607625 h 6479439"/>
              <a:gd name="connsiteX4030" fmla="*/ 8371850 w 9586368"/>
              <a:gd name="connsiteY4030" fmla="*/ 3603586 h 6479439"/>
              <a:gd name="connsiteX4031" fmla="*/ 8371850 w 9586368"/>
              <a:gd name="connsiteY4031" fmla="*/ 3593716 h 6479439"/>
              <a:gd name="connsiteX4032" fmla="*/ 8136553 w 9586368"/>
              <a:gd name="connsiteY4032" fmla="*/ 3589677 h 6479439"/>
              <a:gd name="connsiteX4033" fmla="*/ 8146464 w 9586368"/>
              <a:gd name="connsiteY4033" fmla="*/ 3589677 h 6479439"/>
              <a:gd name="connsiteX4034" fmla="*/ 8150483 w 9586368"/>
              <a:gd name="connsiteY4034" fmla="*/ 3593716 h 6479439"/>
              <a:gd name="connsiteX4035" fmla="*/ 8150483 w 9586368"/>
              <a:gd name="connsiteY4035" fmla="*/ 3603586 h 6479439"/>
              <a:gd name="connsiteX4036" fmla="*/ 8146464 w 9586368"/>
              <a:gd name="connsiteY4036" fmla="*/ 3607625 h 6479439"/>
              <a:gd name="connsiteX4037" fmla="*/ 8136553 w 9586368"/>
              <a:gd name="connsiteY4037" fmla="*/ 3607625 h 6479439"/>
              <a:gd name="connsiteX4038" fmla="*/ 8132534 w 9586368"/>
              <a:gd name="connsiteY4038" fmla="*/ 3603586 h 6479439"/>
              <a:gd name="connsiteX4039" fmla="*/ 8132534 w 9586368"/>
              <a:gd name="connsiteY4039" fmla="*/ 3593716 h 6479439"/>
              <a:gd name="connsiteX4040" fmla="*/ 7897241 w 9586368"/>
              <a:gd name="connsiteY4040" fmla="*/ 3589677 h 6479439"/>
              <a:gd name="connsiteX4041" fmla="*/ 7907151 w 9586368"/>
              <a:gd name="connsiteY4041" fmla="*/ 3589677 h 6479439"/>
              <a:gd name="connsiteX4042" fmla="*/ 7911170 w 9586368"/>
              <a:gd name="connsiteY4042" fmla="*/ 3593716 h 6479439"/>
              <a:gd name="connsiteX4043" fmla="*/ 7911170 w 9586368"/>
              <a:gd name="connsiteY4043" fmla="*/ 3603586 h 6479439"/>
              <a:gd name="connsiteX4044" fmla="*/ 7907151 w 9586368"/>
              <a:gd name="connsiteY4044" fmla="*/ 3607625 h 6479439"/>
              <a:gd name="connsiteX4045" fmla="*/ 7897241 w 9586368"/>
              <a:gd name="connsiteY4045" fmla="*/ 3607625 h 6479439"/>
              <a:gd name="connsiteX4046" fmla="*/ 7893222 w 9586368"/>
              <a:gd name="connsiteY4046" fmla="*/ 3603586 h 6479439"/>
              <a:gd name="connsiteX4047" fmla="*/ 7893222 w 9586368"/>
              <a:gd name="connsiteY4047" fmla="*/ 3593716 h 6479439"/>
              <a:gd name="connsiteX4048" fmla="*/ 7657926 w 9586368"/>
              <a:gd name="connsiteY4048" fmla="*/ 3589677 h 6479439"/>
              <a:gd name="connsiteX4049" fmla="*/ 7667836 w 9586368"/>
              <a:gd name="connsiteY4049" fmla="*/ 3589677 h 6479439"/>
              <a:gd name="connsiteX4050" fmla="*/ 7671855 w 9586368"/>
              <a:gd name="connsiteY4050" fmla="*/ 3593716 h 6479439"/>
              <a:gd name="connsiteX4051" fmla="*/ 7671855 w 9586368"/>
              <a:gd name="connsiteY4051" fmla="*/ 3603586 h 6479439"/>
              <a:gd name="connsiteX4052" fmla="*/ 7667836 w 9586368"/>
              <a:gd name="connsiteY4052" fmla="*/ 3607625 h 6479439"/>
              <a:gd name="connsiteX4053" fmla="*/ 7657926 w 9586368"/>
              <a:gd name="connsiteY4053" fmla="*/ 3607625 h 6479439"/>
              <a:gd name="connsiteX4054" fmla="*/ 7653906 w 9586368"/>
              <a:gd name="connsiteY4054" fmla="*/ 3603586 h 6479439"/>
              <a:gd name="connsiteX4055" fmla="*/ 7653906 w 9586368"/>
              <a:gd name="connsiteY4055" fmla="*/ 3593716 h 6479439"/>
              <a:gd name="connsiteX4056" fmla="*/ 7418611 w 9586368"/>
              <a:gd name="connsiteY4056" fmla="*/ 3589677 h 6479439"/>
              <a:gd name="connsiteX4057" fmla="*/ 7428521 w 9586368"/>
              <a:gd name="connsiteY4057" fmla="*/ 3589677 h 6479439"/>
              <a:gd name="connsiteX4058" fmla="*/ 7432540 w 9586368"/>
              <a:gd name="connsiteY4058" fmla="*/ 3593716 h 6479439"/>
              <a:gd name="connsiteX4059" fmla="*/ 7432540 w 9586368"/>
              <a:gd name="connsiteY4059" fmla="*/ 3603586 h 6479439"/>
              <a:gd name="connsiteX4060" fmla="*/ 7428521 w 9586368"/>
              <a:gd name="connsiteY4060" fmla="*/ 3607625 h 6479439"/>
              <a:gd name="connsiteX4061" fmla="*/ 7418611 w 9586368"/>
              <a:gd name="connsiteY4061" fmla="*/ 3607625 h 6479439"/>
              <a:gd name="connsiteX4062" fmla="*/ 7414592 w 9586368"/>
              <a:gd name="connsiteY4062" fmla="*/ 3603586 h 6479439"/>
              <a:gd name="connsiteX4063" fmla="*/ 7414592 w 9586368"/>
              <a:gd name="connsiteY4063" fmla="*/ 3593716 h 6479439"/>
              <a:gd name="connsiteX4064" fmla="*/ 7179298 w 9586368"/>
              <a:gd name="connsiteY4064" fmla="*/ 3589677 h 6479439"/>
              <a:gd name="connsiteX4065" fmla="*/ 7189209 w 9586368"/>
              <a:gd name="connsiteY4065" fmla="*/ 3589677 h 6479439"/>
              <a:gd name="connsiteX4066" fmla="*/ 7193228 w 9586368"/>
              <a:gd name="connsiteY4066" fmla="*/ 3593716 h 6479439"/>
              <a:gd name="connsiteX4067" fmla="*/ 7193228 w 9586368"/>
              <a:gd name="connsiteY4067" fmla="*/ 3603586 h 6479439"/>
              <a:gd name="connsiteX4068" fmla="*/ 7189209 w 9586368"/>
              <a:gd name="connsiteY4068" fmla="*/ 3607625 h 6479439"/>
              <a:gd name="connsiteX4069" fmla="*/ 7179298 w 9586368"/>
              <a:gd name="connsiteY4069" fmla="*/ 3607625 h 6479439"/>
              <a:gd name="connsiteX4070" fmla="*/ 7175279 w 9586368"/>
              <a:gd name="connsiteY4070" fmla="*/ 3603586 h 6479439"/>
              <a:gd name="connsiteX4071" fmla="*/ 7175279 w 9586368"/>
              <a:gd name="connsiteY4071" fmla="*/ 3593716 h 6479439"/>
              <a:gd name="connsiteX4072" fmla="*/ 6939983 w 9586368"/>
              <a:gd name="connsiteY4072" fmla="*/ 3589677 h 6479439"/>
              <a:gd name="connsiteX4073" fmla="*/ 6949894 w 9586368"/>
              <a:gd name="connsiteY4073" fmla="*/ 3589677 h 6479439"/>
              <a:gd name="connsiteX4074" fmla="*/ 6953913 w 9586368"/>
              <a:gd name="connsiteY4074" fmla="*/ 3593716 h 6479439"/>
              <a:gd name="connsiteX4075" fmla="*/ 6953913 w 9586368"/>
              <a:gd name="connsiteY4075" fmla="*/ 3603586 h 6479439"/>
              <a:gd name="connsiteX4076" fmla="*/ 6949894 w 9586368"/>
              <a:gd name="connsiteY4076" fmla="*/ 3607625 h 6479439"/>
              <a:gd name="connsiteX4077" fmla="*/ 6939983 w 9586368"/>
              <a:gd name="connsiteY4077" fmla="*/ 3607625 h 6479439"/>
              <a:gd name="connsiteX4078" fmla="*/ 6935964 w 9586368"/>
              <a:gd name="connsiteY4078" fmla="*/ 3603586 h 6479439"/>
              <a:gd name="connsiteX4079" fmla="*/ 6935964 w 9586368"/>
              <a:gd name="connsiteY4079" fmla="*/ 3593716 h 6479439"/>
              <a:gd name="connsiteX4080" fmla="*/ 6700670 w 9586368"/>
              <a:gd name="connsiteY4080" fmla="*/ 3589677 h 6479439"/>
              <a:gd name="connsiteX4081" fmla="*/ 6710581 w 9586368"/>
              <a:gd name="connsiteY4081" fmla="*/ 3589677 h 6479439"/>
              <a:gd name="connsiteX4082" fmla="*/ 6714600 w 9586368"/>
              <a:gd name="connsiteY4082" fmla="*/ 3593716 h 6479439"/>
              <a:gd name="connsiteX4083" fmla="*/ 6714600 w 9586368"/>
              <a:gd name="connsiteY4083" fmla="*/ 3603586 h 6479439"/>
              <a:gd name="connsiteX4084" fmla="*/ 6710581 w 9586368"/>
              <a:gd name="connsiteY4084" fmla="*/ 3607625 h 6479439"/>
              <a:gd name="connsiteX4085" fmla="*/ 6700670 w 9586368"/>
              <a:gd name="connsiteY4085" fmla="*/ 3607625 h 6479439"/>
              <a:gd name="connsiteX4086" fmla="*/ 6696651 w 9586368"/>
              <a:gd name="connsiteY4086" fmla="*/ 3603586 h 6479439"/>
              <a:gd name="connsiteX4087" fmla="*/ 6696651 w 9586368"/>
              <a:gd name="connsiteY4087" fmla="*/ 3593716 h 6479439"/>
              <a:gd name="connsiteX4088" fmla="*/ 6461356 w 9586368"/>
              <a:gd name="connsiteY4088" fmla="*/ 3589677 h 6479439"/>
              <a:gd name="connsiteX4089" fmla="*/ 6471266 w 9586368"/>
              <a:gd name="connsiteY4089" fmla="*/ 3589677 h 6479439"/>
              <a:gd name="connsiteX4090" fmla="*/ 6475285 w 9586368"/>
              <a:gd name="connsiteY4090" fmla="*/ 3593716 h 6479439"/>
              <a:gd name="connsiteX4091" fmla="*/ 6475285 w 9586368"/>
              <a:gd name="connsiteY4091" fmla="*/ 3603586 h 6479439"/>
              <a:gd name="connsiteX4092" fmla="*/ 6471266 w 9586368"/>
              <a:gd name="connsiteY4092" fmla="*/ 3607625 h 6479439"/>
              <a:gd name="connsiteX4093" fmla="*/ 6461356 w 9586368"/>
              <a:gd name="connsiteY4093" fmla="*/ 3607625 h 6479439"/>
              <a:gd name="connsiteX4094" fmla="*/ 6457337 w 9586368"/>
              <a:gd name="connsiteY4094" fmla="*/ 3603586 h 6479439"/>
              <a:gd name="connsiteX4095" fmla="*/ 6457337 w 9586368"/>
              <a:gd name="connsiteY4095" fmla="*/ 3593716 h 6479439"/>
              <a:gd name="connsiteX4096" fmla="*/ 6222042 w 9586368"/>
              <a:gd name="connsiteY4096" fmla="*/ 3589677 h 6479439"/>
              <a:gd name="connsiteX4097" fmla="*/ 6231952 w 9586368"/>
              <a:gd name="connsiteY4097" fmla="*/ 3589677 h 6479439"/>
              <a:gd name="connsiteX4098" fmla="*/ 6235971 w 9586368"/>
              <a:gd name="connsiteY4098" fmla="*/ 3593716 h 6479439"/>
              <a:gd name="connsiteX4099" fmla="*/ 6235971 w 9586368"/>
              <a:gd name="connsiteY4099" fmla="*/ 3603586 h 6479439"/>
              <a:gd name="connsiteX4100" fmla="*/ 6231952 w 9586368"/>
              <a:gd name="connsiteY4100" fmla="*/ 3607625 h 6479439"/>
              <a:gd name="connsiteX4101" fmla="*/ 6222042 w 9586368"/>
              <a:gd name="connsiteY4101" fmla="*/ 3607625 h 6479439"/>
              <a:gd name="connsiteX4102" fmla="*/ 6218023 w 9586368"/>
              <a:gd name="connsiteY4102" fmla="*/ 3603586 h 6479439"/>
              <a:gd name="connsiteX4103" fmla="*/ 6218023 w 9586368"/>
              <a:gd name="connsiteY4103" fmla="*/ 3593716 h 6479439"/>
              <a:gd name="connsiteX4104" fmla="*/ 5982729 w 9586368"/>
              <a:gd name="connsiteY4104" fmla="*/ 3589677 h 6479439"/>
              <a:gd name="connsiteX4105" fmla="*/ 5992639 w 9586368"/>
              <a:gd name="connsiteY4105" fmla="*/ 3589677 h 6479439"/>
              <a:gd name="connsiteX4106" fmla="*/ 5996658 w 9586368"/>
              <a:gd name="connsiteY4106" fmla="*/ 3593716 h 6479439"/>
              <a:gd name="connsiteX4107" fmla="*/ 5996658 w 9586368"/>
              <a:gd name="connsiteY4107" fmla="*/ 3603586 h 6479439"/>
              <a:gd name="connsiteX4108" fmla="*/ 5992639 w 9586368"/>
              <a:gd name="connsiteY4108" fmla="*/ 3607625 h 6479439"/>
              <a:gd name="connsiteX4109" fmla="*/ 5982729 w 9586368"/>
              <a:gd name="connsiteY4109" fmla="*/ 3607625 h 6479439"/>
              <a:gd name="connsiteX4110" fmla="*/ 5978710 w 9586368"/>
              <a:gd name="connsiteY4110" fmla="*/ 3603586 h 6479439"/>
              <a:gd name="connsiteX4111" fmla="*/ 5978710 w 9586368"/>
              <a:gd name="connsiteY4111" fmla="*/ 3593716 h 6479439"/>
              <a:gd name="connsiteX4112" fmla="*/ 5743412 w 9586368"/>
              <a:gd name="connsiteY4112" fmla="*/ 3589677 h 6479439"/>
              <a:gd name="connsiteX4113" fmla="*/ 5753323 w 9586368"/>
              <a:gd name="connsiteY4113" fmla="*/ 3589677 h 6479439"/>
              <a:gd name="connsiteX4114" fmla="*/ 5757342 w 9586368"/>
              <a:gd name="connsiteY4114" fmla="*/ 3593716 h 6479439"/>
              <a:gd name="connsiteX4115" fmla="*/ 5757342 w 9586368"/>
              <a:gd name="connsiteY4115" fmla="*/ 3603586 h 6479439"/>
              <a:gd name="connsiteX4116" fmla="*/ 5753323 w 9586368"/>
              <a:gd name="connsiteY4116" fmla="*/ 3607625 h 6479439"/>
              <a:gd name="connsiteX4117" fmla="*/ 5743412 w 9586368"/>
              <a:gd name="connsiteY4117" fmla="*/ 3607625 h 6479439"/>
              <a:gd name="connsiteX4118" fmla="*/ 5739393 w 9586368"/>
              <a:gd name="connsiteY4118" fmla="*/ 3603586 h 6479439"/>
              <a:gd name="connsiteX4119" fmla="*/ 5739393 w 9586368"/>
              <a:gd name="connsiteY4119" fmla="*/ 3593716 h 6479439"/>
              <a:gd name="connsiteX4120" fmla="*/ 5504099 w 9586368"/>
              <a:gd name="connsiteY4120" fmla="*/ 3589677 h 6479439"/>
              <a:gd name="connsiteX4121" fmla="*/ 5514010 w 9586368"/>
              <a:gd name="connsiteY4121" fmla="*/ 3589677 h 6479439"/>
              <a:gd name="connsiteX4122" fmla="*/ 5518029 w 9586368"/>
              <a:gd name="connsiteY4122" fmla="*/ 3593716 h 6479439"/>
              <a:gd name="connsiteX4123" fmla="*/ 5518029 w 9586368"/>
              <a:gd name="connsiteY4123" fmla="*/ 3603586 h 6479439"/>
              <a:gd name="connsiteX4124" fmla="*/ 5514010 w 9586368"/>
              <a:gd name="connsiteY4124" fmla="*/ 3607625 h 6479439"/>
              <a:gd name="connsiteX4125" fmla="*/ 5504099 w 9586368"/>
              <a:gd name="connsiteY4125" fmla="*/ 3607625 h 6479439"/>
              <a:gd name="connsiteX4126" fmla="*/ 5500080 w 9586368"/>
              <a:gd name="connsiteY4126" fmla="*/ 3603586 h 6479439"/>
              <a:gd name="connsiteX4127" fmla="*/ 5500080 w 9586368"/>
              <a:gd name="connsiteY4127" fmla="*/ 3593716 h 6479439"/>
              <a:gd name="connsiteX4128" fmla="*/ 5264784 w 9586368"/>
              <a:gd name="connsiteY4128" fmla="*/ 3589677 h 6479439"/>
              <a:gd name="connsiteX4129" fmla="*/ 5274694 w 9586368"/>
              <a:gd name="connsiteY4129" fmla="*/ 3589677 h 6479439"/>
              <a:gd name="connsiteX4130" fmla="*/ 5278713 w 9586368"/>
              <a:gd name="connsiteY4130" fmla="*/ 3593716 h 6479439"/>
              <a:gd name="connsiteX4131" fmla="*/ 5278713 w 9586368"/>
              <a:gd name="connsiteY4131" fmla="*/ 3603586 h 6479439"/>
              <a:gd name="connsiteX4132" fmla="*/ 5274694 w 9586368"/>
              <a:gd name="connsiteY4132" fmla="*/ 3607625 h 6479439"/>
              <a:gd name="connsiteX4133" fmla="*/ 5264784 w 9586368"/>
              <a:gd name="connsiteY4133" fmla="*/ 3607625 h 6479439"/>
              <a:gd name="connsiteX4134" fmla="*/ 5260765 w 9586368"/>
              <a:gd name="connsiteY4134" fmla="*/ 3603586 h 6479439"/>
              <a:gd name="connsiteX4135" fmla="*/ 5260765 w 9586368"/>
              <a:gd name="connsiteY4135" fmla="*/ 3593716 h 6479439"/>
              <a:gd name="connsiteX4136" fmla="*/ 5025470 w 9586368"/>
              <a:gd name="connsiteY4136" fmla="*/ 3589677 h 6479439"/>
              <a:gd name="connsiteX4137" fmla="*/ 5035381 w 9586368"/>
              <a:gd name="connsiteY4137" fmla="*/ 3589677 h 6479439"/>
              <a:gd name="connsiteX4138" fmla="*/ 5039400 w 9586368"/>
              <a:gd name="connsiteY4138" fmla="*/ 3593716 h 6479439"/>
              <a:gd name="connsiteX4139" fmla="*/ 5039400 w 9586368"/>
              <a:gd name="connsiteY4139" fmla="*/ 3603586 h 6479439"/>
              <a:gd name="connsiteX4140" fmla="*/ 5035381 w 9586368"/>
              <a:gd name="connsiteY4140" fmla="*/ 3607625 h 6479439"/>
              <a:gd name="connsiteX4141" fmla="*/ 5025470 w 9586368"/>
              <a:gd name="connsiteY4141" fmla="*/ 3607625 h 6479439"/>
              <a:gd name="connsiteX4142" fmla="*/ 5021451 w 9586368"/>
              <a:gd name="connsiteY4142" fmla="*/ 3603586 h 6479439"/>
              <a:gd name="connsiteX4143" fmla="*/ 5021451 w 9586368"/>
              <a:gd name="connsiteY4143" fmla="*/ 3593716 h 6479439"/>
              <a:gd name="connsiteX4144" fmla="*/ 4786241 w 9586368"/>
              <a:gd name="connsiteY4144" fmla="*/ 3589677 h 6479439"/>
              <a:gd name="connsiteX4145" fmla="*/ 4796152 w 9586368"/>
              <a:gd name="connsiteY4145" fmla="*/ 3589677 h 6479439"/>
              <a:gd name="connsiteX4146" fmla="*/ 4800171 w 9586368"/>
              <a:gd name="connsiteY4146" fmla="*/ 3593716 h 6479439"/>
              <a:gd name="connsiteX4147" fmla="*/ 4800171 w 9586368"/>
              <a:gd name="connsiteY4147" fmla="*/ 3603586 h 6479439"/>
              <a:gd name="connsiteX4148" fmla="*/ 4796152 w 9586368"/>
              <a:gd name="connsiteY4148" fmla="*/ 3607625 h 6479439"/>
              <a:gd name="connsiteX4149" fmla="*/ 4786241 w 9586368"/>
              <a:gd name="connsiteY4149" fmla="*/ 3607625 h 6479439"/>
              <a:gd name="connsiteX4150" fmla="*/ 4782224 w 9586368"/>
              <a:gd name="connsiteY4150" fmla="*/ 3603586 h 6479439"/>
              <a:gd name="connsiteX4151" fmla="*/ 4782224 w 9586368"/>
              <a:gd name="connsiteY4151" fmla="*/ 3593716 h 6479439"/>
              <a:gd name="connsiteX4152" fmla="*/ 4546929 w 9586368"/>
              <a:gd name="connsiteY4152" fmla="*/ 3589677 h 6479439"/>
              <a:gd name="connsiteX4153" fmla="*/ 4556840 w 9586368"/>
              <a:gd name="connsiteY4153" fmla="*/ 3589677 h 6479439"/>
              <a:gd name="connsiteX4154" fmla="*/ 4560859 w 9586368"/>
              <a:gd name="connsiteY4154" fmla="*/ 3593716 h 6479439"/>
              <a:gd name="connsiteX4155" fmla="*/ 4560859 w 9586368"/>
              <a:gd name="connsiteY4155" fmla="*/ 3603586 h 6479439"/>
              <a:gd name="connsiteX4156" fmla="*/ 4556840 w 9586368"/>
              <a:gd name="connsiteY4156" fmla="*/ 3607625 h 6479439"/>
              <a:gd name="connsiteX4157" fmla="*/ 4546929 w 9586368"/>
              <a:gd name="connsiteY4157" fmla="*/ 3607625 h 6479439"/>
              <a:gd name="connsiteX4158" fmla="*/ 4542910 w 9586368"/>
              <a:gd name="connsiteY4158" fmla="*/ 3603586 h 6479439"/>
              <a:gd name="connsiteX4159" fmla="*/ 4542910 w 9586368"/>
              <a:gd name="connsiteY4159" fmla="*/ 3593716 h 6479439"/>
              <a:gd name="connsiteX4160" fmla="*/ 4307612 w 9586368"/>
              <a:gd name="connsiteY4160" fmla="*/ 3589677 h 6479439"/>
              <a:gd name="connsiteX4161" fmla="*/ 4317523 w 9586368"/>
              <a:gd name="connsiteY4161" fmla="*/ 3589677 h 6479439"/>
              <a:gd name="connsiteX4162" fmla="*/ 4321543 w 9586368"/>
              <a:gd name="connsiteY4162" fmla="*/ 3593716 h 6479439"/>
              <a:gd name="connsiteX4163" fmla="*/ 4321543 w 9586368"/>
              <a:gd name="connsiteY4163" fmla="*/ 3603586 h 6479439"/>
              <a:gd name="connsiteX4164" fmla="*/ 4317523 w 9586368"/>
              <a:gd name="connsiteY4164" fmla="*/ 3607625 h 6479439"/>
              <a:gd name="connsiteX4165" fmla="*/ 4307612 w 9586368"/>
              <a:gd name="connsiteY4165" fmla="*/ 3607625 h 6479439"/>
              <a:gd name="connsiteX4166" fmla="*/ 4303595 w 9586368"/>
              <a:gd name="connsiteY4166" fmla="*/ 3603586 h 6479439"/>
              <a:gd name="connsiteX4167" fmla="*/ 4303595 w 9586368"/>
              <a:gd name="connsiteY4167" fmla="*/ 3593716 h 6479439"/>
              <a:gd name="connsiteX4168" fmla="*/ 4068297 w 9586368"/>
              <a:gd name="connsiteY4168" fmla="*/ 3589677 h 6479439"/>
              <a:gd name="connsiteX4169" fmla="*/ 4078210 w 9586368"/>
              <a:gd name="connsiteY4169" fmla="*/ 3589677 h 6479439"/>
              <a:gd name="connsiteX4170" fmla="*/ 4082229 w 9586368"/>
              <a:gd name="connsiteY4170" fmla="*/ 3593716 h 6479439"/>
              <a:gd name="connsiteX4171" fmla="*/ 4082229 w 9586368"/>
              <a:gd name="connsiteY4171" fmla="*/ 3603586 h 6479439"/>
              <a:gd name="connsiteX4172" fmla="*/ 4078210 w 9586368"/>
              <a:gd name="connsiteY4172" fmla="*/ 3607625 h 6479439"/>
              <a:gd name="connsiteX4173" fmla="*/ 4068297 w 9586368"/>
              <a:gd name="connsiteY4173" fmla="*/ 3607625 h 6479439"/>
              <a:gd name="connsiteX4174" fmla="*/ 4064278 w 9586368"/>
              <a:gd name="connsiteY4174" fmla="*/ 3603586 h 6479439"/>
              <a:gd name="connsiteX4175" fmla="*/ 4064278 w 9586368"/>
              <a:gd name="connsiteY4175" fmla="*/ 3593716 h 6479439"/>
              <a:gd name="connsiteX4176" fmla="*/ 3828990 w 9586368"/>
              <a:gd name="connsiteY4176" fmla="*/ 3589677 h 6479439"/>
              <a:gd name="connsiteX4177" fmla="*/ 3838899 w 9586368"/>
              <a:gd name="connsiteY4177" fmla="*/ 3589677 h 6479439"/>
              <a:gd name="connsiteX4178" fmla="*/ 3842917 w 9586368"/>
              <a:gd name="connsiteY4178" fmla="*/ 3593716 h 6479439"/>
              <a:gd name="connsiteX4179" fmla="*/ 3842917 w 9586368"/>
              <a:gd name="connsiteY4179" fmla="*/ 3603586 h 6479439"/>
              <a:gd name="connsiteX4180" fmla="*/ 3838899 w 9586368"/>
              <a:gd name="connsiteY4180" fmla="*/ 3607625 h 6479439"/>
              <a:gd name="connsiteX4181" fmla="*/ 3828990 w 9586368"/>
              <a:gd name="connsiteY4181" fmla="*/ 3607625 h 6479439"/>
              <a:gd name="connsiteX4182" fmla="*/ 3824971 w 9586368"/>
              <a:gd name="connsiteY4182" fmla="*/ 3603586 h 6479439"/>
              <a:gd name="connsiteX4183" fmla="*/ 3824971 w 9586368"/>
              <a:gd name="connsiteY4183" fmla="*/ 3593716 h 6479439"/>
              <a:gd name="connsiteX4184" fmla="*/ 3589676 w 9586368"/>
              <a:gd name="connsiteY4184" fmla="*/ 3589677 h 6479439"/>
              <a:gd name="connsiteX4185" fmla="*/ 3599585 w 9586368"/>
              <a:gd name="connsiteY4185" fmla="*/ 3589677 h 6479439"/>
              <a:gd name="connsiteX4186" fmla="*/ 3603604 w 9586368"/>
              <a:gd name="connsiteY4186" fmla="*/ 3593716 h 6479439"/>
              <a:gd name="connsiteX4187" fmla="*/ 3603604 w 9586368"/>
              <a:gd name="connsiteY4187" fmla="*/ 3603586 h 6479439"/>
              <a:gd name="connsiteX4188" fmla="*/ 3599585 w 9586368"/>
              <a:gd name="connsiteY4188" fmla="*/ 3607625 h 6479439"/>
              <a:gd name="connsiteX4189" fmla="*/ 3589676 w 9586368"/>
              <a:gd name="connsiteY4189" fmla="*/ 3607625 h 6479439"/>
              <a:gd name="connsiteX4190" fmla="*/ 3585657 w 9586368"/>
              <a:gd name="connsiteY4190" fmla="*/ 3603586 h 6479439"/>
              <a:gd name="connsiteX4191" fmla="*/ 3585657 w 9586368"/>
              <a:gd name="connsiteY4191" fmla="*/ 3593716 h 6479439"/>
              <a:gd name="connsiteX4192" fmla="*/ 3350359 w 9586368"/>
              <a:gd name="connsiteY4192" fmla="*/ 3589677 h 6479439"/>
              <a:gd name="connsiteX4193" fmla="*/ 3360268 w 9586368"/>
              <a:gd name="connsiteY4193" fmla="*/ 3589677 h 6479439"/>
              <a:gd name="connsiteX4194" fmla="*/ 3364287 w 9586368"/>
              <a:gd name="connsiteY4194" fmla="*/ 3593716 h 6479439"/>
              <a:gd name="connsiteX4195" fmla="*/ 3364287 w 9586368"/>
              <a:gd name="connsiteY4195" fmla="*/ 3603586 h 6479439"/>
              <a:gd name="connsiteX4196" fmla="*/ 3360268 w 9586368"/>
              <a:gd name="connsiteY4196" fmla="*/ 3607625 h 6479439"/>
              <a:gd name="connsiteX4197" fmla="*/ 3350359 w 9586368"/>
              <a:gd name="connsiteY4197" fmla="*/ 3607625 h 6479439"/>
              <a:gd name="connsiteX4198" fmla="*/ 3346340 w 9586368"/>
              <a:gd name="connsiteY4198" fmla="*/ 3603586 h 6479439"/>
              <a:gd name="connsiteX4199" fmla="*/ 3346340 w 9586368"/>
              <a:gd name="connsiteY4199" fmla="*/ 3593716 h 6479439"/>
              <a:gd name="connsiteX4200" fmla="*/ 3111048 w 9586368"/>
              <a:gd name="connsiteY4200" fmla="*/ 3589677 h 6479439"/>
              <a:gd name="connsiteX4201" fmla="*/ 3120959 w 9586368"/>
              <a:gd name="connsiteY4201" fmla="*/ 3589677 h 6479439"/>
              <a:gd name="connsiteX4202" fmla="*/ 3124977 w 9586368"/>
              <a:gd name="connsiteY4202" fmla="*/ 3593716 h 6479439"/>
              <a:gd name="connsiteX4203" fmla="*/ 3124977 w 9586368"/>
              <a:gd name="connsiteY4203" fmla="*/ 3603586 h 6479439"/>
              <a:gd name="connsiteX4204" fmla="*/ 3120959 w 9586368"/>
              <a:gd name="connsiteY4204" fmla="*/ 3607625 h 6479439"/>
              <a:gd name="connsiteX4205" fmla="*/ 3111048 w 9586368"/>
              <a:gd name="connsiteY4205" fmla="*/ 3607625 h 6479439"/>
              <a:gd name="connsiteX4206" fmla="*/ 3107029 w 9586368"/>
              <a:gd name="connsiteY4206" fmla="*/ 3603586 h 6479439"/>
              <a:gd name="connsiteX4207" fmla="*/ 3107029 w 9586368"/>
              <a:gd name="connsiteY4207" fmla="*/ 3593716 h 6479439"/>
              <a:gd name="connsiteX4208" fmla="*/ 2871737 w 9586368"/>
              <a:gd name="connsiteY4208" fmla="*/ 3589677 h 6479439"/>
              <a:gd name="connsiteX4209" fmla="*/ 2881646 w 9586368"/>
              <a:gd name="connsiteY4209" fmla="*/ 3589677 h 6479439"/>
              <a:gd name="connsiteX4210" fmla="*/ 2885666 w 9586368"/>
              <a:gd name="connsiteY4210" fmla="*/ 3593716 h 6479439"/>
              <a:gd name="connsiteX4211" fmla="*/ 2885666 w 9586368"/>
              <a:gd name="connsiteY4211" fmla="*/ 3603586 h 6479439"/>
              <a:gd name="connsiteX4212" fmla="*/ 2881646 w 9586368"/>
              <a:gd name="connsiteY4212" fmla="*/ 3607625 h 6479439"/>
              <a:gd name="connsiteX4213" fmla="*/ 2871737 w 9586368"/>
              <a:gd name="connsiteY4213" fmla="*/ 3607625 h 6479439"/>
              <a:gd name="connsiteX4214" fmla="*/ 2867717 w 9586368"/>
              <a:gd name="connsiteY4214" fmla="*/ 3603586 h 6479439"/>
              <a:gd name="connsiteX4215" fmla="*/ 2867717 w 9586368"/>
              <a:gd name="connsiteY4215" fmla="*/ 3593716 h 6479439"/>
              <a:gd name="connsiteX4216" fmla="*/ 2632423 w 9586368"/>
              <a:gd name="connsiteY4216" fmla="*/ 3589677 h 6479439"/>
              <a:gd name="connsiteX4217" fmla="*/ 2642334 w 9586368"/>
              <a:gd name="connsiteY4217" fmla="*/ 3589677 h 6479439"/>
              <a:gd name="connsiteX4218" fmla="*/ 2646352 w 9586368"/>
              <a:gd name="connsiteY4218" fmla="*/ 3593716 h 6479439"/>
              <a:gd name="connsiteX4219" fmla="*/ 2646352 w 9586368"/>
              <a:gd name="connsiteY4219" fmla="*/ 3603586 h 6479439"/>
              <a:gd name="connsiteX4220" fmla="*/ 2642334 w 9586368"/>
              <a:gd name="connsiteY4220" fmla="*/ 3607625 h 6479439"/>
              <a:gd name="connsiteX4221" fmla="*/ 2632423 w 9586368"/>
              <a:gd name="connsiteY4221" fmla="*/ 3607625 h 6479439"/>
              <a:gd name="connsiteX4222" fmla="*/ 2628404 w 9586368"/>
              <a:gd name="connsiteY4222" fmla="*/ 3603586 h 6479439"/>
              <a:gd name="connsiteX4223" fmla="*/ 2628404 w 9586368"/>
              <a:gd name="connsiteY4223" fmla="*/ 3593716 h 6479439"/>
              <a:gd name="connsiteX4224" fmla="*/ 2393104 w 9586368"/>
              <a:gd name="connsiteY4224" fmla="*/ 3589677 h 6479439"/>
              <a:gd name="connsiteX4225" fmla="*/ 2403015 w 9586368"/>
              <a:gd name="connsiteY4225" fmla="*/ 3589677 h 6479439"/>
              <a:gd name="connsiteX4226" fmla="*/ 2407034 w 9586368"/>
              <a:gd name="connsiteY4226" fmla="*/ 3593716 h 6479439"/>
              <a:gd name="connsiteX4227" fmla="*/ 2407034 w 9586368"/>
              <a:gd name="connsiteY4227" fmla="*/ 3603586 h 6479439"/>
              <a:gd name="connsiteX4228" fmla="*/ 2403015 w 9586368"/>
              <a:gd name="connsiteY4228" fmla="*/ 3607625 h 6479439"/>
              <a:gd name="connsiteX4229" fmla="*/ 2393104 w 9586368"/>
              <a:gd name="connsiteY4229" fmla="*/ 3607625 h 6479439"/>
              <a:gd name="connsiteX4230" fmla="*/ 2389087 w 9586368"/>
              <a:gd name="connsiteY4230" fmla="*/ 3603586 h 6479439"/>
              <a:gd name="connsiteX4231" fmla="*/ 2389087 w 9586368"/>
              <a:gd name="connsiteY4231" fmla="*/ 3593716 h 6479439"/>
              <a:gd name="connsiteX4232" fmla="*/ 721966 w 9586368"/>
              <a:gd name="connsiteY4232" fmla="*/ 3589677 h 6479439"/>
              <a:gd name="connsiteX4233" fmla="*/ 731877 w 9586368"/>
              <a:gd name="connsiteY4233" fmla="*/ 3589677 h 6479439"/>
              <a:gd name="connsiteX4234" fmla="*/ 735896 w 9586368"/>
              <a:gd name="connsiteY4234" fmla="*/ 3593716 h 6479439"/>
              <a:gd name="connsiteX4235" fmla="*/ 735896 w 9586368"/>
              <a:gd name="connsiteY4235" fmla="*/ 3603586 h 6479439"/>
              <a:gd name="connsiteX4236" fmla="*/ 731877 w 9586368"/>
              <a:gd name="connsiteY4236" fmla="*/ 3607625 h 6479439"/>
              <a:gd name="connsiteX4237" fmla="*/ 721966 w 9586368"/>
              <a:gd name="connsiteY4237" fmla="*/ 3607625 h 6479439"/>
              <a:gd name="connsiteX4238" fmla="*/ 717948 w 9586368"/>
              <a:gd name="connsiteY4238" fmla="*/ 3603586 h 6479439"/>
              <a:gd name="connsiteX4239" fmla="*/ 717948 w 9586368"/>
              <a:gd name="connsiteY4239" fmla="*/ 3593716 h 6479439"/>
              <a:gd name="connsiteX4240" fmla="*/ 482654 w 9586368"/>
              <a:gd name="connsiteY4240" fmla="*/ 3589677 h 6479439"/>
              <a:gd name="connsiteX4241" fmla="*/ 492565 w 9586368"/>
              <a:gd name="connsiteY4241" fmla="*/ 3589677 h 6479439"/>
              <a:gd name="connsiteX4242" fmla="*/ 496584 w 9586368"/>
              <a:gd name="connsiteY4242" fmla="*/ 3593716 h 6479439"/>
              <a:gd name="connsiteX4243" fmla="*/ 496584 w 9586368"/>
              <a:gd name="connsiteY4243" fmla="*/ 3603586 h 6479439"/>
              <a:gd name="connsiteX4244" fmla="*/ 492565 w 9586368"/>
              <a:gd name="connsiteY4244" fmla="*/ 3607625 h 6479439"/>
              <a:gd name="connsiteX4245" fmla="*/ 482654 w 9586368"/>
              <a:gd name="connsiteY4245" fmla="*/ 3607625 h 6479439"/>
              <a:gd name="connsiteX4246" fmla="*/ 478635 w 9586368"/>
              <a:gd name="connsiteY4246" fmla="*/ 3603586 h 6479439"/>
              <a:gd name="connsiteX4247" fmla="*/ 478635 w 9586368"/>
              <a:gd name="connsiteY4247" fmla="*/ 3593716 h 6479439"/>
              <a:gd name="connsiteX4248" fmla="*/ 243341 w 9586368"/>
              <a:gd name="connsiteY4248" fmla="*/ 3589677 h 6479439"/>
              <a:gd name="connsiteX4249" fmla="*/ 253251 w 9586368"/>
              <a:gd name="connsiteY4249" fmla="*/ 3589677 h 6479439"/>
              <a:gd name="connsiteX4250" fmla="*/ 257270 w 9586368"/>
              <a:gd name="connsiteY4250" fmla="*/ 3593716 h 6479439"/>
              <a:gd name="connsiteX4251" fmla="*/ 257270 w 9586368"/>
              <a:gd name="connsiteY4251" fmla="*/ 3603586 h 6479439"/>
              <a:gd name="connsiteX4252" fmla="*/ 253251 w 9586368"/>
              <a:gd name="connsiteY4252" fmla="*/ 3607625 h 6479439"/>
              <a:gd name="connsiteX4253" fmla="*/ 243341 w 9586368"/>
              <a:gd name="connsiteY4253" fmla="*/ 3607625 h 6479439"/>
              <a:gd name="connsiteX4254" fmla="*/ 239321 w 9586368"/>
              <a:gd name="connsiteY4254" fmla="*/ 3603586 h 6479439"/>
              <a:gd name="connsiteX4255" fmla="*/ 239321 w 9586368"/>
              <a:gd name="connsiteY4255" fmla="*/ 3593716 h 6479439"/>
              <a:gd name="connsiteX4256" fmla="*/ 4027 w 9586368"/>
              <a:gd name="connsiteY4256" fmla="*/ 3589677 h 6479439"/>
              <a:gd name="connsiteX4257" fmla="*/ 13938 w 9586368"/>
              <a:gd name="connsiteY4257" fmla="*/ 3589677 h 6479439"/>
              <a:gd name="connsiteX4258" fmla="*/ 17957 w 9586368"/>
              <a:gd name="connsiteY4258" fmla="*/ 3593716 h 6479439"/>
              <a:gd name="connsiteX4259" fmla="*/ 17957 w 9586368"/>
              <a:gd name="connsiteY4259" fmla="*/ 3603586 h 6479439"/>
              <a:gd name="connsiteX4260" fmla="*/ 13938 w 9586368"/>
              <a:gd name="connsiteY4260" fmla="*/ 3607625 h 6479439"/>
              <a:gd name="connsiteX4261" fmla="*/ 4027 w 9586368"/>
              <a:gd name="connsiteY4261" fmla="*/ 3607625 h 6479439"/>
              <a:gd name="connsiteX4262" fmla="*/ 8 w 9586368"/>
              <a:gd name="connsiteY4262" fmla="*/ 3603586 h 6479439"/>
              <a:gd name="connsiteX4263" fmla="*/ 8 w 9586368"/>
              <a:gd name="connsiteY4263" fmla="*/ 3593716 h 6479439"/>
              <a:gd name="connsiteX4264" fmla="*/ 9572438 w 9586368"/>
              <a:gd name="connsiteY4264" fmla="*/ 3350398 h 6479439"/>
              <a:gd name="connsiteX4265" fmla="*/ 9582349 w 9586368"/>
              <a:gd name="connsiteY4265" fmla="*/ 3350398 h 6479439"/>
              <a:gd name="connsiteX4266" fmla="*/ 9586368 w 9586368"/>
              <a:gd name="connsiteY4266" fmla="*/ 3354436 h 6479439"/>
              <a:gd name="connsiteX4267" fmla="*/ 9586368 w 9586368"/>
              <a:gd name="connsiteY4267" fmla="*/ 3364306 h 6479439"/>
              <a:gd name="connsiteX4268" fmla="*/ 9582349 w 9586368"/>
              <a:gd name="connsiteY4268" fmla="*/ 3368345 h 6479439"/>
              <a:gd name="connsiteX4269" fmla="*/ 9572438 w 9586368"/>
              <a:gd name="connsiteY4269" fmla="*/ 3368345 h 6479439"/>
              <a:gd name="connsiteX4270" fmla="*/ 9568419 w 9586368"/>
              <a:gd name="connsiteY4270" fmla="*/ 3364306 h 6479439"/>
              <a:gd name="connsiteX4271" fmla="*/ 9568419 w 9586368"/>
              <a:gd name="connsiteY4271" fmla="*/ 3354436 h 6479439"/>
              <a:gd name="connsiteX4272" fmla="*/ 9333125 w 9586368"/>
              <a:gd name="connsiteY4272" fmla="*/ 3350398 h 6479439"/>
              <a:gd name="connsiteX4273" fmla="*/ 9343036 w 9586368"/>
              <a:gd name="connsiteY4273" fmla="*/ 3350398 h 6479439"/>
              <a:gd name="connsiteX4274" fmla="*/ 9347055 w 9586368"/>
              <a:gd name="connsiteY4274" fmla="*/ 3354436 h 6479439"/>
              <a:gd name="connsiteX4275" fmla="*/ 9347055 w 9586368"/>
              <a:gd name="connsiteY4275" fmla="*/ 3364306 h 6479439"/>
              <a:gd name="connsiteX4276" fmla="*/ 9343036 w 9586368"/>
              <a:gd name="connsiteY4276" fmla="*/ 3368345 h 6479439"/>
              <a:gd name="connsiteX4277" fmla="*/ 9333125 w 9586368"/>
              <a:gd name="connsiteY4277" fmla="*/ 3368345 h 6479439"/>
              <a:gd name="connsiteX4278" fmla="*/ 9329106 w 9586368"/>
              <a:gd name="connsiteY4278" fmla="*/ 3364306 h 6479439"/>
              <a:gd name="connsiteX4279" fmla="*/ 9329106 w 9586368"/>
              <a:gd name="connsiteY4279" fmla="*/ 3354436 h 6479439"/>
              <a:gd name="connsiteX4280" fmla="*/ 9093811 w 9586368"/>
              <a:gd name="connsiteY4280" fmla="*/ 3350398 h 6479439"/>
              <a:gd name="connsiteX4281" fmla="*/ 9103722 w 9586368"/>
              <a:gd name="connsiteY4281" fmla="*/ 3350398 h 6479439"/>
              <a:gd name="connsiteX4282" fmla="*/ 9107741 w 9586368"/>
              <a:gd name="connsiteY4282" fmla="*/ 3354436 h 6479439"/>
              <a:gd name="connsiteX4283" fmla="*/ 9107741 w 9586368"/>
              <a:gd name="connsiteY4283" fmla="*/ 3364306 h 6479439"/>
              <a:gd name="connsiteX4284" fmla="*/ 9103722 w 9586368"/>
              <a:gd name="connsiteY4284" fmla="*/ 3368345 h 6479439"/>
              <a:gd name="connsiteX4285" fmla="*/ 9093811 w 9586368"/>
              <a:gd name="connsiteY4285" fmla="*/ 3368345 h 6479439"/>
              <a:gd name="connsiteX4286" fmla="*/ 9089792 w 9586368"/>
              <a:gd name="connsiteY4286" fmla="*/ 3364306 h 6479439"/>
              <a:gd name="connsiteX4287" fmla="*/ 9089792 w 9586368"/>
              <a:gd name="connsiteY4287" fmla="*/ 3354436 h 6479439"/>
              <a:gd name="connsiteX4288" fmla="*/ 8854496 w 9586368"/>
              <a:gd name="connsiteY4288" fmla="*/ 3350398 h 6479439"/>
              <a:gd name="connsiteX4289" fmla="*/ 8864407 w 9586368"/>
              <a:gd name="connsiteY4289" fmla="*/ 3350398 h 6479439"/>
              <a:gd name="connsiteX4290" fmla="*/ 8868426 w 9586368"/>
              <a:gd name="connsiteY4290" fmla="*/ 3354436 h 6479439"/>
              <a:gd name="connsiteX4291" fmla="*/ 8868426 w 9586368"/>
              <a:gd name="connsiteY4291" fmla="*/ 3364306 h 6479439"/>
              <a:gd name="connsiteX4292" fmla="*/ 8864407 w 9586368"/>
              <a:gd name="connsiteY4292" fmla="*/ 3368345 h 6479439"/>
              <a:gd name="connsiteX4293" fmla="*/ 8854496 w 9586368"/>
              <a:gd name="connsiteY4293" fmla="*/ 3368345 h 6479439"/>
              <a:gd name="connsiteX4294" fmla="*/ 8850477 w 9586368"/>
              <a:gd name="connsiteY4294" fmla="*/ 3364306 h 6479439"/>
              <a:gd name="connsiteX4295" fmla="*/ 8850477 w 9586368"/>
              <a:gd name="connsiteY4295" fmla="*/ 3354436 h 6479439"/>
              <a:gd name="connsiteX4296" fmla="*/ 8615184 w 9586368"/>
              <a:gd name="connsiteY4296" fmla="*/ 3350398 h 6479439"/>
              <a:gd name="connsiteX4297" fmla="*/ 8625095 w 9586368"/>
              <a:gd name="connsiteY4297" fmla="*/ 3350398 h 6479439"/>
              <a:gd name="connsiteX4298" fmla="*/ 8629114 w 9586368"/>
              <a:gd name="connsiteY4298" fmla="*/ 3354436 h 6479439"/>
              <a:gd name="connsiteX4299" fmla="*/ 8629114 w 9586368"/>
              <a:gd name="connsiteY4299" fmla="*/ 3364306 h 6479439"/>
              <a:gd name="connsiteX4300" fmla="*/ 8625095 w 9586368"/>
              <a:gd name="connsiteY4300" fmla="*/ 3368345 h 6479439"/>
              <a:gd name="connsiteX4301" fmla="*/ 8615184 w 9586368"/>
              <a:gd name="connsiteY4301" fmla="*/ 3368345 h 6479439"/>
              <a:gd name="connsiteX4302" fmla="*/ 8611165 w 9586368"/>
              <a:gd name="connsiteY4302" fmla="*/ 3364306 h 6479439"/>
              <a:gd name="connsiteX4303" fmla="*/ 8611165 w 9586368"/>
              <a:gd name="connsiteY4303" fmla="*/ 3354436 h 6479439"/>
              <a:gd name="connsiteX4304" fmla="*/ 8375869 w 9586368"/>
              <a:gd name="connsiteY4304" fmla="*/ 3350398 h 6479439"/>
              <a:gd name="connsiteX4305" fmla="*/ 8385779 w 9586368"/>
              <a:gd name="connsiteY4305" fmla="*/ 3350398 h 6479439"/>
              <a:gd name="connsiteX4306" fmla="*/ 8389799 w 9586368"/>
              <a:gd name="connsiteY4306" fmla="*/ 3354436 h 6479439"/>
              <a:gd name="connsiteX4307" fmla="*/ 8389799 w 9586368"/>
              <a:gd name="connsiteY4307" fmla="*/ 3364306 h 6479439"/>
              <a:gd name="connsiteX4308" fmla="*/ 8385779 w 9586368"/>
              <a:gd name="connsiteY4308" fmla="*/ 3368345 h 6479439"/>
              <a:gd name="connsiteX4309" fmla="*/ 8375869 w 9586368"/>
              <a:gd name="connsiteY4309" fmla="*/ 3368345 h 6479439"/>
              <a:gd name="connsiteX4310" fmla="*/ 8371850 w 9586368"/>
              <a:gd name="connsiteY4310" fmla="*/ 3364306 h 6479439"/>
              <a:gd name="connsiteX4311" fmla="*/ 8371850 w 9586368"/>
              <a:gd name="connsiteY4311" fmla="*/ 3354436 h 6479439"/>
              <a:gd name="connsiteX4312" fmla="*/ 8136553 w 9586368"/>
              <a:gd name="connsiteY4312" fmla="*/ 3350398 h 6479439"/>
              <a:gd name="connsiteX4313" fmla="*/ 8146464 w 9586368"/>
              <a:gd name="connsiteY4313" fmla="*/ 3350398 h 6479439"/>
              <a:gd name="connsiteX4314" fmla="*/ 8150483 w 9586368"/>
              <a:gd name="connsiteY4314" fmla="*/ 3354436 h 6479439"/>
              <a:gd name="connsiteX4315" fmla="*/ 8150483 w 9586368"/>
              <a:gd name="connsiteY4315" fmla="*/ 3364306 h 6479439"/>
              <a:gd name="connsiteX4316" fmla="*/ 8146464 w 9586368"/>
              <a:gd name="connsiteY4316" fmla="*/ 3368345 h 6479439"/>
              <a:gd name="connsiteX4317" fmla="*/ 8136553 w 9586368"/>
              <a:gd name="connsiteY4317" fmla="*/ 3368345 h 6479439"/>
              <a:gd name="connsiteX4318" fmla="*/ 8132534 w 9586368"/>
              <a:gd name="connsiteY4318" fmla="*/ 3364306 h 6479439"/>
              <a:gd name="connsiteX4319" fmla="*/ 8132534 w 9586368"/>
              <a:gd name="connsiteY4319" fmla="*/ 3354436 h 6479439"/>
              <a:gd name="connsiteX4320" fmla="*/ 7897241 w 9586368"/>
              <a:gd name="connsiteY4320" fmla="*/ 3350398 h 6479439"/>
              <a:gd name="connsiteX4321" fmla="*/ 7907151 w 9586368"/>
              <a:gd name="connsiteY4321" fmla="*/ 3350398 h 6479439"/>
              <a:gd name="connsiteX4322" fmla="*/ 7911170 w 9586368"/>
              <a:gd name="connsiteY4322" fmla="*/ 3354436 h 6479439"/>
              <a:gd name="connsiteX4323" fmla="*/ 7911170 w 9586368"/>
              <a:gd name="connsiteY4323" fmla="*/ 3364306 h 6479439"/>
              <a:gd name="connsiteX4324" fmla="*/ 7907151 w 9586368"/>
              <a:gd name="connsiteY4324" fmla="*/ 3368345 h 6479439"/>
              <a:gd name="connsiteX4325" fmla="*/ 7897241 w 9586368"/>
              <a:gd name="connsiteY4325" fmla="*/ 3368345 h 6479439"/>
              <a:gd name="connsiteX4326" fmla="*/ 7893222 w 9586368"/>
              <a:gd name="connsiteY4326" fmla="*/ 3364306 h 6479439"/>
              <a:gd name="connsiteX4327" fmla="*/ 7893222 w 9586368"/>
              <a:gd name="connsiteY4327" fmla="*/ 3354436 h 6479439"/>
              <a:gd name="connsiteX4328" fmla="*/ 7657926 w 9586368"/>
              <a:gd name="connsiteY4328" fmla="*/ 3350398 h 6479439"/>
              <a:gd name="connsiteX4329" fmla="*/ 7667836 w 9586368"/>
              <a:gd name="connsiteY4329" fmla="*/ 3350398 h 6479439"/>
              <a:gd name="connsiteX4330" fmla="*/ 7671855 w 9586368"/>
              <a:gd name="connsiteY4330" fmla="*/ 3354436 h 6479439"/>
              <a:gd name="connsiteX4331" fmla="*/ 7671855 w 9586368"/>
              <a:gd name="connsiteY4331" fmla="*/ 3364306 h 6479439"/>
              <a:gd name="connsiteX4332" fmla="*/ 7667836 w 9586368"/>
              <a:gd name="connsiteY4332" fmla="*/ 3368345 h 6479439"/>
              <a:gd name="connsiteX4333" fmla="*/ 7657926 w 9586368"/>
              <a:gd name="connsiteY4333" fmla="*/ 3368345 h 6479439"/>
              <a:gd name="connsiteX4334" fmla="*/ 7653906 w 9586368"/>
              <a:gd name="connsiteY4334" fmla="*/ 3364306 h 6479439"/>
              <a:gd name="connsiteX4335" fmla="*/ 7653906 w 9586368"/>
              <a:gd name="connsiteY4335" fmla="*/ 3354436 h 6479439"/>
              <a:gd name="connsiteX4336" fmla="*/ 7418611 w 9586368"/>
              <a:gd name="connsiteY4336" fmla="*/ 3350398 h 6479439"/>
              <a:gd name="connsiteX4337" fmla="*/ 7428521 w 9586368"/>
              <a:gd name="connsiteY4337" fmla="*/ 3350398 h 6479439"/>
              <a:gd name="connsiteX4338" fmla="*/ 7432540 w 9586368"/>
              <a:gd name="connsiteY4338" fmla="*/ 3354436 h 6479439"/>
              <a:gd name="connsiteX4339" fmla="*/ 7432540 w 9586368"/>
              <a:gd name="connsiteY4339" fmla="*/ 3364306 h 6479439"/>
              <a:gd name="connsiteX4340" fmla="*/ 7428521 w 9586368"/>
              <a:gd name="connsiteY4340" fmla="*/ 3368345 h 6479439"/>
              <a:gd name="connsiteX4341" fmla="*/ 7418611 w 9586368"/>
              <a:gd name="connsiteY4341" fmla="*/ 3368345 h 6479439"/>
              <a:gd name="connsiteX4342" fmla="*/ 7414592 w 9586368"/>
              <a:gd name="connsiteY4342" fmla="*/ 3364306 h 6479439"/>
              <a:gd name="connsiteX4343" fmla="*/ 7414592 w 9586368"/>
              <a:gd name="connsiteY4343" fmla="*/ 3354436 h 6479439"/>
              <a:gd name="connsiteX4344" fmla="*/ 7179298 w 9586368"/>
              <a:gd name="connsiteY4344" fmla="*/ 3350398 h 6479439"/>
              <a:gd name="connsiteX4345" fmla="*/ 7189209 w 9586368"/>
              <a:gd name="connsiteY4345" fmla="*/ 3350398 h 6479439"/>
              <a:gd name="connsiteX4346" fmla="*/ 7193228 w 9586368"/>
              <a:gd name="connsiteY4346" fmla="*/ 3354436 h 6479439"/>
              <a:gd name="connsiteX4347" fmla="*/ 7193228 w 9586368"/>
              <a:gd name="connsiteY4347" fmla="*/ 3364306 h 6479439"/>
              <a:gd name="connsiteX4348" fmla="*/ 7189209 w 9586368"/>
              <a:gd name="connsiteY4348" fmla="*/ 3368345 h 6479439"/>
              <a:gd name="connsiteX4349" fmla="*/ 7179298 w 9586368"/>
              <a:gd name="connsiteY4349" fmla="*/ 3368345 h 6479439"/>
              <a:gd name="connsiteX4350" fmla="*/ 7175279 w 9586368"/>
              <a:gd name="connsiteY4350" fmla="*/ 3364306 h 6479439"/>
              <a:gd name="connsiteX4351" fmla="*/ 7175279 w 9586368"/>
              <a:gd name="connsiteY4351" fmla="*/ 3354436 h 6479439"/>
              <a:gd name="connsiteX4352" fmla="*/ 6939983 w 9586368"/>
              <a:gd name="connsiteY4352" fmla="*/ 3350398 h 6479439"/>
              <a:gd name="connsiteX4353" fmla="*/ 6949894 w 9586368"/>
              <a:gd name="connsiteY4353" fmla="*/ 3350398 h 6479439"/>
              <a:gd name="connsiteX4354" fmla="*/ 6953913 w 9586368"/>
              <a:gd name="connsiteY4354" fmla="*/ 3354436 h 6479439"/>
              <a:gd name="connsiteX4355" fmla="*/ 6953913 w 9586368"/>
              <a:gd name="connsiteY4355" fmla="*/ 3364306 h 6479439"/>
              <a:gd name="connsiteX4356" fmla="*/ 6949894 w 9586368"/>
              <a:gd name="connsiteY4356" fmla="*/ 3368345 h 6479439"/>
              <a:gd name="connsiteX4357" fmla="*/ 6939983 w 9586368"/>
              <a:gd name="connsiteY4357" fmla="*/ 3368345 h 6479439"/>
              <a:gd name="connsiteX4358" fmla="*/ 6935964 w 9586368"/>
              <a:gd name="connsiteY4358" fmla="*/ 3364306 h 6479439"/>
              <a:gd name="connsiteX4359" fmla="*/ 6935964 w 9586368"/>
              <a:gd name="connsiteY4359" fmla="*/ 3354436 h 6479439"/>
              <a:gd name="connsiteX4360" fmla="*/ 6700670 w 9586368"/>
              <a:gd name="connsiteY4360" fmla="*/ 3350398 h 6479439"/>
              <a:gd name="connsiteX4361" fmla="*/ 6710581 w 9586368"/>
              <a:gd name="connsiteY4361" fmla="*/ 3350398 h 6479439"/>
              <a:gd name="connsiteX4362" fmla="*/ 6714600 w 9586368"/>
              <a:gd name="connsiteY4362" fmla="*/ 3354436 h 6479439"/>
              <a:gd name="connsiteX4363" fmla="*/ 6714600 w 9586368"/>
              <a:gd name="connsiteY4363" fmla="*/ 3364306 h 6479439"/>
              <a:gd name="connsiteX4364" fmla="*/ 6710581 w 9586368"/>
              <a:gd name="connsiteY4364" fmla="*/ 3368345 h 6479439"/>
              <a:gd name="connsiteX4365" fmla="*/ 6700670 w 9586368"/>
              <a:gd name="connsiteY4365" fmla="*/ 3368345 h 6479439"/>
              <a:gd name="connsiteX4366" fmla="*/ 6696651 w 9586368"/>
              <a:gd name="connsiteY4366" fmla="*/ 3364306 h 6479439"/>
              <a:gd name="connsiteX4367" fmla="*/ 6696651 w 9586368"/>
              <a:gd name="connsiteY4367" fmla="*/ 3354436 h 6479439"/>
              <a:gd name="connsiteX4368" fmla="*/ 6461356 w 9586368"/>
              <a:gd name="connsiteY4368" fmla="*/ 3350398 h 6479439"/>
              <a:gd name="connsiteX4369" fmla="*/ 6471266 w 9586368"/>
              <a:gd name="connsiteY4369" fmla="*/ 3350398 h 6479439"/>
              <a:gd name="connsiteX4370" fmla="*/ 6475285 w 9586368"/>
              <a:gd name="connsiteY4370" fmla="*/ 3354436 h 6479439"/>
              <a:gd name="connsiteX4371" fmla="*/ 6475285 w 9586368"/>
              <a:gd name="connsiteY4371" fmla="*/ 3364306 h 6479439"/>
              <a:gd name="connsiteX4372" fmla="*/ 6471266 w 9586368"/>
              <a:gd name="connsiteY4372" fmla="*/ 3368345 h 6479439"/>
              <a:gd name="connsiteX4373" fmla="*/ 6461356 w 9586368"/>
              <a:gd name="connsiteY4373" fmla="*/ 3368345 h 6479439"/>
              <a:gd name="connsiteX4374" fmla="*/ 6457337 w 9586368"/>
              <a:gd name="connsiteY4374" fmla="*/ 3364306 h 6479439"/>
              <a:gd name="connsiteX4375" fmla="*/ 6457337 w 9586368"/>
              <a:gd name="connsiteY4375" fmla="*/ 3354436 h 6479439"/>
              <a:gd name="connsiteX4376" fmla="*/ 6222042 w 9586368"/>
              <a:gd name="connsiteY4376" fmla="*/ 3350398 h 6479439"/>
              <a:gd name="connsiteX4377" fmla="*/ 6231952 w 9586368"/>
              <a:gd name="connsiteY4377" fmla="*/ 3350398 h 6479439"/>
              <a:gd name="connsiteX4378" fmla="*/ 6235971 w 9586368"/>
              <a:gd name="connsiteY4378" fmla="*/ 3354436 h 6479439"/>
              <a:gd name="connsiteX4379" fmla="*/ 6235971 w 9586368"/>
              <a:gd name="connsiteY4379" fmla="*/ 3364306 h 6479439"/>
              <a:gd name="connsiteX4380" fmla="*/ 6231952 w 9586368"/>
              <a:gd name="connsiteY4380" fmla="*/ 3368345 h 6479439"/>
              <a:gd name="connsiteX4381" fmla="*/ 6222042 w 9586368"/>
              <a:gd name="connsiteY4381" fmla="*/ 3368345 h 6479439"/>
              <a:gd name="connsiteX4382" fmla="*/ 6218023 w 9586368"/>
              <a:gd name="connsiteY4382" fmla="*/ 3364306 h 6479439"/>
              <a:gd name="connsiteX4383" fmla="*/ 6218023 w 9586368"/>
              <a:gd name="connsiteY4383" fmla="*/ 3354436 h 6479439"/>
              <a:gd name="connsiteX4384" fmla="*/ 5982729 w 9586368"/>
              <a:gd name="connsiteY4384" fmla="*/ 3350398 h 6479439"/>
              <a:gd name="connsiteX4385" fmla="*/ 5992639 w 9586368"/>
              <a:gd name="connsiteY4385" fmla="*/ 3350398 h 6479439"/>
              <a:gd name="connsiteX4386" fmla="*/ 5996658 w 9586368"/>
              <a:gd name="connsiteY4386" fmla="*/ 3354436 h 6479439"/>
              <a:gd name="connsiteX4387" fmla="*/ 5996658 w 9586368"/>
              <a:gd name="connsiteY4387" fmla="*/ 3364306 h 6479439"/>
              <a:gd name="connsiteX4388" fmla="*/ 5992639 w 9586368"/>
              <a:gd name="connsiteY4388" fmla="*/ 3368345 h 6479439"/>
              <a:gd name="connsiteX4389" fmla="*/ 5982729 w 9586368"/>
              <a:gd name="connsiteY4389" fmla="*/ 3368345 h 6479439"/>
              <a:gd name="connsiteX4390" fmla="*/ 5978710 w 9586368"/>
              <a:gd name="connsiteY4390" fmla="*/ 3364306 h 6479439"/>
              <a:gd name="connsiteX4391" fmla="*/ 5978710 w 9586368"/>
              <a:gd name="connsiteY4391" fmla="*/ 3354436 h 6479439"/>
              <a:gd name="connsiteX4392" fmla="*/ 5743412 w 9586368"/>
              <a:gd name="connsiteY4392" fmla="*/ 3350398 h 6479439"/>
              <a:gd name="connsiteX4393" fmla="*/ 5753323 w 9586368"/>
              <a:gd name="connsiteY4393" fmla="*/ 3350398 h 6479439"/>
              <a:gd name="connsiteX4394" fmla="*/ 5757342 w 9586368"/>
              <a:gd name="connsiteY4394" fmla="*/ 3354436 h 6479439"/>
              <a:gd name="connsiteX4395" fmla="*/ 5757342 w 9586368"/>
              <a:gd name="connsiteY4395" fmla="*/ 3364306 h 6479439"/>
              <a:gd name="connsiteX4396" fmla="*/ 5753323 w 9586368"/>
              <a:gd name="connsiteY4396" fmla="*/ 3368345 h 6479439"/>
              <a:gd name="connsiteX4397" fmla="*/ 5743412 w 9586368"/>
              <a:gd name="connsiteY4397" fmla="*/ 3368345 h 6479439"/>
              <a:gd name="connsiteX4398" fmla="*/ 5739393 w 9586368"/>
              <a:gd name="connsiteY4398" fmla="*/ 3364306 h 6479439"/>
              <a:gd name="connsiteX4399" fmla="*/ 5739393 w 9586368"/>
              <a:gd name="connsiteY4399" fmla="*/ 3354436 h 6479439"/>
              <a:gd name="connsiteX4400" fmla="*/ 5504099 w 9586368"/>
              <a:gd name="connsiteY4400" fmla="*/ 3350398 h 6479439"/>
              <a:gd name="connsiteX4401" fmla="*/ 5514010 w 9586368"/>
              <a:gd name="connsiteY4401" fmla="*/ 3350398 h 6479439"/>
              <a:gd name="connsiteX4402" fmla="*/ 5518029 w 9586368"/>
              <a:gd name="connsiteY4402" fmla="*/ 3354436 h 6479439"/>
              <a:gd name="connsiteX4403" fmla="*/ 5518029 w 9586368"/>
              <a:gd name="connsiteY4403" fmla="*/ 3364306 h 6479439"/>
              <a:gd name="connsiteX4404" fmla="*/ 5514010 w 9586368"/>
              <a:gd name="connsiteY4404" fmla="*/ 3368345 h 6479439"/>
              <a:gd name="connsiteX4405" fmla="*/ 5504099 w 9586368"/>
              <a:gd name="connsiteY4405" fmla="*/ 3368345 h 6479439"/>
              <a:gd name="connsiteX4406" fmla="*/ 5500080 w 9586368"/>
              <a:gd name="connsiteY4406" fmla="*/ 3364306 h 6479439"/>
              <a:gd name="connsiteX4407" fmla="*/ 5500080 w 9586368"/>
              <a:gd name="connsiteY4407" fmla="*/ 3354436 h 6479439"/>
              <a:gd name="connsiteX4408" fmla="*/ 5264784 w 9586368"/>
              <a:gd name="connsiteY4408" fmla="*/ 3350398 h 6479439"/>
              <a:gd name="connsiteX4409" fmla="*/ 5274694 w 9586368"/>
              <a:gd name="connsiteY4409" fmla="*/ 3350398 h 6479439"/>
              <a:gd name="connsiteX4410" fmla="*/ 5278713 w 9586368"/>
              <a:gd name="connsiteY4410" fmla="*/ 3354436 h 6479439"/>
              <a:gd name="connsiteX4411" fmla="*/ 5278713 w 9586368"/>
              <a:gd name="connsiteY4411" fmla="*/ 3364306 h 6479439"/>
              <a:gd name="connsiteX4412" fmla="*/ 5274694 w 9586368"/>
              <a:gd name="connsiteY4412" fmla="*/ 3368345 h 6479439"/>
              <a:gd name="connsiteX4413" fmla="*/ 5264784 w 9586368"/>
              <a:gd name="connsiteY4413" fmla="*/ 3368345 h 6479439"/>
              <a:gd name="connsiteX4414" fmla="*/ 5260765 w 9586368"/>
              <a:gd name="connsiteY4414" fmla="*/ 3364306 h 6479439"/>
              <a:gd name="connsiteX4415" fmla="*/ 5260765 w 9586368"/>
              <a:gd name="connsiteY4415" fmla="*/ 3354436 h 6479439"/>
              <a:gd name="connsiteX4416" fmla="*/ 5025470 w 9586368"/>
              <a:gd name="connsiteY4416" fmla="*/ 3350398 h 6479439"/>
              <a:gd name="connsiteX4417" fmla="*/ 5035381 w 9586368"/>
              <a:gd name="connsiteY4417" fmla="*/ 3350398 h 6479439"/>
              <a:gd name="connsiteX4418" fmla="*/ 5039400 w 9586368"/>
              <a:gd name="connsiteY4418" fmla="*/ 3354436 h 6479439"/>
              <a:gd name="connsiteX4419" fmla="*/ 5039400 w 9586368"/>
              <a:gd name="connsiteY4419" fmla="*/ 3364306 h 6479439"/>
              <a:gd name="connsiteX4420" fmla="*/ 5035381 w 9586368"/>
              <a:gd name="connsiteY4420" fmla="*/ 3368345 h 6479439"/>
              <a:gd name="connsiteX4421" fmla="*/ 5025470 w 9586368"/>
              <a:gd name="connsiteY4421" fmla="*/ 3368345 h 6479439"/>
              <a:gd name="connsiteX4422" fmla="*/ 5021451 w 9586368"/>
              <a:gd name="connsiteY4422" fmla="*/ 3364306 h 6479439"/>
              <a:gd name="connsiteX4423" fmla="*/ 5021451 w 9586368"/>
              <a:gd name="connsiteY4423" fmla="*/ 3354436 h 6479439"/>
              <a:gd name="connsiteX4424" fmla="*/ 4786241 w 9586368"/>
              <a:gd name="connsiteY4424" fmla="*/ 3350398 h 6479439"/>
              <a:gd name="connsiteX4425" fmla="*/ 4796152 w 9586368"/>
              <a:gd name="connsiteY4425" fmla="*/ 3350398 h 6479439"/>
              <a:gd name="connsiteX4426" fmla="*/ 4800171 w 9586368"/>
              <a:gd name="connsiteY4426" fmla="*/ 3354436 h 6479439"/>
              <a:gd name="connsiteX4427" fmla="*/ 4800171 w 9586368"/>
              <a:gd name="connsiteY4427" fmla="*/ 3364306 h 6479439"/>
              <a:gd name="connsiteX4428" fmla="*/ 4796152 w 9586368"/>
              <a:gd name="connsiteY4428" fmla="*/ 3368345 h 6479439"/>
              <a:gd name="connsiteX4429" fmla="*/ 4786241 w 9586368"/>
              <a:gd name="connsiteY4429" fmla="*/ 3368345 h 6479439"/>
              <a:gd name="connsiteX4430" fmla="*/ 4782224 w 9586368"/>
              <a:gd name="connsiteY4430" fmla="*/ 3364306 h 6479439"/>
              <a:gd name="connsiteX4431" fmla="*/ 4782224 w 9586368"/>
              <a:gd name="connsiteY4431" fmla="*/ 3354436 h 6479439"/>
              <a:gd name="connsiteX4432" fmla="*/ 4546929 w 9586368"/>
              <a:gd name="connsiteY4432" fmla="*/ 3350398 h 6479439"/>
              <a:gd name="connsiteX4433" fmla="*/ 4556840 w 9586368"/>
              <a:gd name="connsiteY4433" fmla="*/ 3350398 h 6479439"/>
              <a:gd name="connsiteX4434" fmla="*/ 4560859 w 9586368"/>
              <a:gd name="connsiteY4434" fmla="*/ 3354436 h 6479439"/>
              <a:gd name="connsiteX4435" fmla="*/ 4560859 w 9586368"/>
              <a:gd name="connsiteY4435" fmla="*/ 3364306 h 6479439"/>
              <a:gd name="connsiteX4436" fmla="*/ 4556840 w 9586368"/>
              <a:gd name="connsiteY4436" fmla="*/ 3368345 h 6479439"/>
              <a:gd name="connsiteX4437" fmla="*/ 4546929 w 9586368"/>
              <a:gd name="connsiteY4437" fmla="*/ 3368345 h 6479439"/>
              <a:gd name="connsiteX4438" fmla="*/ 4542910 w 9586368"/>
              <a:gd name="connsiteY4438" fmla="*/ 3364306 h 6479439"/>
              <a:gd name="connsiteX4439" fmla="*/ 4542910 w 9586368"/>
              <a:gd name="connsiteY4439" fmla="*/ 3354436 h 6479439"/>
              <a:gd name="connsiteX4440" fmla="*/ 4307612 w 9586368"/>
              <a:gd name="connsiteY4440" fmla="*/ 3350398 h 6479439"/>
              <a:gd name="connsiteX4441" fmla="*/ 4317523 w 9586368"/>
              <a:gd name="connsiteY4441" fmla="*/ 3350398 h 6479439"/>
              <a:gd name="connsiteX4442" fmla="*/ 4321543 w 9586368"/>
              <a:gd name="connsiteY4442" fmla="*/ 3354436 h 6479439"/>
              <a:gd name="connsiteX4443" fmla="*/ 4321543 w 9586368"/>
              <a:gd name="connsiteY4443" fmla="*/ 3364306 h 6479439"/>
              <a:gd name="connsiteX4444" fmla="*/ 4317523 w 9586368"/>
              <a:gd name="connsiteY4444" fmla="*/ 3368345 h 6479439"/>
              <a:gd name="connsiteX4445" fmla="*/ 4307612 w 9586368"/>
              <a:gd name="connsiteY4445" fmla="*/ 3368345 h 6479439"/>
              <a:gd name="connsiteX4446" fmla="*/ 4303595 w 9586368"/>
              <a:gd name="connsiteY4446" fmla="*/ 3364306 h 6479439"/>
              <a:gd name="connsiteX4447" fmla="*/ 4303595 w 9586368"/>
              <a:gd name="connsiteY4447" fmla="*/ 3354436 h 6479439"/>
              <a:gd name="connsiteX4448" fmla="*/ 4068297 w 9586368"/>
              <a:gd name="connsiteY4448" fmla="*/ 3350398 h 6479439"/>
              <a:gd name="connsiteX4449" fmla="*/ 4078210 w 9586368"/>
              <a:gd name="connsiteY4449" fmla="*/ 3350398 h 6479439"/>
              <a:gd name="connsiteX4450" fmla="*/ 4082229 w 9586368"/>
              <a:gd name="connsiteY4450" fmla="*/ 3354436 h 6479439"/>
              <a:gd name="connsiteX4451" fmla="*/ 4082229 w 9586368"/>
              <a:gd name="connsiteY4451" fmla="*/ 3364306 h 6479439"/>
              <a:gd name="connsiteX4452" fmla="*/ 4078210 w 9586368"/>
              <a:gd name="connsiteY4452" fmla="*/ 3368345 h 6479439"/>
              <a:gd name="connsiteX4453" fmla="*/ 4068297 w 9586368"/>
              <a:gd name="connsiteY4453" fmla="*/ 3368345 h 6479439"/>
              <a:gd name="connsiteX4454" fmla="*/ 4064278 w 9586368"/>
              <a:gd name="connsiteY4454" fmla="*/ 3364306 h 6479439"/>
              <a:gd name="connsiteX4455" fmla="*/ 4064278 w 9586368"/>
              <a:gd name="connsiteY4455" fmla="*/ 3354436 h 6479439"/>
              <a:gd name="connsiteX4456" fmla="*/ 3828990 w 9586368"/>
              <a:gd name="connsiteY4456" fmla="*/ 3350398 h 6479439"/>
              <a:gd name="connsiteX4457" fmla="*/ 3838899 w 9586368"/>
              <a:gd name="connsiteY4457" fmla="*/ 3350398 h 6479439"/>
              <a:gd name="connsiteX4458" fmla="*/ 3842917 w 9586368"/>
              <a:gd name="connsiteY4458" fmla="*/ 3354436 h 6479439"/>
              <a:gd name="connsiteX4459" fmla="*/ 3842917 w 9586368"/>
              <a:gd name="connsiteY4459" fmla="*/ 3364306 h 6479439"/>
              <a:gd name="connsiteX4460" fmla="*/ 3838899 w 9586368"/>
              <a:gd name="connsiteY4460" fmla="*/ 3368345 h 6479439"/>
              <a:gd name="connsiteX4461" fmla="*/ 3828990 w 9586368"/>
              <a:gd name="connsiteY4461" fmla="*/ 3368345 h 6479439"/>
              <a:gd name="connsiteX4462" fmla="*/ 3824971 w 9586368"/>
              <a:gd name="connsiteY4462" fmla="*/ 3364306 h 6479439"/>
              <a:gd name="connsiteX4463" fmla="*/ 3824971 w 9586368"/>
              <a:gd name="connsiteY4463" fmla="*/ 3354436 h 6479439"/>
              <a:gd name="connsiteX4464" fmla="*/ 3589676 w 9586368"/>
              <a:gd name="connsiteY4464" fmla="*/ 3350398 h 6479439"/>
              <a:gd name="connsiteX4465" fmla="*/ 3599585 w 9586368"/>
              <a:gd name="connsiteY4465" fmla="*/ 3350398 h 6479439"/>
              <a:gd name="connsiteX4466" fmla="*/ 3603604 w 9586368"/>
              <a:gd name="connsiteY4466" fmla="*/ 3354436 h 6479439"/>
              <a:gd name="connsiteX4467" fmla="*/ 3603604 w 9586368"/>
              <a:gd name="connsiteY4467" fmla="*/ 3364306 h 6479439"/>
              <a:gd name="connsiteX4468" fmla="*/ 3599585 w 9586368"/>
              <a:gd name="connsiteY4468" fmla="*/ 3368345 h 6479439"/>
              <a:gd name="connsiteX4469" fmla="*/ 3589676 w 9586368"/>
              <a:gd name="connsiteY4469" fmla="*/ 3368345 h 6479439"/>
              <a:gd name="connsiteX4470" fmla="*/ 3585657 w 9586368"/>
              <a:gd name="connsiteY4470" fmla="*/ 3364306 h 6479439"/>
              <a:gd name="connsiteX4471" fmla="*/ 3585657 w 9586368"/>
              <a:gd name="connsiteY4471" fmla="*/ 3354436 h 6479439"/>
              <a:gd name="connsiteX4472" fmla="*/ 3350359 w 9586368"/>
              <a:gd name="connsiteY4472" fmla="*/ 3350398 h 6479439"/>
              <a:gd name="connsiteX4473" fmla="*/ 3360268 w 9586368"/>
              <a:gd name="connsiteY4473" fmla="*/ 3350398 h 6479439"/>
              <a:gd name="connsiteX4474" fmla="*/ 3364287 w 9586368"/>
              <a:gd name="connsiteY4474" fmla="*/ 3354436 h 6479439"/>
              <a:gd name="connsiteX4475" fmla="*/ 3364287 w 9586368"/>
              <a:gd name="connsiteY4475" fmla="*/ 3364306 h 6479439"/>
              <a:gd name="connsiteX4476" fmla="*/ 3360268 w 9586368"/>
              <a:gd name="connsiteY4476" fmla="*/ 3368345 h 6479439"/>
              <a:gd name="connsiteX4477" fmla="*/ 3350359 w 9586368"/>
              <a:gd name="connsiteY4477" fmla="*/ 3368345 h 6479439"/>
              <a:gd name="connsiteX4478" fmla="*/ 3346340 w 9586368"/>
              <a:gd name="connsiteY4478" fmla="*/ 3364306 h 6479439"/>
              <a:gd name="connsiteX4479" fmla="*/ 3346340 w 9586368"/>
              <a:gd name="connsiteY4479" fmla="*/ 3354436 h 6479439"/>
              <a:gd name="connsiteX4480" fmla="*/ 3111048 w 9586368"/>
              <a:gd name="connsiteY4480" fmla="*/ 3350398 h 6479439"/>
              <a:gd name="connsiteX4481" fmla="*/ 3120959 w 9586368"/>
              <a:gd name="connsiteY4481" fmla="*/ 3350398 h 6479439"/>
              <a:gd name="connsiteX4482" fmla="*/ 3124977 w 9586368"/>
              <a:gd name="connsiteY4482" fmla="*/ 3354436 h 6479439"/>
              <a:gd name="connsiteX4483" fmla="*/ 3124977 w 9586368"/>
              <a:gd name="connsiteY4483" fmla="*/ 3364306 h 6479439"/>
              <a:gd name="connsiteX4484" fmla="*/ 3120959 w 9586368"/>
              <a:gd name="connsiteY4484" fmla="*/ 3368345 h 6479439"/>
              <a:gd name="connsiteX4485" fmla="*/ 3111048 w 9586368"/>
              <a:gd name="connsiteY4485" fmla="*/ 3368345 h 6479439"/>
              <a:gd name="connsiteX4486" fmla="*/ 3107029 w 9586368"/>
              <a:gd name="connsiteY4486" fmla="*/ 3364306 h 6479439"/>
              <a:gd name="connsiteX4487" fmla="*/ 3107029 w 9586368"/>
              <a:gd name="connsiteY4487" fmla="*/ 3354436 h 6479439"/>
              <a:gd name="connsiteX4488" fmla="*/ 2871737 w 9586368"/>
              <a:gd name="connsiteY4488" fmla="*/ 3350398 h 6479439"/>
              <a:gd name="connsiteX4489" fmla="*/ 2881646 w 9586368"/>
              <a:gd name="connsiteY4489" fmla="*/ 3350398 h 6479439"/>
              <a:gd name="connsiteX4490" fmla="*/ 2885666 w 9586368"/>
              <a:gd name="connsiteY4490" fmla="*/ 3354436 h 6479439"/>
              <a:gd name="connsiteX4491" fmla="*/ 2885666 w 9586368"/>
              <a:gd name="connsiteY4491" fmla="*/ 3364306 h 6479439"/>
              <a:gd name="connsiteX4492" fmla="*/ 2881646 w 9586368"/>
              <a:gd name="connsiteY4492" fmla="*/ 3368345 h 6479439"/>
              <a:gd name="connsiteX4493" fmla="*/ 2871737 w 9586368"/>
              <a:gd name="connsiteY4493" fmla="*/ 3368345 h 6479439"/>
              <a:gd name="connsiteX4494" fmla="*/ 2867717 w 9586368"/>
              <a:gd name="connsiteY4494" fmla="*/ 3364306 h 6479439"/>
              <a:gd name="connsiteX4495" fmla="*/ 2867717 w 9586368"/>
              <a:gd name="connsiteY4495" fmla="*/ 3354436 h 6479439"/>
              <a:gd name="connsiteX4496" fmla="*/ 2632423 w 9586368"/>
              <a:gd name="connsiteY4496" fmla="*/ 3350398 h 6479439"/>
              <a:gd name="connsiteX4497" fmla="*/ 2642334 w 9586368"/>
              <a:gd name="connsiteY4497" fmla="*/ 3350398 h 6479439"/>
              <a:gd name="connsiteX4498" fmla="*/ 2646352 w 9586368"/>
              <a:gd name="connsiteY4498" fmla="*/ 3354436 h 6479439"/>
              <a:gd name="connsiteX4499" fmla="*/ 2646352 w 9586368"/>
              <a:gd name="connsiteY4499" fmla="*/ 3364306 h 6479439"/>
              <a:gd name="connsiteX4500" fmla="*/ 2642334 w 9586368"/>
              <a:gd name="connsiteY4500" fmla="*/ 3368345 h 6479439"/>
              <a:gd name="connsiteX4501" fmla="*/ 2632423 w 9586368"/>
              <a:gd name="connsiteY4501" fmla="*/ 3368345 h 6479439"/>
              <a:gd name="connsiteX4502" fmla="*/ 2628404 w 9586368"/>
              <a:gd name="connsiteY4502" fmla="*/ 3364306 h 6479439"/>
              <a:gd name="connsiteX4503" fmla="*/ 2628404 w 9586368"/>
              <a:gd name="connsiteY4503" fmla="*/ 3354436 h 6479439"/>
              <a:gd name="connsiteX4504" fmla="*/ 2393104 w 9586368"/>
              <a:gd name="connsiteY4504" fmla="*/ 3350398 h 6479439"/>
              <a:gd name="connsiteX4505" fmla="*/ 2403015 w 9586368"/>
              <a:gd name="connsiteY4505" fmla="*/ 3350398 h 6479439"/>
              <a:gd name="connsiteX4506" fmla="*/ 2407034 w 9586368"/>
              <a:gd name="connsiteY4506" fmla="*/ 3354436 h 6479439"/>
              <a:gd name="connsiteX4507" fmla="*/ 2407034 w 9586368"/>
              <a:gd name="connsiteY4507" fmla="*/ 3364306 h 6479439"/>
              <a:gd name="connsiteX4508" fmla="*/ 2403015 w 9586368"/>
              <a:gd name="connsiteY4508" fmla="*/ 3368345 h 6479439"/>
              <a:gd name="connsiteX4509" fmla="*/ 2393104 w 9586368"/>
              <a:gd name="connsiteY4509" fmla="*/ 3368345 h 6479439"/>
              <a:gd name="connsiteX4510" fmla="*/ 2389087 w 9586368"/>
              <a:gd name="connsiteY4510" fmla="*/ 3364306 h 6479439"/>
              <a:gd name="connsiteX4511" fmla="*/ 2389087 w 9586368"/>
              <a:gd name="connsiteY4511" fmla="*/ 3354436 h 6479439"/>
              <a:gd name="connsiteX4512" fmla="*/ 2157820 w 9586368"/>
              <a:gd name="connsiteY4512" fmla="*/ 3350398 h 6479439"/>
              <a:gd name="connsiteX4513" fmla="*/ 2167731 w 9586368"/>
              <a:gd name="connsiteY4513" fmla="*/ 3350398 h 6479439"/>
              <a:gd name="connsiteX4514" fmla="*/ 2171749 w 9586368"/>
              <a:gd name="connsiteY4514" fmla="*/ 3354436 h 6479439"/>
              <a:gd name="connsiteX4515" fmla="*/ 2171749 w 9586368"/>
              <a:gd name="connsiteY4515" fmla="*/ 3364306 h 6479439"/>
              <a:gd name="connsiteX4516" fmla="*/ 2167731 w 9586368"/>
              <a:gd name="connsiteY4516" fmla="*/ 3368345 h 6479439"/>
              <a:gd name="connsiteX4517" fmla="*/ 2157820 w 9586368"/>
              <a:gd name="connsiteY4517" fmla="*/ 3368345 h 6479439"/>
              <a:gd name="connsiteX4518" fmla="*/ 2153802 w 9586368"/>
              <a:gd name="connsiteY4518" fmla="*/ 3364306 h 6479439"/>
              <a:gd name="connsiteX4519" fmla="*/ 2153802 w 9586368"/>
              <a:gd name="connsiteY4519" fmla="*/ 3354436 h 6479439"/>
              <a:gd name="connsiteX4520" fmla="*/ 1918511 w 9586368"/>
              <a:gd name="connsiteY4520" fmla="*/ 3350398 h 6479439"/>
              <a:gd name="connsiteX4521" fmla="*/ 1928422 w 9586368"/>
              <a:gd name="connsiteY4521" fmla="*/ 3350398 h 6479439"/>
              <a:gd name="connsiteX4522" fmla="*/ 1932441 w 9586368"/>
              <a:gd name="connsiteY4522" fmla="*/ 3354436 h 6479439"/>
              <a:gd name="connsiteX4523" fmla="*/ 1932441 w 9586368"/>
              <a:gd name="connsiteY4523" fmla="*/ 3364306 h 6479439"/>
              <a:gd name="connsiteX4524" fmla="*/ 1928422 w 9586368"/>
              <a:gd name="connsiteY4524" fmla="*/ 3368345 h 6479439"/>
              <a:gd name="connsiteX4525" fmla="*/ 1918511 w 9586368"/>
              <a:gd name="connsiteY4525" fmla="*/ 3368345 h 6479439"/>
              <a:gd name="connsiteX4526" fmla="*/ 1914493 w 9586368"/>
              <a:gd name="connsiteY4526" fmla="*/ 3364306 h 6479439"/>
              <a:gd name="connsiteX4527" fmla="*/ 1914493 w 9586368"/>
              <a:gd name="connsiteY4527" fmla="*/ 3354436 h 6479439"/>
              <a:gd name="connsiteX4528" fmla="*/ 1679210 w 9586368"/>
              <a:gd name="connsiteY4528" fmla="*/ 3350398 h 6479439"/>
              <a:gd name="connsiteX4529" fmla="*/ 1689120 w 9586368"/>
              <a:gd name="connsiteY4529" fmla="*/ 3350398 h 6479439"/>
              <a:gd name="connsiteX4530" fmla="*/ 1693138 w 9586368"/>
              <a:gd name="connsiteY4530" fmla="*/ 3354436 h 6479439"/>
              <a:gd name="connsiteX4531" fmla="*/ 1693138 w 9586368"/>
              <a:gd name="connsiteY4531" fmla="*/ 3364306 h 6479439"/>
              <a:gd name="connsiteX4532" fmla="*/ 1689120 w 9586368"/>
              <a:gd name="connsiteY4532" fmla="*/ 3368345 h 6479439"/>
              <a:gd name="connsiteX4533" fmla="*/ 1679210 w 9586368"/>
              <a:gd name="connsiteY4533" fmla="*/ 3368345 h 6479439"/>
              <a:gd name="connsiteX4534" fmla="*/ 1675191 w 9586368"/>
              <a:gd name="connsiteY4534" fmla="*/ 3364306 h 6479439"/>
              <a:gd name="connsiteX4535" fmla="*/ 1675191 w 9586368"/>
              <a:gd name="connsiteY4535" fmla="*/ 3354436 h 6479439"/>
              <a:gd name="connsiteX4536" fmla="*/ 1439893 w 9586368"/>
              <a:gd name="connsiteY4536" fmla="*/ 3350398 h 6479439"/>
              <a:gd name="connsiteX4537" fmla="*/ 1449803 w 9586368"/>
              <a:gd name="connsiteY4537" fmla="*/ 3350398 h 6479439"/>
              <a:gd name="connsiteX4538" fmla="*/ 1453823 w 9586368"/>
              <a:gd name="connsiteY4538" fmla="*/ 3354436 h 6479439"/>
              <a:gd name="connsiteX4539" fmla="*/ 1453823 w 9586368"/>
              <a:gd name="connsiteY4539" fmla="*/ 3364306 h 6479439"/>
              <a:gd name="connsiteX4540" fmla="*/ 1449803 w 9586368"/>
              <a:gd name="connsiteY4540" fmla="*/ 3368345 h 6479439"/>
              <a:gd name="connsiteX4541" fmla="*/ 1439893 w 9586368"/>
              <a:gd name="connsiteY4541" fmla="*/ 3368345 h 6479439"/>
              <a:gd name="connsiteX4542" fmla="*/ 1435875 w 9586368"/>
              <a:gd name="connsiteY4542" fmla="*/ 3364306 h 6479439"/>
              <a:gd name="connsiteX4543" fmla="*/ 1435875 w 9586368"/>
              <a:gd name="connsiteY4543" fmla="*/ 3354436 h 6479439"/>
              <a:gd name="connsiteX4544" fmla="*/ 1200578 w 9586368"/>
              <a:gd name="connsiteY4544" fmla="*/ 3350398 h 6479439"/>
              <a:gd name="connsiteX4545" fmla="*/ 1210488 w 9586368"/>
              <a:gd name="connsiteY4545" fmla="*/ 3350398 h 6479439"/>
              <a:gd name="connsiteX4546" fmla="*/ 1214507 w 9586368"/>
              <a:gd name="connsiteY4546" fmla="*/ 3354436 h 6479439"/>
              <a:gd name="connsiteX4547" fmla="*/ 1214507 w 9586368"/>
              <a:gd name="connsiteY4547" fmla="*/ 3364306 h 6479439"/>
              <a:gd name="connsiteX4548" fmla="*/ 1210488 w 9586368"/>
              <a:gd name="connsiteY4548" fmla="*/ 3368345 h 6479439"/>
              <a:gd name="connsiteX4549" fmla="*/ 1200578 w 9586368"/>
              <a:gd name="connsiteY4549" fmla="*/ 3368345 h 6479439"/>
              <a:gd name="connsiteX4550" fmla="*/ 1196559 w 9586368"/>
              <a:gd name="connsiteY4550" fmla="*/ 3364306 h 6479439"/>
              <a:gd name="connsiteX4551" fmla="*/ 1196559 w 9586368"/>
              <a:gd name="connsiteY4551" fmla="*/ 3354436 h 6479439"/>
              <a:gd name="connsiteX4552" fmla="*/ 961265 w 9586368"/>
              <a:gd name="connsiteY4552" fmla="*/ 3350398 h 6479439"/>
              <a:gd name="connsiteX4553" fmla="*/ 971176 w 9586368"/>
              <a:gd name="connsiteY4553" fmla="*/ 3350398 h 6479439"/>
              <a:gd name="connsiteX4554" fmla="*/ 975194 w 9586368"/>
              <a:gd name="connsiteY4554" fmla="*/ 3354436 h 6479439"/>
              <a:gd name="connsiteX4555" fmla="*/ 975194 w 9586368"/>
              <a:gd name="connsiteY4555" fmla="*/ 3364306 h 6479439"/>
              <a:gd name="connsiteX4556" fmla="*/ 971176 w 9586368"/>
              <a:gd name="connsiteY4556" fmla="*/ 3368345 h 6479439"/>
              <a:gd name="connsiteX4557" fmla="*/ 961265 w 9586368"/>
              <a:gd name="connsiteY4557" fmla="*/ 3368345 h 6479439"/>
              <a:gd name="connsiteX4558" fmla="*/ 957246 w 9586368"/>
              <a:gd name="connsiteY4558" fmla="*/ 3364306 h 6479439"/>
              <a:gd name="connsiteX4559" fmla="*/ 957246 w 9586368"/>
              <a:gd name="connsiteY4559" fmla="*/ 3354436 h 6479439"/>
              <a:gd name="connsiteX4560" fmla="*/ 721967 w 9586368"/>
              <a:gd name="connsiteY4560" fmla="*/ 3350398 h 6479439"/>
              <a:gd name="connsiteX4561" fmla="*/ 731877 w 9586368"/>
              <a:gd name="connsiteY4561" fmla="*/ 3350398 h 6479439"/>
              <a:gd name="connsiteX4562" fmla="*/ 735896 w 9586368"/>
              <a:gd name="connsiteY4562" fmla="*/ 3354436 h 6479439"/>
              <a:gd name="connsiteX4563" fmla="*/ 735896 w 9586368"/>
              <a:gd name="connsiteY4563" fmla="*/ 3364306 h 6479439"/>
              <a:gd name="connsiteX4564" fmla="*/ 731877 w 9586368"/>
              <a:gd name="connsiteY4564" fmla="*/ 3368345 h 6479439"/>
              <a:gd name="connsiteX4565" fmla="*/ 721967 w 9586368"/>
              <a:gd name="connsiteY4565" fmla="*/ 3368345 h 6479439"/>
              <a:gd name="connsiteX4566" fmla="*/ 717949 w 9586368"/>
              <a:gd name="connsiteY4566" fmla="*/ 3364306 h 6479439"/>
              <a:gd name="connsiteX4567" fmla="*/ 717949 w 9586368"/>
              <a:gd name="connsiteY4567" fmla="*/ 3354436 h 6479439"/>
              <a:gd name="connsiteX4568" fmla="*/ 482655 w 9586368"/>
              <a:gd name="connsiteY4568" fmla="*/ 3350398 h 6479439"/>
              <a:gd name="connsiteX4569" fmla="*/ 492565 w 9586368"/>
              <a:gd name="connsiteY4569" fmla="*/ 3350398 h 6479439"/>
              <a:gd name="connsiteX4570" fmla="*/ 496584 w 9586368"/>
              <a:gd name="connsiteY4570" fmla="*/ 3354436 h 6479439"/>
              <a:gd name="connsiteX4571" fmla="*/ 496584 w 9586368"/>
              <a:gd name="connsiteY4571" fmla="*/ 3364306 h 6479439"/>
              <a:gd name="connsiteX4572" fmla="*/ 492565 w 9586368"/>
              <a:gd name="connsiteY4572" fmla="*/ 3368345 h 6479439"/>
              <a:gd name="connsiteX4573" fmla="*/ 482655 w 9586368"/>
              <a:gd name="connsiteY4573" fmla="*/ 3368345 h 6479439"/>
              <a:gd name="connsiteX4574" fmla="*/ 478636 w 9586368"/>
              <a:gd name="connsiteY4574" fmla="*/ 3364306 h 6479439"/>
              <a:gd name="connsiteX4575" fmla="*/ 478636 w 9586368"/>
              <a:gd name="connsiteY4575" fmla="*/ 3354436 h 6479439"/>
              <a:gd name="connsiteX4576" fmla="*/ 243341 w 9586368"/>
              <a:gd name="connsiteY4576" fmla="*/ 3350398 h 6479439"/>
              <a:gd name="connsiteX4577" fmla="*/ 253252 w 9586368"/>
              <a:gd name="connsiteY4577" fmla="*/ 3350398 h 6479439"/>
              <a:gd name="connsiteX4578" fmla="*/ 257271 w 9586368"/>
              <a:gd name="connsiteY4578" fmla="*/ 3354436 h 6479439"/>
              <a:gd name="connsiteX4579" fmla="*/ 257271 w 9586368"/>
              <a:gd name="connsiteY4579" fmla="*/ 3364306 h 6479439"/>
              <a:gd name="connsiteX4580" fmla="*/ 253252 w 9586368"/>
              <a:gd name="connsiteY4580" fmla="*/ 3368345 h 6479439"/>
              <a:gd name="connsiteX4581" fmla="*/ 243341 w 9586368"/>
              <a:gd name="connsiteY4581" fmla="*/ 3368345 h 6479439"/>
              <a:gd name="connsiteX4582" fmla="*/ 239322 w 9586368"/>
              <a:gd name="connsiteY4582" fmla="*/ 3364306 h 6479439"/>
              <a:gd name="connsiteX4583" fmla="*/ 239322 w 9586368"/>
              <a:gd name="connsiteY4583" fmla="*/ 3354436 h 6479439"/>
              <a:gd name="connsiteX4584" fmla="*/ 4029 w 9586368"/>
              <a:gd name="connsiteY4584" fmla="*/ 3350398 h 6479439"/>
              <a:gd name="connsiteX4585" fmla="*/ 13938 w 9586368"/>
              <a:gd name="connsiteY4585" fmla="*/ 3350398 h 6479439"/>
              <a:gd name="connsiteX4586" fmla="*/ 17957 w 9586368"/>
              <a:gd name="connsiteY4586" fmla="*/ 3354436 h 6479439"/>
              <a:gd name="connsiteX4587" fmla="*/ 17957 w 9586368"/>
              <a:gd name="connsiteY4587" fmla="*/ 3364306 h 6479439"/>
              <a:gd name="connsiteX4588" fmla="*/ 13938 w 9586368"/>
              <a:gd name="connsiteY4588" fmla="*/ 3368345 h 6479439"/>
              <a:gd name="connsiteX4589" fmla="*/ 4029 w 9586368"/>
              <a:gd name="connsiteY4589" fmla="*/ 3368345 h 6479439"/>
              <a:gd name="connsiteX4590" fmla="*/ 9 w 9586368"/>
              <a:gd name="connsiteY4590" fmla="*/ 3364306 h 6479439"/>
              <a:gd name="connsiteX4591" fmla="*/ 9 w 9586368"/>
              <a:gd name="connsiteY4591" fmla="*/ 3354436 h 6479439"/>
              <a:gd name="connsiteX4592" fmla="*/ 2157820 w 9586368"/>
              <a:gd name="connsiteY4592" fmla="*/ 3111118 h 6479439"/>
              <a:gd name="connsiteX4593" fmla="*/ 2167731 w 9586368"/>
              <a:gd name="connsiteY4593" fmla="*/ 3111118 h 6479439"/>
              <a:gd name="connsiteX4594" fmla="*/ 2171750 w 9586368"/>
              <a:gd name="connsiteY4594" fmla="*/ 3115157 h 6479439"/>
              <a:gd name="connsiteX4595" fmla="*/ 2171750 w 9586368"/>
              <a:gd name="connsiteY4595" fmla="*/ 3125027 h 6479439"/>
              <a:gd name="connsiteX4596" fmla="*/ 2167731 w 9586368"/>
              <a:gd name="connsiteY4596" fmla="*/ 3129066 h 6479439"/>
              <a:gd name="connsiteX4597" fmla="*/ 2157820 w 9586368"/>
              <a:gd name="connsiteY4597" fmla="*/ 3129066 h 6479439"/>
              <a:gd name="connsiteX4598" fmla="*/ 2153802 w 9586368"/>
              <a:gd name="connsiteY4598" fmla="*/ 3125027 h 6479439"/>
              <a:gd name="connsiteX4599" fmla="*/ 2153802 w 9586368"/>
              <a:gd name="connsiteY4599" fmla="*/ 3115157 h 6479439"/>
              <a:gd name="connsiteX4600" fmla="*/ 1918513 w 9586368"/>
              <a:gd name="connsiteY4600" fmla="*/ 3111118 h 6479439"/>
              <a:gd name="connsiteX4601" fmla="*/ 1928422 w 9586368"/>
              <a:gd name="connsiteY4601" fmla="*/ 3111118 h 6479439"/>
              <a:gd name="connsiteX4602" fmla="*/ 1932441 w 9586368"/>
              <a:gd name="connsiteY4602" fmla="*/ 3115157 h 6479439"/>
              <a:gd name="connsiteX4603" fmla="*/ 1932441 w 9586368"/>
              <a:gd name="connsiteY4603" fmla="*/ 3125027 h 6479439"/>
              <a:gd name="connsiteX4604" fmla="*/ 1928422 w 9586368"/>
              <a:gd name="connsiteY4604" fmla="*/ 3129066 h 6479439"/>
              <a:gd name="connsiteX4605" fmla="*/ 1918513 w 9586368"/>
              <a:gd name="connsiteY4605" fmla="*/ 3129066 h 6479439"/>
              <a:gd name="connsiteX4606" fmla="*/ 1914493 w 9586368"/>
              <a:gd name="connsiteY4606" fmla="*/ 3125027 h 6479439"/>
              <a:gd name="connsiteX4607" fmla="*/ 1914493 w 9586368"/>
              <a:gd name="connsiteY4607" fmla="*/ 3115157 h 6479439"/>
              <a:gd name="connsiteX4608" fmla="*/ 1679211 w 9586368"/>
              <a:gd name="connsiteY4608" fmla="*/ 3111118 h 6479439"/>
              <a:gd name="connsiteX4609" fmla="*/ 1689121 w 9586368"/>
              <a:gd name="connsiteY4609" fmla="*/ 3111118 h 6479439"/>
              <a:gd name="connsiteX4610" fmla="*/ 1693139 w 9586368"/>
              <a:gd name="connsiteY4610" fmla="*/ 3115157 h 6479439"/>
              <a:gd name="connsiteX4611" fmla="*/ 1693139 w 9586368"/>
              <a:gd name="connsiteY4611" fmla="*/ 3125027 h 6479439"/>
              <a:gd name="connsiteX4612" fmla="*/ 1689121 w 9586368"/>
              <a:gd name="connsiteY4612" fmla="*/ 3129066 h 6479439"/>
              <a:gd name="connsiteX4613" fmla="*/ 1679211 w 9586368"/>
              <a:gd name="connsiteY4613" fmla="*/ 3129066 h 6479439"/>
              <a:gd name="connsiteX4614" fmla="*/ 1675191 w 9586368"/>
              <a:gd name="connsiteY4614" fmla="*/ 3125027 h 6479439"/>
              <a:gd name="connsiteX4615" fmla="*/ 1675191 w 9586368"/>
              <a:gd name="connsiteY4615" fmla="*/ 3115157 h 6479439"/>
              <a:gd name="connsiteX4616" fmla="*/ 1439895 w 9586368"/>
              <a:gd name="connsiteY4616" fmla="*/ 3111118 h 6479439"/>
              <a:gd name="connsiteX4617" fmla="*/ 1449805 w 9586368"/>
              <a:gd name="connsiteY4617" fmla="*/ 3111118 h 6479439"/>
              <a:gd name="connsiteX4618" fmla="*/ 1453823 w 9586368"/>
              <a:gd name="connsiteY4618" fmla="*/ 3115157 h 6479439"/>
              <a:gd name="connsiteX4619" fmla="*/ 1453823 w 9586368"/>
              <a:gd name="connsiteY4619" fmla="*/ 3125027 h 6479439"/>
              <a:gd name="connsiteX4620" fmla="*/ 1449805 w 9586368"/>
              <a:gd name="connsiteY4620" fmla="*/ 3129066 h 6479439"/>
              <a:gd name="connsiteX4621" fmla="*/ 1439895 w 9586368"/>
              <a:gd name="connsiteY4621" fmla="*/ 3129066 h 6479439"/>
              <a:gd name="connsiteX4622" fmla="*/ 1435875 w 9586368"/>
              <a:gd name="connsiteY4622" fmla="*/ 3125027 h 6479439"/>
              <a:gd name="connsiteX4623" fmla="*/ 1435875 w 9586368"/>
              <a:gd name="connsiteY4623" fmla="*/ 3115157 h 6479439"/>
              <a:gd name="connsiteX4624" fmla="*/ 1200578 w 9586368"/>
              <a:gd name="connsiteY4624" fmla="*/ 3111118 h 6479439"/>
              <a:gd name="connsiteX4625" fmla="*/ 1210489 w 9586368"/>
              <a:gd name="connsiteY4625" fmla="*/ 3111118 h 6479439"/>
              <a:gd name="connsiteX4626" fmla="*/ 1214507 w 9586368"/>
              <a:gd name="connsiteY4626" fmla="*/ 3115157 h 6479439"/>
              <a:gd name="connsiteX4627" fmla="*/ 1214507 w 9586368"/>
              <a:gd name="connsiteY4627" fmla="*/ 3125027 h 6479439"/>
              <a:gd name="connsiteX4628" fmla="*/ 1210489 w 9586368"/>
              <a:gd name="connsiteY4628" fmla="*/ 3129066 h 6479439"/>
              <a:gd name="connsiteX4629" fmla="*/ 1200578 w 9586368"/>
              <a:gd name="connsiteY4629" fmla="*/ 3129066 h 6479439"/>
              <a:gd name="connsiteX4630" fmla="*/ 1196560 w 9586368"/>
              <a:gd name="connsiteY4630" fmla="*/ 3125027 h 6479439"/>
              <a:gd name="connsiteX4631" fmla="*/ 1196560 w 9586368"/>
              <a:gd name="connsiteY4631" fmla="*/ 3115157 h 6479439"/>
              <a:gd name="connsiteX4632" fmla="*/ 961266 w 9586368"/>
              <a:gd name="connsiteY4632" fmla="*/ 3111118 h 6479439"/>
              <a:gd name="connsiteX4633" fmla="*/ 971176 w 9586368"/>
              <a:gd name="connsiteY4633" fmla="*/ 3111118 h 6479439"/>
              <a:gd name="connsiteX4634" fmla="*/ 975195 w 9586368"/>
              <a:gd name="connsiteY4634" fmla="*/ 3115157 h 6479439"/>
              <a:gd name="connsiteX4635" fmla="*/ 975195 w 9586368"/>
              <a:gd name="connsiteY4635" fmla="*/ 3125027 h 6479439"/>
              <a:gd name="connsiteX4636" fmla="*/ 971176 w 9586368"/>
              <a:gd name="connsiteY4636" fmla="*/ 3129066 h 6479439"/>
              <a:gd name="connsiteX4637" fmla="*/ 961266 w 9586368"/>
              <a:gd name="connsiteY4637" fmla="*/ 3129066 h 6479439"/>
              <a:gd name="connsiteX4638" fmla="*/ 957247 w 9586368"/>
              <a:gd name="connsiteY4638" fmla="*/ 3125027 h 6479439"/>
              <a:gd name="connsiteX4639" fmla="*/ 957247 w 9586368"/>
              <a:gd name="connsiteY4639" fmla="*/ 3115157 h 6479439"/>
              <a:gd name="connsiteX4640" fmla="*/ 9572438 w 9586368"/>
              <a:gd name="connsiteY4640" fmla="*/ 3111067 h 6479439"/>
              <a:gd name="connsiteX4641" fmla="*/ 9582349 w 9586368"/>
              <a:gd name="connsiteY4641" fmla="*/ 3111067 h 6479439"/>
              <a:gd name="connsiteX4642" fmla="*/ 9586368 w 9586368"/>
              <a:gd name="connsiteY4642" fmla="*/ 3115105 h 6479439"/>
              <a:gd name="connsiteX4643" fmla="*/ 9586368 w 9586368"/>
              <a:gd name="connsiteY4643" fmla="*/ 3124976 h 6479439"/>
              <a:gd name="connsiteX4644" fmla="*/ 9582349 w 9586368"/>
              <a:gd name="connsiteY4644" fmla="*/ 3129015 h 6479439"/>
              <a:gd name="connsiteX4645" fmla="*/ 9572438 w 9586368"/>
              <a:gd name="connsiteY4645" fmla="*/ 3129015 h 6479439"/>
              <a:gd name="connsiteX4646" fmla="*/ 9568419 w 9586368"/>
              <a:gd name="connsiteY4646" fmla="*/ 3124976 h 6479439"/>
              <a:gd name="connsiteX4647" fmla="*/ 9568419 w 9586368"/>
              <a:gd name="connsiteY4647" fmla="*/ 3115105 h 6479439"/>
              <a:gd name="connsiteX4648" fmla="*/ 9333125 w 9586368"/>
              <a:gd name="connsiteY4648" fmla="*/ 3111067 h 6479439"/>
              <a:gd name="connsiteX4649" fmla="*/ 9343036 w 9586368"/>
              <a:gd name="connsiteY4649" fmla="*/ 3111067 h 6479439"/>
              <a:gd name="connsiteX4650" fmla="*/ 9347055 w 9586368"/>
              <a:gd name="connsiteY4650" fmla="*/ 3115105 h 6479439"/>
              <a:gd name="connsiteX4651" fmla="*/ 9347055 w 9586368"/>
              <a:gd name="connsiteY4651" fmla="*/ 3124976 h 6479439"/>
              <a:gd name="connsiteX4652" fmla="*/ 9343036 w 9586368"/>
              <a:gd name="connsiteY4652" fmla="*/ 3129015 h 6479439"/>
              <a:gd name="connsiteX4653" fmla="*/ 9333125 w 9586368"/>
              <a:gd name="connsiteY4653" fmla="*/ 3129015 h 6479439"/>
              <a:gd name="connsiteX4654" fmla="*/ 9329106 w 9586368"/>
              <a:gd name="connsiteY4654" fmla="*/ 3124976 h 6479439"/>
              <a:gd name="connsiteX4655" fmla="*/ 9329106 w 9586368"/>
              <a:gd name="connsiteY4655" fmla="*/ 3115105 h 6479439"/>
              <a:gd name="connsiteX4656" fmla="*/ 9093811 w 9586368"/>
              <a:gd name="connsiteY4656" fmla="*/ 3111067 h 6479439"/>
              <a:gd name="connsiteX4657" fmla="*/ 9103722 w 9586368"/>
              <a:gd name="connsiteY4657" fmla="*/ 3111067 h 6479439"/>
              <a:gd name="connsiteX4658" fmla="*/ 9107741 w 9586368"/>
              <a:gd name="connsiteY4658" fmla="*/ 3115105 h 6479439"/>
              <a:gd name="connsiteX4659" fmla="*/ 9107741 w 9586368"/>
              <a:gd name="connsiteY4659" fmla="*/ 3124976 h 6479439"/>
              <a:gd name="connsiteX4660" fmla="*/ 9103722 w 9586368"/>
              <a:gd name="connsiteY4660" fmla="*/ 3129015 h 6479439"/>
              <a:gd name="connsiteX4661" fmla="*/ 9093811 w 9586368"/>
              <a:gd name="connsiteY4661" fmla="*/ 3129015 h 6479439"/>
              <a:gd name="connsiteX4662" fmla="*/ 9089792 w 9586368"/>
              <a:gd name="connsiteY4662" fmla="*/ 3124976 h 6479439"/>
              <a:gd name="connsiteX4663" fmla="*/ 9089792 w 9586368"/>
              <a:gd name="connsiteY4663" fmla="*/ 3115105 h 6479439"/>
              <a:gd name="connsiteX4664" fmla="*/ 8854496 w 9586368"/>
              <a:gd name="connsiteY4664" fmla="*/ 3111067 h 6479439"/>
              <a:gd name="connsiteX4665" fmla="*/ 8864407 w 9586368"/>
              <a:gd name="connsiteY4665" fmla="*/ 3111067 h 6479439"/>
              <a:gd name="connsiteX4666" fmla="*/ 8868426 w 9586368"/>
              <a:gd name="connsiteY4666" fmla="*/ 3115105 h 6479439"/>
              <a:gd name="connsiteX4667" fmla="*/ 8868426 w 9586368"/>
              <a:gd name="connsiteY4667" fmla="*/ 3124976 h 6479439"/>
              <a:gd name="connsiteX4668" fmla="*/ 8864407 w 9586368"/>
              <a:gd name="connsiteY4668" fmla="*/ 3129015 h 6479439"/>
              <a:gd name="connsiteX4669" fmla="*/ 8854496 w 9586368"/>
              <a:gd name="connsiteY4669" fmla="*/ 3129015 h 6479439"/>
              <a:gd name="connsiteX4670" fmla="*/ 8850477 w 9586368"/>
              <a:gd name="connsiteY4670" fmla="*/ 3124976 h 6479439"/>
              <a:gd name="connsiteX4671" fmla="*/ 8850477 w 9586368"/>
              <a:gd name="connsiteY4671" fmla="*/ 3115105 h 6479439"/>
              <a:gd name="connsiteX4672" fmla="*/ 8615184 w 9586368"/>
              <a:gd name="connsiteY4672" fmla="*/ 3111067 h 6479439"/>
              <a:gd name="connsiteX4673" fmla="*/ 8625095 w 9586368"/>
              <a:gd name="connsiteY4673" fmla="*/ 3111067 h 6479439"/>
              <a:gd name="connsiteX4674" fmla="*/ 8629114 w 9586368"/>
              <a:gd name="connsiteY4674" fmla="*/ 3115105 h 6479439"/>
              <a:gd name="connsiteX4675" fmla="*/ 8629114 w 9586368"/>
              <a:gd name="connsiteY4675" fmla="*/ 3124976 h 6479439"/>
              <a:gd name="connsiteX4676" fmla="*/ 8625095 w 9586368"/>
              <a:gd name="connsiteY4676" fmla="*/ 3129015 h 6479439"/>
              <a:gd name="connsiteX4677" fmla="*/ 8615184 w 9586368"/>
              <a:gd name="connsiteY4677" fmla="*/ 3129015 h 6479439"/>
              <a:gd name="connsiteX4678" fmla="*/ 8611165 w 9586368"/>
              <a:gd name="connsiteY4678" fmla="*/ 3124976 h 6479439"/>
              <a:gd name="connsiteX4679" fmla="*/ 8611165 w 9586368"/>
              <a:gd name="connsiteY4679" fmla="*/ 3115105 h 6479439"/>
              <a:gd name="connsiteX4680" fmla="*/ 8375869 w 9586368"/>
              <a:gd name="connsiteY4680" fmla="*/ 3111067 h 6479439"/>
              <a:gd name="connsiteX4681" fmla="*/ 8385779 w 9586368"/>
              <a:gd name="connsiteY4681" fmla="*/ 3111067 h 6479439"/>
              <a:gd name="connsiteX4682" fmla="*/ 8389799 w 9586368"/>
              <a:gd name="connsiteY4682" fmla="*/ 3115105 h 6479439"/>
              <a:gd name="connsiteX4683" fmla="*/ 8389799 w 9586368"/>
              <a:gd name="connsiteY4683" fmla="*/ 3124976 h 6479439"/>
              <a:gd name="connsiteX4684" fmla="*/ 8385779 w 9586368"/>
              <a:gd name="connsiteY4684" fmla="*/ 3129015 h 6479439"/>
              <a:gd name="connsiteX4685" fmla="*/ 8375869 w 9586368"/>
              <a:gd name="connsiteY4685" fmla="*/ 3129015 h 6479439"/>
              <a:gd name="connsiteX4686" fmla="*/ 8371850 w 9586368"/>
              <a:gd name="connsiteY4686" fmla="*/ 3124976 h 6479439"/>
              <a:gd name="connsiteX4687" fmla="*/ 8371850 w 9586368"/>
              <a:gd name="connsiteY4687" fmla="*/ 3115105 h 6479439"/>
              <a:gd name="connsiteX4688" fmla="*/ 8136553 w 9586368"/>
              <a:gd name="connsiteY4688" fmla="*/ 3111067 h 6479439"/>
              <a:gd name="connsiteX4689" fmla="*/ 8146464 w 9586368"/>
              <a:gd name="connsiteY4689" fmla="*/ 3111067 h 6479439"/>
              <a:gd name="connsiteX4690" fmla="*/ 8150483 w 9586368"/>
              <a:gd name="connsiteY4690" fmla="*/ 3115105 h 6479439"/>
              <a:gd name="connsiteX4691" fmla="*/ 8150483 w 9586368"/>
              <a:gd name="connsiteY4691" fmla="*/ 3124976 h 6479439"/>
              <a:gd name="connsiteX4692" fmla="*/ 8146464 w 9586368"/>
              <a:gd name="connsiteY4692" fmla="*/ 3129015 h 6479439"/>
              <a:gd name="connsiteX4693" fmla="*/ 8136553 w 9586368"/>
              <a:gd name="connsiteY4693" fmla="*/ 3129015 h 6479439"/>
              <a:gd name="connsiteX4694" fmla="*/ 8132534 w 9586368"/>
              <a:gd name="connsiteY4694" fmla="*/ 3124976 h 6479439"/>
              <a:gd name="connsiteX4695" fmla="*/ 8132534 w 9586368"/>
              <a:gd name="connsiteY4695" fmla="*/ 3115105 h 6479439"/>
              <a:gd name="connsiteX4696" fmla="*/ 7897241 w 9586368"/>
              <a:gd name="connsiteY4696" fmla="*/ 3111067 h 6479439"/>
              <a:gd name="connsiteX4697" fmla="*/ 7907151 w 9586368"/>
              <a:gd name="connsiteY4697" fmla="*/ 3111067 h 6479439"/>
              <a:gd name="connsiteX4698" fmla="*/ 7911170 w 9586368"/>
              <a:gd name="connsiteY4698" fmla="*/ 3115105 h 6479439"/>
              <a:gd name="connsiteX4699" fmla="*/ 7911170 w 9586368"/>
              <a:gd name="connsiteY4699" fmla="*/ 3124976 h 6479439"/>
              <a:gd name="connsiteX4700" fmla="*/ 7907151 w 9586368"/>
              <a:gd name="connsiteY4700" fmla="*/ 3129015 h 6479439"/>
              <a:gd name="connsiteX4701" fmla="*/ 7897241 w 9586368"/>
              <a:gd name="connsiteY4701" fmla="*/ 3129015 h 6479439"/>
              <a:gd name="connsiteX4702" fmla="*/ 7893222 w 9586368"/>
              <a:gd name="connsiteY4702" fmla="*/ 3124976 h 6479439"/>
              <a:gd name="connsiteX4703" fmla="*/ 7893222 w 9586368"/>
              <a:gd name="connsiteY4703" fmla="*/ 3115105 h 6479439"/>
              <a:gd name="connsiteX4704" fmla="*/ 7657926 w 9586368"/>
              <a:gd name="connsiteY4704" fmla="*/ 3111067 h 6479439"/>
              <a:gd name="connsiteX4705" fmla="*/ 7667836 w 9586368"/>
              <a:gd name="connsiteY4705" fmla="*/ 3111067 h 6479439"/>
              <a:gd name="connsiteX4706" fmla="*/ 7671855 w 9586368"/>
              <a:gd name="connsiteY4706" fmla="*/ 3115105 h 6479439"/>
              <a:gd name="connsiteX4707" fmla="*/ 7671855 w 9586368"/>
              <a:gd name="connsiteY4707" fmla="*/ 3124976 h 6479439"/>
              <a:gd name="connsiteX4708" fmla="*/ 7667836 w 9586368"/>
              <a:gd name="connsiteY4708" fmla="*/ 3129015 h 6479439"/>
              <a:gd name="connsiteX4709" fmla="*/ 7657926 w 9586368"/>
              <a:gd name="connsiteY4709" fmla="*/ 3129015 h 6479439"/>
              <a:gd name="connsiteX4710" fmla="*/ 7653906 w 9586368"/>
              <a:gd name="connsiteY4710" fmla="*/ 3124976 h 6479439"/>
              <a:gd name="connsiteX4711" fmla="*/ 7653906 w 9586368"/>
              <a:gd name="connsiteY4711" fmla="*/ 3115105 h 6479439"/>
              <a:gd name="connsiteX4712" fmla="*/ 7418611 w 9586368"/>
              <a:gd name="connsiteY4712" fmla="*/ 3111067 h 6479439"/>
              <a:gd name="connsiteX4713" fmla="*/ 7428521 w 9586368"/>
              <a:gd name="connsiteY4713" fmla="*/ 3111067 h 6479439"/>
              <a:gd name="connsiteX4714" fmla="*/ 7432540 w 9586368"/>
              <a:gd name="connsiteY4714" fmla="*/ 3115105 h 6479439"/>
              <a:gd name="connsiteX4715" fmla="*/ 7432540 w 9586368"/>
              <a:gd name="connsiteY4715" fmla="*/ 3124976 h 6479439"/>
              <a:gd name="connsiteX4716" fmla="*/ 7428521 w 9586368"/>
              <a:gd name="connsiteY4716" fmla="*/ 3129015 h 6479439"/>
              <a:gd name="connsiteX4717" fmla="*/ 7418611 w 9586368"/>
              <a:gd name="connsiteY4717" fmla="*/ 3129015 h 6479439"/>
              <a:gd name="connsiteX4718" fmla="*/ 7414592 w 9586368"/>
              <a:gd name="connsiteY4718" fmla="*/ 3124976 h 6479439"/>
              <a:gd name="connsiteX4719" fmla="*/ 7414592 w 9586368"/>
              <a:gd name="connsiteY4719" fmla="*/ 3115105 h 6479439"/>
              <a:gd name="connsiteX4720" fmla="*/ 7179298 w 9586368"/>
              <a:gd name="connsiteY4720" fmla="*/ 3111067 h 6479439"/>
              <a:gd name="connsiteX4721" fmla="*/ 7189209 w 9586368"/>
              <a:gd name="connsiteY4721" fmla="*/ 3111067 h 6479439"/>
              <a:gd name="connsiteX4722" fmla="*/ 7193228 w 9586368"/>
              <a:gd name="connsiteY4722" fmla="*/ 3115105 h 6479439"/>
              <a:gd name="connsiteX4723" fmla="*/ 7193228 w 9586368"/>
              <a:gd name="connsiteY4723" fmla="*/ 3124976 h 6479439"/>
              <a:gd name="connsiteX4724" fmla="*/ 7189209 w 9586368"/>
              <a:gd name="connsiteY4724" fmla="*/ 3129015 h 6479439"/>
              <a:gd name="connsiteX4725" fmla="*/ 7179298 w 9586368"/>
              <a:gd name="connsiteY4725" fmla="*/ 3129015 h 6479439"/>
              <a:gd name="connsiteX4726" fmla="*/ 7175279 w 9586368"/>
              <a:gd name="connsiteY4726" fmla="*/ 3124976 h 6479439"/>
              <a:gd name="connsiteX4727" fmla="*/ 7175279 w 9586368"/>
              <a:gd name="connsiteY4727" fmla="*/ 3115105 h 6479439"/>
              <a:gd name="connsiteX4728" fmla="*/ 6939983 w 9586368"/>
              <a:gd name="connsiteY4728" fmla="*/ 3111067 h 6479439"/>
              <a:gd name="connsiteX4729" fmla="*/ 6949894 w 9586368"/>
              <a:gd name="connsiteY4729" fmla="*/ 3111067 h 6479439"/>
              <a:gd name="connsiteX4730" fmla="*/ 6953913 w 9586368"/>
              <a:gd name="connsiteY4730" fmla="*/ 3115105 h 6479439"/>
              <a:gd name="connsiteX4731" fmla="*/ 6953913 w 9586368"/>
              <a:gd name="connsiteY4731" fmla="*/ 3124976 h 6479439"/>
              <a:gd name="connsiteX4732" fmla="*/ 6949894 w 9586368"/>
              <a:gd name="connsiteY4732" fmla="*/ 3129015 h 6479439"/>
              <a:gd name="connsiteX4733" fmla="*/ 6939983 w 9586368"/>
              <a:gd name="connsiteY4733" fmla="*/ 3129015 h 6479439"/>
              <a:gd name="connsiteX4734" fmla="*/ 6935964 w 9586368"/>
              <a:gd name="connsiteY4734" fmla="*/ 3124976 h 6479439"/>
              <a:gd name="connsiteX4735" fmla="*/ 6935964 w 9586368"/>
              <a:gd name="connsiteY4735" fmla="*/ 3115105 h 6479439"/>
              <a:gd name="connsiteX4736" fmla="*/ 6700670 w 9586368"/>
              <a:gd name="connsiteY4736" fmla="*/ 3111067 h 6479439"/>
              <a:gd name="connsiteX4737" fmla="*/ 6710581 w 9586368"/>
              <a:gd name="connsiteY4737" fmla="*/ 3111067 h 6479439"/>
              <a:gd name="connsiteX4738" fmla="*/ 6714600 w 9586368"/>
              <a:gd name="connsiteY4738" fmla="*/ 3115105 h 6479439"/>
              <a:gd name="connsiteX4739" fmla="*/ 6714600 w 9586368"/>
              <a:gd name="connsiteY4739" fmla="*/ 3124976 h 6479439"/>
              <a:gd name="connsiteX4740" fmla="*/ 6710581 w 9586368"/>
              <a:gd name="connsiteY4740" fmla="*/ 3129015 h 6479439"/>
              <a:gd name="connsiteX4741" fmla="*/ 6700670 w 9586368"/>
              <a:gd name="connsiteY4741" fmla="*/ 3129015 h 6479439"/>
              <a:gd name="connsiteX4742" fmla="*/ 6696651 w 9586368"/>
              <a:gd name="connsiteY4742" fmla="*/ 3124976 h 6479439"/>
              <a:gd name="connsiteX4743" fmla="*/ 6696651 w 9586368"/>
              <a:gd name="connsiteY4743" fmla="*/ 3115105 h 6479439"/>
              <a:gd name="connsiteX4744" fmla="*/ 6461356 w 9586368"/>
              <a:gd name="connsiteY4744" fmla="*/ 3111067 h 6479439"/>
              <a:gd name="connsiteX4745" fmla="*/ 6471266 w 9586368"/>
              <a:gd name="connsiteY4745" fmla="*/ 3111067 h 6479439"/>
              <a:gd name="connsiteX4746" fmla="*/ 6475285 w 9586368"/>
              <a:gd name="connsiteY4746" fmla="*/ 3115105 h 6479439"/>
              <a:gd name="connsiteX4747" fmla="*/ 6475285 w 9586368"/>
              <a:gd name="connsiteY4747" fmla="*/ 3124976 h 6479439"/>
              <a:gd name="connsiteX4748" fmla="*/ 6471266 w 9586368"/>
              <a:gd name="connsiteY4748" fmla="*/ 3129015 h 6479439"/>
              <a:gd name="connsiteX4749" fmla="*/ 6461356 w 9586368"/>
              <a:gd name="connsiteY4749" fmla="*/ 3129015 h 6479439"/>
              <a:gd name="connsiteX4750" fmla="*/ 6457337 w 9586368"/>
              <a:gd name="connsiteY4750" fmla="*/ 3124976 h 6479439"/>
              <a:gd name="connsiteX4751" fmla="*/ 6457337 w 9586368"/>
              <a:gd name="connsiteY4751" fmla="*/ 3115105 h 6479439"/>
              <a:gd name="connsiteX4752" fmla="*/ 6222042 w 9586368"/>
              <a:gd name="connsiteY4752" fmla="*/ 3111067 h 6479439"/>
              <a:gd name="connsiteX4753" fmla="*/ 6231952 w 9586368"/>
              <a:gd name="connsiteY4753" fmla="*/ 3111067 h 6479439"/>
              <a:gd name="connsiteX4754" fmla="*/ 6235971 w 9586368"/>
              <a:gd name="connsiteY4754" fmla="*/ 3115105 h 6479439"/>
              <a:gd name="connsiteX4755" fmla="*/ 6235971 w 9586368"/>
              <a:gd name="connsiteY4755" fmla="*/ 3124976 h 6479439"/>
              <a:gd name="connsiteX4756" fmla="*/ 6231952 w 9586368"/>
              <a:gd name="connsiteY4756" fmla="*/ 3129015 h 6479439"/>
              <a:gd name="connsiteX4757" fmla="*/ 6222042 w 9586368"/>
              <a:gd name="connsiteY4757" fmla="*/ 3129015 h 6479439"/>
              <a:gd name="connsiteX4758" fmla="*/ 6218023 w 9586368"/>
              <a:gd name="connsiteY4758" fmla="*/ 3124976 h 6479439"/>
              <a:gd name="connsiteX4759" fmla="*/ 6218023 w 9586368"/>
              <a:gd name="connsiteY4759" fmla="*/ 3115105 h 6479439"/>
              <a:gd name="connsiteX4760" fmla="*/ 5982729 w 9586368"/>
              <a:gd name="connsiteY4760" fmla="*/ 3111067 h 6479439"/>
              <a:gd name="connsiteX4761" fmla="*/ 5992639 w 9586368"/>
              <a:gd name="connsiteY4761" fmla="*/ 3111067 h 6479439"/>
              <a:gd name="connsiteX4762" fmla="*/ 5996658 w 9586368"/>
              <a:gd name="connsiteY4762" fmla="*/ 3115105 h 6479439"/>
              <a:gd name="connsiteX4763" fmla="*/ 5996658 w 9586368"/>
              <a:gd name="connsiteY4763" fmla="*/ 3124976 h 6479439"/>
              <a:gd name="connsiteX4764" fmla="*/ 5992639 w 9586368"/>
              <a:gd name="connsiteY4764" fmla="*/ 3129015 h 6479439"/>
              <a:gd name="connsiteX4765" fmla="*/ 5982729 w 9586368"/>
              <a:gd name="connsiteY4765" fmla="*/ 3129015 h 6479439"/>
              <a:gd name="connsiteX4766" fmla="*/ 5978710 w 9586368"/>
              <a:gd name="connsiteY4766" fmla="*/ 3124976 h 6479439"/>
              <a:gd name="connsiteX4767" fmla="*/ 5978710 w 9586368"/>
              <a:gd name="connsiteY4767" fmla="*/ 3115105 h 6479439"/>
              <a:gd name="connsiteX4768" fmla="*/ 5743412 w 9586368"/>
              <a:gd name="connsiteY4768" fmla="*/ 3111067 h 6479439"/>
              <a:gd name="connsiteX4769" fmla="*/ 5753323 w 9586368"/>
              <a:gd name="connsiteY4769" fmla="*/ 3111067 h 6479439"/>
              <a:gd name="connsiteX4770" fmla="*/ 5757342 w 9586368"/>
              <a:gd name="connsiteY4770" fmla="*/ 3115105 h 6479439"/>
              <a:gd name="connsiteX4771" fmla="*/ 5757342 w 9586368"/>
              <a:gd name="connsiteY4771" fmla="*/ 3124976 h 6479439"/>
              <a:gd name="connsiteX4772" fmla="*/ 5753323 w 9586368"/>
              <a:gd name="connsiteY4772" fmla="*/ 3129015 h 6479439"/>
              <a:gd name="connsiteX4773" fmla="*/ 5743412 w 9586368"/>
              <a:gd name="connsiteY4773" fmla="*/ 3129015 h 6479439"/>
              <a:gd name="connsiteX4774" fmla="*/ 5739393 w 9586368"/>
              <a:gd name="connsiteY4774" fmla="*/ 3124976 h 6479439"/>
              <a:gd name="connsiteX4775" fmla="*/ 5739393 w 9586368"/>
              <a:gd name="connsiteY4775" fmla="*/ 3115105 h 6479439"/>
              <a:gd name="connsiteX4776" fmla="*/ 5504099 w 9586368"/>
              <a:gd name="connsiteY4776" fmla="*/ 3111067 h 6479439"/>
              <a:gd name="connsiteX4777" fmla="*/ 5514010 w 9586368"/>
              <a:gd name="connsiteY4777" fmla="*/ 3111067 h 6479439"/>
              <a:gd name="connsiteX4778" fmla="*/ 5518029 w 9586368"/>
              <a:gd name="connsiteY4778" fmla="*/ 3115105 h 6479439"/>
              <a:gd name="connsiteX4779" fmla="*/ 5518029 w 9586368"/>
              <a:gd name="connsiteY4779" fmla="*/ 3124976 h 6479439"/>
              <a:gd name="connsiteX4780" fmla="*/ 5514010 w 9586368"/>
              <a:gd name="connsiteY4780" fmla="*/ 3129015 h 6479439"/>
              <a:gd name="connsiteX4781" fmla="*/ 5504099 w 9586368"/>
              <a:gd name="connsiteY4781" fmla="*/ 3129015 h 6479439"/>
              <a:gd name="connsiteX4782" fmla="*/ 5500080 w 9586368"/>
              <a:gd name="connsiteY4782" fmla="*/ 3124976 h 6479439"/>
              <a:gd name="connsiteX4783" fmla="*/ 5500080 w 9586368"/>
              <a:gd name="connsiteY4783" fmla="*/ 3115105 h 6479439"/>
              <a:gd name="connsiteX4784" fmla="*/ 5264784 w 9586368"/>
              <a:gd name="connsiteY4784" fmla="*/ 3111067 h 6479439"/>
              <a:gd name="connsiteX4785" fmla="*/ 5274694 w 9586368"/>
              <a:gd name="connsiteY4785" fmla="*/ 3111067 h 6479439"/>
              <a:gd name="connsiteX4786" fmla="*/ 5278713 w 9586368"/>
              <a:gd name="connsiteY4786" fmla="*/ 3115105 h 6479439"/>
              <a:gd name="connsiteX4787" fmla="*/ 5278713 w 9586368"/>
              <a:gd name="connsiteY4787" fmla="*/ 3124976 h 6479439"/>
              <a:gd name="connsiteX4788" fmla="*/ 5274694 w 9586368"/>
              <a:gd name="connsiteY4788" fmla="*/ 3129015 h 6479439"/>
              <a:gd name="connsiteX4789" fmla="*/ 5264784 w 9586368"/>
              <a:gd name="connsiteY4789" fmla="*/ 3129015 h 6479439"/>
              <a:gd name="connsiteX4790" fmla="*/ 5260765 w 9586368"/>
              <a:gd name="connsiteY4790" fmla="*/ 3124976 h 6479439"/>
              <a:gd name="connsiteX4791" fmla="*/ 5260765 w 9586368"/>
              <a:gd name="connsiteY4791" fmla="*/ 3115105 h 6479439"/>
              <a:gd name="connsiteX4792" fmla="*/ 5025470 w 9586368"/>
              <a:gd name="connsiteY4792" fmla="*/ 3111067 h 6479439"/>
              <a:gd name="connsiteX4793" fmla="*/ 5035381 w 9586368"/>
              <a:gd name="connsiteY4793" fmla="*/ 3111067 h 6479439"/>
              <a:gd name="connsiteX4794" fmla="*/ 5039400 w 9586368"/>
              <a:gd name="connsiteY4794" fmla="*/ 3115105 h 6479439"/>
              <a:gd name="connsiteX4795" fmla="*/ 5039400 w 9586368"/>
              <a:gd name="connsiteY4795" fmla="*/ 3124976 h 6479439"/>
              <a:gd name="connsiteX4796" fmla="*/ 5035381 w 9586368"/>
              <a:gd name="connsiteY4796" fmla="*/ 3129015 h 6479439"/>
              <a:gd name="connsiteX4797" fmla="*/ 5025470 w 9586368"/>
              <a:gd name="connsiteY4797" fmla="*/ 3129015 h 6479439"/>
              <a:gd name="connsiteX4798" fmla="*/ 5021451 w 9586368"/>
              <a:gd name="connsiteY4798" fmla="*/ 3124976 h 6479439"/>
              <a:gd name="connsiteX4799" fmla="*/ 5021451 w 9586368"/>
              <a:gd name="connsiteY4799" fmla="*/ 3115105 h 6479439"/>
              <a:gd name="connsiteX4800" fmla="*/ 4786241 w 9586368"/>
              <a:gd name="connsiteY4800" fmla="*/ 3111067 h 6479439"/>
              <a:gd name="connsiteX4801" fmla="*/ 4796152 w 9586368"/>
              <a:gd name="connsiteY4801" fmla="*/ 3111067 h 6479439"/>
              <a:gd name="connsiteX4802" fmla="*/ 4800171 w 9586368"/>
              <a:gd name="connsiteY4802" fmla="*/ 3115105 h 6479439"/>
              <a:gd name="connsiteX4803" fmla="*/ 4800171 w 9586368"/>
              <a:gd name="connsiteY4803" fmla="*/ 3124976 h 6479439"/>
              <a:gd name="connsiteX4804" fmla="*/ 4796152 w 9586368"/>
              <a:gd name="connsiteY4804" fmla="*/ 3129015 h 6479439"/>
              <a:gd name="connsiteX4805" fmla="*/ 4786241 w 9586368"/>
              <a:gd name="connsiteY4805" fmla="*/ 3129015 h 6479439"/>
              <a:gd name="connsiteX4806" fmla="*/ 4782224 w 9586368"/>
              <a:gd name="connsiteY4806" fmla="*/ 3124976 h 6479439"/>
              <a:gd name="connsiteX4807" fmla="*/ 4782224 w 9586368"/>
              <a:gd name="connsiteY4807" fmla="*/ 3115105 h 6479439"/>
              <a:gd name="connsiteX4808" fmla="*/ 4546929 w 9586368"/>
              <a:gd name="connsiteY4808" fmla="*/ 3111067 h 6479439"/>
              <a:gd name="connsiteX4809" fmla="*/ 4556840 w 9586368"/>
              <a:gd name="connsiteY4809" fmla="*/ 3111067 h 6479439"/>
              <a:gd name="connsiteX4810" fmla="*/ 4560859 w 9586368"/>
              <a:gd name="connsiteY4810" fmla="*/ 3115105 h 6479439"/>
              <a:gd name="connsiteX4811" fmla="*/ 4560859 w 9586368"/>
              <a:gd name="connsiteY4811" fmla="*/ 3124976 h 6479439"/>
              <a:gd name="connsiteX4812" fmla="*/ 4556840 w 9586368"/>
              <a:gd name="connsiteY4812" fmla="*/ 3129015 h 6479439"/>
              <a:gd name="connsiteX4813" fmla="*/ 4546929 w 9586368"/>
              <a:gd name="connsiteY4813" fmla="*/ 3129015 h 6479439"/>
              <a:gd name="connsiteX4814" fmla="*/ 4542910 w 9586368"/>
              <a:gd name="connsiteY4814" fmla="*/ 3124976 h 6479439"/>
              <a:gd name="connsiteX4815" fmla="*/ 4542910 w 9586368"/>
              <a:gd name="connsiteY4815" fmla="*/ 3115105 h 6479439"/>
              <a:gd name="connsiteX4816" fmla="*/ 4307612 w 9586368"/>
              <a:gd name="connsiteY4816" fmla="*/ 3111067 h 6479439"/>
              <a:gd name="connsiteX4817" fmla="*/ 4317523 w 9586368"/>
              <a:gd name="connsiteY4817" fmla="*/ 3111067 h 6479439"/>
              <a:gd name="connsiteX4818" fmla="*/ 4321543 w 9586368"/>
              <a:gd name="connsiteY4818" fmla="*/ 3115105 h 6479439"/>
              <a:gd name="connsiteX4819" fmla="*/ 4321543 w 9586368"/>
              <a:gd name="connsiteY4819" fmla="*/ 3124976 h 6479439"/>
              <a:gd name="connsiteX4820" fmla="*/ 4317523 w 9586368"/>
              <a:gd name="connsiteY4820" fmla="*/ 3129015 h 6479439"/>
              <a:gd name="connsiteX4821" fmla="*/ 4307612 w 9586368"/>
              <a:gd name="connsiteY4821" fmla="*/ 3129015 h 6479439"/>
              <a:gd name="connsiteX4822" fmla="*/ 4303595 w 9586368"/>
              <a:gd name="connsiteY4822" fmla="*/ 3124976 h 6479439"/>
              <a:gd name="connsiteX4823" fmla="*/ 4303595 w 9586368"/>
              <a:gd name="connsiteY4823" fmla="*/ 3115105 h 6479439"/>
              <a:gd name="connsiteX4824" fmla="*/ 4068297 w 9586368"/>
              <a:gd name="connsiteY4824" fmla="*/ 3111067 h 6479439"/>
              <a:gd name="connsiteX4825" fmla="*/ 4078210 w 9586368"/>
              <a:gd name="connsiteY4825" fmla="*/ 3111067 h 6479439"/>
              <a:gd name="connsiteX4826" fmla="*/ 4082229 w 9586368"/>
              <a:gd name="connsiteY4826" fmla="*/ 3115105 h 6479439"/>
              <a:gd name="connsiteX4827" fmla="*/ 4082229 w 9586368"/>
              <a:gd name="connsiteY4827" fmla="*/ 3124976 h 6479439"/>
              <a:gd name="connsiteX4828" fmla="*/ 4078210 w 9586368"/>
              <a:gd name="connsiteY4828" fmla="*/ 3129015 h 6479439"/>
              <a:gd name="connsiteX4829" fmla="*/ 4068297 w 9586368"/>
              <a:gd name="connsiteY4829" fmla="*/ 3129015 h 6479439"/>
              <a:gd name="connsiteX4830" fmla="*/ 4064278 w 9586368"/>
              <a:gd name="connsiteY4830" fmla="*/ 3124976 h 6479439"/>
              <a:gd name="connsiteX4831" fmla="*/ 4064278 w 9586368"/>
              <a:gd name="connsiteY4831" fmla="*/ 3115105 h 6479439"/>
              <a:gd name="connsiteX4832" fmla="*/ 3828990 w 9586368"/>
              <a:gd name="connsiteY4832" fmla="*/ 3111067 h 6479439"/>
              <a:gd name="connsiteX4833" fmla="*/ 3838899 w 9586368"/>
              <a:gd name="connsiteY4833" fmla="*/ 3111067 h 6479439"/>
              <a:gd name="connsiteX4834" fmla="*/ 3842917 w 9586368"/>
              <a:gd name="connsiteY4834" fmla="*/ 3115105 h 6479439"/>
              <a:gd name="connsiteX4835" fmla="*/ 3842917 w 9586368"/>
              <a:gd name="connsiteY4835" fmla="*/ 3124976 h 6479439"/>
              <a:gd name="connsiteX4836" fmla="*/ 3838899 w 9586368"/>
              <a:gd name="connsiteY4836" fmla="*/ 3129015 h 6479439"/>
              <a:gd name="connsiteX4837" fmla="*/ 3828990 w 9586368"/>
              <a:gd name="connsiteY4837" fmla="*/ 3129015 h 6479439"/>
              <a:gd name="connsiteX4838" fmla="*/ 3824971 w 9586368"/>
              <a:gd name="connsiteY4838" fmla="*/ 3124976 h 6479439"/>
              <a:gd name="connsiteX4839" fmla="*/ 3824971 w 9586368"/>
              <a:gd name="connsiteY4839" fmla="*/ 3115105 h 6479439"/>
              <a:gd name="connsiteX4840" fmla="*/ 3589676 w 9586368"/>
              <a:gd name="connsiteY4840" fmla="*/ 3111067 h 6479439"/>
              <a:gd name="connsiteX4841" fmla="*/ 3599585 w 9586368"/>
              <a:gd name="connsiteY4841" fmla="*/ 3111067 h 6479439"/>
              <a:gd name="connsiteX4842" fmla="*/ 3603604 w 9586368"/>
              <a:gd name="connsiteY4842" fmla="*/ 3115105 h 6479439"/>
              <a:gd name="connsiteX4843" fmla="*/ 3603604 w 9586368"/>
              <a:gd name="connsiteY4843" fmla="*/ 3124976 h 6479439"/>
              <a:gd name="connsiteX4844" fmla="*/ 3599585 w 9586368"/>
              <a:gd name="connsiteY4844" fmla="*/ 3129015 h 6479439"/>
              <a:gd name="connsiteX4845" fmla="*/ 3589676 w 9586368"/>
              <a:gd name="connsiteY4845" fmla="*/ 3129015 h 6479439"/>
              <a:gd name="connsiteX4846" fmla="*/ 3585657 w 9586368"/>
              <a:gd name="connsiteY4846" fmla="*/ 3124976 h 6479439"/>
              <a:gd name="connsiteX4847" fmla="*/ 3585657 w 9586368"/>
              <a:gd name="connsiteY4847" fmla="*/ 3115105 h 6479439"/>
              <a:gd name="connsiteX4848" fmla="*/ 3350359 w 9586368"/>
              <a:gd name="connsiteY4848" fmla="*/ 3111067 h 6479439"/>
              <a:gd name="connsiteX4849" fmla="*/ 3360268 w 9586368"/>
              <a:gd name="connsiteY4849" fmla="*/ 3111067 h 6479439"/>
              <a:gd name="connsiteX4850" fmla="*/ 3364287 w 9586368"/>
              <a:gd name="connsiteY4850" fmla="*/ 3115105 h 6479439"/>
              <a:gd name="connsiteX4851" fmla="*/ 3364287 w 9586368"/>
              <a:gd name="connsiteY4851" fmla="*/ 3124976 h 6479439"/>
              <a:gd name="connsiteX4852" fmla="*/ 3360268 w 9586368"/>
              <a:gd name="connsiteY4852" fmla="*/ 3129015 h 6479439"/>
              <a:gd name="connsiteX4853" fmla="*/ 3350359 w 9586368"/>
              <a:gd name="connsiteY4853" fmla="*/ 3129015 h 6479439"/>
              <a:gd name="connsiteX4854" fmla="*/ 3346340 w 9586368"/>
              <a:gd name="connsiteY4854" fmla="*/ 3124976 h 6479439"/>
              <a:gd name="connsiteX4855" fmla="*/ 3346340 w 9586368"/>
              <a:gd name="connsiteY4855" fmla="*/ 3115105 h 6479439"/>
              <a:gd name="connsiteX4856" fmla="*/ 3111048 w 9586368"/>
              <a:gd name="connsiteY4856" fmla="*/ 3111067 h 6479439"/>
              <a:gd name="connsiteX4857" fmla="*/ 3120959 w 9586368"/>
              <a:gd name="connsiteY4857" fmla="*/ 3111067 h 6479439"/>
              <a:gd name="connsiteX4858" fmla="*/ 3124977 w 9586368"/>
              <a:gd name="connsiteY4858" fmla="*/ 3115105 h 6479439"/>
              <a:gd name="connsiteX4859" fmla="*/ 3124977 w 9586368"/>
              <a:gd name="connsiteY4859" fmla="*/ 3124976 h 6479439"/>
              <a:gd name="connsiteX4860" fmla="*/ 3120959 w 9586368"/>
              <a:gd name="connsiteY4860" fmla="*/ 3129015 h 6479439"/>
              <a:gd name="connsiteX4861" fmla="*/ 3111048 w 9586368"/>
              <a:gd name="connsiteY4861" fmla="*/ 3129015 h 6479439"/>
              <a:gd name="connsiteX4862" fmla="*/ 3107029 w 9586368"/>
              <a:gd name="connsiteY4862" fmla="*/ 3124976 h 6479439"/>
              <a:gd name="connsiteX4863" fmla="*/ 3107029 w 9586368"/>
              <a:gd name="connsiteY4863" fmla="*/ 3115105 h 6479439"/>
              <a:gd name="connsiteX4864" fmla="*/ 2871737 w 9586368"/>
              <a:gd name="connsiteY4864" fmla="*/ 3111067 h 6479439"/>
              <a:gd name="connsiteX4865" fmla="*/ 2881646 w 9586368"/>
              <a:gd name="connsiteY4865" fmla="*/ 3111067 h 6479439"/>
              <a:gd name="connsiteX4866" fmla="*/ 2885666 w 9586368"/>
              <a:gd name="connsiteY4866" fmla="*/ 3115105 h 6479439"/>
              <a:gd name="connsiteX4867" fmla="*/ 2885666 w 9586368"/>
              <a:gd name="connsiteY4867" fmla="*/ 3124976 h 6479439"/>
              <a:gd name="connsiteX4868" fmla="*/ 2881646 w 9586368"/>
              <a:gd name="connsiteY4868" fmla="*/ 3129015 h 6479439"/>
              <a:gd name="connsiteX4869" fmla="*/ 2871737 w 9586368"/>
              <a:gd name="connsiteY4869" fmla="*/ 3129015 h 6479439"/>
              <a:gd name="connsiteX4870" fmla="*/ 2867717 w 9586368"/>
              <a:gd name="connsiteY4870" fmla="*/ 3124976 h 6479439"/>
              <a:gd name="connsiteX4871" fmla="*/ 2867717 w 9586368"/>
              <a:gd name="connsiteY4871" fmla="*/ 3115105 h 6479439"/>
              <a:gd name="connsiteX4872" fmla="*/ 2632423 w 9586368"/>
              <a:gd name="connsiteY4872" fmla="*/ 3111067 h 6479439"/>
              <a:gd name="connsiteX4873" fmla="*/ 2642334 w 9586368"/>
              <a:gd name="connsiteY4873" fmla="*/ 3111067 h 6479439"/>
              <a:gd name="connsiteX4874" fmla="*/ 2646352 w 9586368"/>
              <a:gd name="connsiteY4874" fmla="*/ 3115105 h 6479439"/>
              <a:gd name="connsiteX4875" fmla="*/ 2646352 w 9586368"/>
              <a:gd name="connsiteY4875" fmla="*/ 3124976 h 6479439"/>
              <a:gd name="connsiteX4876" fmla="*/ 2642334 w 9586368"/>
              <a:gd name="connsiteY4876" fmla="*/ 3129015 h 6479439"/>
              <a:gd name="connsiteX4877" fmla="*/ 2632423 w 9586368"/>
              <a:gd name="connsiteY4877" fmla="*/ 3129015 h 6479439"/>
              <a:gd name="connsiteX4878" fmla="*/ 2628404 w 9586368"/>
              <a:gd name="connsiteY4878" fmla="*/ 3124976 h 6479439"/>
              <a:gd name="connsiteX4879" fmla="*/ 2628404 w 9586368"/>
              <a:gd name="connsiteY4879" fmla="*/ 3115105 h 6479439"/>
              <a:gd name="connsiteX4880" fmla="*/ 2393104 w 9586368"/>
              <a:gd name="connsiteY4880" fmla="*/ 3111067 h 6479439"/>
              <a:gd name="connsiteX4881" fmla="*/ 2403015 w 9586368"/>
              <a:gd name="connsiteY4881" fmla="*/ 3111067 h 6479439"/>
              <a:gd name="connsiteX4882" fmla="*/ 2407034 w 9586368"/>
              <a:gd name="connsiteY4882" fmla="*/ 3115105 h 6479439"/>
              <a:gd name="connsiteX4883" fmla="*/ 2407034 w 9586368"/>
              <a:gd name="connsiteY4883" fmla="*/ 3124976 h 6479439"/>
              <a:gd name="connsiteX4884" fmla="*/ 2403015 w 9586368"/>
              <a:gd name="connsiteY4884" fmla="*/ 3129015 h 6479439"/>
              <a:gd name="connsiteX4885" fmla="*/ 2393104 w 9586368"/>
              <a:gd name="connsiteY4885" fmla="*/ 3129015 h 6479439"/>
              <a:gd name="connsiteX4886" fmla="*/ 2389087 w 9586368"/>
              <a:gd name="connsiteY4886" fmla="*/ 3124976 h 6479439"/>
              <a:gd name="connsiteX4887" fmla="*/ 2389087 w 9586368"/>
              <a:gd name="connsiteY4887" fmla="*/ 3115105 h 6479439"/>
              <a:gd name="connsiteX4888" fmla="*/ 721968 w 9586368"/>
              <a:gd name="connsiteY4888" fmla="*/ 3111067 h 6479439"/>
              <a:gd name="connsiteX4889" fmla="*/ 731878 w 9586368"/>
              <a:gd name="connsiteY4889" fmla="*/ 3111067 h 6479439"/>
              <a:gd name="connsiteX4890" fmla="*/ 735897 w 9586368"/>
              <a:gd name="connsiteY4890" fmla="*/ 3115105 h 6479439"/>
              <a:gd name="connsiteX4891" fmla="*/ 735897 w 9586368"/>
              <a:gd name="connsiteY4891" fmla="*/ 3124976 h 6479439"/>
              <a:gd name="connsiteX4892" fmla="*/ 731878 w 9586368"/>
              <a:gd name="connsiteY4892" fmla="*/ 3129015 h 6479439"/>
              <a:gd name="connsiteX4893" fmla="*/ 721968 w 9586368"/>
              <a:gd name="connsiteY4893" fmla="*/ 3129015 h 6479439"/>
              <a:gd name="connsiteX4894" fmla="*/ 717949 w 9586368"/>
              <a:gd name="connsiteY4894" fmla="*/ 3124976 h 6479439"/>
              <a:gd name="connsiteX4895" fmla="*/ 717949 w 9586368"/>
              <a:gd name="connsiteY4895" fmla="*/ 3115105 h 6479439"/>
              <a:gd name="connsiteX4896" fmla="*/ 482656 w 9586368"/>
              <a:gd name="connsiteY4896" fmla="*/ 3111067 h 6479439"/>
              <a:gd name="connsiteX4897" fmla="*/ 492566 w 9586368"/>
              <a:gd name="connsiteY4897" fmla="*/ 3111067 h 6479439"/>
              <a:gd name="connsiteX4898" fmla="*/ 496585 w 9586368"/>
              <a:gd name="connsiteY4898" fmla="*/ 3115105 h 6479439"/>
              <a:gd name="connsiteX4899" fmla="*/ 496585 w 9586368"/>
              <a:gd name="connsiteY4899" fmla="*/ 3124976 h 6479439"/>
              <a:gd name="connsiteX4900" fmla="*/ 492566 w 9586368"/>
              <a:gd name="connsiteY4900" fmla="*/ 3129015 h 6479439"/>
              <a:gd name="connsiteX4901" fmla="*/ 482656 w 9586368"/>
              <a:gd name="connsiteY4901" fmla="*/ 3129015 h 6479439"/>
              <a:gd name="connsiteX4902" fmla="*/ 478637 w 9586368"/>
              <a:gd name="connsiteY4902" fmla="*/ 3124976 h 6479439"/>
              <a:gd name="connsiteX4903" fmla="*/ 478637 w 9586368"/>
              <a:gd name="connsiteY4903" fmla="*/ 3115105 h 6479439"/>
              <a:gd name="connsiteX4904" fmla="*/ 243342 w 9586368"/>
              <a:gd name="connsiteY4904" fmla="*/ 3111067 h 6479439"/>
              <a:gd name="connsiteX4905" fmla="*/ 253252 w 9586368"/>
              <a:gd name="connsiteY4905" fmla="*/ 3111067 h 6479439"/>
              <a:gd name="connsiteX4906" fmla="*/ 257271 w 9586368"/>
              <a:gd name="connsiteY4906" fmla="*/ 3115105 h 6479439"/>
              <a:gd name="connsiteX4907" fmla="*/ 257271 w 9586368"/>
              <a:gd name="connsiteY4907" fmla="*/ 3124976 h 6479439"/>
              <a:gd name="connsiteX4908" fmla="*/ 253252 w 9586368"/>
              <a:gd name="connsiteY4908" fmla="*/ 3129015 h 6479439"/>
              <a:gd name="connsiteX4909" fmla="*/ 243342 w 9586368"/>
              <a:gd name="connsiteY4909" fmla="*/ 3129015 h 6479439"/>
              <a:gd name="connsiteX4910" fmla="*/ 239323 w 9586368"/>
              <a:gd name="connsiteY4910" fmla="*/ 3124976 h 6479439"/>
              <a:gd name="connsiteX4911" fmla="*/ 239323 w 9586368"/>
              <a:gd name="connsiteY4911" fmla="*/ 3115105 h 6479439"/>
              <a:gd name="connsiteX4912" fmla="*/ 4029 w 9586368"/>
              <a:gd name="connsiteY4912" fmla="*/ 3111067 h 6479439"/>
              <a:gd name="connsiteX4913" fmla="*/ 13939 w 9586368"/>
              <a:gd name="connsiteY4913" fmla="*/ 3111067 h 6479439"/>
              <a:gd name="connsiteX4914" fmla="*/ 17959 w 9586368"/>
              <a:gd name="connsiteY4914" fmla="*/ 3115105 h 6479439"/>
              <a:gd name="connsiteX4915" fmla="*/ 17959 w 9586368"/>
              <a:gd name="connsiteY4915" fmla="*/ 3124976 h 6479439"/>
              <a:gd name="connsiteX4916" fmla="*/ 13939 w 9586368"/>
              <a:gd name="connsiteY4916" fmla="*/ 3129015 h 6479439"/>
              <a:gd name="connsiteX4917" fmla="*/ 4029 w 9586368"/>
              <a:gd name="connsiteY4917" fmla="*/ 3129015 h 6479439"/>
              <a:gd name="connsiteX4918" fmla="*/ 10 w 9586368"/>
              <a:gd name="connsiteY4918" fmla="*/ 3124976 h 6479439"/>
              <a:gd name="connsiteX4919" fmla="*/ 10 w 9586368"/>
              <a:gd name="connsiteY4919" fmla="*/ 3115105 h 6479439"/>
              <a:gd name="connsiteX4920" fmla="*/ 2157820 w 9586368"/>
              <a:gd name="connsiteY4920" fmla="*/ 2871788 h 6479439"/>
              <a:gd name="connsiteX4921" fmla="*/ 2167732 w 9586368"/>
              <a:gd name="connsiteY4921" fmla="*/ 2871788 h 6479439"/>
              <a:gd name="connsiteX4922" fmla="*/ 2171750 w 9586368"/>
              <a:gd name="connsiteY4922" fmla="*/ 2875826 h 6479439"/>
              <a:gd name="connsiteX4923" fmla="*/ 2171750 w 9586368"/>
              <a:gd name="connsiteY4923" fmla="*/ 2885696 h 6479439"/>
              <a:gd name="connsiteX4924" fmla="*/ 2167732 w 9586368"/>
              <a:gd name="connsiteY4924" fmla="*/ 2889735 h 6479439"/>
              <a:gd name="connsiteX4925" fmla="*/ 2157820 w 9586368"/>
              <a:gd name="connsiteY4925" fmla="*/ 2889735 h 6479439"/>
              <a:gd name="connsiteX4926" fmla="*/ 2153802 w 9586368"/>
              <a:gd name="connsiteY4926" fmla="*/ 2885696 h 6479439"/>
              <a:gd name="connsiteX4927" fmla="*/ 2153802 w 9586368"/>
              <a:gd name="connsiteY4927" fmla="*/ 2875826 h 6479439"/>
              <a:gd name="connsiteX4928" fmla="*/ 1918513 w 9586368"/>
              <a:gd name="connsiteY4928" fmla="*/ 2871788 h 6479439"/>
              <a:gd name="connsiteX4929" fmla="*/ 1928422 w 9586368"/>
              <a:gd name="connsiteY4929" fmla="*/ 2871788 h 6479439"/>
              <a:gd name="connsiteX4930" fmla="*/ 1932441 w 9586368"/>
              <a:gd name="connsiteY4930" fmla="*/ 2875826 h 6479439"/>
              <a:gd name="connsiteX4931" fmla="*/ 1932441 w 9586368"/>
              <a:gd name="connsiteY4931" fmla="*/ 2885696 h 6479439"/>
              <a:gd name="connsiteX4932" fmla="*/ 1928422 w 9586368"/>
              <a:gd name="connsiteY4932" fmla="*/ 2889735 h 6479439"/>
              <a:gd name="connsiteX4933" fmla="*/ 1918513 w 9586368"/>
              <a:gd name="connsiteY4933" fmla="*/ 2889735 h 6479439"/>
              <a:gd name="connsiteX4934" fmla="*/ 1914493 w 9586368"/>
              <a:gd name="connsiteY4934" fmla="*/ 2885696 h 6479439"/>
              <a:gd name="connsiteX4935" fmla="*/ 1914493 w 9586368"/>
              <a:gd name="connsiteY4935" fmla="*/ 2875826 h 6479439"/>
              <a:gd name="connsiteX4936" fmla="*/ 1679211 w 9586368"/>
              <a:gd name="connsiteY4936" fmla="*/ 2871788 h 6479439"/>
              <a:gd name="connsiteX4937" fmla="*/ 1689121 w 9586368"/>
              <a:gd name="connsiteY4937" fmla="*/ 2871788 h 6479439"/>
              <a:gd name="connsiteX4938" fmla="*/ 1693141 w 9586368"/>
              <a:gd name="connsiteY4938" fmla="*/ 2875826 h 6479439"/>
              <a:gd name="connsiteX4939" fmla="*/ 1693141 w 9586368"/>
              <a:gd name="connsiteY4939" fmla="*/ 2885696 h 6479439"/>
              <a:gd name="connsiteX4940" fmla="*/ 1689121 w 9586368"/>
              <a:gd name="connsiteY4940" fmla="*/ 2889735 h 6479439"/>
              <a:gd name="connsiteX4941" fmla="*/ 1679211 w 9586368"/>
              <a:gd name="connsiteY4941" fmla="*/ 2889735 h 6479439"/>
              <a:gd name="connsiteX4942" fmla="*/ 1675193 w 9586368"/>
              <a:gd name="connsiteY4942" fmla="*/ 2885696 h 6479439"/>
              <a:gd name="connsiteX4943" fmla="*/ 1675193 w 9586368"/>
              <a:gd name="connsiteY4943" fmla="*/ 2875826 h 6479439"/>
              <a:gd name="connsiteX4944" fmla="*/ 1439895 w 9586368"/>
              <a:gd name="connsiteY4944" fmla="*/ 2871788 h 6479439"/>
              <a:gd name="connsiteX4945" fmla="*/ 1449805 w 9586368"/>
              <a:gd name="connsiteY4945" fmla="*/ 2871788 h 6479439"/>
              <a:gd name="connsiteX4946" fmla="*/ 1453824 w 9586368"/>
              <a:gd name="connsiteY4946" fmla="*/ 2875826 h 6479439"/>
              <a:gd name="connsiteX4947" fmla="*/ 1453824 w 9586368"/>
              <a:gd name="connsiteY4947" fmla="*/ 2885696 h 6479439"/>
              <a:gd name="connsiteX4948" fmla="*/ 1449805 w 9586368"/>
              <a:gd name="connsiteY4948" fmla="*/ 2889735 h 6479439"/>
              <a:gd name="connsiteX4949" fmla="*/ 1439895 w 9586368"/>
              <a:gd name="connsiteY4949" fmla="*/ 2889735 h 6479439"/>
              <a:gd name="connsiteX4950" fmla="*/ 1435876 w 9586368"/>
              <a:gd name="connsiteY4950" fmla="*/ 2885696 h 6479439"/>
              <a:gd name="connsiteX4951" fmla="*/ 1435876 w 9586368"/>
              <a:gd name="connsiteY4951" fmla="*/ 2875826 h 6479439"/>
              <a:gd name="connsiteX4952" fmla="*/ 1200579 w 9586368"/>
              <a:gd name="connsiteY4952" fmla="*/ 2871788 h 6479439"/>
              <a:gd name="connsiteX4953" fmla="*/ 1210489 w 9586368"/>
              <a:gd name="connsiteY4953" fmla="*/ 2871788 h 6479439"/>
              <a:gd name="connsiteX4954" fmla="*/ 1214509 w 9586368"/>
              <a:gd name="connsiteY4954" fmla="*/ 2875826 h 6479439"/>
              <a:gd name="connsiteX4955" fmla="*/ 1214509 w 9586368"/>
              <a:gd name="connsiteY4955" fmla="*/ 2885696 h 6479439"/>
              <a:gd name="connsiteX4956" fmla="*/ 1210489 w 9586368"/>
              <a:gd name="connsiteY4956" fmla="*/ 2889735 h 6479439"/>
              <a:gd name="connsiteX4957" fmla="*/ 1200579 w 9586368"/>
              <a:gd name="connsiteY4957" fmla="*/ 2889735 h 6479439"/>
              <a:gd name="connsiteX4958" fmla="*/ 1196560 w 9586368"/>
              <a:gd name="connsiteY4958" fmla="*/ 2885696 h 6479439"/>
              <a:gd name="connsiteX4959" fmla="*/ 1196560 w 9586368"/>
              <a:gd name="connsiteY4959" fmla="*/ 2875826 h 6479439"/>
              <a:gd name="connsiteX4960" fmla="*/ 961267 w 9586368"/>
              <a:gd name="connsiteY4960" fmla="*/ 2871788 h 6479439"/>
              <a:gd name="connsiteX4961" fmla="*/ 971177 w 9586368"/>
              <a:gd name="connsiteY4961" fmla="*/ 2871788 h 6479439"/>
              <a:gd name="connsiteX4962" fmla="*/ 975195 w 9586368"/>
              <a:gd name="connsiteY4962" fmla="*/ 2875826 h 6479439"/>
              <a:gd name="connsiteX4963" fmla="*/ 975195 w 9586368"/>
              <a:gd name="connsiteY4963" fmla="*/ 2885696 h 6479439"/>
              <a:gd name="connsiteX4964" fmla="*/ 971177 w 9586368"/>
              <a:gd name="connsiteY4964" fmla="*/ 2889735 h 6479439"/>
              <a:gd name="connsiteX4965" fmla="*/ 961267 w 9586368"/>
              <a:gd name="connsiteY4965" fmla="*/ 2889735 h 6479439"/>
              <a:gd name="connsiteX4966" fmla="*/ 957247 w 9586368"/>
              <a:gd name="connsiteY4966" fmla="*/ 2885696 h 6479439"/>
              <a:gd name="connsiteX4967" fmla="*/ 957247 w 9586368"/>
              <a:gd name="connsiteY4967" fmla="*/ 2875826 h 6479439"/>
              <a:gd name="connsiteX4968" fmla="*/ 9572438 w 9586368"/>
              <a:gd name="connsiteY4968" fmla="*/ 2871736 h 6479439"/>
              <a:gd name="connsiteX4969" fmla="*/ 9582349 w 9586368"/>
              <a:gd name="connsiteY4969" fmla="*/ 2871736 h 6479439"/>
              <a:gd name="connsiteX4970" fmla="*/ 9586368 w 9586368"/>
              <a:gd name="connsiteY4970" fmla="*/ 2875775 h 6479439"/>
              <a:gd name="connsiteX4971" fmla="*/ 9586368 w 9586368"/>
              <a:gd name="connsiteY4971" fmla="*/ 2885645 h 6479439"/>
              <a:gd name="connsiteX4972" fmla="*/ 9582349 w 9586368"/>
              <a:gd name="connsiteY4972" fmla="*/ 2889684 h 6479439"/>
              <a:gd name="connsiteX4973" fmla="*/ 9572438 w 9586368"/>
              <a:gd name="connsiteY4973" fmla="*/ 2889684 h 6479439"/>
              <a:gd name="connsiteX4974" fmla="*/ 9568419 w 9586368"/>
              <a:gd name="connsiteY4974" fmla="*/ 2885645 h 6479439"/>
              <a:gd name="connsiteX4975" fmla="*/ 9568419 w 9586368"/>
              <a:gd name="connsiteY4975" fmla="*/ 2875775 h 6479439"/>
              <a:gd name="connsiteX4976" fmla="*/ 9333125 w 9586368"/>
              <a:gd name="connsiteY4976" fmla="*/ 2871736 h 6479439"/>
              <a:gd name="connsiteX4977" fmla="*/ 9343036 w 9586368"/>
              <a:gd name="connsiteY4977" fmla="*/ 2871736 h 6479439"/>
              <a:gd name="connsiteX4978" fmla="*/ 9347055 w 9586368"/>
              <a:gd name="connsiteY4978" fmla="*/ 2875775 h 6479439"/>
              <a:gd name="connsiteX4979" fmla="*/ 9347055 w 9586368"/>
              <a:gd name="connsiteY4979" fmla="*/ 2885645 h 6479439"/>
              <a:gd name="connsiteX4980" fmla="*/ 9343036 w 9586368"/>
              <a:gd name="connsiteY4980" fmla="*/ 2889684 h 6479439"/>
              <a:gd name="connsiteX4981" fmla="*/ 9333125 w 9586368"/>
              <a:gd name="connsiteY4981" fmla="*/ 2889684 h 6479439"/>
              <a:gd name="connsiteX4982" fmla="*/ 9329106 w 9586368"/>
              <a:gd name="connsiteY4982" fmla="*/ 2885645 h 6479439"/>
              <a:gd name="connsiteX4983" fmla="*/ 9329106 w 9586368"/>
              <a:gd name="connsiteY4983" fmla="*/ 2875775 h 6479439"/>
              <a:gd name="connsiteX4984" fmla="*/ 9093811 w 9586368"/>
              <a:gd name="connsiteY4984" fmla="*/ 2871736 h 6479439"/>
              <a:gd name="connsiteX4985" fmla="*/ 9103722 w 9586368"/>
              <a:gd name="connsiteY4985" fmla="*/ 2871736 h 6479439"/>
              <a:gd name="connsiteX4986" fmla="*/ 9107741 w 9586368"/>
              <a:gd name="connsiteY4986" fmla="*/ 2875775 h 6479439"/>
              <a:gd name="connsiteX4987" fmla="*/ 9107741 w 9586368"/>
              <a:gd name="connsiteY4987" fmla="*/ 2885645 h 6479439"/>
              <a:gd name="connsiteX4988" fmla="*/ 9103722 w 9586368"/>
              <a:gd name="connsiteY4988" fmla="*/ 2889684 h 6479439"/>
              <a:gd name="connsiteX4989" fmla="*/ 9093811 w 9586368"/>
              <a:gd name="connsiteY4989" fmla="*/ 2889684 h 6479439"/>
              <a:gd name="connsiteX4990" fmla="*/ 9089792 w 9586368"/>
              <a:gd name="connsiteY4990" fmla="*/ 2885645 h 6479439"/>
              <a:gd name="connsiteX4991" fmla="*/ 9089792 w 9586368"/>
              <a:gd name="connsiteY4991" fmla="*/ 2875775 h 6479439"/>
              <a:gd name="connsiteX4992" fmla="*/ 8854496 w 9586368"/>
              <a:gd name="connsiteY4992" fmla="*/ 2871736 h 6479439"/>
              <a:gd name="connsiteX4993" fmla="*/ 8864407 w 9586368"/>
              <a:gd name="connsiteY4993" fmla="*/ 2871736 h 6479439"/>
              <a:gd name="connsiteX4994" fmla="*/ 8868426 w 9586368"/>
              <a:gd name="connsiteY4994" fmla="*/ 2875775 h 6479439"/>
              <a:gd name="connsiteX4995" fmla="*/ 8868426 w 9586368"/>
              <a:gd name="connsiteY4995" fmla="*/ 2885645 h 6479439"/>
              <a:gd name="connsiteX4996" fmla="*/ 8864407 w 9586368"/>
              <a:gd name="connsiteY4996" fmla="*/ 2889684 h 6479439"/>
              <a:gd name="connsiteX4997" fmla="*/ 8854496 w 9586368"/>
              <a:gd name="connsiteY4997" fmla="*/ 2889684 h 6479439"/>
              <a:gd name="connsiteX4998" fmla="*/ 8850477 w 9586368"/>
              <a:gd name="connsiteY4998" fmla="*/ 2885645 h 6479439"/>
              <a:gd name="connsiteX4999" fmla="*/ 8850477 w 9586368"/>
              <a:gd name="connsiteY4999" fmla="*/ 2875775 h 6479439"/>
              <a:gd name="connsiteX5000" fmla="*/ 8615184 w 9586368"/>
              <a:gd name="connsiteY5000" fmla="*/ 2871736 h 6479439"/>
              <a:gd name="connsiteX5001" fmla="*/ 8625095 w 9586368"/>
              <a:gd name="connsiteY5001" fmla="*/ 2871736 h 6479439"/>
              <a:gd name="connsiteX5002" fmla="*/ 8629114 w 9586368"/>
              <a:gd name="connsiteY5002" fmla="*/ 2875775 h 6479439"/>
              <a:gd name="connsiteX5003" fmla="*/ 8629114 w 9586368"/>
              <a:gd name="connsiteY5003" fmla="*/ 2885645 h 6479439"/>
              <a:gd name="connsiteX5004" fmla="*/ 8625095 w 9586368"/>
              <a:gd name="connsiteY5004" fmla="*/ 2889684 h 6479439"/>
              <a:gd name="connsiteX5005" fmla="*/ 8615184 w 9586368"/>
              <a:gd name="connsiteY5005" fmla="*/ 2889684 h 6479439"/>
              <a:gd name="connsiteX5006" fmla="*/ 8611165 w 9586368"/>
              <a:gd name="connsiteY5006" fmla="*/ 2885645 h 6479439"/>
              <a:gd name="connsiteX5007" fmla="*/ 8611165 w 9586368"/>
              <a:gd name="connsiteY5007" fmla="*/ 2875775 h 6479439"/>
              <a:gd name="connsiteX5008" fmla="*/ 8375869 w 9586368"/>
              <a:gd name="connsiteY5008" fmla="*/ 2871736 h 6479439"/>
              <a:gd name="connsiteX5009" fmla="*/ 8385779 w 9586368"/>
              <a:gd name="connsiteY5009" fmla="*/ 2871736 h 6479439"/>
              <a:gd name="connsiteX5010" fmla="*/ 8389799 w 9586368"/>
              <a:gd name="connsiteY5010" fmla="*/ 2875775 h 6479439"/>
              <a:gd name="connsiteX5011" fmla="*/ 8389799 w 9586368"/>
              <a:gd name="connsiteY5011" fmla="*/ 2885645 h 6479439"/>
              <a:gd name="connsiteX5012" fmla="*/ 8385779 w 9586368"/>
              <a:gd name="connsiteY5012" fmla="*/ 2889684 h 6479439"/>
              <a:gd name="connsiteX5013" fmla="*/ 8375869 w 9586368"/>
              <a:gd name="connsiteY5013" fmla="*/ 2889684 h 6479439"/>
              <a:gd name="connsiteX5014" fmla="*/ 8371850 w 9586368"/>
              <a:gd name="connsiteY5014" fmla="*/ 2885645 h 6479439"/>
              <a:gd name="connsiteX5015" fmla="*/ 8371850 w 9586368"/>
              <a:gd name="connsiteY5015" fmla="*/ 2875775 h 6479439"/>
              <a:gd name="connsiteX5016" fmla="*/ 8136553 w 9586368"/>
              <a:gd name="connsiteY5016" fmla="*/ 2871736 h 6479439"/>
              <a:gd name="connsiteX5017" fmla="*/ 8146464 w 9586368"/>
              <a:gd name="connsiteY5017" fmla="*/ 2871736 h 6479439"/>
              <a:gd name="connsiteX5018" fmla="*/ 8150483 w 9586368"/>
              <a:gd name="connsiteY5018" fmla="*/ 2875775 h 6479439"/>
              <a:gd name="connsiteX5019" fmla="*/ 8150483 w 9586368"/>
              <a:gd name="connsiteY5019" fmla="*/ 2885645 h 6479439"/>
              <a:gd name="connsiteX5020" fmla="*/ 8146464 w 9586368"/>
              <a:gd name="connsiteY5020" fmla="*/ 2889684 h 6479439"/>
              <a:gd name="connsiteX5021" fmla="*/ 8136553 w 9586368"/>
              <a:gd name="connsiteY5021" fmla="*/ 2889684 h 6479439"/>
              <a:gd name="connsiteX5022" fmla="*/ 8132534 w 9586368"/>
              <a:gd name="connsiteY5022" fmla="*/ 2885645 h 6479439"/>
              <a:gd name="connsiteX5023" fmla="*/ 8132534 w 9586368"/>
              <a:gd name="connsiteY5023" fmla="*/ 2875775 h 6479439"/>
              <a:gd name="connsiteX5024" fmla="*/ 7897241 w 9586368"/>
              <a:gd name="connsiteY5024" fmla="*/ 2871736 h 6479439"/>
              <a:gd name="connsiteX5025" fmla="*/ 7907151 w 9586368"/>
              <a:gd name="connsiteY5025" fmla="*/ 2871736 h 6479439"/>
              <a:gd name="connsiteX5026" fmla="*/ 7911170 w 9586368"/>
              <a:gd name="connsiteY5026" fmla="*/ 2875775 h 6479439"/>
              <a:gd name="connsiteX5027" fmla="*/ 7911170 w 9586368"/>
              <a:gd name="connsiteY5027" fmla="*/ 2885645 h 6479439"/>
              <a:gd name="connsiteX5028" fmla="*/ 7907151 w 9586368"/>
              <a:gd name="connsiteY5028" fmla="*/ 2889684 h 6479439"/>
              <a:gd name="connsiteX5029" fmla="*/ 7897241 w 9586368"/>
              <a:gd name="connsiteY5029" fmla="*/ 2889684 h 6479439"/>
              <a:gd name="connsiteX5030" fmla="*/ 7893222 w 9586368"/>
              <a:gd name="connsiteY5030" fmla="*/ 2885645 h 6479439"/>
              <a:gd name="connsiteX5031" fmla="*/ 7893222 w 9586368"/>
              <a:gd name="connsiteY5031" fmla="*/ 2875775 h 6479439"/>
              <a:gd name="connsiteX5032" fmla="*/ 7657926 w 9586368"/>
              <a:gd name="connsiteY5032" fmla="*/ 2871736 h 6479439"/>
              <a:gd name="connsiteX5033" fmla="*/ 7667836 w 9586368"/>
              <a:gd name="connsiteY5033" fmla="*/ 2871736 h 6479439"/>
              <a:gd name="connsiteX5034" fmla="*/ 7671855 w 9586368"/>
              <a:gd name="connsiteY5034" fmla="*/ 2875775 h 6479439"/>
              <a:gd name="connsiteX5035" fmla="*/ 7671855 w 9586368"/>
              <a:gd name="connsiteY5035" fmla="*/ 2885645 h 6479439"/>
              <a:gd name="connsiteX5036" fmla="*/ 7667836 w 9586368"/>
              <a:gd name="connsiteY5036" fmla="*/ 2889684 h 6479439"/>
              <a:gd name="connsiteX5037" fmla="*/ 7657926 w 9586368"/>
              <a:gd name="connsiteY5037" fmla="*/ 2889684 h 6479439"/>
              <a:gd name="connsiteX5038" fmla="*/ 7653906 w 9586368"/>
              <a:gd name="connsiteY5038" fmla="*/ 2885645 h 6479439"/>
              <a:gd name="connsiteX5039" fmla="*/ 7653906 w 9586368"/>
              <a:gd name="connsiteY5039" fmla="*/ 2875775 h 6479439"/>
              <a:gd name="connsiteX5040" fmla="*/ 7418611 w 9586368"/>
              <a:gd name="connsiteY5040" fmla="*/ 2871736 h 6479439"/>
              <a:gd name="connsiteX5041" fmla="*/ 7428521 w 9586368"/>
              <a:gd name="connsiteY5041" fmla="*/ 2871736 h 6479439"/>
              <a:gd name="connsiteX5042" fmla="*/ 7432540 w 9586368"/>
              <a:gd name="connsiteY5042" fmla="*/ 2875775 h 6479439"/>
              <a:gd name="connsiteX5043" fmla="*/ 7432540 w 9586368"/>
              <a:gd name="connsiteY5043" fmla="*/ 2885645 h 6479439"/>
              <a:gd name="connsiteX5044" fmla="*/ 7428521 w 9586368"/>
              <a:gd name="connsiteY5044" fmla="*/ 2889684 h 6479439"/>
              <a:gd name="connsiteX5045" fmla="*/ 7418611 w 9586368"/>
              <a:gd name="connsiteY5045" fmla="*/ 2889684 h 6479439"/>
              <a:gd name="connsiteX5046" fmla="*/ 7414592 w 9586368"/>
              <a:gd name="connsiteY5046" fmla="*/ 2885645 h 6479439"/>
              <a:gd name="connsiteX5047" fmla="*/ 7414592 w 9586368"/>
              <a:gd name="connsiteY5047" fmla="*/ 2875775 h 6479439"/>
              <a:gd name="connsiteX5048" fmla="*/ 7179298 w 9586368"/>
              <a:gd name="connsiteY5048" fmla="*/ 2871736 h 6479439"/>
              <a:gd name="connsiteX5049" fmla="*/ 7189209 w 9586368"/>
              <a:gd name="connsiteY5049" fmla="*/ 2871736 h 6479439"/>
              <a:gd name="connsiteX5050" fmla="*/ 7193228 w 9586368"/>
              <a:gd name="connsiteY5050" fmla="*/ 2875775 h 6479439"/>
              <a:gd name="connsiteX5051" fmla="*/ 7193228 w 9586368"/>
              <a:gd name="connsiteY5051" fmla="*/ 2885645 h 6479439"/>
              <a:gd name="connsiteX5052" fmla="*/ 7189209 w 9586368"/>
              <a:gd name="connsiteY5052" fmla="*/ 2889684 h 6479439"/>
              <a:gd name="connsiteX5053" fmla="*/ 7179298 w 9586368"/>
              <a:gd name="connsiteY5053" fmla="*/ 2889684 h 6479439"/>
              <a:gd name="connsiteX5054" fmla="*/ 7175279 w 9586368"/>
              <a:gd name="connsiteY5054" fmla="*/ 2885645 h 6479439"/>
              <a:gd name="connsiteX5055" fmla="*/ 7175279 w 9586368"/>
              <a:gd name="connsiteY5055" fmla="*/ 2875775 h 6479439"/>
              <a:gd name="connsiteX5056" fmla="*/ 6939983 w 9586368"/>
              <a:gd name="connsiteY5056" fmla="*/ 2871736 h 6479439"/>
              <a:gd name="connsiteX5057" fmla="*/ 6949894 w 9586368"/>
              <a:gd name="connsiteY5057" fmla="*/ 2871736 h 6479439"/>
              <a:gd name="connsiteX5058" fmla="*/ 6953913 w 9586368"/>
              <a:gd name="connsiteY5058" fmla="*/ 2875775 h 6479439"/>
              <a:gd name="connsiteX5059" fmla="*/ 6953913 w 9586368"/>
              <a:gd name="connsiteY5059" fmla="*/ 2885645 h 6479439"/>
              <a:gd name="connsiteX5060" fmla="*/ 6949894 w 9586368"/>
              <a:gd name="connsiteY5060" fmla="*/ 2889684 h 6479439"/>
              <a:gd name="connsiteX5061" fmla="*/ 6939983 w 9586368"/>
              <a:gd name="connsiteY5061" fmla="*/ 2889684 h 6479439"/>
              <a:gd name="connsiteX5062" fmla="*/ 6935964 w 9586368"/>
              <a:gd name="connsiteY5062" fmla="*/ 2885645 h 6479439"/>
              <a:gd name="connsiteX5063" fmla="*/ 6935964 w 9586368"/>
              <a:gd name="connsiteY5063" fmla="*/ 2875775 h 6479439"/>
              <a:gd name="connsiteX5064" fmla="*/ 6700670 w 9586368"/>
              <a:gd name="connsiteY5064" fmla="*/ 2871736 h 6479439"/>
              <a:gd name="connsiteX5065" fmla="*/ 6710581 w 9586368"/>
              <a:gd name="connsiteY5065" fmla="*/ 2871736 h 6479439"/>
              <a:gd name="connsiteX5066" fmla="*/ 6714600 w 9586368"/>
              <a:gd name="connsiteY5066" fmla="*/ 2875775 h 6479439"/>
              <a:gd name="connsiteX5067" fmla="*/ 6714600 w 9586368"/>
              <a:gd name="connsiteY5067" fmla="*/ 2885645 h 6479439"/>
              <a:gd name="connsiteX5068" fmla="*/ 6710581 w 9586368"/>
              <a:gd name="connsiteY5068" fmla="*/ 2889684 h 6479439"/>
              <a:gd name="connsiteX5069" fmla="*/ 6700670 w 9586368"/>
              <a:gd name="connsiteY5069" fmla="*/ 2889684 h 6479439"/>
              <a:gd name="connsiteX5070" fmla="*/ 6696651 w 9586368"/>
              <a:gd name="connsiteY5070" fmla="*/ 2885645 h 6479439"/>
              <a:gd name="connsiteX5071" fmla="*/ 6696651 w 9586368"/>
              <a:gd name="connsiteY5071" fmla="*/ 2875775 h 6479439"/>
              <a:gd name="connsiteX5072" fmla="*/ 6461356 w 9586368"/>
              <a:gd name="connsiteY5072" fmla="*/ 2871736 h 6479439"/>
              <a:gd name="connsiteX5073" fmla="*/ 6471266 w 9586368"/>
              <a:gd name="connsiteY5073" fmla="*/ 2871736 h 6479439"/>
              <a:gd name="connsiteX5074" fmla="*/ 6475285 w 9586368"/>
              <a:gd name="connsiteY5074" fmla="*/ 2875775 h 6479439"/>
              <a:gd name="connsiteX5075" fmla="*/ 6475285 w 9586368"/>
              <a:gd name="connsiteY5075" fmla="*/ 2885645 h 6479439"/>
              <a:gd name="connsiteX5076" fmla="*/ 6471266 w 9586368"/>
              <a:gd name="connsiteY5076" fmla="*/ 2889684 h 6479439"/>
              <a:gd name="connsiteX5077" fmla="*/ 6461356 w 9586368"/>
              <a:gd name="connsiteY5077" fmla="*/ 2889684 h 6479439"/>
              <a:gd name="connsiteX5078" fmla="*/ 6457337 w 9586368"/>
              <a:gd name="connsiteY5078" fmla="*/ 2885645 h 6479439"/>
              <a:gd name="connsiteX5079" fmla="*/ 6457337 w 9586368"/>
              <a:gd name="connsiteY5079" fmla="*/ 2875775 h 6479439"/>
              <a:gd name="connsiteX5080" fmla="*/ 6222042 w 9586368"/>
              <a:gd name="connsiteY5080" fmla="*/ 2871736 h 6479439"/>
              <a:gd name="connsiteX5081" fmla="*/ 6231952 w 9586368"/>
              <a:gd name="connsiteY5081" fmla="*/ 2871736 h 6479439"/>
              <a:gd name="connsiteX5082" fmla="*/ 6235971 w 9586368"/>
              <a:gd name="connsiteY5082" fmla="*/ 2875775 h 6479439"/>
              <a:gd name="connsiteX5083" fmla="*/ 6235971 w 9586368"/>
              <a:gd name="connsiteY5083" fmla="*/ 2885645 h 6479439"/>
              <a:gd name="connsiteX5084" fmla="*/ 6231952 w 9586368"/>
              <a:gd name="connsiteY5084" fmla="*/ 2889684 h 6479439"/>
              <a:gd name="connsiteX5085" fmla="*/ 6222042 w 9586368"/>
              <a:gd name="connsiteY5085" fmla="*/ 2889684 h 6479439"/>
              <a:gd name="connsiteX5086" fmla="*/ 6218023 w 9586368"/>
              <a:gd name="connsiteY5086" fmla="*/ 2885645 h 6479439"/>
              <a:gd name="connsiteX5087" fmla="*/ 6218023 w 9586368"/>
              <a:gd name="connsiteY5087" fmla="*/ 2875775 h 6479439"/>
              <a:gd name="connsiteX5088" fmla="*/ 5982729 w 9586368"/>
              <a:gd name="connsiteY5088" fmla="*/ 2871736 h 6479439"/>
              <a:gd name="connsiteX5089" fmla="*/ 5992639 w 9586368"/>
              <a:gd name="connsiteY5089" fmla="*/ 2871736 h 6479439"/>
              <a:gd name="connsiteX5090" fmla="*/ 5996658 w 9586368"/>
              <a:gd name="connsiteY5090" fmla="*/ 2875775 h 6479439"/>
              <a:gd name="connsiteX5091" fmla="*/ 5996658 w 9586368"/>
              <a:gd name="connsiteY5091" fmla="*/ 2885645 h 6479439"/>
              <a:gd name="connsiteX5092" fmla="*/ 5992639 w 9586368"/>
              <a:gd name="connsiteY5092" fmla="*/ 2889684 h 6479439"/>
              <a:gd name="connsiteX5093" fmla="*/ 5982729 w 9586368"/>
              <a:gd name="connsiteY5093" fmla="*/ 2889684 h 6479439"/>
              <a:gd name="connsiteX5094" fmla="*/ 5978710 w 9586368"/>
              <a:gd name="connsiteY5094" fmla="*/ 2885645 h 6479439"/>
              <a:gd name="connsiteX5095" fmla="*/ 5978710 w 9586368"/>
              <a:gd name="connsiteY5095" fmla="*/ 2875775 h 6479439"/>
              <a:gd name="connsiteX5096" fmla="*/ 5743412 w 9586368"/>
              <a:gd name="connsiteY5096" fmla="*/ 2871736 h 6479439"/>
              <a:gd name="connsiteX5097" fmla="*/ 5753323 w 9586368"/>
              <a:gd name="connsiteY5097" fmla="*/ 2871736 h 6479439"/>
              <a:gd name="connsiteX5098" fmla="*/ 5757342 w 9586368"/>
              <a:gd name="connsiteY5098" fmla="*/ 2875775 h 6479439"/>
              <a:gd name="connsiteX5099" fmla="*/ 5757342 w 9586368"/>
              <a:gd name="connsiteY5099" fmla="*/ 2885645 h 6479439"/>
              <a:gd name="connsiteX5100" fmla="*/ 5753323 w 9586368"/>
              <a:gd name="connsiteY5100" fmla="*/ 2889684 h 6479439"/>
              <a:gd name="connsiteX5101" fmla="*/ 5743412 w 9586368"/>
              <a:gd name="connsiteY5101" fmla="*/ 2889684 h 6479439"/>
              <a:gd name="connsiteX5102" fmla="*/ 5739393 w 9586368"/>
              <a:gd name="connsiteY5102" fmla="*/ 2885645 h 6479439"/>
              <a:gd name="connsiteX5103" fmla="*/ 5739393 w 9586368"/>
              <a:gd name="connsiteY5103" fmla="*/ 2875775 h 6479439"/>
              <a:gd name="connsiteX5104" fmla="*/ 5504099 w 9586368"/>
              <a:gd name="connsiteY5104" fmla="*/ 2871736 h 6479439"/>
              <a:gd name="connsiteX5105" fmla="*/ 5514010 w 9586368"/>
              <a:gd name="connsiteY5105" fmla="*/ 2871736 h 6479439"/>
              <a:gd name="connsiteX5106" fmla="*/ 5518029 w 9586368"/>
              <a:gd name="connsiteY5106" fmla="*/ 2875775 h 6479439"/>
              <a:gd name="connsiteX5107" fmla="*/ 5518029 w 9586368"/>
              <a:gd name="connsiteY5107" fmla="*/ 2885645 h 6479439"/>
              <a:gd name="connsiteX5108" fmla="*/ 5514010 w 9586368"/>
              <a:gd name="connsiteY5108" fmla="*/ 2889684 h 6479439"/>
              <a:gd name="connsiteX5109" fmla="*/ 5504099 w 9586368"/>
              <a:gd name="connsiteY5109" fmla="*/ 2889684 h 6479439"/>
              <a:gd name="connsiteX5110" fmla="*/ 5500080 w 9586368"/>
              <a:gd name="connsiteY5110" fmla="*/ 2885645 h 6479439"/>
              <a:gd name="connsiteX5111" fmla="*/ 5500080 w 9586368"/>
              <a:gd name="connsiteY5111" fmla="*/ 2875775 h 6479439"/>
              <a:gd name="connsiteX5112" fmla="*/ 5264784 w 9586368"/>
              <a:gd name="connsiteY5112" fmla="*/ 2871736 h 6479439"/>
              <a:gd name="connsiteX5113" fmla="*/ 5274694 w 9586368"/>
              <a:gd name="connsiteY5113" fmla="*/ 2871736 h 6479439"/>
              <a:gd name="connsiteX5114" fmla="*/ 5278713 w 9586368"/>
              <a:gd name="connsiteY5114" fmla="*/ 2875775 h 6479439"/>
              <a:gd name="connsiteX5115" fmla="*/ 5278713 w 9586368"/>
              <a:gd name="connsiteY5115" fmla="*/ 2885645 h 6479439"/>
              <a:gd name="connsiteX5116" fmla="*/ 5274694 w 9586368"/>
              <a:gd name="connsiteY5116" fmla="*/ 2889684 h 6479439"/>
              <a:gd name="connsiteX5117" fmla="*/ 5264784 w 9586368"/>
              <a:gd name="connsiteY5117" fmla="*/ 2889684 h 6479439"/>
              <a:gd name="connsiteX5118" fmla="*/ 5260765 w 9586368"/>
              <a:gd name="connsiteY5118" fmla="*/ 2885645 h 6479439"/>
              <a:gd name="connsiteX5119" fmla="*/ 5260765 w 9586368"/>
              <a:gd name="connsiteY5119" fmla="*/ 2875775 h 6479439"/>
              <a:gd name="connsiteX5120" fmla="*/ 5025470 w 9586368"/>
              <a:gd name="connsiteY5120" fmla="*/ 2871736 h 6479439"/>
              <a:gd name="connsiteX5121" fmla="*/ 5035381 w 9586368"/>
              <a:gd name="connsiteY5121" fmla="*/ 2871736 h 6479439"/>
              <a:gd name="connsiteX5122" fmla="*/ 5039400 w 9586368"/>
              <a:gd name="connsiteY5122" fmla="*/ 2875775 h 6479439"/>
              <a:gd name="connsiteX5123" fmla="*/ 5039400 w 9586368"/>
              <a:gd name="connsiteY5123" fmla="*/ 2885645 h 6479439"/>
              <a:gd name="connsiteX5124" fmla="*/ 5035381 w 9586368"/>
              <a:gd name="connsiteY5124" fmla="*/ 2889684 h 6479439"/>
              <a:gd name="connsiteX5125" fmla="*/ 5025470 w 9586368"/>
              <a:gd name="connsiteY5125" fmla="*/ 2889684 h 6479439"/>
              <a:gd name="connsiteX5126" fmla="*/ 5021451 w 9586368"/>
              <a:gd name="connsiteY5126" fmla="*/ 2885645 h 6479439"/>
              <a:gd name="connsiteX5127" fmla="*/ 5021451 w 9586368"/>
              <a:gd name="connsiteY5127" fmla="*/ 2875775 h 6479439"/>
              <a:gd name="connsiteX5128" fmla="*/ 4786241 w 9586368"/>
              <a:gd name="connsiteY5128" fmla="*/ 2871736 h 6479439"/>
              <a:gd name="connsiteX5129" fmla="*/ 4796152 w 9586368"/>
              <a:gd name="connsiteY5129" fmla="*/ 2871736 h 6479439"/>
              <a:gd name="connsiteX5130" fmla="*/ 4800171 w 9586368"/>
              <a:gd name="connsiteY5130" fmla="*/ 2875775 h 6479439"/>
              <a:gd name="connsiteX5131" fmla="*/ 4800171 w 9586368"/>
              <a:gd name="connsiteY5131" fmla="*/ 2885645 h 6479439"/>
              <a:gd name="connsiteX5132" fmla="*/ 4796152 w 9586368"/>
              <a:gd name="connsiteY5132" fmla="*/ 2889684 h 6479439"/>
              <a:gd name="connsiteX5133" fmla="*/ 4786241 w 9586368"/>
              <a:gd name="connsiteY5133" fmla="*/ 2889684 h 6479439"/>
              <a:gd name="connsiteX5134" fmla="*/ 4782224 w 9586368"/>
              <a:gd name="connsiteY5134" fmla="*/ 2885645 h 6479439"/>
              <a:gd name="connsiteX5135" fmla="*/ 4782224 w 9586368"/>
              <a:gd name="connsiteY5135" fmla="*/ 2875775 h 6479439"/>
              <a:gd name="connsiteX5136" fmla="*/ 4546929 w 9586368"/>
              <a:gd name="connsiteY5136" fmla="*/ 2871736 h 6479439"/>
              <a:gd name="connsiteX5137" fmla="*/ 4556840 w 9586368"/>
              <a:gd name="connsiteY5137" fmla="*/ 2871736 h 6479439"/>
              <a:gd name="connsiteX5138" fmla="*/ 4560859 w 9586368"/>
              <a:gd name="connsiteY5138" fmla="*/ 2875775 h 6479439"/>
              <a:gd name="connsiteX5139" fmla="*/ 4560859 w 9586368"/>
              <a:gd name="connsiteY5139" fmla="*/ 2885645 h 6479439"/>
              <a:gd name="connsiteX5140" fmla="*/ 4556840 w 9586368"/>
              <a:gd name="connsiteY5140" fmla="*/ 2889684 h 6479439"/>
              <a:gd name="connsiteX5141" fmla="*/ 4546929 w 9586368"/>
              <a:gd name="connsiteY5141" fmla="*/ 2889684 h 6479439"/>
              <a:gd name="connsiteX5142" fmla="*/ 4542910 w 9586368"/>
              <a:gd name="connsiteY5142" fmla="*/ 2885645 h 6479439"/>
              <a:gd name="connsiteX5143" fmla="*/ 4542910 w 9586368"/>
              <a:gd name="connsiteY5143" fmla="*/ 2875775 h 6479439"/>
              <a:gd name="connsiteX5144" fmla="*/ 4307612 w 9586368"/>
              <a:gd name="connsiteY5144" fmla="*/ 2871736 h 6479439"/>
              <a:gd name="connsiteX5145" fmla="*/ 4317523 w 9586368"/>
              <a:gd name="connsiteY5145" fmla="*/ 2871736 h 6479439"/>
              <a:gd name="connsiteX5146" fmla="*/ 4321543 w 9586368"/>
              <a:gd name="connsiteY5146" fmla="*/ 2875775 h 6479439"/>
              <a:gd name="connsiteX5147" fmla="*/ 4321543 w 9586368"/>
              <a:gd name="connsiteY5147" fmla="*/ 2885645 h 6479439"/>
              <a:gd name="connsiteX5148" fmla="*/ 4317523 w 9586368"/>
              <a:gd name="connsiteY5148" fmla="*/ 2889684 h 6479439"/>
              <a:gd name="connsiteX5149" fmla="*/ 4307612 w 9586368"/>
              <a:gd name="connsiteY5149" fmla="*/ 2889684 h 6479439"/>
              <a:gd name="connsiteX5150" fmla="*/ 4303595 w 9586368"/>
              <a:gd name="connsiteY5150" fmla="*/ 2885645 h 6479439"/>
              <a:gd name="connsiteX5151" fmla="*/ 4303595 w 9586368"/>
              <a:gd name="connsiteY5151" fmla="*/ 2875775 h 6479439"/>
              <a:gd name="connsiteX5152" fmla="*/ 4068297 w 9586368"/>
              <a:gd name="connsiteY5152" fmla="*/ 2871736 h 6479439"/>
              <a:gd name="connsiteX5153" fmla="*/ 4078210 w 9586368"/>
              <a:gd name="connsiteY5153" fmla="*/ 2871736 h 6479439"/>
              <a:gd name="connsiteX5154" fmla="*/ 4082229 w 9586368"/>
              <a:gd name="connsiteY5154" fmla="*/ 2875775 h 6479439"/>
              <a:gd name="connsiteX5155" fmla="*/ 4082229 w 9586368"/>
              <a:gd name="connsiteY5155" fmla="*/ 2885645 h 6479439"/>
              <a:gd name="connsiteX5156" fmla="*/ 4078210 w 9586368"/>
              <a:gd name="connsiteY5156" fmla="*/ 2889684 h 6479439"/>
              <a:gd name="connsiteX5157" fmla="*/ 4068297 w 9586368"/>
              <a:gd name="connsiteY5157" fmla="*/ 2889684 h 6479439"/>
              <a:gd name="connsiteX5158" fmla="*/ 4064278 w 9586368"/>
              <a:gd name="connsiteY5158" fmla="*/ 2885645 h 6479439"/>
              <a:gd name="connsiteX5159" fmla="*/ 4064278 w 9586368"/>
              <a:gd name="connsiteY5159" fmla="*/ 2875775 h 6479439"/>
              <a:gd name="connsiteX5160" fmla="*/ 3828990 w 9586368"/>
              <a:gd name="connsiteY5160" fmla="*/ 2871736 h 6479439"/>
              <a:gd name="connsiteX5161" fmla="*/ 3838899 w 9586368"/>
              <a:gd name="connsiteY5161" fmla="*/ 2871736 h 6479439"/>
              <a:gd name="connsiteX5162" fmla="*/ 3842917 w 9586368"/>
              <a:gd name="connsiteY5162" fmla="*/ 2875775 h 6479439"/>
              <a:gd name="connsiteX5163" fmla="*/ 3842917 w 9586368"/>
              <a:gd name="connsiteY5163" fmla="*/ 2885645 h 6479439"/>
              <a:gd name="connsiteX5164" fmla="*/ 3838899 w 9586368"/>
              <a:gd name="connsiteY5164" fmla="*/ 2889684 h 6479439"/>
              <a:gd name="connsiteX5165" fmla="*/ 3828990 w 9586368"/>
              <a:gd name="connsiteY5165" fmla="*/ 2889684 h 6479439"/>
              <a:gd name="connsiteX5166" fmla="*/ 3824971 w 9586368"/>
              <a:gd name="connsiteY5166" fmla="*/ 2885645 h 6479439"/>
              <a:gd name="connsiteX5167" fmla="*/ 3824971 w 9586368"/>
              <a:gd name="connsiteY5167" fmla="*/ 2875775 h 6479439"/>
              <a:gd name="connsiteX5168" fmla="*/ 3589676 w 9586368"/>
              <a:gd name="connsiteY5168" fmla="*/ 2871736 h 6479439"/>
              <a:gd name="connsiteX5169" fmla="*/ 3599585 w 9586368"/>
              <a:gd name="connsiteY5169" fmla="*/ 2871736 h 6479439"/>
              <a:gd name="connsiteX5170" fmla="*/ 3603604 w 9586368"/>
              <a:gd name="connsiteY5170" fmla="*/ 2875775 h 6479439"/>
              <a:gd name="connsiteX5171" fmla="*/ 3603604 w 9586368"/>
              <a:gd name="connsiteY5171" fmla="*/ 2885645 h 6479439"/>
              <a:gd name="connsiteX5172" fmla="*/ 3599585 w 9586368"/>
              <a:gd name="connsiteY5172" fmla="*/ 2889684 h 6479439"/>
              <a:gd name="connsiteX5173" fmla="*/ 3589676 w 9586368"/>
              <a:gd name="connsiteY5173" fmla="*/ 2889684 h 6479439"/>
              <a:gd name="connsiteX5174" fmla="*/ 3585657 w 9586368"/>
              <a:gd name="connsiteY5174" fmla="*/ 2885645 h 6479439"/>
              <a:gd name="connsiteX5175" fmla="*/ 3585657 w 9586368"/>
              <a:gd name="connsiteY5175" fmla="*/ 2875775 h 6479439"/>
              <a:gd name="connsiteX5176" fmla="*/ 3350359 w 9586368"/>
              <a:gd name="connsiteY5176" fmla="*/ 2871736 h 6479439"/>
              <a:gd name="connsiteX5177" fmla="*/ 3360268 w 9586368"/>
              <a:gd name="connsiteY5177" fmla="*/ 2871736 h 6479439"/>
              <a:gd name="connsiteX5178" fmla="*/ 3364287 w 9586368"/>
              <a:gd name="connsiteY5178" fmla="*/ 2875775 h 6479439"/>
              <a:gd name="connsiteX5179" fmla="*/ 3364287 w 9586368"/>
              <a:gd name="connsiteY5179" fmla="*/ 2885645 h 6479439"/>
              <a:gd name="connsiteX5180" fmla="*/ 3360268 w 9586368"/>
              <a:gd name="connsiteY5180" fmla="*/ 2889684 h 6479439"/>
              <a:gd name="connsiteX5181" fmla="*/ 3350359 w 9586368"/>
              <a:gd name="connsiteY5181" fmla="*/ 2889684 h 6479439"/>
              <a:gd name="connsiteX5182" fmla="*/ 3346340 w 9586368"/>
              <a:gd name="connsiteY5182" fmla="*/ 2885645 h 6479439"/>
              <a:gd name="connsiteX5183" fmla="*/ 3346340 w 9586368"/>
              <a:gd name="connsiteY5183" fmla="*/ 2875775 h 6479439"/>
              <a:gd name="connsiteX5184" fmla="*/ 3111048 w 9586368"/>
              <a:gd name="connsiteY5184" fmla="*/ 2871736 h 6479439"/>
              <a:gd name="connsiteX5185" fmla="*/ 3120959 w 9586368"/>
              <a:gd name="connsiteY5185" fmla="*/ 2871736 h 6479439"/>
              <a:gd name="connsiteX5186" fmla="*/ 3124977 w 9586368"/>
              <a:gd name="connsiteY5186" fmla="*/ 2875775 h 6479439"/>
              <a:gd name="connsiteX5187" fmla="*/ 3124977 w 9586368"/>
              <a:gd name="connsiteY5187" fmla="*/ 2885645 h 6479439"/>
              <a:gd name="connsiteX5188" fmla="*/ 3120959 w 9586368"/>
              <a:gd name="connsiteY5188" fmla="*/ 2889684 h 6479439"/>
              <a:gd name="connsiteX5189" fmla="*/ 3111048 w 9586368"/>
              <a:gd name="connsiteY5189" fmla="*/ 2889684 h 6479439"/>
              <a:gd name="connsiteX5190" fmla="*/ 3107029 w 9586368"/>
              <a:gd name="connsiteY5190" fmla="*/ 2885645 h 6479439"/>
              <a:gd name="connsiteX5191" fmla="*/ 3107029 w 9586368"/>
              <a:gd name="connsiteY5191" fmla="*/ 2875775 h 6479439"/>
              <a:gd name="connsiteX5192" fmla="*/ 2871737 w 9586368"/>
              <a:gd name="connsiteY5192" fmla="*/ 2871736 h 6479439"/>
              <a:gd name="connsiteX5193" fmla="*/ 2881646 w 9586368"/>
              <a:gd name="connsiteY5193" fmla="*/ 2871736 h 6479439"/>
              <a:gd name="connsiteX5194" fmla="*/ 2885666 w 9586368"/>
              <a:gd name="connsiteY5194" fmla="*/ 2875775 h 6479439"/>
              <a:gd name="connsiteX5195" fmla="*/ 2885666 w 9586368"/>
              <a:gd name="connsiteY5195" fmla="*/ 2885645 h 6479439"/>
              <a:gd name="connsiteX5196" fmla="*/ 2881646 w 9586368"/>
              <a:gd name="connsiteY5196" fmla="*/ 2889684 h 6479439"/>
              <a:gd name="connsiteX5197" fmla="*/ 2871737 w 9586368"/>
              <a:gd name="connsiteY5197" fmla="*/ 2889684 h 6479439"/>
              <a:gd name="connsiteX5198" fmla="*/ 2867717 w 9586368"/>
              <a:gd name="connsiteY5198" fmla="*/ 2885645 h 6479439"/>
              <a:gd name="connsiteX5199" fmla="*/ 2867717 w 9586368"/>
              <a:gd name="connsiteY5199" fmla="*/ 2875775 h 6479439"/>
              <a:gd name="connsiteX5200" fmla="*/ 2632423 w 9586368"/>
              <a:gd name="connsiteY5200" fmla="*/ 2871736 h 6479439"/>
              <a:gd name="connsiteX5201" fmla="*/ 2642334 w 9586368"/>
              <a:gd name="connsiteY5201" fmla="*/ 2871736 h 6479439"/>
              <a:gd name="connsiteX5202" fmla="*/ 2646352 w 9586368"/>
              <a:gd name="connsiteY5202" fmla="*/ 2875775 h 6479439"/>
              <a:gd name="connsiteX5203" fmla="*/ 2646352 w 9586368"/>
              <a:gd name="connsiteY5203" fmla="*/ 2885645 h 6479439"/>
              <a:gd name="connsiteX5204" fmla="*/ 2642334 w 9586368"/>
              <a:gd name="connsiteY5204" fmla="*/ 2889684 h 6479439"/>
              <a:gd name="connsiteX5205" fmla="*/ 2632423 w 9586368"/>
              <a:gd name="connsiteY5205" fmla="*/ 2889684 h 6479439"/>
              <a:gd name="connsiteX5206" fmla="*/ 2628404 w 9586368"/>
              <a:gd name="connsiteY5206" fmla="*/ 2885645 h 6479439"/>
              <a:gd name="connsiteX5207" fmla="*/ 2628404 w 9586368"/>
              <a:gd name="connsiteY5207" fmla="*/ 2875775 h 6479439"/>
              <a:gd name="connsiteX5208" fmla="*/ 2393104 w 9586368"/>
              <a:gd name="connsiteY5208" fmla="*/ 2871736 h 6479439"/>
              <a:gd name="connsiteX5209" fmla="*/ 2403015 w 9586368"/>
              <a:gd name="connsiteY5209" fmla="*/ 2871736 h 6479439"/>
              <a:gd name="connsiteX5210" fmla="*/ 2407034 w 9586368"/>
              <a:gd name="connsiteY5210" fmla="*/ 2875775 h 6479439"/>
              <a:gd name="connsiteX5211" fmla="*/ 2407034 w 9586368"/>
              <a:gd name="connsiteY5211" fmla="*/ 2885645 h 6479439"/>
              <a:gd name="connsiteX5212" fmla="*/ 2403015 w 9586368"/>
              <a:gd name="connsiteY5212" fmla="*/ 2889684 h 6479439"/>
              <a:gd name="connsiteX5213" fmla="*/ 2393104 w 9586368"/>
              <a:gd name="connsiteY5213" fmla="*/ 2889684 h 6479439"/>
              <a:gd name="connsiteX5214" fmla="*/ 2389087 w 9586368"/>
              <a:gd name="connsiteY5214" fmla="*/ 2885645 h 6479439"/>
              <a:gd name="connsiteX5215" fmla="*/ 2389087 w 9586368"/>
              <a:gd name="connsiteY5215" fmla="*/ 2875775 h 6479439"/>
              <a:gd name="connsiteX5216" fmla="*/ 721969 w 9586368"/>
              <a:gd name="connsiteY5216" fmla="*/ 2871736 h 6479439"/>
              <a:gd name="connsiteX5217" fmla="*/ 731879 w 9586368"/>
              <a:gd name="connsiteY5217" fmla="*/ 2871736 h 6479439"/>
              <a:gd name="connsiteX5218" fmla="*/ 735898 w 9586368"/>
              <a:gd name="connsiteY5218" fmla="*/ 2875775 h 6479439"/>
              <a:gd name="connsiteX5219" fmla="*/ 735898 w 9586368"/>
              <a:gd name="connsiteY5219" fmla="*/ 2885645 h 6479439"/>
              <a:gd name="connsiteX5220" fmla="*/ 731879 w 9586368"/>
              <a:gd name="connsiteY5220" fmla="*/ 2889684 h 6479439"/>
              <a:gd name="connsiteX5221" fmla="*/ 721969 w 9586368"/>
              <a:gd name="connsiteY5221" fmla="*/ 2889684 h 6479439"/>
              <a:gd name="connsiteX5222" fmla="*/ 717950 w 9586368"/>
              <a:gd name="connsiteY5222" fmla="*/ 2885645 h 6479439"/>
              <a:gd name="connsiteX5223" fmla="*/ 717950 w 9586368"/>
              <a:gd name="connsiteY5223" fmla="*/ 2875775 h 6479439"/>
              <a:gd name="connsiteX5224" fmla="*/ 482656 w 9586368"/>
              <a:gd name="connsiteY5224" fmla="*/ 2871736 h 6479439"/>
              <a:gd name="connsiteX5225" fmla="*/ 492567 w 9586368"/>
              <a:gd name="connsiteY5225" fmla="*/ 2871736 h 6479439"/>
              <a:gd name="connsiteX5226" fmla="*/ 496586 w 9586368"/>
              <a:gd name="connsiteY5226" fmla="*/ 2875775 h 6479439"/>
              <a:gd name="connsiteX5227" fmla="*/ 496586 w 9586368"/>
              <a:gd name="connsiteY5227" fmla="*/ 2885645 h 6479439"/>
              <a:gd name="connsiteX5228" fmla="*/ 492567 w 9586368"/>
              <a:gd name="connsiteY5228" fmla="*/ 2889684 h 6479439"/>
              <a:gd name="connsiteX5229" fmla="*/ 482656 w 9586368"/>
              <a:gd name="connsiteY5229" fmla="*/ 2889684 h 6479439"/>
              <a:gd name="connsiteX5230" fmla="*/ 478637 w 9586368"/>
              <a:gd name="connsiteY5230" fmla="*/ 2885645 h 6479439"/>
              <a:gd name="connsiteX5231" fmla="*/ 478637 w 9586368"/>
              <a:gd name="connsiteY5231" fmla="*/ 2875775 h 6479439"/>
              <a:gd name="connsiteX5232" fmla="*/ 243343 w 9586368"/>
              <a:gd name="connsiteY5232" fmla="*/ 2871736 h 6479439"/>
              <a:gd name="connsiteX5233" fmla="*/ 253253 w 9586368"/>
              <a:gd name="connsiteY5233" fmla="*/ 2871736 h 6479439"/>
              <a:gd name="connsiteX5234" fmla="*/ 257272 w 9586368"/>
              <a:gd name="connsiteY5234" fmla="*/ 2875775 h 6479439"/>
              <a:gd name="connsiteX5235" fmla="*/ 257272 w 9586368"/>
              <a:gd name="connsiteY5235" fmla="*/ 2885645 h 6479439"/>
              <a:gd name="connsiteX5236" fmla="*/ 253253 w 9586368"/>
              <a:gd name="connsiteY5236" fmla="*/ 2889684 h 6479439"/>
              <a:gd name="connsiteX5237" fmla="*/ 243343 w 9586368"/>
              <a:gd name="connsiteY5237" fmla="*/ 2889684 h 6479439"/>
              <a:gd name="connsiteX5238" fmla="*/ 239324 w 9586368"/>
              <a:gd name="connsiteY5238" fmla="*/ 2885645 h 6479439"/>
              <a:gd name="connsiteX5239" fmla="*/ 239324 w 9586368"/>
              <a:gd name="connsiteY5239" fmla="*/ 2875775 h 6479439"/>
              <a:gd name="connsiteX5240" fmla="*/ 4030 w 9586368"/>
              <a:gd name="connsiteY5240" fmla="*/ 2871736 h 6479439"/>
              <a:gd name="connsiteX5241" fmla="*/ 13940 w 9586368"/>
              <a:gd name="connsiteY5241" fmla="*/ 2871736 h 6479439"/>
              <a:gd name="connsiteX5242" fmla="*/ 17959 w 9586368"/>
              <a:gd name="connsiteY5242" fmla="*/ 2875775 h 6479439"/>
              <a:gd name="connsiteX5243" fmla="*/ 17959 w 9586368"/>
              <a:gd name="connsiteY5243" fmla="*/ 2885645 h 6479439"/>
              <a:gd name="connsiteX5244" fmla="*/ 13940 w 9586368"/>
              <a:gd name="connsiteY5244" fmla="*/ 2889684 h 6479439"/>
              <a:gd name="connsiteX5245" fmla="*/ 4030 w 9586368"/>
              <a:gd name="connsiteY5245" fmla="*/ 2889684 h 6479439"/>
              <a:gd name="connsiteX5246" fmla="*/ 11 w 9586368"/>
              <a:gd name="connsiteY5246" fmla="*/ 2885645 h 6479439"/>
              <a:gd name="connsiteX5247" fmla="*/ 11 w 9586368"/>
              <a:gd name="connsiteY5247" fmla="*/ 2875775 h 6479439"/>
              <a:gd name="connsiteX5248" fmla="*/ 9572438 w 9586368"/>
              <a:gd name="connsiteY5248" fmla="*/ 2632457 h 6479439"/>
              <a:gd name="connsiteX5249" fmla="*/ 9582349 w 9586368"/>
              <a:gd name="connsiteY5249" fmla="*/ 2632457 h 6479439"/>
              <a:gd name="connsiteX5250" fmla="*/ 9586368 w 9586368"/>
              <a:gd name="connsiteY5250" fmla="*/ 2636496 h 6479439"/>
              <a:gd name="connsiteX5251" fmla="*/ 9586368 w 9586368"/>
              <a:gd name="connsiteY5251" fmla="*/ 2646366 h 6479439"/>
              <a:gd name="connsiteX5252" fmla="*/ 9582349 w 9586368"/>
              <a:gd name="connsiteY5252" fmla="*/ 2650405 h 6479439"/>
              <a:gd name="connsiteX5253" fmla="*/ 9572438 w 9586368"/>
              <a:gd name="connsiteY5253" fmla="*/ 2650405 h 6479439"/>
              <a:gd name="connsiteX5254" fmla="*/ 9568419 w 9586368"/>
              <a:gd name="connsiteY5254" fmla="*/ 2646366 h 6479439"/>
              <a:gd name="connsiteX5255" fmla="*/ 9568419 w 9586368"/>
              <a:gd name="connsiteY5255" fmla="*/ 2636496 h 6479439"/>
              <a:gd name="connsiteX5256" fmla="*/ 9333125 w 9586368"/>
              <a:gd name="connsiteY5256" fmla="*/ 2632457 h 6479439"/>
              <a:gd name="connsiteX5257" fmla="*/ 9343036 w 9586368"/>
              <a:gd name="connsiteY5257" fmla="*/ 2632457 h 6479439"/>
              <a:gd name="connsiteX5258" fmla="*/ 9347055 w 9586368"/>
              <a:gd name="connsiteY5258" fmla="*/ 2636496 h 6479439"/>
              <a:gd name="connsiteX5259" fmla="*/ 9347055 w 9586368"/>
              <a:gd name="connsiteY5259" fmla="*/ 2646366 h 6479439"/>
              <a:gd name="connsiteX5260" fmla="*/ 9343036 w 9586368"/>
              <a:gd name="connsiteY5260" fmla="*/ 2650405 h 6479439"/>
              <a:gd name="connsiteX5261" fmla="*/ 9333125 w 9586368"/>
              <a:gd name="connsiteY5261" fmla="*/ 2650405 h 6479439"/>
              <a:gd name="connsiteX5262" fmla="*/ 9329106 w 9586368"/>
              <a:gd name="connsiteY5262" fmla="*/ 2646366 h 6479439"/>
              <a:gd name="connsiteX5263" fmla="*/ 9329106 w 9586368"/>
              <a:gd name="connsiteY5263" fmla="*/ 2636496 h 6479439"/>
              <a:gd name="connsiteX5264" fmla="*/ 9093811 w 9586368"/>
              <a:gd name="connsiteY5264" fmla="*/ 2632457 h 6479439"/>
              <a:gd name="connsiteX5265" fmla="*/ 9103722 w 9586368"/>
              <a:gd name="connsiteY5265" fmla="*/ 2632457 h 6479439"/>
              <a:gd name="connsiteX5266" fmla="*/ 9107741 w 9586368"/>
              <a:gd name="connsiteY5266" fmla="*/ 2636496 h 6479439"/>
              <a:gd name="connsiteX5267" fmla="*/ 9107741 w 9586368"/>
              <a:gd name="connsiteY5267" fmla="*/ 2646366 h 6479439"/>
              <a:gd name="connsiteX5268" fmla="*/ 9103722 w 9586368"/>
              <a:gd name="connsiteY5268" fmla="*/ 2650405 h 6479439"/>
              <a:gd name="connsiteX5269" fmla="*/ 9093811 w 9586368"/>
              <a:gd name="connsiteY5269" fmla="*/ 2650405 h 6479439"/>
              <a:gd name="connsiteX5270" fmla="*/ 9089792 w 9586368"/>
              <a:gd name="connsiteY5270" fmla="*/ 2646366 h 6479439"/>
              <a:gd name="connsiteX5271" fmla="*/ 9089792 w 9586368"/>
              <a:gd name="connsiteY5271" fmla="*/ 2636496 h 6479439"/>
              <a:gd name="connsiteX5272" fmla="*/ 8854496 w 9586368"/>
              <a:gd name="connsiteY5272" fmla="*/ 2632457 h 6479439"/>
              <a:gd name="connsiteX5273" fmla="*/ 8864407 w 9586368"/>
              <a:gd name="connsiteY5273" fmla="*/ 2632457 h 6479439"/>
              <a:gd name="connsiteX5274" fmla="*/ 8868426 w 9586368"/>
              <a:gd name="connsiteY5274" fmla="*/ 2636496 h 6479439"/>
              <a:gd name="connsiteX5275" fmla="*/ 8868426 w 9586368"/>
              <a:gd name="connsiteY5275" fmla="*/ 2646366 h 6479439"/>
              <a:gd name="connsiteX5276" fmla="*/ 8864407 w 9586368"/>
              <a:gd name="connsiteY5276" fmla="*/ 2650405 h 6479439"/>
              <a:gd name="connsiteX5277" fmla="*/ 8854496 w 9586368"/>
              <a:gd name="connsiteY5277" fmla="*/ 2650405 h 6479439"/>
              <a:gd name="connsiteX5278" fmla="*/ 8850477 w 9586368"/>
              <a:gd name="connsiteY5278" fmla="*/ 2646366 h 6479439"/>
              <a:gd name="connsiteX5279" fmla="*/ 8850477 w 9586368"/>
              <a:gd name="connsiteY5279" fmla="*/ 2636496 h 6479439"/>
              <a:gd name="connsiteX5280" fmla="*/ 8615184 w 9586368"/>
              <a:gd name="connsiteY5280" fmla="*/ 2632457 h 6479439"/>
              <a:gd name="connsiteX5281" fmla="*/ 8625095 w 9586368"/>
              <a:gd name="connsiteY5281" fmla="*/ 2632457 h 6479439"/>
              <a:gd name="connsiteX5282" fmla="*/ 8629114 w 9586368"/>
              <a:gd name="connsiteY5282" fmla="*/ 2636496 h 6479439"/>
              <a:gd name="connsiteX5283" fmla="*/ 8629114 w 9586368"/>
              <a:gd name="connsiteY5283" fmla="*/ 2646366 h 6479439"/>
              <a:gd name="connsiteX5284" fmla="*/ 8625095 w 9586368"/>
              <a:gd name="connsiteY5284" fmla="*/ 2650405 h 6479439"/>
              <a:gd name="connsiteX5285" fmla="*/ 8615184 w 9586368"/>
              <a:gd name="connsiteY5285" fmla="*/ 2650405 h 6479439"/>
              <a:gd name="connsiteX5286" fmla="*/ 8611165 w 9586368"/>
              <a:gd name="connsiteY5286" fmla="*/ 2646366 h 6479439"/>
              <a:gd name="connsiteX5287" fmla="*/ 8611165 w 9586368"/>
              <a:gd name="connsiteY5287" fmla="*/ 2636496 h 6479439"/>
              <a:gd name="connsiteX5288" fmla="*/ 8375869 w 9586368"/>
              <a:gd name="connsiteY5288" fmla="*/ 2632457 h 6479439"/>
              <a:gd name="connsiteX5289" fmla="*/ 8385779 w 9586368"/>
              <a:gd name="connsiteY5289" fmla="*/ 2632457 h 6479439"/>
              <a:gd name="connsiteX5290" fmla="*/ 8389799 w 9586368"/>
              <a:gd name="connsiteY5290" fmla="*/ 2636496 h 6479439"/>
              <a:gd name="connsiteX5291" fmla="*/ 8389799 w 9586368"/>
              <a:gd name="connsiteY5291" fmla="*/ 2646366 h 6479439"/>
              <a:gd name="connsiteX5292" fmla="*/ 8385779 w 9586368"/>
              <a:gd name="connsiteY5292" fmla="*/ 2650405 h 6479439"/>
              <a:gd name="connsiteX5293" fmla="*/ 8375869 w 9586368"/>
              <a:gd name="connsiteY5293" fmla="*/ 2650405 h 6479439"/>
              <a:gd name="connsiteX5294" fmla="*/ 8371850 w 9586368"/>
              <a:gd name="connsiteY5294" fmla="*/ 2646366 h 6479439"/>
              <a:gd name="connsiteX5295" fmla="*/ 8371850 w 9586368"/>
              <a:gd name="connsiteY5295" fmla="*/ 2636496 h 6479439"/>
              <a:gd name="connsiteX5296" fmla="*/ 8136553 w 9586368"/>
              <a:gd name="connsiteY5296" fmla="*/ 2632457 h 6479439"/>
              <a:gd name="connsiteX5297" fmla="*/ 8146464 w 9586368"/>
              <a:gd name="connsiteY5297" fmla="*/ 2632457 h 6479439"/>
              <a:gd name="connsiteX5298" fmla="*/ 8150483 w 9586368"/>
              <a:gd name="connsiteY5298" fmla="*/ 2636496 h 6479439"/>
              <a:gd name="connsiteX5299" fmla="*/ 8150483 w 9586368"/>
              <a:gd name="connsiteY5299" fmla="*/ 2646366 h 6479439"/>
              <a:gd name="connsiteX5300" fmla="*/ 8146464 w 9586368"/>
              <a:gd name="connsiteY5300" fmla="*/ 2650405 h 6479439"/>
              <a:gd name="connsiteX5301" fmla="*/ 8136553 w 9586368"/>
              <a:gd name="connsiteY5301" fmla="*/ 2650405 h 6479439"/>
              <a:gd name="connsiteX5302" fmla="*/ 8132534 w 9586368"/>
              <a:gd name="connsiteY5302" fmla="*/ 2646366 h 6479439"/>
              <a:gd name="connsiteX5303" fmla="*/ 8132534 w 9586368"/>
              <a:gd name="connsiteY5303" fmla="*/ 2636496 h 6479439"/>
              <a:gd name="connsiteX5304" fmla="*/ 7897241 w 9586368"/>
              <a:gd name="connsiteY5304" fmla="*/ 2632457 h 6479439"/>
              <a:gd name="connsiteX5305" fmla="*/ 7907151 w 9586368"/>
              <a:gd name="connsiteY5305" fmla="*/ 2632457 h 6479439"/>
              <a:gd name="connsiteX5306" fmla="*/ 7911170 w 9586368"/>
              <a:gd name="connsiteY5306" fmla="*/ 2636496 h 6479439"/>
              <a:gd name="connsiteX5307" fmla="*/ 7911170 w 9586368"/>
              <a:gd name="connsiteY5307" fmla="*/ 2646366 h 6479439"/>
              <a:gd name="connsiteX5308" fmla="*/ 7907151 w 9586368"/>
              <a:gd name="connsiteY5308" fmla="*/ 2650405 h 6479439"/>
              <a:gd name="connsiteX5309" fmla="*/ 7897241 w 9586368"/>
              <a:gd name="connsiteY5309" fmla="*/ 2650405 h 6479439"/>
              <a:gd name="connsiteX5310" fmla="*/ 7893222 w 9586368"/>
              <a:gd name="connsiteY5310" fmla="*/ 2646366 h 6479439"/>
              <a:gd name="connsiteX5311" fmla="*/ 7893222 w 9586368"/>
              <a:gd name="connsiteY5311" fmla="*/ 2636496 h 6479439"/>
              <a:gd name="connsiteX5312" fmla="*/ 7657926 w 9586368"/>
              <a:gd name="connsiteY5312" fmla="*/ 2632457 h 6479439"/>
              <a:gd name="connsiteX5313" fmla="*/ 7667836 w 9586368"/>
              <a:gd name="connsiteY5313" fmla="*/ 2632457 h 6479439"/>
              <a:gd name="connsiteX5314" fmla="*/ 7671855 w 9586368"/>
              <a:gd name="connsiteY5314" fmla="*/ 2636496 h 6479439"/>
              <a:gd name="connsiteX5315" fmla="*/ 7671855 w 9586368"/>
              <a:gd name="connsiteY5315" fmla="*/ 2646366 h 6479439"/>
              <a:gd name="connsiteX5316" fmla="*/ 7667836 w 9586368"/>
              <a:gd name="connsiteY5316" fmla="*/ 2650405 h 6479439"/>
              <a:gd name="connsiteX5317" fmla="*/ 7657926 w 9586368"/>
              <a:gd name="connsiteY5317" fmla="*/ 2650405 h 6479439"/>
              <a:gd name="connsiteX5318" fmla="*/ 7653906 w 9586368"/>
              <a:gd name="connsiteY5318" fmla="*/ 2646366 h 6479439"/>
              <a:gd name="connsiteX5319" fmla="*/ 7653906 w 9586368"/>
              <a:gd name="connsiteY5319" fmla="*/ 2636496 h 6479439"/>
              <a:gd name="connsiteX5320" fmla="*/ 7418611 w 9586368"/>
              <a:gd name="connsiteY5320" fmla="*/ 2632457 h 6479439"/>
              <a:gd name="connsiteX5321" fmla="*/ 7428521 w 9586368"/>
              <a:gd name="connsiteY5321" fmla="*/ 2632457 h 6479439"/>
              <a:gd name="connsiteX5322" fmla="*/ 7432540 w 9586368"/>
              <a:gd name="connsiteY5322" fmla="*/ 2636496 h 6479439"/>
              <a:gd name="connsiteX5323" fmla="*/ 7432540 w 9586368"/>
              <a:gd name="connsiteY5323" fmla="*/ 2646366 h 6479439"/>
              <a:gd name="connsiteX5324" fmla="*/ 7428521 w 9586368"/>
              <a:gd name="connsiteY5324" fmla="*/ 2650405 h 6479439"/>
              <a:gd name="connsiteX5325" fmla="*/ 7418611 w 9586368"/>
              <a:gd name="connsiteY5325" fmla="*/ 2650405 h 6479439"/>
              <a:gd name="connsiteX5326" fmla="*/ 7414592 w 9586368"/>
              <a:gd name="connsiteY5326" fmla="*/ 2646366 h 6479439"/>
              <a:gd name="connsiteX5327" fmla="*/ 7414592 w 9586368"/>
              <a:gd name="connsiteY5327" fmla="*/ 2636496 h 6479439"/>
              <a:gd name="connsiteX5328" fmla="*/ 7179298 w 9586368"/>
              <a:gd name="connsiteY5328" fmla="*/ 2632457 h 6479439"/>
              <a:gd name="connsiteX5329" fmla="*/ 7189209 w 9586368"/>
              <a:gd name="connsiteY5329" fmla="*/ 2632457 h 6479439"/>
              <a:gd name="connsiteX5330" fmla="*/ 7193228 w 9586368"/>
              <a:gd name="connsiteY5330" fmla="*/ 2636496 h 6479439"/>
              <a:gd name="connsiteX5331" fmla="*/ 7193228 w 9586368"/>
              <a:gd name="connsiteY5331" fmla="*/ 2646366 h 6479439"/>
              <a:gd name="connsiteX5332" fmla="*/ 7189209 w 9586368"/>
              <a:gd name="connsiteY5332" fmla="*/ 2650405 h 6479439"/>
              <a:gd name="connsiteX5333" fmla="*/ 7179298 w 9586368"/>
              <a:gd name="connsiteY5333" fmla="*/ 2650405 h 6479439"/>
              <a:gd name="connsiteX5334" fmla="*/ 7175279 w 9586368"/>
              <a:gd name="connsiteY5334" fmla="*/ 2646366 h 6479439"/>
              <a:gd name="connsiteX5335" fmla="*/ 7175279 w 9586368"/>
              <a:gd name="connsiteY5335" fmla="*/ 2636496 h 6479439"/>
              <a:gd name="connsiteX5336" fmla="*/ 6939983 w 9586368"/>
              <a:gd name="connsiteY5336" fmla="*/ 2632457 h 6479439"/>
              <a:gd name="connsiteX5337" fmla="*/ 6949894 w 9586368"/>
              <a:gd name="connsiteY5337" fmla="*/ 2632457 h 6479439"/>
              <a:gd name="connsiteX5338" fmla="*/ 6953913 w 9586368"/>
              <a:gd name="connsiteY5338" fmla="*/ 2636496 h 6479439"/>
              <a:gd name="connsiteX5339" fmla="*/ 6953913 w 9586368"/>
              <a:gd name="connsiteY5339" fmla="*/ 2646366 h 6479439"/>
              <a:gd name="connsiteX5340" fmla="*/ 6949894 w 9586368"/>
              <a:gd name="connsiteY5340" fmla="*/ 2650405 h 6479439"/>
              <a:gd name="connsiteX5341" fmla="*/ 6939983 w 9586368"/>
              <a:gd name="connsiteY5341" fmla="*/ 2650405 h 6479439"/>
              <a:gd name="connsiteX5342" fmla="*/ 6935964 w 9586368"/>
              <a:gd name="connsiteY5342" fmla="*/ 2646366 h 6479439"/>
              <a:gd name="connsiteX5343" fmla="*/ 6935964 w 9586368"/>
              <a:gd name="connsiteY5343" fmla="*/ 2636496 h 6479439"/>
              <a:gd name="connsiteX5344" fmla="*/ 6700670 w 9586368"/>
              <a:gd name="connsiteY5344" fmla="*/ 2632457 h 6479439"/>
              <a:gd name="connsiteX5345" fmla="*/ 6710581 w 9586368"/>
              <a:gd name="connsiteY5345" fmla="*/ 2632457 h 6479439"/>
              <a:gd name="connsiteX5346" fmla="*/ 6714600 w 9586368"/>
              <a:gd name="connsiteY5346" fmla="*/ 2636496 h 6479439"/>
              <a:gd name="connsiteX5347" fmla="*/ 6714600 w 9586368"/>
              <a:gd name="connsiteY5347" fmla="*/ 2646366 h 6479439"/>
              <a:gd name="connsiteX5348" fmla="*/ 6710581 w 9586368"/>
              <a:gd name="connsiteY5348" fmla="*/ 2650405 h 6479439"/>
              <a:gd name="connsiteX5349" fmla="*/ 6700670 w 9586368"/>
              <a:gd name="connsiteY5349" fmla="*/ 2650405 h 6479439"/>
              <a:gd name="connsiteX5350" fmla="*/ 6696651 w 9586368"/>
              <a:gd name="connsiteY5350" fmla="*/ 2646366 h 6479439"/>
              <a:gd name="connsiteX5351" fmla="*/ 6696651 w 9586368"/>
              <a:gd name="connsiteY5351" fmla="*/ 2636496 h 6479439"/>
              <a:gd name="connsiteX5352" fmla="*/ 6461356 w 9586368"/>
              <a:gd name="connsiteY5352" fmla="*/ 2632457 h 6479439"/>
              <a:gd name="connsiteX5353" fmla="*/ 6471266 w 9586368"/>
              <a:gd name="connsiteY5353" fmla="*/ 2632457 h 6479439"/>
              <a:gd name="connsiteX5354" fmla="*/ 6475285 w 9586368"/>
              <a:gd name="connsiteY5354" fmla="*/ 2636496 h 6479439"/>
              <a:gd name="connsiteX5355" fmla="*/ 6475285 w 9586368"/>
              <a:gd name="connsiteY5355" fmla="*/ 2646366 h 6479439"/>
              <a:gd name="connsiteX5356" fmla="*/ 6471266 w 9586368"/>
              <a:gd name="connsiteY5356" fmla="*/ 2650405 h 6479439"/>
              <a:gd name="connsiteX5357" fmla="*/ 6461356 w 9586368"/>
              <a:gd name="connsiteY5357" fmla="*/ 2650405 h 6479439"/>
              <a:gd name="connsiteX5358" fmla="*/ 6457337 w 9586368"/>
              <a:gd name="connsiteY5358" fmla="*/ 2646366 h 6479439"/>
              <a:gd name="connsiteX5359" fmla="*/ 6457337 w 9586368"/>
              <a:gd name="connsiteY5359" fmla="*/ 2636496 h 6479439"/>
              <a:gd name="connsiteX5360" fmla="*/ 6222042 w 9586368"/>
              <a:gd name="connsiteY5360" fmla="*/ 2632457 h 6479439"/>
              <a:gd name="connsiteX5361" fmla="*/ 6231952 w 9586368"/>
              <a:gd name="connsiteY5361" fmla="*/ 2632457 h 6479439"/>
              <a:gd name="connsiteX5362" fmla="*/ 6235971 w 9586368"/>
              <a:gd name="connsiteY5362" fmla="*/ 2636496 h 6479439"/>
              <a:gd name="connsiteX5363" fmla="*/ 6235971 w 9586368"/>
              <a:gd name="connsiteY5363" fmla="*/ 2646366 h 6479439"/>
              <a:gd name="connsiteX5364" fmla="*/ 6231952 w 9586368"/>
              <a:gd name="connsiteY5364" fmla="*/ 2650405 h 6479439"/>
              <a:gd name="connsiteX5365" fmla="*/ 6222042 w 9586368"/>
              <a:gd name="connsiteY5365" fmla="*/ 2650405 h 6479439"/>
              <a:gd name="connsiteX5366" fmla="*/ 6218023 w 9586368"/>
              <a:gd name="connsiteY5366" fmla="*/ 2646366 h 6479439"/>
              <a:gd name="connsiteX5367" fmla="*/ 6218023 w 9586368"/>
              <a:gd name="connsiteY5367" fmla="*/ 2636496 h 6479439"/>
              <a:gd name="connsiteX5368" fmla="*/ 5982729 w 9586368"/>
              <a:gd name="connsiteY5368" fmla="*/ 2632457 h 6479439"/>
              <a:gd name="connsiteX5369" fmla="*/ 5992639 w 9586368"/>
              <a:gd name="connsiteY5369" fmla="*/ 2632457 h 6479439"/>
              <a:gd name="connsiteX5370" fmla="*/ 5996658 w 9586368"/>
              <a:gd name="connsiteY5370" fmla="*/ 2636496 h 6479439"/>
              <a:gd name="connsiteX5371" fmla="*/ 5996658 w 9586368"/>
              <a:gd name="connsiteY5371" fmla="*/ 2646366 h 6479439"/>
              <a:gd name="connsiteX5372" fmla="*/ 5992639 w 9586368"/>
              <a:gd name="connsiteY5372" fmla="*/ 2650405 h 6479439"/>
              <a:gd name="connsiteX5373" fmla="*/ 5982729 w 9586368"/>
              <a:gd name="connsiteY5373" fmla="*/ 2650405 h 6479439"/>
              <a:gd name="connsiteX5374" fmla="*/ 5978710 w 9586368"/>
              <a:gd name="connsiteY5374" fmla="*/ 2646366 h 6479439"/>
              <a:gd name="connsiteX5375" fmla="*/ 5978710 w 9586368"/>
              <a:gd name="connsiteY5375" fmla="*/ 2636496 h 6479439"/>
              <a:gd name="connsiteX5376" fmla="*/ 5743412 w 9586368"/>
              <a:gd name="connsiteY5376" fmla="*/ 2632457 h 6479439"/>
              <a:gd name="connsiteX5377" fmla="*/ 5753323 w 9586368"/>
              <a:gd name="connsiteY5377" fmla="*/ 2632457 h 6479439"/>
              <a:gd name="connsiteX5378" fmla="*/ 5757342 w 9586368"/>
              <a:gd name="connsiteY5378" fmla="*/ 2636496 h 6479439"/>
              <a:gd name="connsiteX5379" fmla="*/ 5757342 w 9586368"/>
              <a:gd name="connsiteY5379" fmla="*/ 2646366 h 6479439"/>
              <a:gd name="connsiteX5380" fmla="*/ 5753323 w 9586368"/>
              <a:gd name="connsiteY5380" fmla="*/ 2650405 h 6479439"/>
              <a:gd name="connsiteX5381" fmla="*/ 5743412 w 9586368"/>
              <a:gd name="connsiteY5381" fmla="*/ 2650405 h 6479439"/>
              <a:gd name="connsiteX5382" fmla="*/ 5739393 w 9586368"/>
              <a:gd name="connsiteY5382" fmla="*/ 2646366 h 6479439"/>
              <a:gd name="connsiteX5383" fmla="*/ 5739393 w 9586368"/>
              <a:gd name="connsiteY5383" fmla="*/ 2636496 h 6479439"/>
              <a:gd name="connsiteX5384" fmla="*/ 5504099 w 9586368"/>
              <a:gd name="connsiteY5384" fmla="*/ 2632457 h 6479439"/>
              <a:gd name="connsiteX5385" fmla="*/ 5514010 w 9586368"/>
              <a:gd name="connsiteY5385" fmla="*/ 2632457 h 6479439"/>
              <a:gd name="connsiteX5386" fmla="*/ 5518029 w 9586368"/>
              <a:gd name="connsiteY5386" fmla="*/ 2636496 h 6479439"/>
              <a:gd name="connsiteX5387" fmla="*/ 5518029 w 9586368"/>
              <a:gd name="connsiteY5387" fmla="*/ 2646366 h 6479439"/>
              <a:gd name="connsiteX5388" fmla="*/ 5514010 w 9586368"/>
              <a:gd name="connsiteY5388" fmla="*/ 2650405 h 6479439"/>
              <a:gd name="connsiteX5389" fmla="*/ 5504099 w 9586368"/>
              <a:gd name="connsiteY5389" fmla="*/ 2650405 h 6479439"/>
              <a:gd name="connsiteX5390" fmla="*/ 5500080 w 9586368"/>
              <a:gd name="connsiteY5390" fmla="*/ 2646366 h 6479439"/>
              <a:gd name="connsiteX5391" fmla="*/ 5500080 w 9586368"/>
              <a:gd name="connsiteY5391" fmla="*/ 2636496 h 6479439"/>
              <a:gd name="connsiteX5392" fmla="*/ 5264784 w 9586368"/>
              <a:gd name="connsiteY5392" fmla="*/ 2632457 h 6479439"/>
              <a:gd name="connsiteX5393" fmla="*/ 5274694 w 9586368"/>
              <a:gd name="connsiteY5393" fmla="*/ 2632457 h 6479439"/>
              <a:gd name="connsiteX5394" fmla="*/ 5278713 w 9586368"/>
              <a:gd name="connsiteY5394" fmla="*/ 2636496 h 6479439"/>
              <a:gd name="connsiteX5395" fmla="*/ 5278713 w 9586368"/>
              <a:gd name="connsiteY5395" fmla="*/ 2646366 h 6479439"/>
              <a:gd name="connsiteX5396" fmla="*/ 5274694 w 9586368"/>
              <a:gd name="connsiteY5396" fmla="*/ 2650405 h 6479439"/>
              <a:gd name="connsiteX5397" fmla="*/ 5264784 w 9586368"/>
              <a:gd name="connsiteY5397" fmla="*/ 2650405 h 6479439"/>
              <a:gd name="connsiteX5398" fmla="*/ 5260765 w 9586368"/>
              <a:gd name="connsiteY5398" fmla="*/ 2646366 h 6479439"/>
              <a:gd name="connsiteX5399" fmla="*/ 5260765 w 9586368"/>
              <a:gd name="connsiteY5399" fmla="*/ 2636496 h 6479439"/>
              <a:gd name="connsiteX5400" fmla="*/ 5025470 w 9586368"/>
              <a:gd name="connsiteY5400" fmla="*/ 2632457 h 6479439"/>
              <a:gd name="connsiteX5401" fmla="*/ 5035381 w 9586368"/>
              <a:gd name="connsiteY5401" fmla="*/ 2632457 h 6479439"/>
              <a:gd name="connsiteX5402" fmla="*/ 5039400 w 9586368"/>
              <a:gd name="connsiteY5402" fmla="*/ 2636496 h 6479439"/>
              <a:gd name="connsiteX5403" fmla="*/ 5039400 w 9586368"/>
              <a:gd name="connsiteY5403" fmla="*/ 2646366 h 6479439"/>
              <a:gd name="connsiteX5404" fmla="*/ 5035381 w 9586368"/>
              <a:gd name="connsiteY5404" fmla="*/ 2650405 h 6479439"/>
              <a:gd name="connsiteX5405" fmla="*/ 5025470 w 9586368"/>
              <a:gd name="connsiteY5405" fmla="*/ 2650405 h 6479439"/>
              <a:gd name="connsiteX5406" fmla="*/ 5021451 w 9586368"/>
              <a:gd name="connsiteY5406" fmla="*/ 2646366 h 6479439"/>
              <a:gd name="connsiteX5407" fmla="*/ 5021451 w 9586368"/>
              <a:gd name="connsiteY5407" fmla="*/ 2636496 h 6479439"/>
              <a:gd name="connsiteX5408" fmla="*/ 4786241 w 9586368"/>
              <a:gd name="connsiteY5408" fmla="*/ 2632457 h 6479439"/>
              <a:gd name="connsiteX5409" fmla="*/ 4796152 w 9586368"/>
              <a:gd name="connsiteY5409" fmla="*/ 2632457 h 6479439"/>
              <a:gd name="connsiteX5410" fmla="*/ 4800171 w 9586368"/>
              <a:gd name="connsiteY5410" fmla="*/ 2636496 h 6479439"/>
              <a:gd name="connsiteX5411" fmla="*/ 4800171 w 9586368"/>
              <a:gd name="connsiteY5411" fmla="*/ 2646366 h 6479439"/>
              <a:gd name="connsiteX5412" fmla="*/ 4796152 w 9586368"/>
              <a:gd name="connsiteY5412" fmla="*/ 2650405 h 6479439"/>
              <a:gd name="connsiteX5413" fmla="*/ 4786241 w 9586368"/>
              <a:gd name="connsiteY5413" fmla="*/ 2650405 h 6479439"/>
              <a:gd name="connsiteX5414" fmla="*/ 4782224 w 9586368"/>
              <a:gd name="connsiteY5414" fmla="*/ 2646366 h 6479439"/>
              <a:gd name="connsiteX5415" fmla="*/ 4782224 w 9586368"/>
              <a:gd name="connsiteY5415" fmla="*/ 2636496 h 6479439"/>
              <a:gd name="connsiteX5416" fmla="*/ 4546929 w 9586368"/>
              <a:gd name="connsiteY5416" fmla="*/ 2632457 h 6479439"/>
              <a:gd name="connsiteX5417" fmla="*/ 4556840 w 9586368"/>
              <a:gd name="connsiteY5417" fmla="*/ 2632457 h 6479439"/>
              <a:gd name="connsiteX5418" fmla="*/ 4560859 w 9586368"/>
              <a:gd name="connsiteY5418" fmla="*/ 2636496 h 6479439"/>
              <a:gd name="connsiteX5419" fmla="*/ 4560859 w 9586368"/>
              <a:gd name="connsiteY5419" fmla="*/ 2646366 h 6479439"/>
              <a:gd name="connsiteX5420" fmla="*/ 4556840 w 9586368"/>
              <a:gd name="connsiteY5420" fmla="*/ 2650405 h 6479439"/>
              <a:gd name="connsiteX5421" fmla="*/ 4546929 w 9586368"/>
              <a:gd name="connsiteY5421" fmla="*/ 2650405 h 6479439"/>
              <a:gd name="connsiteX5422" fmla="*/ 4542910 w 9586368"/>
              <a:gd name="connsiteY5422" fmla="*/ 2646366 h 6479439"/>
              <a:gd name="connsiteX5423" fmla="*/ 4542910 w 9586368"/>
              <a:gd name="connsiteY5423" fmla="*/ 2636496 h 6479439"/>
              <a:gd name="connsiteX5424" fmla="*/ 4307612 w 9586368"/>
              <a:gd name="connsiteY5424" fmla="*/ 2632457 h 6479439"/>
              <a:gd name="connsiteX5425" fmla="*/ 4317523 w 9586368"/>
              <a:gd name="connsiteY5425" fmla="*/ 2632457 h 6479439"/>
              <a:gd name="connsiteX5426" fmla="*/ 4321543 w 9586368"/>
              <a:gd name="connsiteY5426" fmla="*/ 2636496 h 6479439"/>
              <a:gd name="connsiteX5427" fmla="*/ 4321543 w 9586368"/>
              <a:gd name="connsiteY5427" fmla="*/ 2646366 h 6479439"/>
              <a:gd name="connsiteX5428" fmla="*/ 4317523 w 9586368"/>
              <a:gd name="connsiteY5428" fmla="*/ 2650405 h 6479439"/>
              <a:gd name="connsiteX5429" fmla="*/ 4307612 w 9586368"/>
              <a:gd name="connsiteY5429" fmla="*/ 2650405 h 6479439"/>
              <a:gd name="connsiteX5430" fmla="*/ 4303595 w 9586368"/>
              <a:gd name="connsiteY5430" fmla="*/ 2646366 h 6479439"/>
              <a:gd name="connsiteX5431" fmla="*/ 4303595 w 9586368"/>
              <a:gd name="connsiteY5431" fmla="*/ 2636496 h 6479439"/>
              <a:gd name="connsiteX5432" fmla="*/ 4068297 w 9586368"/>
              <a:gd name="connsiteY5432" fmla="*/ 2632457 h 6479439"/>
              <a:gd name="connsiteX5433" fmla="*/ 4078210 w 9586368"/>
              <a:gd name="connsiteY5433" fmla="*/ 2632457 h 6479439"/>
              <a:gd name="connsiteX5434" fmla="*/ 4082229 w 9586368"/>
              <a:gd name="connsiteY5434" fmla="*/ 2636496 h 6479439"/>
              <a:gd name="connsiteX5435" fmla="*/ 4082229 w 9586368"/>
              <a:gd name="connsiteY5435" fmla="*/ 2646366 h 6479439"/>
              <a:gd name="connsiteX5436" fmla="*/ 4078210 w 9586368"/>
              <a:gd name="connsiteY5436" fmla="*/ 2650405 h 6479439"/>
              <a:gd name="connsiteX5437" fmla="*/ 4068297 w 9586368"/>
              <a:gd name="connsiteY5437" fmla="*/ 2650405 h 6479439"/>
              <a:gd name="connsiteX5438" fmla="*/ 4064278 w 9586368"/>
              <a:gd name="connsiteY5438" fmla="*/ 2646366 h 6479439"/>
              <a:gd name="connsiteX5439" fmla="*/ 4064278 w 9586368"/>
              <a:gd name="connsiteY5439" fmla="*/ 2636496 h 6479439"/>
              <a:gd name="connsiteX5440" fmla="*/ 3828990 w 9586368"/>
              <a:gd name="connsiteY5440" fmla="*/ 2632457 h 6479439"/>
              <a:gd name="connsiteX5441" fmla="*/ 3838899 w 9586368"/>
              <a:gd name="connsiteY5441" fmla="*/ 2632457 h 6479439"/>
              <a:gd name="connsiteX5442" fmla="*/ 3842917 w 9586368"/>
              <a:gd name="connsiteY5442" fmla="*/ 2636496 h 6479439"/>
              <a:gd name="connsiteX5443" fmla="*/ 3842917 w 9586368"/>
              <a:gd name="connsiteY5443" fmla="*/ 2646366 h 6479439"/>
              <a:gd name="connsiteX5444" fmla="*/ 3838899 w 9586368"/>
              <a:gd name="connsiteY5444" fmla="*/ 2650405 h 6479439"/>
              <a:gd name="connsiteX5445" fmla="*/ 3828990 w 9586368"/>
              <a:gd name="connsiteY5445" fmla="*/ 2650405 h 6479439"/>
              <a:gd name="connsiteX5446" fmla="*/ 3824971 w 9586368"/>
              <a:gd name="connsiteY5446" fmla="*/ 2646366 h 6479439"/>
              <a:gd name="connsiteX5447" fmla="*/ 3824971 w 9586368"/>
              <a:gd name="connsiteY5447" fmla="*/ 2636496 h 6479439"/>
              <a:gd name="connsiteX5448" fmla="*/ 3589676 w 9586368"/>
              <a:gd name="connsiteY5448" fmla="*/ 2632457 h 6479439"/>
              <a:gd name="connsiteX5449" fmla="*/ 3599585 w 9586368"/>
              <a:gd name="connsiteY5449" fmla="*/ 2632457 h 6479439"/>
              <a:gd name="connsiteX5450" fmla="*/ 3603604 w 9586368"/>
              <a:gd name="connsiteY5450" fmla="*/ 2636496 h 6479439"/>
              <a:gd name="connsiteX5451" fmla="*/ 3603604 w 9586368"/>
              <a:gd name="connsiteY5451" fmla="*/ 2646366 h 6479439"/>
              <a:gd name="connsiteX5452" fmla="*/ 3599585 w 9586368"/>
              <a:gd name="connsiteY5452" fmla="*/ 2650405 h 6479439"/>
              <a:gd name="connsiteX5453" fmla="*/ 3589676 w 9586368"/>
              <a:gd name="connsiteY5453" fmla="*/ 2650405 h 6479439"/>
              <a:gd name="connsiteX5454" fmla="*/ 3585657 w 9586368"/>
              <a:gd name="connsiteY5454" fmla="*/ 2646366 h 6479439"/>
              <a:gd name="connsiteX5455" fmla="*/ 3585657 w 9586368"/>
              <a:gd name="connsiteY5455" fmla="*/ 2636496 h 6479439"/>
              <a:gd name="connsiteX5456" fmla="*/ 3350359 w 9586368"/>
              <a:gd name="connsiteY5456" fmla="*/ 2632457 h 6479439"/>
              <a:gd name="connsiteX5457" fmla="*/ 3360268 w 9586368"/>
              <a:gd name="connsiteY5457" fmla="*/ 2632457 h 6479439"/>
              <a:gd name="connsiteX5458" fmla="*/ 3364287 w 9586368"/>
              <a:gd name="connsiteY5458" fmla="*/ 2636496 h 6479439"/>
              <a:gd name="connsiteX5459" fmla="*/ 3364287 w 9586368"/>
              <a:gd name="connsiteY5459" fmla="*/ 2646366 h 6479439"/>
              <a:gd name="connsiteX5460" fmla="*/ 3360268 w 9586368"/>
              <a:gd name="connsiteY5460" fmla="*/ 2650405 h 6479439"/>
              <a:gd name="connsiteX5461" fmla="*/ 3350359 w 9586368"/>
              <a:gd name="connsiteY5461" fmla="*/ 2650405 h 6479439"/>
              <a:gd name="connsiteX5462" fmla="*/ 3346340 w 9586368"/>
              <a:gd name="connsiteY5462" fmla="*/ 2646366 h 6479439"/>
              <a:gd name="connsiteX5463" fmla="*/ 3346340 w 9586368"/>
              <a:gd name="connsiteY5463" fmla="*/ 2636496 h 6479439"/>
              <a:gd name="connsiteX5464" fmla="*/ 3111048 w 9586368"/>
              <a:gd name="connsiteY5464" fmla="*/ 2632457 h 6479439"/>
              <a:gd name="connsiteX5465" fmla="*/ 3120959 w 9586368"/>
              <a:gd name="connsiteY5465" fmla="*/ 2632457 h 6479439"/>
              <a:gd name="connsiteX5466" fmla="*/ 3124977 w 9586368"/>
              <a:gd name="connsiteY5466" fmla="*/ 2636496 h 6479439"/>
              <a:gd name="connsiteX5467" fmla="*/ 3124977 w 9586368"/>
              <a:gd name="connsiteY5467" fmla="*/ 2646366 h 6479439"/>
              <a:gd name="connsiteX5468" fmla="*/ 3120959 w 9586368"/>
              <a:gd name="connsiteY5468" fmla="*/ 2650405 h 6479439"/>
              <a:gd name="connsiteX5469" fmla="*/ 3111048 w 9586368"/>
              <a:gd name="connsiteY5469" fmla="*/ 2650405 h 6479439"/>
              <a:gd name="connsiteX5470" fmla="*/ 3107029 w 9586368"/>
              <a:gd name="connsiteY5470" fmla="*/ 2646366 h 6479439"/>
              <a:gd name="connsiteX5471" fmla="*/ 3107029 w 9586368"/>
              <a:gd name="connsiteY5471" fmla="*/ 2636496 h 6479439"/>
              <a:gd name="connsiteX5472" fmla="*/ 2871737 w 9586368"/>
              <a:gd name="connsiteY5472" fmla="*/ 2632457 h 6479439"/>
              <a:gd name="connsiteX5473" fmla="*/ 2881646 w 9586368"/>
              <a:gd name="connsiteY5473" fmla="*/ 2632457 h 6479439"/>
              <a:gd name="connsiteX5474" fmla="*/ 2885666 w 9586368"/>
              <a:gd name="connsiteY5474" fmla="*/ 2636496 h 6479439"/>
              <a:gd name="connsiteX5475" fmla="*/ 2885666 w 9586368"/>
              <a:gd name="connsiteY5475" fmla="*/ 2646366 h 6479439"/>
              <a:gd name="connsiteX5476" fmla="*/ 2881646 w 9586368"/>
              <a:gd name="connsiteY5476" fmla="*/ 2650405 h 6479439"/>
              <a:gd name="connsiteX5477" fmla="*/ 2871737 w 9586368"/>
              <a:gd name="connsiteY5477" fmla="*/ 2650405 h 6479439"/>
              <a:gd name="connsiteX5478" fmla="*/ 2867717 w 9586368"/>
              <a:gd name="connsiteY5478" fmla="*/ 2646366 h 6479439"/>
              <a:gd name="connsiteX5479" fmla="*/ 2867717 w 9586368"/>
              <a:gd name="connsiteY5479" fmla="*/ 2636496 h 6479439"/>
              <a:gd name="connsiteX5480" fmla="*/ 2632423 w 9586368"/>
              <a:gd name="connsiteY5480" fmla="*/ 2632457 h 6479439"/>
              <a:gd name="connsiteX5481" fmla="*/ 2642334 w 9586368"/>
              <a:gd name="connsiteY5481" fmla="*/ 2632457 h 6479439"/>
              <a:gd name="connsiteX5482" fmla="*/ 2646352 w 9586368"/>
              <a:gd name="connsiteY5482" fmla="*/ 2636496 h 6479439"/>
              <a:gd name="connsiteX5483" fmla="*/ 2646352 w 9586368"/>
              <a:gd name="connsiteY5483" fmla="*/ 2646366 h 6479439"/>
              <a:gd name="connsiteX5484" fmla="*/ 2642334 w 9586368"/>
              <a:gd name="connsiteY5484" fmla="*/ 2650405 h 6479439"/>
              <a:gd name="connsiteX5485" fmla="*/ 2632423 w 9586368"/>
              <a:gd name="connsiteY5485" fmla="*/ 2650405 h 6479439"/>
              <a:gd name="connsiteX5486" fmla="*/ 2628404 w 9586368"/>
              <a:gd name="connsiteY5486" fmla="*/ 2646366 h 6479439"/>
              <a:gd name="connsiteX5487" fmla="*/ 2628404 w 9586368"/>
              <a:gd name="connsiteY5487" fmla="*/ 2636496 h 6479439"/>
              <a:gd name="connsiteX5488" fmla="*/ 2393104 w 9586368"/>
              <a:gd name="connsiteY5488" fmla="*/ 2632457 h 6479439"/>
              <a:gd name="connsiteX5489" fmla="*/ 2403015 w 9586368"/>
              <a:gd name="connsiteY5489" fmla="*/ 2632457 h 6479439"/>
              <a:gd name="connsiteX5490" fmla="*/ 2407034 w 9586368"/>
              <a:gd name="connsiteY5490" fmla="*/ 2636496 h 6479439"/>
              <a:gd name="connsiteX5491" fmla="*/ 2407034 w 9586368"/>
              <a:gd name="connsiteY5491" fmla="*/ 2646366 h 6479439"/>
              <a:gd name="connsiteX5492" fmla="*/ 2403015 w 9586368"/>
              <a:gd name="connsiteY5492" fmla="*/ 2650405 h 6479439"/>
              <a:gd name="connsiteX5493" fmla="*/ 2393104 w 9586368"/>
              <a:gd name="connsiteY5493" fmla="*/ 2650405 h 6479439"/>
              <a:gd name="connsiteX5494" fmla="*/ 2389087 w 9586368"/>
              <a:gd name="connsiteY5494" fmla="*/ 2646366 h 6479439"/>
              <a:gd name="connsiteX5495" fmla="*/ 2389087 w 9586368"/>
              <a:gd name="connsiteY5495" fmla="*/ 2636496 h 6479439"/>
              <a:gd name="connsiteX5496" fmla="*/ 2157821 w 9586368"/>
              <a:gd name="connsiteY5496" fmla="*/ 2632457 h 6479439"/>
              <a:gd name="connsiteX5497" fmla="*/ 2167732 w 9586368"/>
              <a:gd name="connsiteY5497" fmla="*/ 2632457 h 6479439"/>
              <a:gd name="connsiteX5498" fmla="*/ 2171750 w 9586368"/>
              <a:gd name="connsiteY5498" fmla="*/ 2636496 h 6479439"/>
              <a:gd name="connsiteX5499" fmla="*/ 2171750 w 9586368"/>
              <a:gd name="connsiteY5499" fmla="*/ 2646366 h 6479439"/>
              <a:gd name="connsiteX5500" fmla="*/ 2167732 w 9586368"/>
              <a:gd name="connsiteY5500" fmla="*/ 2650405 h 6479439"/>
              <a:gd name="connsiteX5501" fmla="*/ 2157821 w 9586368"/>
              <a:gd name="connsiteY5501" fmla="*/ 2650405 h 6479439"/>
              <a:gd name="connsiteX5502" fmla="*/ 2153802 w 9586368"/>
              <a:gd name="connsiteY5502" fmla="*/ 2646366 h 6479439"/>
              <a:gd name="connsiteX5503" fmla="*/ 2153802 w 9586368"/>
              <a:gd name="connsiteY5503" fmla="*/ 2636496 h 6479439"/>
              <a:gd name="connsiteX5504" fmla="*/ 1918513 w 9586368"/>
              <a:gd name="connsiteY5504" fmla="*/ 2632457 h 6479439"/>
              <a:gd name="connsiteX5505" fmla="*/ 1928422 w 9586368"/>
              <a:gd name="connsiteY5505" fmla="*/ 2632457 h 6479439"/>
              <a:gd name="connsiteX5506" fmla="*/ 1932441 w 9586368"/>
              <a:gd name="connsiteY5506" fmla="*/ 2636496 h 6479439"/>
              <a:gd name="connsiteX5507" fmla="*/ 1932441 w 9586368"/>
              <a:gd name="connsiteY5507" fmla="*/ 2646366 h 6479439"/>
              <a:gd name="connsiteX5508" fmla="*/ 1928422 w 9586368"/>
              <a:gd name="connsiteY5508" fmla="*/ 2650405 h 6479439"/>
              <a:gd name="connsiteX5509" fmla="*/ 1918513 w 9586368"/>
              <a:gd name="connsiteY5509" fmla="*/ 2650405 h 6479439"/>
              <a:gd name="connsiteX5510" fmla="*/ 1914494 w 9586368"/>
              <a:gd name="connsiteY5510" fmla="*/ 2646366 h 6479439"/>
              <a:gd name="connsiteX5511" fmla="*/ 1914494 w 9586368"/>
              <a:gd name="connsiteY5511" fmla="*/ 2636496 h 6479439"/>
              <a:gd name="connsiteX5512" fmla="*/ 1679212 w 9586368"/>
              <a:gd name="connsiteY5512" fmla="*/ 2632457 h 6479439"/>
              <a:gd name="connsiteX5513" fmla="*/ 1689122 w 9586368"/>
              <a:gd name="connsiteY5513" fmla="*/ 2632457 h 6479439"/>
              <a:gd name="connsiteX5514" fmla="*/ 1693141 w 9586368"/>
              <a:gd name="connsiteY5514" fmla="*/ 2636496 h 6479439"/>
              <a:gd name="connsiteX5515" fmla="*/ 1693141 w 9586368"/>
              <a:gd name="connsiteY5515" fmla="*/ 2646366 h 6479439"/>
              <a:gd name="connsiteX5516" fmla="*/ 1689122 w 9586368"/>
              <a:gd name="connsiteY5516" fmla="*/ 2650405 h 6479439"/>
              <a:gd name="connsiteX5517" fmla="*/ 1679212 w 9586368"/>
              <a:gd name="connsiteY5517" fmla="*/ 2650405 h 6479439"/>
              <a:gd name="connsiteX5518" fmla="*/ 1675193 w 9586368"/>
              <a:gd name="connsiteY5518" fmla="*/ 2646366 h 6479439"/>
              <a:gd name="connsiteX5519" fmla="*/ 1675193 w 9586368"/>
              <a:gd name="connsiteY5519" fmla="*/ 2636496 h 6479439"/>
              <a:gd name="connsiteX5520" fmla="*/ 1439896 w 9586368"/>
              <a:gd name="connsiteY5520" fmla="*/ 2632457 h 6479439"/>
              <a:gd name="connsiteX5521" fmla="*/ 1449806 w 9586368"/>
              <a:gd name="connsiteY5521" fmla="*/ 2632457 h 6479439"/>
              <a:gd name="connsiteX5522" fmla="*/ 1453824 w 9586368"/>
              <a:gd name="connsiteY5522" fmla="*/ 2636496 h 6479439"/>
              <a:gd name="connsiteX5523" fmla="*/ 1453824 w 9586368"/>
              <a:gd name="connsiteY5523" fmla="*/ 2646366 h 6479439"/>
              <a:gd name="connsiteX5524" fmla="*/ 1449806 w 9586368"/>
              <a:gd name="connsiteY5524" fmla="*/ 2650405 h 6479439"/>
              <a:gd name="connsiteX5525" fmla="*/ 1439896 w 9586368"/>
              <a:gd name="connsiteY5525" fmla="*/ 2650405 h 6479439"/>
              <a:gd name="connsiteX5526" fmla="*/ 1435876 w 9586368"/>
              <a:gd name="connsiteY5526" fmla="*/ 2646366 h 6479439"/>
              <a:gd name="connsiteX5527" fmla="*/ 1435876 w 9586368"/>
              <a:gd name="connsiteY5527" fmla="*/ 2636496 h 6479439"/>
              <a:gd name="connsiteX5528" fmla="*/ 1200580 w 9586368"/>
              <a:gd name="connsiteY5528" fmla="*/ 2632457 h 6479439"/>
              <a:gd name="connsiteX5529" fmla="*/ 1210490 w 9586368"/>
              <a:gd name="connsiteY5529" fmla="*/ 2632457 h 6479439"/>
              <a:gd name="connsiteX5530" fmla="*/ 1214509 w 9586368"/>
              <a:gd name="connsiteY5530" fmla="*/ 2636496 h 6479439"/>
              <a:gd name="connsiteX5531" fmla="*/ 1214509 w 9586368"/>
              <a:gd name="connsiteY5531" fmla="*/ 2646366 h 6479439"/>
              <a:gd name="connsiteX5532" fmla="*/ 1210490 w 9586368"/>
              <a:gd name="connsiteY5532" fmla="*/ 2650405 h 6479439"/>
              <a:gd name="connsiteX5533" fmla="*/ 1200580 w 9586368"/>
              <a:gd name="connsiteY5533" fmla="*/ 2650405 h 6479439"/>
              <a:gd name="connsiteX5534" fmla="*/ 1196561 w 9586368"/>
              <a:gd name="connsiteY5534" fmla="*/ 2646366 h 6479439"/>
              <a:gd name="connsiteX5535" fmla="*/ 1196561 w 9586368"/>
              <a:gd name="connsiteY5535" fmla="*/ 2636496 h 6479439"/>
              <a:gd name="connsiteX5536" fmla="*/ 961267 w 9586368"/>
              <a:gd name="connsiteY5536" fmla="*/ 2632457 h 6479439"/>
              <a:gd name="connsiteX5537" fmla="*/ 971178 w 9586368"/>
              <a:gd name="connsiteY5537" fmla="*/ 2632457 h 6479439"/>
              <a:gd name="connsiteX5538" fmla="*/ 975196 w 9586368"/>
              <a:gd name="connsiteY5538" fmla="*/ 2636496 h 6479439"/>
              <a:gd name="connsiteX5539" fmla="*/ 975196 w 9586368"/>
              <a:gd name="connsiteY5539" fmla="*/ 2646366 h 6479439"/>
              <a:gd name="connsiteX5540" fmla="*/ 971178 w 9586368"/>
              <a:gd name="connsiteY5540" fmla="*/ 2650405 h 6479439"/>
              <a:gd name="connsiteX5541" fmla="*/ 961267 w 9586368"/>
              <a:gd name="connsiteY5541" fmla="*/ 2650405 h 6479439"/>
              <a:gd name="connsiteX5542" fmla="*/ 957249 w 9586368"/>
              <a:gd name="connsiteY5542" fmla="*/ 2646366 h 6479439"/>
              <a:gd name="connsiteX5543" fmla="*/ 957249 w 9586368"/>
              <a:gd name="connsiteY5543" fmla="*/ 2636496 h 6479439"/>
              <a:gd name="connsiteX5544" fmla="*/ 721970 w 9586368"/>
              <a:gd name="connsiteY5544" fmla="*/ 2632457 h 6479439"/>
              <a:gd name="connsiteX5545" fmla="*/ 731879 w 9586368"/>
              <a:gd name="connsiteY5545" fmla="*/ 2632457 h 6479439"/>
              <a:gd name="connsiteX5546" fmla="*/ 735898 w 9586368"/>
              <a:gd name="connsiteY5546" fmla="*/ 2636496 h 6479439"/>
              <a:gd name="connsiteX5547" fmla="*/ 735898 w 9586368"/>
              <a:gd name="connsiteY5547" fmla="*/ 2646366 h 6479439"/>
              <a:gd name="connsiteX5548" fmla="*/ 731879 w 9586368"/>
              <a:gd name="connsiteY5548" fmla="*/ 2650405 h 6479439"/>
              <a:gd name="connsiteX5549" fmla="*/ 721970 w 9586368"/>
              <a:gd name="connsiteY5549" fmla="*/ 2650405 h 6479439"/>
              <a:gd name="connsiteX5550" fmla="*/ 717951 w 9586368"/>
              <a:gd name="connsiteY5550" fmla="*/ 2646366 h 6479439"/>
              <a:gd name="connsiteX5551" fmla="*/ 717951 w 9586368"/>
              <a:gd name="connsiteY5551" fmla="*/ 2636496 h 6479439"/>
              <a:gd name="connsiteX5552" fmla="*/ 482657 w 9586368"/>
              <a:gd name="connsiteY5552" fmla="*/ 2632457 h 6479439"/>
              <a:gd name="connsiteX5553" fmla="*/ 492567 w 9586368"/>
              <a:gd name="connsiteY5553" fmla="*/ 2632457 h 6479439"/>
              <a:gd name="connsiteX5554" fmla="*/ 496586 w 9586368"/>
              <a:gd name="connsiteY5554" fmla="*/ 2636496 h 6479439"/>
              <a:gd name="connsiteX5555" fmla="*/ 496586 w 9586368"/>
              <a:gd name="connsiteY5555" fmla="*/ 2646366 h 6479439"/>
              <a:gd name="connsiteX5556" fmla="*/ 492567 w 9586368"/>
              <a:gd name="connsiteY5556" fmla="*/ 2650405 h 6479439"/>
              <a:gd name="connsiteX5557" fmla="*/ 482657 w 9586368"/>
              <a:gd name="connsiteY5557" fmla="*/ 2650405 h 6479439"/>
              <a:gd name="connsiteX5558" fmla="*/ 478638 w 9586368"/>
              <a:gd name="connsiteY5558" fmla="*/ 2646366 h 6479439"/>
              <a:gd name="connsiteX5559" fmla="*/ 478638 w 9586368"/>
              <a:gd name="connsiteY5559" fmla="*/ 2636496 h 6479439"/>
              <a:gd name="connsiteX5560" fmla="*/ 243344 w 9586368"/>
              <a:gd name="connsiteY5560" fmla="*/ 2632457 h 6479439"/>
              <a:gd name="connsiteX5561" fmla="*/ 253254 w 9586368"/>
              <a:gd name="connsiteY5561" fmla="*/ 2632457 h 6479439"/>
              <a:gd name="connsiteX5562" fmla="*/ 257273 w 9586368"/>
              <a:gd name="connsiteY5562" fmla="*/ 2636496 h 6479439"/>
              <a:gd name="connsiteX5563" fmla="*/ 257273 w 9586368"/>
              <a:gd name="connsiteY5563" fmla="*/ 2646366 h 6479439"/>
              <a:gd name="connsiteX5564" fmla="*/ 253254 w 9586368"/>
              <a:gd name="connsiteY5564" fmla="*/ 2650405 h 6479439"/>
              <a:gd name="connsiteX5565" fmla="*/ 243344 w 9586368"/>
              <a:gd name="connsiteY5565" fmla="*/ 2650405 h 6479439"/>
              <a:gd name="connsiteX5566" fmla="*/ 239325 w 9586368"/>
              <a:gd name="connsiteY5566" fmla="*/ 2646366 h 6479439"/>
              <a:gd name="connsiteX5567" fmla="*/ 239325 w 9586368"/>
              <a:gd name="connsiteY5567" fmla="*/ 2636496 h 6479439"/>
              <a:gd name="connsiteX5568" fmla="*/ 4030 w 9586368"/>
              <a:gd name="connsiteY5568" fmla="*/ 2632457 h 6479439"/>
              <a:gd name="connsiteX5569" fmla="*/ 13941 w 9586368"/>
              <a:gd name="connsiteY5569" fmla="*/ 2632457 h 6479439"/>
              <a:gd name="connsiteX5570" fmla="*/ 17960 w 9586368"/>
              <a:gd name="connsiteY5570" fmla="*/ 2636496 h 6479439"/>
              <a:gd name="connsiteX5571" fmla="*/ 17960 w 9586368"/>
              <a:gd name="connsiteY5571" fmla="*/ 2646366 h 6479439"/>
              <a:gd name="connsiteX5572" fmla="*/ 13941 w 9586368"/>
              <a:gd name="connsiteY5572" fmla="*/ 2650405 h 6479439"/>
              <a:gd name="connsiteX5573" fmla="*/ 4030 w 9586368"/>
              <a:gd name="connsiteY5573" fmla="*/ 2650405 h 6479439"/>
              <a:gd name="connsiteX5574" fmla="*/ 11 w 9586368"/>
              <a:gd name="connsiteY5574" fmla="*/ 2646366 h 6479439"/>
              <a:gd name="connsiteX5575" fmla="*/ 11 w 9586368"/>
              <a:gd name="connsiteY5575" fmla="*/ 2636496 h 6479439"/>
              <a:gd name="connsiteX5576" fmla="*/ 2157821 w 9586368"/>
              <a:gd name="connsiteY5576" fmla="*/ 2393178 h 6479439"/>
              <a:gd name="connsiteX5577" fmla="*/ 2167732 w 9586368"/>
              <a:gd name="connsiteY5577" fmla="*/ 2393178 h 6479439"/>
              <a:gd name="connsiteX5578" fmla="*/ 2171750 w 9586368"/>
              <a:gd name="connsiteY5578" fmla="*/ 2397216 h 6479439"/>
              <a:gd name="connsiteX5579" fmla="*/ 2171750 w 9586368"/>
              <a:gd name="connsiteY5579" fmla="*/ 2407087 h 6479439"/>
              <a:gd name="connsiteX5580" fmla="*/ 2167732 w 9586368"/>
              <a:gd name="connsiteY5580" fmla="*/ 2411126 h 6479439"/>
              <a:gd name="connsiteX5581" fmla="*/ 2157821 w 9586368"/>
              <a:gd name="connsiteY5581" fmla="*/ 2411126 h 6479439"/>
              <a:gd name="connsiteX5582" fmla="*/ 2153802 w 9586368"/>
              <a:gd name="connsiteY5582" fmla="*/ 2407087 h 6479439"/>
              <a:gd name="connsiteX5583" fmla="*/ 2153802 w 9586368"/>
              <a:gd name="connsiteY5583" fmla="*/ 2397216 h 6479439"/>
              <a:gd name="connsiteX5584" fmla="*/ 1918513 w 9586368"/>
              <a:gd name="connsiteY5584" fmla="*/ 2393178 h 6479439"/>
              <a:gd name="connsiteX5585" fmla="*/ 1928422 w 9586368"/>
              <a:gd name="connsiteY5585" fmla="*/ 2393178 h 6479439"/>
              <a:gd name="connsiteX5586" fmla="*/ 1932443 w 9586368"/>
              <a:gd name="connsiteY5586" fmla="*/ 2397216 h 6479439"/>
              <a:gd name="connsiteX5587" fmla="*/ 1932443 w 9586368"/>
              <a:gd name="connsiteY5587" fmla="*/ 2407087 h 6479439"/>
              <a:gd name="connsiteX5588" fmla="*/ 1928422 w 9586368"/>
              <a:gd name="connsiteY5588" fmla="*/ 2411126 h 6479439"/>
              <a:gd name="connsiteX5589" fmla="*/ 1918513 w 9586368"/>
              <a:gd name="connsiteY5589" fmla="*/ 2411126 h 6479439"/>
              <a:gd name="connsiteX5590" fmla="*/ 1914494 w 9586368"/>
              <a:gd name="connsiteY5590" fmla="*/ 2407087 h 6479439"/>
              <a:gd name="connsiteX5591" fmla="*/ 1914494 w 9586368"/>
              <a:gd name="connsiteY5591" fmla="*/ 2397216 h 6479439"/>
              <a:gd name="connsiteX5592" fmla="*/ 1679212 w 9586368"/>
              <a:gd name="connsiteY5592" fmla="*/ 2393178 h 6479439"/>
              <a:gd name="connsiteX5593" fmla="*/ 1689123 w 9586368"/>
              <a:gd name="connsiteY5593" fmla="*/ 2393178 h 6479439"/>
              <a:gd name="connsiteX5594" fmla="*/ 1693142 w 9586368"/>
              <a:gd name="connsiteY5594" fmla="*/ 2397216 h 6479439"/>
              <a:gd name="connsiteX5595" fmla="*/ 1693142 w 9586368"/>
              <a:gd name="connsiteY5595" fmla="*/ 2407087 h 6479439"/>
              <a:gd name="connsiteX5596" fmla="*/ 1689123 w 9586368"/>
              <a:gd name="connsiteY5596" fmla="*/ 2411126 h 6479439"/>
              <a:gd name="connsiteX5597" fmla="*/ 1679212 w 9586368"/>
              <a:gd name="connsiteY5597" fmla="*/ 2411126 h 6479439"/>
              <a:gd name="connsiteX5598" fmla="*/ 1675194 w 9586368"/>
              <a:gd name="connsiteY5598" fmla="*/ 2407087 h 6479439"/>
              <a:gd name="connsiteX5599" fmla="*/ 1675194 w 9586368"/>
              <a:gd name="connsiteY5599" fmla="*/ 2397216 h 6479439"/>
              <a:gd name="connsiteX5600" fmla="*/ 1439896 w 9586368"/>
              <a:gd name="connsiteY5600" fmla="*/ 2393178 h 6479439"/>
              <a:gd name="connsiteX5601" fmla="*/ 1449806 w 9586368"/>
              <a:gd name="connsiteY5601" fmla="*/ 2393178 h 6479439"/>
              <a:gd name="connsiteX5602" fmla="*/ 1453826 w 9586368"/>
              <a:gd name="connsiteY5602" fmla="*/ 2397216 h 6479439"/>
              <a:gd name="connsiteX5603" fmla="*/ 1453826 w 9586368"/>
              <a:gd name="connsiteY5603" fmla="*/ 2407087 h 6479439"/>
              <a:gd name="connsiteX5604" fmla="*/ 1449806 w 9586368"/>
              <a:gd name="connsiteY5604" fmla="*/ 2411126 h 6479439"/>
              <a:gd name="connsiteX5605" fmla="*/ 1439896 w 9586368"/>
              <a:gd name="connsiteY5605" fmla="*/ 2411126 h 6479439"/>
              <a:gd name="connsiteX5606" fmla="*/ 1435878 w 9586368"/>
              <a:gd name="connsiteY5606" fmla="*/ 2407087 h 6479439"/>
              <a:gd name="connsiteX5607" fmla="*/ 1435878 w 9586368"/>
              <a:gd name="connsiteY5607" fmla="*/ 2397216 h 6479439"/>
              <a:gd name="connsiteX5608" fmla="*/ 1200580 w 9586368"/>
              <a:gd name="connsiteY5608" fmla="*/ 2393178 h 6479439"/>
              <a:gd name="connsiteX5609" fmla="*/ 1210491 w 9586368"/>
              <a:gd name="connsiteY5609" fmla="*/ 2393178 h 6479439"/>
              <a:gd name="connsiteX5610" fmla="*/ 1214510 w 9586368"/>
              <a:gd name="connsiteY5610" fmla="*/ 2397216 h 6479439"/>
              <a:gd name="connsiteX5611" fmla="*/ 1214510 w 9586368"/>
              <a:gd name="connsiteY5611" fmla="*/ 2407087 h 6479439"/>
              <a:gd name="connsiteX5612" fmla="*/ 1210491 w 9586368"/>
              <a:gd name="connsiteY5612" fmla="*/ 2411126 h 6479439"/>
              <a:gd name="connsiteX5613" fmla="*/ 1200580 w 9586368"/>
              <a:gd name="connsiteY5613" fmla="*/ 2411126 h 6479439"/>
              <a:gd name="connsiteX5614" fmla="*/ 1196562 w 9586368"/>
              <a:gd name="connsiteY5614" fmla="*/ 2407087 h 6479439"/>
              <a:gd name="connsiteX5615" fmla="*/ 1196562 w 9586368"/>
              <a:gd name="connsiteY5615" fmla="*/ 2397216 h 6479439"/>
              <a:gd name="connsiteX5616" fmla="*/ 961268 w 9586368"/>
              <a:gd name="connsiteY5616" fmla="*/ 2393178 h 6479439"/>
              <a:gd name="connsiteX5617" fmla="*/ 971178 w 9586368"/>
              <a:gd name="connsiteY5617" fmla="*/ 2393178 h 6479439"/>
              <a:gd name="connsiteX5618" fmla="*/ 975196 w 9586368"/>
              <a:gd name="connsiteY5618" fmla="*/ 2397216 h 6479439"/>
              <a:gd name="connsiteX5619" fmla="*/ 975196 w 9586368"/>
              <a:gd name="connsiteY5619" fmla="*/ 2407087 h 6479439"/>
              <a:gd name="connsiteX5620" fmla="*/ 971178 w 9586368"/>
              <a:gd name="connsiteY5620" fmla="*/ 2411126 h 6479439"/>
              <a:gd name="connsiteX5621" fmla="*/ 961268 w 9586368"/>
              <a:gd name="connsiteY5621" fmla="*/ 2411126 h 6479439"/>
              <a:gd name="connsiteX5622" fmla="*/ 957249 w 9586368"/>
              <a:gd name="connsiteY5622" fmla="*/ 2407087 h 6479439"/>
              <a:gd name="connsiteX5623" fmla="*/ 957249 w 9586368"/>
              <a:gd name="connsiteY5623" fmla="*/ 2397216 h 6479439"/>
              <a:gd name="connsiteX5624" fmla="*/ 9572438 w 9586368"/>
              <a:gd name="connsiteY5624" fmla="*/ 2393127 h 6479439"/>
              <a:gd name="connsiteX5625" fmla="*/ 9582349 w 9586368"/>
              <a:gd name="connsiteY5625" fmla="*/ 2393127 h 6479439"/>
              <a:gd name="connsiteX5626" fmla="*/ 9586368 w 9586368"/>
              <a:gd name="connsiteY5626" fmla="*/ 2397165 h 6479439"/>
              <a:gd name="connsiteX5627" fmla="*/ 9586368 w 9586368"/>
              <a:gd name="connsiteY5627" fmla="*/ 2407036 h 6479439"/>
              <a:gd name="connsiteX5628" fmla="*/ 9582349 w 9586368"/>
              <a:gd name="connsiteY5628" fmla="*/ 2411074 h 6479439"/>
              <a:gd name="connsiteX5629" fmla="*/ 9572438 w 9586368"/>
              <a:gd name="connsiteY5629" fmla="*/ 2411074 h 6479439"/>
              <a:gd name="connsiteX5630" fmla="*/ 9568419 w 9586368"/>
              <a:gd name="connsiteY5630" fmla="*/ 2407036 h 6479439"/>
              <a:gd name="connsiteX5631" fmla="*/ 9568419 w 9586368"/>
              <a:gd name="connsiteY5631" fmla="*/ 2397165 h 6479439"/>
              <a:gd name="connsiteX5632" fmla="*/ 9333125 w 9586368"/>
              <a:gd name="connsiteY5632" fmla="*/ 2393127 h 6479439"/>
              <a:gd name="connsiteX5633" fmla="*/ 9343036 w 9586368"/>
              <a:gd name="connsiteY5633" fmla="*/ 2393127 h 6479439"/>
              <a:gd name="connsiteX5634" fmla="*/ 9347055 w 9586368"/>
              <a:gd name="connsiteY5634" fmla="*/ 2397165 h 6479439"/>
              <a:gd name="connsiteX5635" fmla="*/ 9347055 w 9586368"/>
              <a:gd name="connsiteY5635" fmla="*/ 2407036 h 6479439"/>
              <a:gd name="connsiteX5636" fmla="*/ 9343036 w 9586368"/>
              <a:gd name="connsiteY5636" fmla="*/ 2411074 h 6479439"/>
              <a:gd name="connsiteX5637" fmla="*/ 9333125 w 9586368"/>
              <a:gd name="connsiteY5637" fmla="*/ 2411074 h 6479439"/>
              <a:gd name="connsiteX5638" fmla="*/ 9329106 w 9586368"/>
              <a:gd name="connsiteY5638" fmla="*/ 2407036 h 6479439"/>
              <a:gd name="connsiteX5639" fmla="*/ 9329106 w 9586368"/>
              <a:gd name="connsiteY5639" fmla="*/ 2397165 h 6479439"/>
              <a:gd name="connsiteX5640" fmla="*/ 9093811 w 9586368"/>
              <a:gd name="connsiteY5640" fmla="*/ 2393127 h 6479439"/>
              <a:gd name="connsiteX5641" fmla="*/ 9103722 w 9586368"/>
              <a:gd name="connsiteY5641" fmla="*/ 2393127 h 6479439"/>
              <a:gd name="connsiteX5642" fmla="*/ 9107741 w 9586368"/>
              <a:gd name="connsiteY5642" fmla="*/ 2397165 h 6479439"/>
              <a:gd name="connsiteX5643" fmla="*/ 9107741 w 9586368"/>
              <a:gd name="connsiteY5643" fmla="*/ 2407036 h 6479439"/>
              <a:gd name="connsiteX5644" fmla="*/ 9103722 w 9586368"/>
              <a:gd name="connsiteY5644" fmla="*/ 2411074 h 6479439"/>
              <a:gd name="connsiteX5645" fmla="*/ 9093811 w 9586368"/>
              <a:gd name="connsiteY5645" fmla="*/ 2411074 h 6479439"/>
              <a:gd name="connsiteX5646" fmla="*/ 9089792 w 9586368"/>
              <a:gd name="connsiteY5646" fmla="*/ 2407036 h 6479439"/>
              <a:gd name="connsiteX5647" fmla="*/ 9089792 w 9586368"/>
              <a:gd name="connsiteY5647" fmla="*/ 2397165 h 6479439"/>
              <a:gd name="connsiteX5648" fmla="*/ 8854496 w 9586368"/>
              <a:gd name="connsiteY5648" fmla="*/ 2393127 h 6479439"/>
              <a:gd name="connsiteX5649" fmla="*/ 8864407 w 9586368"/>
              <a:gd name="connsiteY5649" fmla="*/ 2393127 h 6479439"/>
              <a:gd name="connsiteX5650" fmla="*/ 8868426 w 9586368"/>
              <a:gd name="connsiteY5650" fmla="*/ 2397165 h 6479439"/>
              <a:gd name="connsiteX5651" fmla="*/ 8868426 w 9586368"/>
              <a:gd name="connsiteY5651" fmla="*/ 2407036 h 6479439"/>
              <a:gd name="connsiteX5652" fmla="*/ 8864407 w 9586368"/>
              <a:gd name="connsiteY5652" fmla="*/ 2411074 h 6479439"/>
              <a:gd name="connsiteX5653" fmla="*/ 8854496 w 9586368"/>
              <a:gd name="connsiteY5653" fmla="*/ 2411074 h 6479439"/>
              <a:gd name="connsiteX5654" fmla="*/ 8850477 w 9586368"/>
              <a:gd name="connsiteY5654" fmla="*/ 2407036 h 6479439"/>
              <a:gd name="connsiteX5655" fmla="*/ 8850477 w 9586368"/>
              <a:gd name="connsiteY5655" fmla="*/ 2397165 h 6479439"/>
              <a:gd name="connsiteX5656" fmla="*/ 8615184 w 9586368"/>
              <a:gd name="connsiteY5656" fmla="*/ 2393127 h 6479439"/>
              <a:gd name="connsiteX5657" fmla="*/ 8625095 w 9586368"/>
              <a:gd name="connsiteY5657" fmla="*/ 2393127 h 6479439"/>
              <a:gd name="connsiteX5658" fmla="*/ 8629114 w 9586368"/>
              <a:gd name="connsiteY5658" fmla="*/ 2397165 h 6479439"/>
              <a:gd name="connsiteX5659" fmla="*/ 8629114 w 9586368"/>
              <a:gd name="connsiteY5659" fmla="*/ 2407036 h 6479439"/>
              <a:gd name="connsiteX5660" fmla="*/ 8625095 w 9586368"/>
              <a:gd name="connsiteY5660" fmla="*/ 2411074 h 6479439"/>
              <a:gd name="connsiteX5661" fmla="*/ 8615184 w 9586368"/>
              <a:gd name="connsiteY5661" fmla="*/ 2411074 h 6479439"/>
              <a:gd name="connsiteX5662" fmla="*/ 8611165 w 9586368"/>
              <a:gd name="connsiteY5662" fmla="*/ 2407036 h 6479439"/>
              <a:gd name="connsiteX5663" fmla="*/ 8611165 w 9586368"/>
              <a:gd name="connsiteY5663" fmla="*/ 2397165 h 6479439"/>
              <a:gd name="connsiteX5664" fmla="*/ 8375869 w 9586368"/>
              <a:gd name="connsiteY5664" fmla="*/ 2393127 h 6479439"/>
              <a:gd name="connsiteX5665" fmla="*/ 8385779 w 9586368"/>
              <a:gd name="connsiteY5665" fmla="*/ 2393127 h 6479439"/>
              <a:gd name="connsiteX5666" fmla="*/ 8389799 w 9586368"/>
              <a:gd name="connsiteY5666" fmla="*/ 2397165 h 6479439"/>
              <a:gd name="connsiteX5667" fmla="*/ 8389799 w 9586368"/>
              <a:gd name="connsiteY5667" fmla="*/ 2407036 h 6479439"/>
              <a:gd name="connsiteX5668" fmla="*/ 8385779 w 9586368"/>
              <a:gd name="connsiteY5668" fmla="*/ 2411074 h 6479439"/>
              <a:gd name="connsiteX5669" fmla="*/ 8375869 w 9586368"/>
              <a:gd name="connsiteY5669" fmla="*/ 2411074 h 6479439"/>
              <a:gd name="connsiteX5670" fmla="*/ 8371850 w 9586368"/>
              <a:gd name="connsiteY5670" fmla="*/ 2407036 h 6479439"/>
              <a:gd name="connsiteX5671" fmla="*/ 8371850 w 9586368"/>
              <a:gd name="connsiteY5671" fmla="*/ 2397165 h 6479439"/>
              <a:gd name="connsiteX5672" fmla="*/ 8136553 w 9586368"/>
              <a:gd name="connsiteY5672" fmla="*/ 2393127 h 6479439"/>
              <a:gd name="connsiteX5673" fmla="*/ 8146464 w 9586368"/>
              <a:gd name="connsiteY5673" fmla="*/ 2393127 h 6479439"/>
              <a:gd name="connsiteX5674" fmla="*/ 8150483 w 9586368"/>
              <a:gd name="connsiteY5674" fmla="*/ 2397165 h 6479439"/>
              <a:gd name="connsiteX5675" fmla="*/ 8150483 w 9586368"/>
              <a:gd name="connsiteY5675" fmla="*/ 2407036 h 6479439"/>
              <a:gd name="connsiteX5676" fmla="*/ 8146464 w 9586368"/>
              <a:gd name="connsiteY5676" fmla="*/ 2411074 h 6479439"/>
              <a:gd name="connsiteX5677" fmla="*/ 8136553 w 9586368"/>
              <a:gd name="connsiteY5677" fmla="*/ 2411074 h 6479439"/>
              <a:gd name="connsiteX5678" fmla="*/ 8132534 w 9586368"/>
              <a:gd name="connsiteY5678" fmla="*/ 2407036 h 6479439"/>
              <a:gd name="connsiteX5679" fmla="*/ 8132534 w 9586368"/>
              <a:gd name="connsiteY5679" fmla="*/ 2397165 h 6479439"/>
              <a:gd name="connsiteX5680" fmla="*/ 7897241 w 9586368"/>
              <a:gd name="connsiteY5680" fmla="*/ 2393127 h 6479439"/>
              <a:gd name="connsiteX5681" fmla="*/ 7907151 w 9586368"/>
              <a:gd name="connsiteY5681" fmla="*/ 2393127 h 6479439"/>
              <a:gd name="connsiteX5682" fmla="*/ 7911170 w 9586368"/>
              <a:gd name="connsiteY5682" fmla="*/ 2397165 h 6479439"/>
              <a:gd name="connsiteX5683" fmla="*/ 7911170 w 9586368"/>
              <a:gd name="connsiteY5683" fmla="*/ 2407036 h 6479439"/>
              <a:gd name="connsiteX5684" fmla="*/ 7907151 w 9586368"/>
              <a:gd name="connsiteY5684" fmla="*/ 2411074 h 6479439"/>
              <a:gd name="connsiteX5685" fmla="*/ 7897241 w 9586368"/>
              <a:gd name="connsiteY5685" fmla="*/ 2411074 h 6479439"/>
              <a:gd name="connsiteX5686" fmla="*/ 7893222 w 9586368"/>
              <a:gd name="connsiteY5686" fmla="*/ 2407036 h 6479439"/>
              <a:gd name="connsiteX5687" fmla="*/ 7893222 w 9586368"/>
              <a:gd name="connsiteY5687" fmla="*/ 2397165 h 6479439"/>
              <a:gd name="connsiteX5688" fmla="*/ 7657926 w 9586368"/>
              <a:gd name="connsiteY5688" fmla="*/ 2393127 h 6479439"/>
              <a:gd name="connsiteX5689" fmla="*/ 7667836 w 9586368"/>
              <a:gd name="connsiteY5689" fmla="*/ 2393127 h 6479439"/>
              <a:gd name="connsiteX5690" fmla="*/ 7671855 w 9586368"/>
              <a:gd name="connsiteY5690" fmla="*/ 2397165 h 6479439"/>
              <a:gd name="connsiteX5691" fmla="*/ 7671855 w 9586368"/>
              <a:gd name="connsiteY5691" fmla="*/ 2407036 h 6479439"/>
              <a:gd name="connsiteX5692" fmla="*/ 7667836 w 9586368"/>
              <a:gd name="connsiteY5692" fmla="*/ 2411074 h 6479439"/>
              <a:gd name="connsiteX5693" fmla="*/ 7657926 w 9586368"/>
              <a:gd name="connsiteY5693" fmla="*/ 2411074 h 6479439"/>
              <a:gd name="connsiteX5694" fmla="*/ 7653906 w 9586368"/>
              <a:gd name="connsiteY5694" fmla="*/ 2407036 h 6479439"/>
              <a:gd name="connsiteX5695" fmla="*/ 7653906 w 9586368"/>
              <a:gd name="connsiteY5695" fmla="*/ 2397165 h 6479439"/>
              <a:gd name="connsiteX5696" fmla="*/ 7418611 w 9586368"/>
              <a:gd name="connsiteY5696" fmla="*/ 2393127 h 6479439"/>
              <a:gd name="connsiteX5697" fmla="*/ 7428521 w 9586368"/>
              <a:gd name="connsiteY5697" fmla="*/ 2393127 h 6479439"/>
              <a:gd name="connsiteX5698" fmla="*/ 7432540 w 9586368"/>
              <a:gd name="connsiteY5698" fmla="*/ 2397165 h 6479439"/>
              <a:gd name="connsiteX5699" fmla="*/ 7432540 w 9586368"/>
              <a:gd name="connsiteY5699" fmla="*/ 2407036 h 6479439"/>
              <a:gd name="connsiteX5700" fmla="*/ 7428521 w 9586368"/>
              <a:gd name="connsiteY5700" fmla="*/ 2411074 h 6479439"/>
              <a:gd name="connsiteX5701" fmla="*/ 7418611 w 9586368"/>
              <a:gd name="connsiteY5701" fmla="*/ 2411074 h 6479439"/>
              <a:gd name="connsiteX5702" fmla="*/ 7414592 w 9586368"/>
              <a:gd name="connsiteY5702" fmla="*/ 2407036 h 6479439"/>
              <a:gd name="connsiteX5703" fmla="*/ 7414592 w 9586368"/>
              <a:gd name="connsiteY5703" fmla="*/ 2397165 h 6479439"/>
              <a:gd name="connsiteX5704" fmla="*/ 7179298 w 9586368"/>
              <a:gd name="connsiteY5704" fmla="*/ 2393127 h 6479439"/>
              <a:gd name="connsiteX5705" fmla="*/ 7189209 w 9586368"/>
              <a:gd name="connsiteY5705" fmla="*/ 2393127 h 6479439"/>
              <a:gd name="connsiteX5706" fmla="*/ 7193228 w 9586368"/>
              <a:gd name="connsiteY5706" fmla="*/ 2397165 h 6479439"/>
              <a:gd name="connsiteX5707" fmla="*/ 7193228 w 9586368"/>
              <a:gd name="connsiteY5707" fmla="*/ 2407036 h 6479439"/>
              <a:gd name="connsiteX5708" fmla="*/ 7189209 w 9586368"/>
              <a:gd name="connsiteY5708" fmla="*/ 2411074 h 6479439"/>
              <a:gd name="connsiteX5709" fmla="*/ 7179298 w 9586368"/>
              <a:gd name="connsiteY5709" fmla="*/ 2411074 h 6479439"/>
              <a:gd name="connsiteX5710" fmla="*/ 7175279 w 9586368"/>
              <a:gd name="connsiteY5710" fmla="*/ 2407036 h 6479439"/>
              <a:gd name="connsiteX5711" fmla="*/ 7175279 w 9586368"/>
              <a:gd name="connsiteY5711" fmla="*/ 2397165 h 6479439"/>
              <a:gd name="connsiteX5712" fmla="*/ 6939983 w 9586368"/>
              <a:gd name="connsiteY5712" fmla="*/ 2393127 h 6479439"/>
              <a:gd name="connsiteX5713" fmla="*/ 6949894 w 9586368"/>
              <a:gd name="connsiteY5713" fmla="*/ 2393127 h 6479439"/>
              <a:gd name="connsiteX5714" fmla="*/ 6953913 w 9586368"/>
              <a:gd name="connsiteY5714" fmla="*/ 2397165 h 6479439"/>
              <a:gd name="connsiteX5715" fmla="*/ 6953913 w 9586368"/>
              <a:gd name="connsiteY5715" fmla="*/ 2407036 h 6479439"/>
              <a:gd name="connsiteX5716" fmla="*/ 6949894 w 9586368"/>
              <a:gd name="connsiteY5716" fmla="*/ 2411074 h 6479439"/>
              <a:gd name="connsiteX5717" fmla="*/ 6939983 w 9586368"/>
              <a:gd name="connsiteY5717" fmla="*/ 2411074 h 6479439"/>
              <a:gd name="connsiteX5718" fmla="*/ 6935964 w 9586368"/>
              <a:gd name="connsiteY5718" fmla="*/ 2407036 h 6479439"/>
              <a:gd name="connsiteX5719" fmla="*/ 6935964 w 9586368"/>
              <a:gd name="connsiteY5719" fmla="*/ 2397165 h 6479439"/>
              <a:gd name="connsiteX5720" fmla="*/ 6700670 w 9586368"/>
              <a:gd name="connsiteY5720" fmla="*/ 2393127 h 6479439"/>
              <a:gd name="connsiteX5721" fmla="*/ 6710581 w 9586368"/>
              <a:gd name="connsiteY5721" fmla="*/ 2393127 h 6479439"/>
              <a:gd name="connsiteX5722" fmla="*/ 6714600 w 9586368"/>
              <a:gd name="connsiteY5722" fmla="*/ 2397165 h 6479439"/>
              <a:gd name="connsiteX5723" fmla="*/ 6714600 w 9586368"/>
              <a:gd name="connsiteY5723" fmla="*/ 2407036 h 6479439"/>
              <a:gd name="connsiteX5724" fmla="*/ 6710581 w 9586368"/>
              <a:gd name="connsiteY5724" fmla="*/ 2411074 h 6479439"/>
              <a:gd name="connsiteX5725" fmla="*/ 6700670 w 9586368"/>
              <a:gd name="connsiteY5725" fmla="*/ 2411074 h 6479439"/>
              <a:gd name="connsiteX5726" fmla="*/ 6696651 w 9586368"/>
              <a:gd name="connsiteY5726" fmla="*/ 2407036 h 6479439"/>
              <a:gd name="connsiteX5727" fmla="*/ 6696651 w 9586368"/>
              <a:gd name="connsiteY5727" fmla="*/ 2397165 h 6479439"/>
              <a:gd name="connsiteX5728" fmla="*/ 6461356 w 9586368"/>
              <a:gd name="connsiteY5728" fmla="*/ 2393127 h 6479439"/>
              <a:gd name="connsiteX5729" fmla="*/ 6471266 w 9586368"/>
              <a:gd name="connsiteY5729" fmla="*/ 2393127 h 6479439"/>
              <a:gd name="connsiteX5730" fmla="*/ 6475285 w 9586368"/>
              <a:gd name="connsiteY5730" fmla="*/ 2397165 h 6479439"/>
              <a:gd name="connsiteX5731" fmla="*/ 6475285 w 9586368"/>
              <a:gd name="connsiteY5731" fmla="*/ 2407036 h 6479439"/>
              <a:gd name="connsiteX5732" fmla="*/ 6471266 w 9586368"/>
              <a:gd name="connsiteY5732" fmla="*/ 2411074 h 6479439"/>
              <a:gd name="connsiteX5733" fmla="*/ 6461356 w 9586368"/>
              <a:gd name="connsiteY5733" fmla="*/ 2411074 h 6479439"/>
              <a:gd name="connsiteX5734" fmla="*/ 6457337 w 9586368"/>
              <a:gd name="connsiteY5734" fmla="*/ 2407036 h 6479439"/>
              <a:gd name="connsiteX5735" fmla="*/ 6457337 w 9586368"/>
              <a:gd name="connsiteY5735" fmla="*/ 2397165 h 6479439"/>
              <a:gd name="connsiteX5736" fmla="*/ 6222042 w 9586368"/>
              <a:gd name="connsiteY5736" fmla="*/ 2393127 h 6479439"/>
              <a:gd name="connsiteX5737" fmla="*/ 6231952 w 9586368"/>
              <a:gd name="connsiteY5737" fmla="*/ 2393127 h 6479439"/>
              <a:gd name="connsiteX5738" fmla="*/ 6235971 w 9586368"/>
              <a:gd name="connsiteY5738" fmla="*/ 2397165 h 6479439"/>
              <a:gd name="connsiteX5739" fmla="*/ 6235971 w 9586368"/>
              <a:gd name="connsiteY5739" fmla="*/ 2407036 h 6479439"/>
              <a:gd name="connsiteX5740" fmla="*/ 6231952 w 9586368"/>
              <a:gd name="connsiteY5740" fmla="*/ 2411074 h 6479439"/>
              <a:gd name="connsiteX5741" fmla="*/ 6222042 w 9586368"/>
              <a:gd name="connsiteY5741" fmla="*/ 2411074 h 6479439"/>
              <a:gd name="connsiteX5742" fmla="*/ 6218023 w 9586368"/>
              <a:gd name="connsiteY5742" fmla="*/ 2407036 h 6479439"/>
              <a:gd name="connsiteX5743" fmla="*/ 6218023 w 9586368"/>
              <a:gd name="connsiteY5743" fmla="*/ 2397165 h 6479439"/>
              <a:gd name="connsiteX5744" fmla="*/ 5982729 w 9586368"/>
              <a:gd name="connsiteY5744" fmla="*/ 2393127 h 6479439"/>
              <a:gd name="connsiteX5745" fmla="*/ 5992639 w 9586368"/>
              <a:gd name="connsiteY5745" fmla="*/ 2393127 h 6479439"/>
              <a:gd name="connsiteX5746" fmla="*/ 5996658 w 9586368"/>
              <a:gd name="connsiteY5746" fmla="*/ 2397165 h 6479439"/>
              <a:gd name="connsiteX5747" fmla="*/ 5996658 w 9586368"/>
              <a:gd name="connsiteY5747" fmla="*/ 2407036 h 6479439"/>
              <a:gd name="connsiteX5748" fmla="*/ 5992639 w 9586368"/>
              <a:gd name="connsiteY5748" fmla="*/ 2411074 h 6479439"/>
              <a:gd name="connsiteX5749" fmla="*/ 5982729 w 9586368"/>
              <a:gd name="connsiteY5749" fmla="*/ 2411074 h 6479439"/>
              <a:gd name="connsiteX5750" fmla="*/ 5978710 w 9586368"/>
              <a:gd name="connsiteY5750" fmla="*/ 2407036 h 6479439"/>
              <a:gd name="connsiteX5751" fmla="*/ 5978710 w 9586368"/>
              <a:gd name="connsiteY5751" fmla="*/ 2397165 h 6479439"/>
              <a:gd name="connsiteX5752" fmla="*/ 5743412 w 9586368"/>
              <a:gd name="connsiteY5752" fmla="*/ 2393127 h 6479439"/>
              <a:gd name="connsiteX5753" fmla="*/ 5753323 w 9586368"/>
              <a:gd name="connsiteY5753" fmla="*/ 2393127 h 6479439"/>
              <a:gd name="connsiteX5754" fmla="*/ 5757342 w 9586368"/>
              <a:gd name="connsiteY5754" fmla="*/ 2397165 h 6479439"/>
              <a:gd name="connsiteX5755" fmla="*/ 5757342 w 9586368"/>
              <a:gd name="connsiteY5755" fmla="*/ 2407036 h 6479439"/>
              <a:gd name="connsiteX5756" fmla="*/ 5753323 w 9586368"/>
              <a:gd name="connsiteY5756" fmla="*/ 2411074 h 6479439"/>
              <a:gd name="connsiteX5757" fmla="*/ 5743412 w 9586368"/>
              <a:gd name="connsiteY5757" fmla="*/ 2411074 h 6479439"/>
              <a:gd name="connsiteX5758" fmla="*/ 5739393 w 9586368"/>
              <a:gd name="connsiteY5758" fmla="*/ 2407036 h 6479439"/>
              <a:gd name="connsiteX5759" fmla="*/ 5739393 w 9586368"/>
              <a:gd name="connsiteY5759" fmla="*/ 2397165 h 6479439"/>
              <a:gd name="connsiteX5760" fmla="*/ 5504099 w 9586368"/>
              <a:gd name="connsiteY5760" fmla="*/ 2393127 h 6479439"/>
              <a:gd name="connsiteX5761" fmla="*/ 5514010 w 9586368"/>
              <a:gd name="connsiteY5761" fmla="*/ 2393127 h 6479439"/>
              <a:gd name="connsiteX5762" fmla="*/ 5518029 w 9586368"/>
              <a:gd name="connsiteY5762" fmla="*/ 2397165 h 6479439"/>
              <a:gd name="connsiteX5763" fmla="*/ 5518029 w 9586368"/>
              <a:gd name="connsiteY5763" fmla="*/ 2407036 h 6479439"/>
              <a:gd name="connsiteX5764" fmla="*/ 5514010 w 9586368"/>
              <a:gd name="connsiteY5764" fmla="*/ 2411074 h 6479439"/>
              <a:gd name="connsiteX5765" fmla="*/ 5504099 w 9586368"/>
              <a:gd name="connsiteY5765" fmla="*/ 2411074 h 6479439"/>
              <a:gd name="connsiteX5766" fmla="*/ 5500080 w 9586368"/>
              <a:gd name="connsiteY5766" fmla="*/ 2407036 h 6479439"/>
              <a:gd name="connsiteX5767" fmla="*/ 5500080 w 9586368"/>
              <a:gd name="connsiteY5767" fmla="*/ 2397165 h 6479439"/>
              <a:gd name="connsiteX5768" fmla="*/ 5264784 w 9586368"/>
              <a:gd name="connsiteY5768" fmla="*/ 2393127 h 6479439"/>
              <a:gd name="connsiteX5769" fmla="*/ 5274694 w 9586368"/>
              <a:gd name="connsiteY5769" fmla="*/ 2393127 h 6479439"/>
              <a:gd name="connsiteX5770" fmla="*/ 5278713 w 9586368"/>
              <a:gd name="connsiteY5770" fmla="*/ 2397165 h 6479439"/>
              <a:gd name="connsiteX5771" fmla="*/ 5278713 w 9586368"/>
              <a:gd name="connsiteY5771" fmla="*/ 2407036 h 6479439"/>
              <a:gd name="connsiteX5772" fmla="*/ 5274694 w 9586368"/>
              <a:gd name="connsiteY5772" fmla="*/ 2411074 h 6479439"/>
              <a:gd name="connsiteX5773" fmla="*/ 5264784 w 9586368"/>
              <a:gd name="connsiteY5773" fmla="*/ 2411074 h 6479439"/>
              <a:gd name="connsiteX5774" fmla="*/ 5260765 w 9586368"/>
              <a:gd name="connsiteY5774" fmla="*/ 2407036 h 6479439"/>
              <a:gd name="connsiteX5775" fmla="*/ 5260765 w 9586368"/>
              <a:gd name="connsiteY5775" fmla="*/ 2397165 h 6479439"/>
              <a:gd name="connsiteX5776" fmla="*/ 5025470 w 9586368"/>
              <a:gd name="connsiteY5776" fmla="*/ 2393127 h 6479439"/>
              <a:gd name="connsiteX5777" fmla="*/ 5035381 w 9586368"/>
              <a:gd name="connsiteY5777" fmla="*/ 2393127 h 6479439"/>
              <a:gd name="connsiteX5778" fmla="*/ 5039400 w 9586368"/>
              <a:gd name="connsiteY5778" fmla="*/ 2397165 h 6479439"/>
              <a:gd name="connsiteX5779" fmla="*/ 5039400 w 9586368"/>
              <a:gd name="connsiteY5779" fmla="*/ 2407036 h 6479439"/>
              <a:gd name="connsiteX5780" fmla="*/ 5035381 w 9586368"/>
              <a:gd name="connsiteY5780" fmla="*/ 2411074 h 6479439"/>
              <a:gd name="connsiteX5781" fmla="*/ 5025470 w 9586368"/>
              <a:gd name="connsiteY5781" fmla="*/ 2411074 h 6479439"/>
              <a:gd name="connsiteX5782" fmla="*/ 5021451 w 9586368"/>
              <a:gd name="connsiteY5782" fmla="*/ 2407036 h 6479439"/>
              <a:gd name="connsiteX5783" fmla="*/ 5021451 w 9586368"/>
              <a:gd name="connsiteY5783" fmla="*/ 2397165 h 6479439"/>
              <a:gd name="connsiteX5784" fmla="*/ 4786241 w 9586368"/>
              <a:gd name="connsiteY5784" fmla="*/ 2393127 h 6479439"/>
              <a:gd name="connsiteX5785" fmla="*/ 4796152 w 9586368"/>
              <a:gd name="connsiteY5785" fmla="*/ 2393127 h 6479439"/>
              <a:gd name="connsiteX5786" fmla="*/ 4800171 w 9586368"/>
              <a:gd name="connsiteY5786" fmla="*/ 2397165 h 6479439"/>
              <a:gd name="connsiteX5787" fmla="*/ 4800171 w 9586368"/>
              <a:gd name="connsiteY5787" fmla="*/ 2407036 h 6479439"/>
              <a:gd name="connsiteX5788" fmla="*/ 4796152 w 9586368"/>
              <a:gd name="connsiteY5788" fmla="*/ 2411074 h 6479439"/>
              <a:gd name="connsiteX5789" fmla="*/ 4786241 w 9586368"/>
              <a:gd name="connsiteY5789" fmla="*/ 2411074 h 6479439"/>
              <a:gd name="connsiteX5790" fmla="*/ 4782224 w 9586368"/>
              <a:gd name="connsiteY5790" fmla="*/ 2407036 h 6479439"/>
              <a:gd name="connsiteX5791" fmla="*/ 4782224 w 9586368"/>
              <a:gd name="connsiteY5791" fmla="*/ 2397165 h 6479439"/>
              <a:gd name="connsiteX5792" fmla="*/ 4546929 w 9586368"/>
              <a:gd name="connsiteY5792" fmla="*/ 2393127 h 6479439"/>
              <a:gd name="connsiteX5793" fmla="*/ 4556840 w 9586368"/>
              <a:gd name="connsiteY5793" fmla="*/ 2393127 h 6479439"/>
              <a:gd name="connsiteX5794" fmla="*/ 4560859 w 9586368"/>
              <a:gd name="connsiteY5794" fmla="*/ 2397165 h 6479439"/>
              <a:gd name="connsiteX5795" fmla="*/ 4560859 w 9586368"/>
              <a:gd name="connsiteY5795" fmla="*/ 2407036 h 6479439"/>
              <a:gd name="connsiteX5796" fmla="*/ 4556840 w 9586368"/>
              <a:gd name="connsiteY5796" fmla="*/ 2411074 h 6479439"/>
              <a:gd name="connsiteX5797" fmla="*/ 4546929 w 9586368"/>
              <a:gd name="connsiteY5797" fmla="*/ 2411074 h 6479439"/>
              <a:gd name="connsiteX5798" fmla="*/ 4542910 w 9586368"/>
              <a:gd name="connsiteY5798" fmla="*/ 2407036 h 6479439"/>
              <a:gd name="connsiteX5799" fmla="*/ 4542910 w 9586368"/>
              <a:gd name="connsiteY5799" fmla="*/ 2397165 h 6479439"/>
              <a:gd name="connsiteX5800" fmla="*/ 4307612 w 9586368"/>
              <a:gd name="connsiteY5800" fmla="*/ 2393127 h 6479439"/>
              <a:gd name="connsiteX5801" fmla="*/ 4317523 w 9586368"/>
              <a:gd name="connsiteY5801" fmla="*/ 2393127 h 6479439"/>
              <a:gd name="connsiteX5802" fmla="*/ 4321543 w 9586368"/>
              <a:gd name="connsiteY5802" fmla="*/ 2397165 h 6479439"/>
              <a:gd name="connsiteX5803" fmla="*/ 4321543 w 9586368"/>
              <a:gd name="connsiteY5803" fmla="*/ 2407036 h 6479439"/>
              <a:gd name="connsiteX5804" fmla="*/ 4317523 w 9586368"/>
              <a:gd name="connsiteY5804" fmla="*/ 2411074 h 6479439"/>
              <a:gd name="connsiteX5805" fmla="*/ 4307612 w 9586368"/>
              <a:gd name="connsiteY5805" fmla="*/ 2411074 h 6479439"/>
              <a:gd name="connsiteX5806" fmla="*/ 4303595 w 9586368"/>
              <a:gd name="connsiteY5806" fmla="*/ 2407036 h 6479439"/>
              <a:gd name="connsiteX5807" fmla="*/ 4303595 w 9586368"/>
              <a:gd name="connsiteY5807" fmla="*/ 2397165 h 6479439"/>
              <a:gd name="connsiteX5808" fmla="*/ 4068297 w 9586368"/>
              <a:gd name="connsiteY5808" fmla="*/ 2393127 h 6479439"/>
              <a:gd name="connsiteX5809" fmla="*/ 4078210 w 9586368"/>
              <a:gd name="connsiteY5809" fmla="*/ 2393127 h 6479439"/>
              <a:gd name="connsiteX5810" fmla="*/ 4082229 w 9586368"/>
              <a:gd name="connsiteY5810" fmla="*/ 2397165 h 6479439"/>
              <a:gd name="connsiteX5811" fmla="*/ 4082229 w 9586368"/>
              <a:gd name="connsiteY5811" fmla="*/ 2407036 h 6479439"/>
              <a:gd name="connsiteX5812" fmla="*/ 4078210 w 9586368"/>
              <a:gd name="connsiteY5812" fmla="*/ 2411074 h 6479439"/>
              <a:gd name="connsiteX5813" fmla="*/ 4068297 w 9586368"/>
              <a:gd name="connsiteY5813" fmla="*/ 2411074 h 6479439"/>
              <a:gd name="connsiteX5814" fmla="*/ 4064278 w 9586368"/>
              <a:gd name="connsiteY5814" fmla="*/ 2407036 h 6479439"/>
              <a:gd name="connsiteX5815" fmla="*/ 4064278 w 9586368"/>
              <a:gd name="connsiteY5815" fmla="*/ 2397165 h 6479439"/>
              <a:gd name="connsiteX5816" fmla="*/ 3828990 w 9586368"/>
              <a:gd name="connsiteY5816" fmla="*/ 2393127 h 6479439"/>
              <a:gd name="connsiteX5817" fmla="*/ 3838899 w 9586368"/>
              <a:gd name="connsiteY5817" fmla="*/ 2393127 h 6479439"/>
              <a:gd name="connsiteX5818" fmla="*/ 3842917 w 9586368"/>
              <a:gd name="connsiteY5818" fmla="*/ 2397165 h 6479439"/>
              <a:gd name="connsiteX5819" fmla="*/ 3842917 w 9586368"/>
              <a:gd name="connsiteY5819" fmla="*/ 2407036 h 6479439"/>
              <a:gd name="connsiteX5820" fmla="*/ 3838899 w 9586368"/>
              <a:gd name="connsiteY5820" fmla="*/ 2411074 h 6479439"/>
              <a:gd name="connsiteX5821" fmla="*/ 3828990 w 9586368"/>
              <a:gd name="connsiteY5821" fmla="*/ 2411074 h 6479439"/>
              <a:gd name="connsiteX5822" fmla="*/ 3824971 w 9586368"/>
              <a:gd name="connsiteY5822" fmla="*/ 2407036 h 6479439"/>
              <a:gd name="connsiteX5823" fmla="*/ 3824971 w 9586368"/>
              <a:gd name="connsiteY5823" fmla="*/ 2397165 h 6479439"/>
              <a:gd name="connsiteX5824" fmla="*/ 3589676 w 9586368"/>
              <a:gd name="connsiteY5824" fmla="*/ 2393127 h 6479439"/>
              <a:gd name="connsiteX5825" fmla="*/ 3599585 w 9586368"/>
              <a:gd name="connsiteY5825" fmla="*/ 2393127 h 6479439"/>
              <a:gd name="connsiteX5826" fmla="*/ 3603604 w 9586368"/>
              <a:gd name="connsiteY5826" fmla="*/ 2397165 h 6479439"/>
              <a:gd name="connsiteX5827" fmla="*/ 3603604 w 9586368"/>
              <a:gd name="connsiteY5827" fmla="*/ 2407036 h 6479439"/>
              <a:gd name="connsiteX5828" fmla="*/ 3599585 w 9586368"/>
              <a:gd name="connsiteY5828" fmla="*/ 2411074 h 6479439"/>
              <a:gd name="connsiteX5829" fmla="*/ 3589676 w 9586368"/>
              <a:gd name="connsiteY5829" fmla="*/ 2411074 h 6479439"/>
              <a:gd name="connsiteX5830" fmla="*/ 3585657 w 9586368"/>
              <a:gd name="connsiteY5830" fmla="*/ 2407036 h 6479439"/>
              <a:gd name="connsiteX5831" fmla="*/ 3585657 w 9586368"/>
              <a:gd name="connsiteY5831" fmla="*/ 2397165 h 6479439"/>
              <a:gd name="connsiteX5832" fmla="*/ 3350359 w 9586368"/>
              <a:gd name="connsiteY5832" fmla="*/ 2393127 h 6479439"/>
              <a:gd name="connsiteX5833" fmla="*/ 3360268 w 9586368"/>
              <a:gd name="connsiteY5833" fmla="*/ 2393127 h 6479439"/>
              <a:gd name="connsiteX5834" fmla="*/ 3364287 w 9586368"/>
              <a:gd name="connsiteY5834" fmla="*/ 2397165 h 6479439"/>
              <a:gd name="connsiteX5835" fmla="*/ 3364287 w 9586368"/>
              <a:gd name="connsiteY5835" fmla="*/ 2407036 h 6479439"/>
              <a:gd name="connsiteX5836" fmla="*/ 3360268 w 9586368"/>
              <a:gd name="connsiteY5836" fmla="*/ 2411074 h 6479439"/>
              <a:gd name="connsiteX5837" fmla="*/ 3350359 w 9586368"/>
              <a:gd name="connsiteY5837" fmla="*/ 2411074 h 6479439"/>
              <a:gd name="connsiteX5838" fmla="*/ 3346340 w 9586368"/>
              <a:gd name="connsiteY5838" fmla="*/ 2407036 h 6479439"/>
              <a:gd name="connsiteX5839" fmla="*/ 3346340 w 9586368"/>
              <a:gd name="connsiteY5839" fmla="*/ 2397165 h 6479439"/>
              <a:gd name="connsiteX5840" fmla="*/ 3111048 w 9586368"/>
              <a:gd name="connsiteY5840" fmla="*/ 2393127 h 6479439"/>
              <a:gd name="connsiteX5841" fmla="*/ 3120959 w 9586368"/>
              <a:gd name="connsiteY5841" fmla="*/ 2393127 h 6479439"/>
              <a:gd name="connsiteX5842" fmla="*/ 3124977 w 9586368"/>
              <a:gd name="connsiteY5842" fmla="*/ 2397165 h 6479439"/>
              <a:gd name="connsiteX5843" fmla="*/ 3124977 w 9586368"/>
              <a:gd name="connsiteY5843" fmla="*/ 2407036 h 6479439"/>
              <a:gd name="connsiteX5844" fmla="*/ 3120959 w 9586368"/>
              <a:gd name="connsiteY5844" fmla="*/ 2411074 h 6479439"/>
              <a:gd name="connsiteX5845" fmla="*/ 3111048 w 9586368"/>
              <a:gd name="connsiteY5845" fmla="*/ 2411074 h 6479439"/>
              <a:gd name="connsiteX5846" fmla="*/ 3107029 w 9586368"/>
              <a:gd name="connsiteY5846" fmla="*/ 2407036 h 6479439"/>
              <a:gd name="connsiteX5847" fmla="*/ 3107029 w 9586368"/>
              <a:gd name="connsiteY5847" fmla="*/ 2397165 h 6479439"/>
              <a:gd name="connsiteX5848" fmla="*/ 2871737 w 9586368"/>
              <a:gd name="connsiteY5848" fmla="*/ 2393127 h 6479439"/>
              <a:gd name="connsiteX5849" fmla="*/ 2881646 w 9586368"/>
              <a:gd name="connsiteY5849" fmla="*/ 2393127 h 6479439"/>
              <a:gd name="connsiteX5850" fmla="*/ 2885666 w 9586368"/>
              <a:gd name="connsiteY5850" fmla="*/ 2397165 h 6479439"/>
              <a:gd name="connsiteX5851" fmla="*/ 2885666 w 9586368"/>
              <a:gd name="connsiteY5851" fmla="*/ 2407036 h 6479439"/>
              <a:gd name="connsiteX5852" fmla="*/ 2881646 w 9586368"/>
              <a:gd name="connsiteY5852" fmla="*/ 2411074 h 6479439"/>
              <a:gd name="connsiteX5853" fmla="*/ 2871737 w 9586368"/>
              <a:gd name="connsiteY5853" fmla="*/ 2411074 h 6479439"/>
              <a:gd name="connsiteX5854" fmla="*/ 2867717 w 9586368"/>
              <a:gd name="connsiteY5854" fmla="*/ 2407036 h 6479439"/>
              <a:gd name="connsiteX5855" fmla="*/ 2867717 w 9586368"/>
              <a:gd name="connsiteY5855" fmla="*/ 2397165 h 6479439"/>
              <a:gd name="connsiteX5856" fmla="*/ 2632423 w 9586368"/>
              <a:gd name="connsiteY5856" fmla="*/ 2393127 h 6479439"/>
              <a:gd name="connsiteX5857" fmla="*/ 2642334 w 9586368"/>
              <a:gd name="connsiteY5857" fmla="*/ 2393127 h 6479439"/>
              <a:gd name="connsiteX5858" fmla="*/ 2646352 w 9586368"/>
              <a:gd name="connsiteY5858" fmla="*/ 2397165 h 6479439"/>
              <a:gd name="connsiteX5859" fmla="*/ 2646352 w 9586368"/>
              <a:gd name="connsiteY5859" fmla="*/ 2407036 h 6479439"/>
              <a:gd name="connsiteX5860" fmla="*/ 2642334 w 9586368"/>
              <a:gd name="connsiteY5860" fmla="*/ 2411074 h 6479439"/>
              <a:gd name="connsiteX5861" fmla="*/ 2632423 w 9586368"/>
              <a:gd name="connsiteY5861" fmla="*/ 2411074 h 6479439"/>
              <a:gd name="connsiteX5862" fmla="*/ 2628404 w 9586368"/>
              <a:gd name="connsiteY5862" fmla="*/ 2407036 h 6479439"/>
              <a:gd name="connsiteX5863" fmla="*/ 2628404 w 9586368"/>
              <a:gd name="connsiteY5863" fmla="*/ 2397165 h 6479439"/>
              <a:gd name="connsiteX5864" fmla="*/ 2393104 w 9586368"/>
              <a:gd name="connsiteY5864" fmla="*/ 2393127 h 6479439"/>
              <a:gd name="connsiteX5865" fmla="*/ 2403015 w 9586368"/>
              <a:gd name="connsiteY5865" fmla="*/ 2393127 h 6479439"/>
              <a:gd name="connsiteX5866" fmla="*/ 2407034 w 9586368"/>
              <a:gd name="connsiteY5866" fmla="*/ 2397165 h 6479439"/>
              <a:gd name="connsiteX5867" fmla="*/ 2407034 w 9586368"/>
              <a:gd name="connsiteY5867" fmla="*/ 2407036 h 6479439"/>
              <a:gd name="connsiteX5868" fmla="*/ 2403015 w 9586368"/>
              <a:gd name="connsiteY5868" fmla="*/ 2411074 h 6479439"/>
              <a:gd name="connsiteX5869" fmla="*/ 2393104 w 9586368"/>
              <a:gd name="connsiteY5869" fmla="*/ 2411074 h 6479439"/>
              <a:gd name="connsiteX5870" fmla="*/ 2389087 w 9586368"/>
              <a:gd name="connsiteY5870" fmla="*/ 2407036 h 6479439"/>
              <a:gd name="connsiteX5871" fmla="*/ 2389087 w 9586368"/>
              <a:gd name="connsiteY5871" fmla="*/ 2397165 h 6479439"/>
              <a:gd name="connsiteX5872" fmla="*/ 721970 w 9586368"/>
              <a:gd name="connsiteY5872" fmla="*/ 2393127 h 6479439"/>
              <a:gd name="connsiteX5873" fmla="*/ 731881 w 9586368"/>
              <a:gd name="connsiteY5873" fmla="*/ 2393127 h 6479439"/>
              <a:gd name="connsiteX5874" fmla="*/ 735899 w 9586368"/>
              <a:gd name="connsiteY5874" fmla="*/ 2397165 h 6479439"/>
              <a:gd name="connsiteX5875" fmla="*/ 735899 w 9586368"/>
              <a:gd name="connsiteY5875" fmla="*/ 2407036 h 6479439"/>
              <a:gd name="connsiteX5876" fmla="*/ 731881 w 9586368"/>
              <a:gd name="connsiteY5876" fmla="*/ 2411074 h 6479439"/>
              <a:gd name="connsiteX5877" fmla="*/ 721970 w 9586368"/>
              <a:gd name="connsiteY5877" fmla="*/ 2411074 h 6479439"/>
              <a:gd name="connsiteX5878" fmla="*/ 717951 w 9586368"/>
              <a:gd name="connsiteY5878" fmla="*/ 2407036 h 6479439"/>
              <a:gd name="connsiteX5879" fmla="*/ 717951 w 9586368"/>
              <a:gd name="connsiteY5879" fmla="*/ 2397165 h 6479439"/>
              <a:gd name="connsiteX5880" fmla="*/ 482658 w 9586368"/>
              <a:gd name="connsiteY5880" fmla="*/ 2393127 h 6479439"/>
              <a:gd name="connsiteX5881" fmla="*/ 492568 w 9586368"/>
              <a:gd name="connsiteY5881" fmla="*/ 2393127 h 6479439"/>
              <a:gd name="connsiteX5882" fmla="*/ 496588 w 9586368"/>
              <a:gd name="connsiteY5882" fmla="*/ 2397165 h 6479439"/>
              <a:gd name="connsiteX5883" fmla="*/ 496588 w 9586368"/>
              <a:gd name="connsiteY5883" fmla="*/ 2407036 h 6479439"/>
              <a:gd name="connsiteX5884" fmla="*/ 492568 w 9586368"/>
              <a:gd name="connsiteY5884" fmla="*/ 2411074 h 6479439"/>
              <a:gd name="connsiteX5885" fmla="*/ 482658 w 9586368"/>
              <a:gd name="connsiteY5885" fmla="*/ 2411074 h 6479439"/>
              <a:gd name="connsiteX5886" fmla="*/ 478639 w 9586368"/>
              <a:gd name="connsiteY5886" fmla="*/ 2407036 h 6479439"/>
              <a:gd name="connsiteX5887" fmla="*/ 478639 w 9586368"/>
              <a:gd name="connsiteY5887" fmla="*/ 2397165 h 6479439"/>
              <a:gd name="connsiteX5888" fmla="*/ 243344 w 9586368"/>
              <a:gd name="connsiteY5888" fmla="*/ 2393127 h 6479439"/>
              <a:gd name="connsiteX5889" fmla="*/ 253255 w 9586368"/>
              <a:gd name="connsiteY5889" fmla="*/ 2393127 h 6479439"/>
              <a:gd name="connsiteX5890" fmla="*/ 257274 w 9586368"/>
              <a:gd name="connsiteY5890" fmla="*/ 2397165 h 6479439"/>
              <a:gd name="connsiteX5891" fmla="*/ 257274 w 9586368"/>
              <a:gd name="connsiteY5891" fmla="*/ 2407036 h 6479439"/>
              <a:gd name="connsiteX5892" fmla="*/ 253255 w 9586368"/>
              <a:gd name="connsiteY5892" fmla="*/ 2411074 h 6479439"/>
              <a:gd name="connsiteX5893" fmla="*/ 243344 w 9586368"/>
              <a:gd name="connsiteY5893" fmla="*/ 2411074 h 6479439"/>
              <a:gd name="connsiteX5894" fmla="*/ 239325 w 9586368"/>
              <a:gd name="connsiteY5894" fmla="*/ 2407036 h 6479439"/>
              <a:gd name="connsiteX5895" fmla="*/ 239325 w 9586368"/>
              <a:gd name="connsiteY5895" fmla="*/ 2397165 h 6479439"/>
              <a:gd name="connsiteX5896" fmla="*/ 4031 w 9586368"/>
              <a:gd name="connsiteY5896" fmla="*/ 2393127 h 6479439"/>
              <a:gd name="connsiteX5897" fmla="*/ 13941 w 9586368"/>
              <a:gd name="connsiteY5897" fmla="*/ 2393127 h 6479439"/>
              <a:gd name="connsiteX5898" fmla="*/ 17961 w 9586368"/>
              <a:gd name="connsiteY5898" fmla="*/ 2397165 h 6479439"/>
              <a:gd name="connsiteX5899" fmla="*/ 17961 w 9586368"/>
              <a:gd name="connsiteY5899" fmla="*/ 2407036 h 6479439"/>
              <a:gd name="connsiteX5900" fmla="*/ 13941 w 9586368"/>
              <a:gd name="connsiteY5900" fmla="*/ 2411074 h 6479439"/>
              <a:gd name="connsiteX5901" fmla="*/ 4031 w 9586368"/>
              <a:gd name="connsiteY5901" fmla="*/ 2411074 h 6479439"/>
              <a:gd name="connsiteX5902" fmla="*/ 12 w 9586368"/>
              <a:gd name="connsiteY5902" fmla="*/ 2407036 h 6479439"/>
              <a:gd name="connsiteX5903" fmla="*/ 12 w 9586368"/>
              <a:gd name="connsiteY5903" fmla="*/ 2397165 h 6479439"/>
              <a:gd name="connsiteX5904" fmla="*/ 3111048 w 9586368"/>
              <a:gd name="connsiteY5904" fmla="*/ 2153996 h 6479439"/>
              <a:gd name="connsiteX5905" fmla="*/ 3120959 w 9586368"/>
              <a:gd name="connsiteY5905" fmla="*/ 2153996 h 6479439"/>
              <a:gd name="connsiteX5906" fmla="*/ 3124977 w 9586368"/>
              <a:gd name="connsiteY5906" fmla="*/ 2158034 h 6479439"/>
              <a:gd name="connsiteX5907" fmla="*/ 3124977 w 9586368"/>
              <a:gd name="connsiteY5907" fmla="*/ 2167907 h 6479439"/>
              <a:gd name="connsiteX5908" fmla="*/ 3120959 w 9586368"/>
              <a:gd name="connsiteY5908" fmla="*/ 2171946 h 6479439"/>
              <a:gd name="connsiteX5909" fmla="*/ 3111048 w 9586368"/>
              <a:gd name="connsiteY5909" fmla="*/ 2171946 h 6479439"/>
              <a:gd name="connsiteX5910" fmla="*/ 3107029 w 9586368"/>
              <a:gd name="connsiteY5910" fmla="*/ 2167907 h 6479439"/>
              <a:gd name="connsiteX5911" fmla="*/ 3107029 w 9586368"/>
              <a:gd name="connsiteY5911" fmla="*/ 2158034 h 6479439"/>
              <a:gd name="connsiteX5912" fmla="*/ 2871737 w 9586368"/>
              <a:gd name="connsiteY5912" fmla="*/ 2153996 h 6479439"/>
              <a:gd name="connsiteX5913" fmla="*/ 2881646 w 9586368"/>
              <a:gd name="connsiteY5913" fmla="*/ 2153996 h 6479439"/>
              <a:gd name="connsiteX5914" fmla="*/ 2885666 w 9586368"/>
              <a:gd name="connsiteY5914" fmla="*/ 2158034 h 6479439"/>
              <a:gd name="connsiteX5915" fmla="*/ 2885666 w 9586368"/>
              <a:gd name="connsiteY5915" fmla="*/ 2167907 h 6479439"/>
              <a:gd name="connsiteX5916" fmla="*/ 2881646 w 9586368"/>
              <a:gd name="connsiteY5916" fmla="*/ 2171946 h 6479439"/>
              <a:gd name="connsiteX5917" fmla="*/ 2871737 w 9586368"/>
              <a:gd name="connsiteY5917" fmla="*/ 2171946 h 6479439"/>
              <a:gd name="connsiteX5918" fmla="*/ 2867717 w 9586368"/>
              <a:gd name="connsiteY5918" fmla="*/ 2167907 h 6479439"/>
              <a:gd name="connsiteX5919" fmla="*/ 2867717 w 9586368"/>
              <a:gd name="connsiteY5919" fmla="*/ 2158034 h 6479439"/>
              <a:gd name="connsiteX5920" fmla="*/ 2632423 w 9586368"/>
              <a:gd name="connsiteY5920" fmla="*/ 2153996 h 6479439"/>
              <a:gd name="connsiteX5921" fmla="*/ 2642334 w 9586368"/>
              <a:gd name="connsiteY5921" fmla="*/ 2153996 h 6479439"/>
              <a:gd name="connsiteX5922" fmla="*/ 2646352 w 9586368"/>
              <a:gd name="connsiteY5922" fmla="*/ 2158034 h 6479439"/>
              <a:gd name="connsiteX5923" fmla="*/ 2646352 w 9586368"/>
              <a:gd name="connsiteY5923" fmla="*/ 2167907 h 6479439"/>
              <a:gd name="connsiteX5924" fmla="*/ 2642334 w 9586368"/>
              <a:gd name="connsiteY5924" fmla="*/ 2171947 h 6479439"/>
              <a:gd name="connsiteX5925" fmla="*/ 2632423 w 9586368"/>
              <a:gd name="connsiteY5925" fmla="*/ 2171947 h 6479439"/>
              <a:gd name="connsiteX5926" fmla="*/ 2628404 w 9586368"/>
              <a:gd name="connsiteY5926" fmla="*/ 2167907 h 6479439"/>
              <a:gd name="connsiteX5927" fmla="*/ 2628404 w 9586368"/>
              <a:gd name="connsiteY5927" fmla="*/ 2158034 h 6479439"/>
              <a:gd name="connsiteX5928" fmla="*/ 2393104 w 9586368"/>
              <a:gd name="connsiteY5928" fmla="*/ 2153996 h 6479439"/>
              <a:gd name="connsiteX5929" fmla="*/ 2403015 w 9586368"/>
              <a:gd name="connsiteY5929" fmla="*/ 2153996 h 6479439"/>
              <a:gd name="connsiteX5930" fmla="*/ 2407034 w 9586368"/>
              <a:gd name="connsiteY5930" fmla="*/ 2158034 h 6479439"/>
              <a:gd name="connsiteX5931" fmla="*/ 2407034 w 9586368"/>
              <a:gd name="connsiteY5931" fmla="*/ 2167907 h 6479439"/>
              <a:gd name="connsiteX5932" fmla="*/ 2403015 w 9586368"/>
              <a:gd name="connsiteY5932" fmla="*/ 2171947 h 6479439"/>
              <a:gd name="connsiteX5933" fmla="*/ 2393104 w 9586368"/>
              <a:gd name="connsiteY5933" fmla="*/ 2171947 h 6479439"/>
              <a:gd name="connsiteX5934" fmla="*/ 2389087 w 9586368"/>
              <a:gd name="connsiteY5934" fmla="*/ 2167907 h 6479439"/>
              <a:gd name="connsiteX5935" fmla="*/ 2389087 w 9586368"/>
              <a:gd name="connsiteY5935" fmla="*/ 2158034 h 6479439"/>
              <a:gd name="connsiteX5936" fmla="*/ 3350359 w 9586368"/>
              <a:gd name="connsiteY5936" fmla="*/ 2153995 h 6479439"/>
              <a:gd name="connsiteX5937" fmla="*/ 3360268 w 9586368"/>
              <a:gd name="connsiteY5937" fmla="*/ 2153995 h 6479439"/>
              <a:gd name="connsiteX5938" fmla="*/ 3364287 w 9586368"/>
              <a:gd name="connsiteY5938" fmla="*/ 2158034 h 6479439"/>
              <a:gd name="connsiteX5939" fmla="*/ 3364287 w 9586368"/>
              <a:gd name="connsiteY5939" fmla="*/ 2167907 h 6479439"/>
              <a:gd name="connsiteX5940" fmla="*/ 3360268 w 9586368"/>
              <a:gd name="connsiteY5940" fmla="*/ 2171946 h 6479439"/>
              <a:gd name="connsiteX5941" fmla="*/ 3350359 w 9586368"/>
              <a:gd name="connsiteY5941" fmla="*/ 2171946 h 6479439"/>
              <a:gd name="connsiteX5942" fmla="*/ 3346340 w 9586368"/>
              <a:gd name="connsiteY5942" fmla="*/ 2167907 h 6479439"/>
              <a:gd name="connsiteX5943" fmla="*/ 3346340 w 9586368"/>
              <a:gd name="connsiteY5943" fmla="*/ 2158034 h 6479439"/>
              <a:gd name="connsiteX5944" fmla="*/ 4546929 w 9586368"/>
              <a:gd name="connsiteY5944" fmla="*/ 2153976 h 6479439"/>
              <a:gd name="connsiteX5945" fmla="*/ 4556840 w 9586368"/>
              <a:gd name="connsiteY5945" fmla="*/ 2153976 h 6479439"/>
              <a:gd name="connsiteX5946" fmla="*/ 4560859 w 9586368"/>
              <a:gd name="connsiteY5946" fmla="*/ 2158014 h 6479439"/>
              <a:gd name="connsiteX5947" fmla="*/ 4560859 w 9586368"/>
              <a:gd name="connsiteY5947" fmla="*/ 2167886 h 6479439"/>
              <a:gd name="connsiteX5948" fmla="*/ 4556840 w 9586368"/>
              <a:gd name="connsiteY5948" fmla="*/ 2171926 h 6479439"/>
              <a:gd name="connsiteX5949" fmla="*/ 4546929 w 9586368"/>
              <a:gd name="connsiteY5949" fmla="*/ 2171926 h 6479439"/>
              <a:gd name="connsiteX5950" fmla="*/ 4542910 w 9586368"/>
              <a:gd name="connsiteY5950" fmla="*/ 2167886 h 6479439"/>
              <a:gd name="connsiteX5951" fmla="*/ 4542910 w 9586368"/>
              <a:gd name="connsiteY5951" fmla="*/ 2158014 h 6479439"/>
              <a:gd name="connsiteX5952" fmla="*/ 4307612 w 9586368"/>
              <a:gd name="connsiteY5952" fmla="*/ 2153976 h 6479439"/>
              <a:gd name="connsiteX5953" fmla="*/ 4317523 w 9586368"/>
              <a:gd name="connsiteY5953" fmla="*/ 2153976 h 6479439"/>
              <a:gd name="connsiteX5954" fmla="*/ 4321543 w 9586368"/>
              <a:gd name="connsiteY5954" fmla="*/ 2158014 h 6479439"/>
              <a:gd name="connsiteX5955" fmla="*/ 4321543 w 9586368"/>
              <a:gd name="connsiteY5955" fmla="*/ 2167887 h 6479439"/>
              <a:gd name="connsiteX5956" fmla="*/ 4317523 w 9586368"/>
              <a:gd name="connsiteY5956" fmla="*/ 2171926 h 6479439"/>
              <a:gd name="connsiteX5957" fmla="*/ 4307612 w 9586368"/>
              <a:gd name="connsiteY5957" fmla="*/ 2171926 h 6479439"/>
              <a:gd name="connsiteX5958" fmla="*/ 4303595 w 9586368"/>
              <a:gd name="connsiteY5958" fmla="*/ 2167887 h 6479439"/>
              <a:gd name="connsiteX5959" fmla="*/ 4303595 w 9586368"/>
              <a:gd name="connsiteY5959" fmla="*/ 2158014 h 6479439"/>
              <a:gd name="connsiteX5960" fmla="*/ 4068297 w 9586368"/>
              <a:gd name="connsiteY5960" fmla="*/ 2153976 h 6479439"/>
              <a:gd name="connsiteX5961" fmla="*/ 4078210 w 9586368"/>
              <a:gd name="connsiteY5961" fmla="*/ 2153976 h 6479439"/>
              <a:gd name="connsiteX5962" fmla="*/ 4082229 w 9586368"/>
              <a:gd name="connsiteY5962" fmla="*/ 2158014 h 6479439"/>
              <a:gd name="connsiteX5963" fmla="*/ 4082229 w 9586368"/>
              <a:gd name="connsiteY5963" fmla="*/ 2167887 h 6479439"/>
              <a:gd name="connsiteX5964" fmla="*/ 4078210 w 9586368"/>
              <a:gd name="connsiteY5964" fmla="*/ 2171926 h 6479439"/>
              <a:gd name="connsiteX5965" fmla="*/ 4068297 w 9586368"/>
              <a:gd name="connsiteY5965" fmla="*/ 2171926 h 6479439"/>
              <a:gd name="connsiteX5966" fmla="*/ 4064278 w 9586368"/>
              <a:gd name="connsiteY5966" fmla="*/ 2167887 h 6479439"/>
              <a:gd name="connsiteX5967" fmla="*/ 4064278 w 9586368"/>
              <a:gd name="connsiteY5967" fmla="*/ 2158014 h 6479439"/>
              <a:gd name="connsiteX5968" fmla="*/ 3828990 w 9586368"/>
              <a:gd name="connsiteY5968" fmla="*/ 2153976 h 6479439"/>
              <a:gd name="connsiteX5969" fmla="*/ 3838899 w 9586368"/>
              <a:gd name="connsiteY5969" fmla="*/ 2153976 h 6479439"/>
              <a:gd name="connsiteX5970" fmla="*/ 3842917 w 9586368"/>
              <a:gd name="connsiteY5970" fmla="*/ 2158014 h 6479439"/>
              <a:gd name="connsiteX5971" fmla="*/ 3842917 w 9586368"/>
              <a:gd name="connsiteY5971" fmla="*/ 2167887 h 6479439"/>
              <a:gd name="connsiteX5972" fmla="*/ 3838899 w 9586368"/>
              <a:gd name="connsiteY5972" fmla="*/ 2171926 h 6479439"/>
              <a:gd name="connsiteX5973" fmla="*/ 3828990 w 9586368"/>
              <a:gd name="connsiteY5973" fmla="*/ 2171926 h 6479439"/>
              <a:gd name="connsiteX5974" fmla="*/ 3824971 w 9586368"/>
              <a:gd name="connsiteY5974" fmla="*/ 2167887 h 6479439"/>
              <a:gd name="connsiteX5975" fmla="*/ 3824971 w 9586368"/>
              <a:gd name="connsiteY5975" fmla="*/ 2158014 h 6479439"/>
              <a:gd name="connsiteX5976" fmla="*/ 3589676 w 9586368"/>
              <a:gd name="connsiteY5976" fmla="*/ 2153976 h 6479439"/>
              <a:gd name="connsiteX5977" fmla="*/ 3599585 w 9586368"/>
              <a:gd name="connsiteY5977" fmla="*/ 2153976 h 6479439"/>
              <a:gd name="connsiteX5978" fmla="*/ 3603604 w 9586368"/>
              <a:gd name="connsiteY5978" fmla="*/ 2158014 h 6479439"/>
              <a:gd name="connsiteX5979" fmla="*/ 3603604 w 9586368"/>
              <a:gd name="connsiteY5979" fmla="*/ 2167887 h 6479439"/>
              <a:gd name="connsiteX5980" fmla="*/ 3599585 w 9586368"/>
              <a:gd name="connsiteY5980" fmla="*/ 2171926 h 6479439"/>
              <a:gd name="connsiteX5981" fmla="*/ 3589676 w 9586368"/>
              <a:gd name="connsiteY5981" fmla="*/ 2171926 h 6479439"/>
              <a:gd name="connsiteX5982" fmla="*/ 3585657 w 9586368"/>
              <a:gd name="connsiteY5982" fmla="*/ 2167887 h 6479439"/>
              <a:gd name="connsiteX5983" fmla="*/ 3585657 w 9586368"/>
              <a:gd name="connsiteY5983" fmla="*/ 2158014 h 6479439"/>
              <a:gd name="connsiteX5984" fmla="*/ 5504099 w 9586368"/>
              <a:gd name="connsiteY5984" fmla="*/ 2153956 h 6479439"/>
              <a:gd name="connsiteX5985" fmla="*/ 5514010 w 9586368"/>
              <a:gd name="connsiteY5985" fmla="*/ 2153956 h 6479439"/>
              <a:gd name="connsiteX5986" fmla="*/ 5518029 w 9586368"/>
              <a:gd name="connsiteY5986" fmla="*/ 2157994 h 6479439"/>
              <a:gd name="connsiteX5987" fmla="*/ 5518029 w 9586368"/>
              <a:gd name="connsiteY5987" fmla="*/ 2167867 h 6479439"/>
              <a:gd name="connsiteX5988" fmla="*/ 5514010 w 9586368"/>
              <a:gd name="connsiteY5988" fmla="*/ 2171905 h 6479439"/>
              <a:gd name="connsiteX5989" fmla="*/ 5504099 w 9586368"/>
              <a:gd name="connsiteY5989" fmla="*/ 2171905 h 6479439"/>
              <a:gd name="connsiteX5990" fmla="*/ 5500080 w 9586368"/>
              <a:gd name="connsiteY5990" fmla="*/ 2167867 h 6479439"/>
              <a:gd name="connsiteX5991" fmla="*/ 5500080 w 9586368"/>
              <a:gd name="connsiteY5991" fmla="*/ 2157994 h 6479439"/>
              <a:gd name="connsiteX5992" fmla="*/ 5264784 w 9586368"/>
              <a:gd name="connsiteY5992" fmla="*/ 2153956 h 6479439"/>
              <a:gd name="connsiteX5993" fmla="*/ 5274694 w 9586368"/>
              <a:gd name="connsiteY5993" fmla="*/ 2153956 h 6479439"/>
              <a:gd name="connsiteX5994" fmla="*/ 5278713 w 9586368"/>
              <a:gd name="connsiteY5994" fmla="*/ 2157994 h 6479439"/>
              <a:gd name="connsiteX5995" fmla="*/ 5278713 w 9586368"/>
              <a:gd name="connsiteY5995" fmla="*/ 2167867 h 6479439"/>
              <a:gd name="connsiteX5996" fmla="*/ 5274694 w 9586368"/>
              <a:gd name="connsiteY5996" fmla="*/ 2171905 h 6479439"/>
              <a:gd name="connsiteX5997" fmla="*/ 5264784 w 9586368"/>
              <a:gd name="connsiteY5997" fmla="*/ 2171905 h 6479439"/>
              <a:gd name="connsiteX5998" fmla="*/ 5260765 w 9586368"/>
              <a:gd name="connsiteY5998" fmla="*/ 2167867 h 6479439"/>
              <a:gd name="connsiteX5999" fmla="*/ 5260765 w 9586368"/>
              <a:gd name="connsiteY5999" fmla="*/ 2157994 h 6479439"/>
              <a:gd name="connsiteX6000" fmla="*/ 5025470 w 9586368"/>
              <a:gd name="connsiteY6000" fmla="*/ 2153956 h 6479439"/>
              <a:gd name="connsiteX6001" fmla="*/ 5035381 w 9586368"/>
              <a:gd name="connsiteY6001" fmla="*/ 2153956 h 6479439"/>
              <a:gd name="connsiteX6002" fmla="*/ 5039400 w 9586368"/>
              <a:gd name="connsiteY6002" fmla="*/ 2157994 h 6479439"/>
              <a:gd name="connsiteX6003" fmla="*/ 5039400 w 9586368"/>
              <a:gd name="connsiteY6003" fmla="*/ 2167867 h 6479439"/>
              <a:gd name="connsiteX6004" fmla="*/ 5035381 w 9586368"/>
              <a:gd name="connsiteY6004" fmla="*/ 2171906 h 6479439"/>
              <a:gd name="connsiteX6005" fmla="*/ 5025470 w 9586368"/>
              <a:gd name="connsiteY6005" fmla="*/ 2171906 h 6479439"/>
              <a:gd name="connsiteX6006" fmla="*/ 5021451 w 9586368"/>
              <a:gd name="connsiteY6006" fmla="*/ 2167867 h 6479439"/>
              <a:gd name="connsiteX6007" fmla="*/ 5021451 w 9586368"/>
              <a:gd name="connsiteY6007" fmla="*/ 2157994 h 6479439"/>
              <a:gd name="connsiteX6008" fmla="*/ 4786241 w 9586368"/>
              <a:gd name="connsiteY6008" fmla="*/ 2153956 h 6479439"/>
              <a:gd name="connsiteX6009" fmla="*/ 4796152 w 9586368"/>
              <a:gd name="connsiteY6009" fmla="*/ 2153956 h 6479439"/>
              <a:gd name="connsiteX6010" fmla="*/ 4800171 w 9586368"/>
              <a:gd name="connsiteY6010" fmla="*/ 2157994 h 6479439"/>
              <a:gd name="connsiteX6011" fmla="*/ 4800171 w 9586368"/>
              <a:gd name="connsiteY6011" fmla="*/ 2167867 h 6479439"/>
              <a:gd name="connsiteX6012" fmla="*/ 4796152 w 9586368"/>
              <a:gd name="connsiteY6012" fmla="*/ 2171906 h 6479439"/>
              <a:gd name="connsiteX6013" fmla="*/ 4786241 w 9586368"/>
              <a:gd name="connsiteY6013" fmla="*/ 2171906 h 6479439"/>
              <a:gd name="connsiteX6014" fmla="*/ 4782224 w 9586368"/>
              <a:gd name="connsiteY6014" fmla="*/ 2167867 h 6479439"/>
              <a:gd name="connsiteX6015" fmla="*/ 4782224 w 9586368"/>
              <a:gd name="connsiteY6015" fmla="*/ 2157994 h 6479439"/>
              <a:gd name="connsiteX6016" fmla="*/ 5743412 w 9586368"/>
              <a:gd name="connsiteY6016" fmla="*/ 2153955 h 6479439"/>
              <a:gd name="connsiteX6017" fmla="*/ 5753323 w 9586368"/>
              <a:gd name="connsiteY6017" fmla="*/ 2153955 h 6479439"/>
              <a:gd name="connsiteX6018" fmla="*/ 5757342 w 9586368"/>
              <a:gd name="connsiteY6018" fmla="*/ 2157994 h 6479439"/>
              <a:gd name="connsiteX6019" fmla="*/ 5757342 w 9586368"/>
              <a:gd name="connsiteY6019" fmla="*/ 2167866 h 6479439"/>
              <a:gd name="connsiteX6020" fmla="*/ 5753323 w 9586368"/>
              <a:gd name="connsiteY6020" fmla="*/ 2171905 h 6479439"/>
              <a:gd name="connsiteX6021" fmla="*/ 5743412 w 9586368"/>
              <a:gd name="connsiteY6021" fmla="*/ 2171905 h 6479439"/>
              <a:gd name="connsiteX6022" fmla="*/ 5739393 w 9586368"/>
              <a:gd name="connsiteY6022" fmla="*/ 2167866 h 6479439"/>
              <a:gd name="connsiteX6023" fmla="*/ 5739393 w 9586368"/>
              <a:gd name="connsiteY6023" fmla="*/ 2157994 h 6479439"/>
              <a:gd name="connsiteX6024" fmla="*/ 6222042 w 9586368"/>
              <a:gd name="connsiteY6024" fmla="*/ 2153936 h 6479439"/>
              <a:gd name="connsiteX6025" fmla="*/ 6231952 w 9586368"/>
              <a:gd name="connsiteY6025" fmla="*/ 2153936 h 6479439"/>
              <a:gd name="connsiteX6026" fmla="*/ 6235971 w 9586368"/>
              <a:gd name="connsiteY6026" fmla="*/ 2157974 h 6479439"/>
              <a:gd name="connsiteX6027" fmla="*/ 6235971 w 9586368"/>
              <a:gd name="connsiteY6027" fmla="*/ 2167846 h 6479439"/>
              <a:gd name="connsiteX6028" fmla="*/ 6231952 w 9586368"/>
              <a:gd name="connsiteY6028" fmla="*/ 2171885 h 6479439"/>
              <a:gd name="connsiteX6029" fmla="*/ 6222042 w 9586368"/>
              <a:gd name="connsiteY6029" fmla="*/ 2171885 h 6479439"/>
              <a:gd name="connsiteX6030" fmla="*/ 6218023 w 9586368"/>
              <a:gd name="connsiteY6030" fmla="*/ 2167846 h 6479439"/>
              <a:gd name="connsiteX6031" fmla="*/ 6218023 w 9586368"/>
              <a:gd name="connsiteY6031" fmla="*/ 2157974 h 6479439"/>
              <a:gd name="connsiteX6032" fmla="*/ 5982729 w 9586368"/>
              <a:gd name="connsiteY6032" fmla="*/ 2153936 h 6479439"/>
              <a:gd name="connsiteX6033" fmla="*/ 5992639 w 9586368"/>
              <a:gd name="connsiteY6033" fmla="*/ 2153936 h 6479439"/>
              <a:gd name="connsiteX6034" fmla="*/ 5996658 w 9586368"/>
              <a:gd name="connsiteY6034" fmla="*/ 2157974 h 6479439"/>
              <a:gd name="connsiteX6035" fmla="*/ 5996658 w 9586368"/>
              <a:gd name="connsiteY6035" fmla="*/ 2167846 h 6479439"/>
              <a:gd name="connsiteX6036" fmla="*/ 5992639 w 9586368"/>
              <a:gd name="connsiteY6036" fmla="*/ 2171885 h 6479439"/>
              <a:gd name="connsiteX6037" fmla="*/ 5982729 w 9586368"/>
              <a:gd name="connsiteY6037" fmla="*/ 2171885 h 6479439"/>
              <a:gd name="connsiteX6038" fmla="*/ 5978710 w 9586368"/>
              <a:gd name="connsiteY6038" fmla="*/ 2167846 h 6479439"/>
              <a:gd name="connsiteX6039" fmla="*/ 5978710 w 9586368"/>
              <a:gd name="connsiteY6039" fmla="*/ 2157974 h 6479439"/>
              <a:gd name="connsiteX6040" fmla="*/ 6939983 w 9586368"/>
              <a:gd name="connsiteY6040" fmla="*/ 2153935 h 6479439"/>
              <a:gd name="connsiteX6041" fmla="*/ 6949894 w 9586368"/>
              <a:gd name="connsiteY6041" fmla="*/ 2153935 h 6479439"/>
              <a:gd name="connsiteX6042" fmla="*/ 6953913 w 9586368"/>
              <a:gd name="connsiteY6042" fmla="*/ 2157974 h 6479439"/>
              <a:gd name="connsiteX6043" fmla="*/ 6953913 w 9586368"/>
              <a:gd name="connsiteY6043" fmla="*/ 2167845 h 6479439"/>
              <a:gd name="connsiteX6044" fmla="*/ 6949894 w 9586368"/>
              <a:gd name="connsiteY6044" fmla="*/ 2171885 h 6479439"/>
              <a:gd name="connsiteX6045" fmla="*/ 6939983 w 9586368"/>
              <a:gd name="connsiteY6045" fmla="*/ 2171885 h 6479439"/>
              <a:gd name="connsiteX6046" fmla="*/ 6935964 w 9586368"/>
              <a:gd name="connsiteY6046" fmla="*/ 2167845 h 6479439"/>
              <a:gd name="connsiteX6047" fmla="*/ 6935964 w 9586368"/>
              <a:gd name="connsiteY6047" fmla="*/ 2157974 h 6479439"/>
              <a:gd name="connsiteX6048" fmla="*/ 6700670 w 9586368"/>
              <a:gd name="connsiteY6048" fmla="*/ 2153935 h 6479439"/>
              <a:gd name="connsiteX6049" fmla="*/ 6710581 w 9586368"/>
              <a:gd name="connsiteY6049" fmla="*/ 2153935 h 6479439"/>
              <a:gd name="connsiteX6050" fmla="*/ 6714600 w 9586368"/>
              <a:gd name="connsiteY6050" fmla="*/ 2157974 h 6479439"/>
              <a:gd name="connsiteX6051" fmla="*/ 6714600 w 9586368"/>
              <a:gd name="connsiteY6051" fmla="*/ 2167846 h 6479439"/>
              <a:gd name="connsiteX6052" fmla="*/ 6710581 w 9586368"/>
              <a:gd name="connsiteY6052" fmla="*/ 2171885 h 6479439"/>
              <a:gd name="connsiteX6053" fmla="*/ 6700670 w 9586368"/>
              <a:gd name="connsiteY6053" fmla="*/ 2171885 h 6479439"/>
              <a:gd name="connsiteX6054" fmla="*/ 6696651 w 9586368"/>
              <a:gd name="connsiteY6054" fmla="*/ 2167846 h 6479439"/>
              <a:gd name="connsiteX6055" fmla="*/ 6696651 w 9586368"/>
              <a:gd name="connsiteY6055" fmla="*/ 2157974 h 6479439"/>
              <a:gd name="connsiteX6056" fmla="*/ 6461356 w 9586368"/>
              <a:gd name="connsiteY6056" fmla="*/ 2153935 h 6479439"/>
              <a:gd name="connsiteX6057" fmla="*/ 6471266 w 9586368"/>
              <a:gd name="connsiteY6057" fmla="*/ 2153935 h 6479439"/>
              <a:gd name="connsiteX6058" fmla="*/ 6475285 w 9586368"/>
              <a:gd name="connsiteY6058" fmla="*/ 2157974 h 6479439"/>
              <a:gd name="connsiteX6059" fmla="*/ 6475285 w 9586368"/>
              <a:gd name="connsiteY6059" fmla="*/ 2167846 h 6479439"/>
              <a:gd name="connsiteX6060" fmla="*/ 6471266 w 9586368"/>
              <a:gd name="connsiteY6060" fmla="*/ 2171885 h 6479439"/>
              <a:gd name="connsiteX6061" fmla="*/ 6461356 w 9586368"/>
              <a:gd name="connsiteY6061" fmla="*/ 2171885 h 6479439"/>
              <a:gd name="connsiteX6062" fmla="*/ 6457337 w 9586368"/>
              <a:gd name="connsiteY6062" fmla="*/ 2167846 h 6479439"/>
              <a:gd name="connsiteX6063" fmla="*/ 6457337 w 9586368"/>
              <a:gd name="connsiteY6063" fmla="*/ 2157974 h 6479439"/>
              <a:gd name="connsiteX6064" fmla="*/ 7418611 w 9586368"/>
              <a:gd name="connsiteY6064" fmla="*/ 2153916 h 6479439"/>
              <a:gd name="connsiteX6065" fmla="*/ 7428521 w 9586368"/>
              <a:gd name="connsiteY6065" fmla="*/ 2153916 h 6479439"/>
              <a:gd name="connsiteX6066" fmla="*/ 7432540 w 9586368"/>
              <a:gd name="connsiteY6066" fmla="*/ 2157955 h 6479439"/>
              <a:gd name="connsiteX6067" fmla="*/ 7432540 w 9586368"/>
              <a:gd name="connsiteY6067" fmla="*/ 2167826 h 6479439"/>
              <a:gd name="connsiteX6068" fmla="*/ 7428521 w 9586368"/>
              <a:gd name="connsiteY6068" fmla="*/ 2171865 h 6479439"/>
              <a:gd name="connsiteX6069" fmla="*/ 7418611 w 9586368"/>
              <a:gd name="connsiteY6069" fmla="*/ 2171865 h 6479439"/>
              <a:gd name="connsiteX6070" fmla="*/ 7414592 w 9586368"/>
              <a:gd name="connsiteY6070" fmla="*/ 2167826 h 6479439"/>
              <a:gd name="connsiteX6071" fmla="*/ 7414592 w 9586368"/>
              <a:gd name="connsiteY6071" fmla="*/ 2157955 h 6479439"/>
              <a:gd name="connsiteX6072" fmla="*/ 7179298 w 9586368"/>
              <a:gd name="connsiteY6072" fmla="*/ 2153916 h 6479439"/>
              <a:gd name="connsiteX6073" fmla="*/ 7189209 w 9586368"/>
              <a:gd name="connsiteY6073" fmla="*/ 2153916 h 6479439"/>
              <a:gd name="connsiteX6074" fmla="*/ 7193228 w 9586368"/>
              <a:gd name="connsiteY6074" fmla="*/ 2157955 h 6479439"/>
              <a:gd name="connsiteX6075" fmla="*/ 7193228 w 9586368"/>
              <a:gd name="connsiteY6075" fmla="*/ 2167826 h 6479439"/>
              <a:gd name="connsiteX6076" fmla="*/ 7189209 w 9586368"/>
              <a:gd name="connsiteY6076" fmla="*/ 2171865 h 6479439"/>
              <a:gd name="connsiteX6077" fmla="*/ 7179298 w 9586368"/>
              <a:gd name="connsiteY6077" fmla="*/ 2171865 h 6479439"/>
              <a:gd name="connsiteX6078" fmla="*/ 7175279 w 9586368"/>
              <a:gd name="connsiteY6078" fmla="*/ 2167826 h 6479439"/>
              <a:gd name="connsiteX6079" fmla="*/ 7175279 w 9586368"/>
              <a:gd name="connsiteY6079" fmla="*/ 2157955 h 6479439"/>
              <a:gd name="connsiteX6080" fmla="*/ 8136553 w 9586368"/>
              <a:gd name="connsiteY6080" fmla="*/ 2153915 h 6479439"/>
              <a:gd name="connsiteX6081" fmla="*/ 8146464 w 9586368"/>
              <a:gd name="connsiteY6081" fmla="*/ 2153915 h 6479439"/>
              <a:gd name="connsiteX6082" fmla="*/ 8150483 w 9586368"/>
              <a:gd name="connsiteY6082" fmla="*/ 2157955 h 6479439"/>
              <a:gd name="connsiteX6083" fmla="*/ 8150483 w 9586368"/>
              <a:gd name="connsiteY6083" fmla="*/ 2167825 h 6479439"/>
              <a:gd name="connsiteX6084" fmla="*/ 8146464 w 9586368"/>
              <a:gd name="connsiteY6084" fmla="*/ 2171864 h 6479439"/>
              <a:gd name="connsiteX6085" fmla="*/ 8136553 w 9586368"/>
              <a:gd name="connsiteY6085" fmla="*/ 2171864 h 6479439"/>
              <a:gd name="connsiteX6086" fmla="*/ 8132534 w 9586368"/>
              <a:gd name="connsiteY6086" fmla="*/ 2167825 h 6479439"/>
              <a:gd name="connsiteX6087" fmla="*/ 8132534 w 9586368"/>
              <a:gd name="connsiteY6087" fmla="*/ 2157955 h 6479439"/>
              <a:gd name="connsiteX6088" fmla="*/ 7897241 w 9586368"/>
              <a:gd name="connsiteY6088" fmla="*/ 2153915 h 6479439"/>
              <a:gd name="connsiteX6089" fmla="*/ 7907151 w 9586368"/>
              <a:gd name="connsiteY6089" fmla="*/ 2153915 h 6479439"/>
              <a:gd name="connsiteX6090" fmla="*/ 7911170 w 9586368"/>
              <a:gd name="connsiteY6090" fmla="*/ 2157955 h 6479439"/>
              <a:gd name="connsiteX6091" fmla="*/ 7911170 w 9586368"/>
              <a:gd name="connsiteY6091" fmla="*/ 2167826 h 6479439"/>
              <a:gd name="connsiteX6092" fmla="*/ 7907151 w 9586368"/>
              <a:gd name="connsiteY6092" fmla="*/ 2171864 h 6479439"/>
              <a:gd name="connsiteX6093" fmla="*/ 7897241 w 9586368"/>
              <a:gd name="connsiteY6093" fmla="*/ 2171864 h 6479439"/>
              <a:gd name="connsiteX6094" fmla="*/ 7893222 w 9586368"/>
              <a:gd name="connsiteY6094" fmla="*/ 2167826 h 6479439"/>
              <a:gd name="connsiteX6095" fmla="*/ 7893222 w 9586368"/>
              <a:gd name="connsiteY6095" fmla="*/ 2157955 h 6479439"/>
              <a:gd name="connsiteX6096" fmla="*/ 7657926 w 9586368"/>
              <a:gd name="connsiteY6096" fmla="*/ 2153915 h 6479439"/>
              <a:gd name="connsiteX6097" fmla="*/ 7667836 w 9586368"/>
              <a:gd name="connsiteY6097" fmla="*/ 2153915 h 6479439"/>
              <a:gd name="connsiteX6098" fmla="*/ 7671855 w 9586368"/>
              <a:gd name="connsiteY6098" fmla="*/ 2157955 h 6479439"/>
              <a:gd name="connsiteX6099" fmla="*/ 7671855 w 9586368"/>
              <a:gd name="connsiteY6099" fmla="*/ 2167826 h 6479439"/>
              <a:gd name="connsiteX6100" fmla="*/ 7667836 w 9586368"/>
              <a:gd name="connsiteY6100" fmla="*/ 2171864 h 6479439"/>
              <a:gd name="connsiteX6101" fmla="*/ 7657926 w 9586368"/>
              <a:gd name="connsiteY6101" fmla="*/ 2171864 h 6479439"/>
              <a:gd name="connsiteX6102" fmla="*/ 7653906 w 9586368"/>
              <a:gd name="connsiteY6102" fmla="*/ 2167826 h 6479439"/>
              <a:gd name="connsiteX6103" fmla="*/ 7653906 w 9586368"/>
              <a:gd name="connsiteY6103" fmla="*/ 2157955 h 6479439"/>
              <a:gd name="connsiteX6104" fmla="*/ 8615184 w 9586368"/>
              <a:gd name="connsiteY6104" fmla="*/ 2153896 h 6479439"/>
              <a:gd name="connsiteX6105" fmla="*/ 8625095 w 9586368"/>
              <a:gd name="connsiteY6105" fmla="*/ 2153896 h 6479439"/>
              <a:gd name="connsiteX6106" fmla="*/ 8629114 w 9586368"/>
              <a:gd name="connsiteY6106" fmla="*/ 2157935 h 6479439"/>
              <a:gd name="connsiteX6107" fmla="*/ 8629114 w 9586368"/>
              <a:gd name="connsiteY6107" fmla="*/ 2167805 h 6479439"/>
              <a:gd name="connsiteX6108" fmla="*/ 8625095 w 9586368"/>
              <a:gd name="connsiteY6108" fmla="*/ 2171844 h 6479439"/>
              <a:gd name="connsiteX6109" fmla="*/ 8615184 w 9586368"/>
              <a:gd name="connsiteY6109" fmla="*/ 2171844 h 6479439"/>
              <a:gd name="connsiteX6110" fmla="*/ 8611165 w 9586368"/>
              <a:gd name="connsiteY6110" fmla="*/ 2167805 h 6479439"/>
              <a:gd name="connsiteX6111" fmla="*/ 8611165 w 9586368"/>
              <a:gd name="connsiteY6111" fmla="*/ 2157935 h 6479439"/>
              <a:gd name="connsiteX6112" fmla="*/ 8375869 w 9586368"/>
              <a:gd name="connsiteY6112" fmla="*/ 2153896 h 6479439"/>
              <a:gd name="connsiteX6113" fmla="*/ 8385779 w 9586368"/>
              <a:gd name="connsiteY6113" fmla="*/ 2153896 h 6479439"/>
              <a:gd name="connsiteX6114" fmla="*/ 8389799 w 9586368"/>
              <a:gd name="connsiteY6114" fmla="*/ 2157935 h 6479439"/>
              <a:gd name="connsiteX6115" fmla="*/ 8389799 w 9586368"/>
              <a:gd name="connsiteY6115" fmla="*/ 2167805 h 6479439"/>
              <a:gd name="connsiteX6116" fmla="*/ 8385779 w 9586368"/>
              <a:gd name="connsiteY6116" fmla="*/ 2171844 h 6479439"/>
              <a:gd name="connsiteX6117" fmla="*/ 8375869 w 9586368"/>
              <a:gd name="connsiteY6117" fmla="*/ 2171844 h 6479439"/>
              <a:gd name="connsiteX6118" fmla="*/ 8371850 w 9586368"/>
              <a:gd name="connsiteY6118" fmla="*/ 2167805 h 6479439"/>
              <a:gd name="connsiteX6119" fmla="*/ 8371850 w 9586368"/>
              <a:gd name="connsiteY6119" fmla="*/ 2157935 h 6479439"/>
              <a:gd name="connsiteX6120" fmla="*/ 9333125 w 9586368"/>
              <a:gd name="connsiteY6120" fmla="*/ 2153895 h 6479439"/>
              <a:gd name="connsiteX6121" fmla="*/ 9343036 w 9586368"/>
              <a:gd name="connsiteY6121" fmla="*/ 2153895 h 6479439"/>
              <a:gd name="connsiteX6122" fmla="*/ 9347055 w 9586368"/>
              <a:gd name="connsiteY6122" fmla="*/ 2157934 h 6479439"/>
              <a:gd name="connsiteX6123" fmla="*/ 9347055 w 9586368"/>
              <a:gd name="connsiteY6123" fmla="*/ 2167805 h 6479439"/>
              <a:gd name="connsiteX6124" fmla="*/ 9343036 w 9586368"/>
              <a:gd name="connsiteY6124" fmla="*/ 2171844 h 6479439"/>
              <a:gd name="connsiteX6125" fmla="*/ 9333125 w 9586368"/>
              <a:gd name="connsiteY6125" fmla="*/ 2171844 h 6479439"/>
              <a:gd name="connsiteX6126" fmla="*/ 9329106 w 9586368"/>
              <a:gd name="connsiteY6126" fmla="*/ 2167805 h 6479439"/>
              <a:gd name="connsiteX6127" fmla="*/ 9329106 w 9586368"/>
              <a:gd name="connsiteY6127" fmla="*/ 2157934 h 6479439"/>
              <a:gd name="connsiteX6128" fmla="*/ 9093811 w 9586368"/>
              <a:gd name="connsiteY6128" fmla="*/ 2153895 h 6479439"/>
              <a:gd name="connsiteX6129" fmla="*/ 9103722 w 9586368"/>
              <a:gd name="connsiteY6129" fmla="*/ 2153895 h 6479439"/>
              <a:gd name="connsiteX6130" fmla="*/ 9107741 w 9586368"/>
              <a:gd name="connsiteY6130" fmla="*/ 2157935 h 6479439"/>
              <a:gd name="connsiteX6131" fmla="*/ 9107741 w 9586368"/>
              <a:gd name="connsiteY6131" fmla="*/ 2167805 h 6479439"/>
              <a:gd name="connsiteX6132" fmla="*/ 9103722 w 9586368"/>
              <a:gd name="connsiteY6132" fmla="*/ 2171844 h 6479439"/>
              <a:gd name="connsiteX6133" fmla="*/ 9093811 w 9586368"/>
              <a:gd name="connsiteY6133" fmla="*/ 2171844 h 6479439"/>
              <a:gd name="connsiteX6134" fmla="*/ 9089792 w 9586368"/>
              <a:gd name="connsiteY6134" fmla="*/ 2167805 h 6479439"/>
              <a:gd name="connsiteX6135" fmla="*/ 9089792 w 9586368"/>
              <a:gd name="connsiteY6135" fmla="*/ 2157935 h 6479439"/>
              <a:gd name="connsiteX6136" fmla="*/ 8854496 w 9586368"/>
              <a:gd name="connsiteY6136" fmla="*/ 2153895 h 6479439"/>
              <a:gd name="connsiteX6137" fmla="*/ 8864407 w 9586368"/>
              <a:gd name="connsiteY6137" fmla="*/ 2153895 h 6479439"/>
              <a:gd name="connsiteX6138" fmla="*/ 8868426 w 9586368"/>
              <a:gd name="connsiteY6138" fmla="*/ 2157935 h 6479439"/>
              <a:gd name="connsiteX6139" fmla="*/ 8868426 w 9586368"/>
              <a:gd name="connsiteY6139" fmla="*/ 2167805 h 6479439"/>
              <a:gd name="connsiteX6140" fmla="*/ 8864407 w 9586368"/>
              <a:gd name="connsiteY6140" fmla="*/ 2171844 h 6479439"/>
              <a:gd name="connsiteX6141" fmla="*/ 8854496 w 9586368"/>
              <a:gd name="connsiteY6141" fmla="*/ 2171844 h 6479439"/>
              <a:gd name="connsiteX6142" fmla="*/ 8850477 w 9586368"/>
              <a:gd name="connsiteY6142" fmla="*/ 2167805 h 6479439"/>
              <a:gd name="connsiteX6143" fmla="*/ 8850477 w 9586368"/>
              <a:gd name="connsiteY6143" fmla="*/ 2157935 h 6479439"/>
              <a:gd name="connsiteX6144" fmla="*/ 9572438 w 9586368"/>
              <a:gd name="connsiteY6144" fmla="*/ 2153876 h 6479439"/>
              <a:gd name="connsiteX6145" fmla="*/ 9582349 w 9586368"/>
              <a:gd name="connsiteY6145" fmla="*/ 2153876 h 6479439"/>
              <a:gd name="connsiteX6146" fmla="*/ 9586368 w 9586368"/>
              <a:gd name="connsiteY6146" fmla="*/ 2157914 h 6479439"/>
              <a:gd name="connsiteX6147" fmla="*/ 9586368 w 9586368"/>
              <a:gd name="connsiteY6147" fmla="*/ 2167786 h 6479439"/>
              <a:gd name="connsiteX6148" fmla="*/ 9582349 w 9586368"/>
              <a:gd name="connsiteY6148" fmla="*/ 2171824 h 6479439"/>
              <a:gd name="connsiteX6149" fmla="*/ 9572438 w 9586368"/>
              <a:gd name="connsiteY6149" fmla="*/ 2171824 h 6479439"/>
              <a:gd name="connsiteX6150" fmla="*/ 9568419 w 9586368"/>
              <a:gd name="connsiteY6150" fmla="*/ 2167786 h 6479439"/>
              <a:gd name="connsiteX6151" fmla="*/ 9568419 w 9586368"/>
              <a:gd name="connsiteY6151" fmla="*/ 2157914 h 6479439"/>
              <a:gd name="connsiteX6152" fmla="*/ 1200582 w 9586368"/>
              <a:gd name="connsiteY6152" fmla="*/ 2153867 h 6479439"/>
              <a:gd name="connsiteX6153" fmla="*/ 1210491 w 9586368"/>
              <a:gd name="connsiteY6153" fmla="*/ 2153867 h 6479439"/>
              <a:gd name="connsiteX6154" fmla="*/ 1214510 w 9586368"/>
              <a:gd name="connsiteY6154" fmla="*/ 2157906 h 6479439"/>
              <a:gd name="connsiteX6155" fmla="*/ 1214510 w 9586368"/>
              <a:gd name="connsiteY6155" fmla="*/ 2167776 h 6479439"/>
              <a:gd name="connsiteX6156" fmla="*/ 1210491 w 9586368"/>
              <a:gd name="connsiteY6156" fmla="*/ 2171815 h 6479439"/>
              <a:gd name="connsiteX6157" fmla="*/ 1200582 w 9586368"/>
              <a:gd name="connsiteY6157" fmla="*/ 2171815 h 6479439"/>
              <a:gd name="connsiteX6158" fmla="*/ 1196562 w 9586368"/>
              <a:gd name="connsiteY6158" fmla="*/ 2167776 h 6479439"/>
              <a:gd name="connsiteX6159" fmla="*/ 1196562 w 9586368"/>
              <a:gd name="connsiteY6159" fmla="*/ 2157906 h 6479439"/>
              <a:gd name="connsiteX6160" fmla="*/ 961268 w 9586368"/>
              <a:gd name="connsiteY6160" fmla="*/ 2153867 h 6479439"/>
              <a:gd name="connsiteX6161" fmla="*/ 971179 w 9586368"/>
              <a:gd name="connsiteY6161" fmla="*/ 2153867 h 6479439"/>
              <a:gd name="connsiteX6162" fmla="*/ 975198 w 9586368"/>
              <a:gd name="connsiteY6162" fmla="*/ 2157906 h 6479439"/>
              <a:gd name="connsiteX6163" fmla="*/ 975198 w 9586368"/>
              <a:gd name="connsiteY6163" fmla="*/ 2167776 h 6479439"/>
              <a:gd name="connsiteX6164" fmla="*/ 971179 w 9586368"/>
              <a:gd name="connsiteY6164" fmla="*/ 2171815 h 6479439"/>
              <a:gd name="connsiteX6165" fmla="*/ 961268 w 9586368"/>
              <a:gd name="connsiteY6165" fmla="*/ 2171815 h 6479439"/>
              <a:gd name="connsiteX6166" fmla="*/ 957250 w 9586368"/>
              <a:gd name="connsiteY6166" fmla="*/ 2167776 h 6479439"/>
              <a:gd name="connsiteX6167" fmla="*/ 957250 w 9586368"/>
              <a:gd name="connsiteY6167" fmla="*/ 2157906 h 6479439"/>
              <a:gd name="connsiteX6168" fmla="*/ 1679214 w 9586368"/>
              <a:gd name="connsiteY6168" fmla="*/ 2153867 h 6479439"/>
              <a:gd name="connsiteX6169" fmla="*/ 1689123 w 9586368"/>
              <a:gd name="connsiteY6169" fmla="*/ 2153867 h 6479439"/>
              <a:gd name="connsiteX6170" fmla="*/ 1693144 w 9586368"/>
              <a:gd name="connsiteY6170" fmla="*/ 2157905 h 6479439"/>
              <a:gd name="connsiteX6171" fmla="*/ 1693144 w 9586368"/>
              <a:gd name="connsiteY6171" fmla="*/ 2167775 h 6479439"/>
              <a:gd name="connsiteX6172" fmla="*/ 1689123 w 9586368"/>
              <a:gd name="connsiteY6172" fmla="*/ 2171814 h 6479439"/>
              <a:gd name="connsiteX6173" fmla="*/ 1679214 w 9586368"/>
              <a:gd name="connsiteY6173" fmla="*/ 2171814 h 6479439"/>
              <a:gd name="connsiteX6174" fmla="*/ 1675195 w 9586368"/>
              <a:gd name="connsiteY6174" fmla="*/ 2167775 h 6479439"/>
              <a:gd name="connsiteX6175" fmla="*/ 1675195 w 9586368"/>
              <a:gd name="connsiteY6175" fmla="*/ 2157905 h 6479439"/>
              <a:gd name="connsiteX6176" fmla="*/ 1439897 w 9586368"/>
              <a:gd name="connsiteY6176" fmla="*/ 2153867 h 6479439"/>
              <a:gd name="connsiteX6177" fmla="*/ 1449807 w 9586368"/>
              <a:gd name="connsiteY6177" fmla="*/ 2153867 h 6479439"/>
              <a:gd name="connsiteX6178" fmla="*/ 1453826 w 9586368"/>
              <a:gd name="connsiteY6178" fmla="*/ 2157905 h 6479439"/>
              <a:gd name="connsiteX6179" fmla="*/ 1453826 w 9586368"/>
              <a:gd name="connsiteY6179" fmla="*/ 2167776 h 6479439"/>
              <a:gd name="connsiteX6180" fmla="*/ 1449807 w 9586368"/>
              <a:gd name="connsiteY6180" fmla="*/ 2171814 h 6479439"/>
              <a:gd name="connsiteX6181" fmla="*/ 1439897 w 9586368"/>
              <a:gd name="connsiteY6181" fmla="*/ 2171814 h 6479439"/>
              <a:gd name="connsiteX6182" fmla="*/ 1435878 w 9586368"/>
              <a:gd name="connsiteY6182" fmla="*/ 2167776 h 6479439"/>
              <a:gd name="connsiteX6183" fmla="*/ 1435878 w 9586368"/>
              <a:gd name="connsiteY6183" fmla="*/ 2157905 h 6479439"/>
              <a:gd name="connsiteX6184" fmla="*/ 1918513 w 9586368"/>
              <a:gd name="connsiteY6184" fmla="*/ 2153855 h 6479439"/>
              <a:gd name="connsiteX6185" fmla="*/ 1928422 w 9586368"/>
              <a:gd name="connsiteY6185" fmla="*/ 2153855 h 6479439"/>
              <a:gd name="connsiteX6186" fmla="*/ 1932443 w 9586368"/>
              <a:gd name="connsiteY6186" fmla="*/ 2157892 h 6479439"/>
              <a:gd name="connsiteX6187" fmla="*/ 1932443 w 9586368"/>
              <a:gd name="connsiteY6187" fmla="*/ 2167763 h 6479439"/>
              <a:gd name="connsiteX6188" fmla="*/ 1928422 w 9586368"/>
              <a:gd name="connsiteY6188" fmla="*/ 2171803 h 6479439"/>
              <a:gd name="connsiteX6189" fmla="*/ 1918513 w 9586368"/>
              <a:gd name="connsiteY6189" fmla="*/ 2171803 h 6479439"/>
              <a:gd name="connsiteX6190" fmla="*/ 1914494 w 9586368"/>
              <a:gd name="connsiteY6190" fmla="*/ 2167763 h 6479439"/>
              <a:gd name="connsiteX6191" fmla="*/ 1914494 w 9586368"/>
              <a:gd name="connsiteY6191" fmla="*/ 2157892 h 6479439"/>
              <a:gd name="connsiteX6192" fmla="*/ 2157821 w 9586368"/>
              <a:gd name="connsiteY6192" fmla="*/ 2153850 h 6479439"/>
              <a:gd name="connsiteX6193" fmla="*/ 2167732 w 9586368"/>
              <a:gd name="connsiteY6193" fmla="*/ 2153850 h 6479439"/>
              <a:gd name="connsiteX6194" fmla="*/ 2171750 w 9586368"/>
              <a:gd name="connsiteY6194" fmla="*/ 2157889 h 6479439"/>
              <a:gd name="connsiteX6195" fmla="*/ 2171750 w 9586368"/>
              <a:gd name="connsiteY6195" fmla="*/ 2167759 h 6479439"/>
              <a:gd name="connsiteX6196" fmla="*/ 2167732 w 9586368"/>
              <a:gd name="connsiteY6196" fmla="*/ 2171798 h 6479439"/>
              <a:gd name="connsiteX6197" fmla="*/ 2157821 w 9586368"/>
              <a:gd name="connsiteY6197" fmla="*/ 2171798 h 6479439"/>
              <a:gd name="connsiteX6198" fmla="*/ 2153803 w 9586368"/>
              <a:gd name="connsiteY6198" fmla="*/ 2167759 h 6479439"/>
              <a:gd name="connsiteX6199" fmla="*/ 2153803 w 9586368"/>
              <a:gd name="connsiteY6199" fmla="*/ 2157889 h 6479439"/>
              <a:gd name="connsiteX6200" fmla="*/ 4032 w 9586368"/>
              <a:gd name="connsiteY6200" fmla="*/ 2153832 h 6479439"/>
              <a:gd name="connsiteX6201" fmla="*/ 13942 w 9586368"/>
              <a:gd name="connsiteY6201" fmla="*/ 2153832 h 6479439"/>
              <a:gd name="connsiteX6202" fmla="*/ 17961 w 9586368"/>
              <a:gd name="connsiteY6202" fmla="*/ 2157870 h 6479439"/>
              <a:gd name="connsiteX6203" fmla="*/ 17961 w 9586368"/>
              <a:gd name="connsiteY6203" fmla="*/ 2167741 h 6479439"/>
              <a:gd name="connsiteX6204" fmla="*/ 13942 w 9586368"/>
              <a:gd name="connsiteY6204" fmla="*/ 2171780 h 6479439"/>
              <a:gd name="connsiteX6205" fmla="*/ 4032 w 9586368"/>
              <a:gd name="connsiteY6205" fmla="*/ 2171780 h 6479439"/>
              <a:gd name="connsiteX6206" fmla="*/ 13 w 9586368"/>
              <a:gd name="connsiteY6206" fmla="*/ 2167741 h 6479439"/>
              <a:gd name="connsiteX6207" fmla="*/ 13 w 9586368"/>
              <a:gd name="connsiteY6207" fmla="*/ 2157870 h 6479439"/>
              <a:gd name="connsiteX6208" fmla="*/ 721971 w 9586368"/>
              <a:gd name="connsiteY6208" fmla="*/ 2153832 h 6479439"/>
              <a:gd name="connsiteX6209" fmla="*/ 731881 w 9586368"/>
              <a:gd name="connsiteY6209" fmla="*/ 2153832 h 6479439"/>
              <a:gd name="connsiteX6210" fmla="*/ 735900 w 9586368"/>
              <a:gd name="connsiteY6210" fmla="*/ 2157870 h 6479439"/>
              <a:gd name="connsiteX6211" fmla="*/ 735900 w 9586368"/>
              <a:gd name="connsiteY6211" fmla="*/ 2167740 h 6479439"/>
              <a:gd name="connsiteX6212" fmla="*/ 731881 w 9586368"/>
              <a:gd name="connsiteY6212" fmla="*/ 2171780 h 6479439"/>
              <a:gd name="connsiteX6213" fmla="*/ 721971 w 9586368"/>
              <a:gd name="connsiteY6213" fmla="*/ 2171780 h 6479439"/>
              <a:gd name="connsiteX6214" fmla="*/ 717952 w 9586368"/>
              <a:gd name="connsiteY6214" fmla="*/ 2167740 h 6479439"/>
              <a:gd name="connsiteX6215" fmla="*/ 717952 w 9586368"/>
              <a:gd name="connsiteY6215" fmla="*/ 2157870 h 6479439"/>
              <a:gd name="connsiteX6216" fmla="*/ 482659 w 9586368"/>
              <a:gd name="connsiteY6216" fmla="*/ 2153832 h 6479439"/>
              <a:gd name="connsiteX6217" fmla="*/ 492569 w 9586368"/>
              <a:gd name="connsiteY6217" fmla="*/ 2153832 h 6479439"/>
              <a:gd name="connsiteX6218" fmla="*/ 496588 w 9586368"/>
              <a:gd name="connsiteY6218" fmla="*/ 2157870 h 6479439"/>
              <a:gd name="connsiteX6219" fmla="*/ 496588 w 9586368"/>
              <a:gd name="connsiteY6219" fmla="*/ 2167741 h 6479439"/>
              <a:gd name="connsiteX6220" fmla="*/ 492569 w 9586368"/>
              <a:gd name="connsiteY6220" fmla="*/ 2171780 h 6479439"/>
              <a:gd name="connsiteX6221" fmla="*/ 482659 w 9586368"/>
              <a:gd name="connsiteY6221" fmla="*/ 2171780 h 6479439"/>
              <a:gd name="connsiteX6222" fmla="*/ 478640 w 9586368"/>
              <a:gd name="connsiteY6222" fmla="*/ 2167741 h 6479439"/>
              <a:gd name="connsiteX6223" fmla="*/ 478640 w 9586368"/>
              <a:gd name="connsiteY6223" fmla="*/ 2157870 h 6479439"/>
              <a:gd name="connsiteX6224" fmla="*/ 243345 w 9586368"/>
              <a:gd name="connsiteY6224" fmla="*/ 2153832 h 6479439"/>
              <a:gd name="connsiteX6225" fmla="*/ 253255 w 9586368"/>
              <a:gd name="connsiteY6225" fmla="*/ 2153832 h 6479439"/>
              <a:gd name="connsiteX6226" fmla="*/ 257274 w 9586368"/>
              <a:gd name="connsiteY6226" fmla="*/ 2157870 h 6479439"/>
              <a:gd name="connsiteX6227" fmla="*/ 257274 w 9586368"/>
              <a:gd name="connsiteY6227" fmla="*/ 2167741 h 6479439"/>
              <a:gd name="connsiteX6228" fmla="*/ 253255 w 9586368"/>
              <a:gd name="connsiteY6228" fmla="*/ 2171780 h 6479439"/>
              <a:gd name="connsiteX6229" fmla="*/ 243345 w 9586368"/>
              <a:gd name="connsiteY6229" fmla="*/ 2171780 h 6479439"/>
              <a:gd name="connsiteX6230" fmla="*/ 239326 w 9586368"/>
              <a:gd name="connsiteY6230" fmla="*/ 2167741 h 6479439"/>
              <a:gd name="connsiteX6231" fmla="*/ 239326 w 9586368"/>
              <a:gd name="connsiteY6231" fmla="*/ 2157870 h 6479439"/>
              <a:gd name="connsiteX6232" fmla="*/ 2393104 w 9586368"/>
              <a:gd name="connsiteY6232" fmla="*/ 1914701 h 6479439"/>
              <a:gd name="connsiteX6233" fmla="*/ 2403015 w 9586368"/>
              <a:gd name="connsiteY6233" fmla="*/ 1914701 h 6479439"/>
              <a:gd name="connsiteX6234" fmla="*/ 2407034 w 9586368"/>
              <a:gd name="connsiteY6234" fmla="*/ 1918739 h 6479439"/>
              <a:gd name="connsiteX6235" fmla="*/ 2407034 w 9586368"/>
              <a:gd name="connsiteY6235" fmla="*/ 1928610 h 6479439"/>
              <a:gd name="connsiteX6236" fmla="*/ 2403015 w 9586368"/>
              <a:gd name="connsiteY6236" fmla="*/ 1932649 h 6479439"/>
              <a:gd name="connsiteX6237" fmla="*/ 2393104 w 9586368"/>
              <a:gd name="connsiteY6237" fmla="*/ 1932649 h 6479439"/>
              <a:gd name="connsiteX6238" fmla="*/ 2389087 w 9586368"/>
              <a:gd name="connsiteY6238" fmla="*/ 1928610 h 6479439"/>
              <a:gd name="connsiteX6239" fmla="*/ 2389087 w 9586368"/>
              <a:gd name="connsiteY6239" fmla="*/ 1918739 h 6479439"/>
              <a:gd name="connsiteX6240" fmla="*/ 3350359 w 9586368"/>
              <a:gd name="connsiteY6240" fmla="*/ 1914699 h 6479439"/>
              <a:gd name="connsiteX6241" fmla="*/ 3360268 w 9586368"/>
              <a:gd name="connsiteY6241" fmla="*/ 1914699 h 6479439"/>
              <a:gd name="connsiteX6242" fmla="*/ 3364287 w 9586368"/>
              <a:gd name="connsiteY6242" fmla="*/ 1918738 h 6479439"/>
              <a:gd name="connsiteX6243" fmla="*/ 3364287 w 9586368"/>
              <a:gd name="connsiteY6243" fmla="*/ 1928610 h 6479439"/>
              <a:gd name="connsiteX6244" fmla="*/ 3360268 w 9586368"/>
              <a:gd name="connsiteY6244" fmla="*/ 1932649 h 6479439"/>
              <a:gd name="connsiteX6245" fmla="*/ 3350359 w 9586368"/>
              <a:gd name="connsiteY6245" fmla="*/ 1932649 h 6479439"/>
              <a:gd name="connsiteX6246" fmla="*/ 3346340 w 9586368"/>
              <a:gd name="connsiteY6246" fmla="*/ 1928610 h 6479439"/>
              <a:gd name="connsiteX6247" fmla="*/ 3346340 w 9586368"/>
              <a:gd name="connsiteY6247" fmla="*/ 1918738 h 6479439"/>
              <a:gd name="connsiteX6248" fmla="*/ 3111048 w 9586368"/>
              <a:gd name="connsiteY6248" fmla="*/ 1914699 h 6479439"/>
              <a:gd name="connsiteX6249" fmla="*/ 3120959 w 9586368"/>
              <a:gd name="connsiteY6249" fmla="*/ 1914699 h 6479439"/>
              <a:gd name="connsiteX6250" fmla="*/ 3124977 w 9586368"/>
              <a:gd name="connsiteY6250" fmla="*/ 1918739 h 6479439"/>
              <a:gd name="connsiteX6251" fmla="*/ 3124977 w 9586368"/>
              <a:gd name="connsiteY6251" fmla="*/ 1928610 h 6479439"/>
              <a:gd name="connsiteX6252" fmla="*/ 3120959 w 9586368"/>
              <a:gd name="connsiteY6252" fmla="*/ 1932649 h 6479439"/>
              <a:gd name="connsiteX6253" fmla="*/ 3111048 w 9586368"/>
              <a:gd name="connsiteY6253" fmla="*/ 1932649 h 6479439"/>
              <a:gd name="connsiteX6254" fmla="*/ 3107029 w 9586368"/>
              <a:gd name="connsiteY6254" fmla="*/ 1928610 h 6479439"/>
              <a:gd name="connsiteX6255" fmla="*/ 3107029 w 9586368"/>
              <a:gd name="connsiteY6255" fmla="*/ 1918739 h 6479439"/>
              <a:gd name="connsiteX6256" fmla="*/ 2871737 w 9586368"/>
              <a:gd name="connsiteY6256" fmla="*/ 1914699 h 6479439"/>
              <a:gd name="connsiteX6257" fmla="*/ 2881646 w 9586368"/>
              <a:gd name="connsiteY6257" fmla="*/ 1914699 h 6479439"/>
              <a:gd name="connsiteX6258" fmla="*/ 2885666 w 9586368"/>
              <a:gd name="connsiteY6258" fmla="*/ 1918739 h 6479439"/>
              <a:gd name="connsiteX6259" fmla="*/ 2885666 w 9586368"/>
              <a:gd name="connsiteY6259" fmla="*/ 1928610 h 6479439"/>
              <a:gd name="connsiteX6260" fmla="*/ 2881646 w 9586368"/>
              <a:gd name="connsiteY6260" fmla="*/ 1932649 h 6479439"/>
              <a:gd name="connsiteX6261" fmla="*/ 2871737 w 9586368"/>
              <a:gd name="connsiteY6261" fmla="*/ 1932649 h 6479439"/>
              <a:gd name="connsiteX6262" fmla="*/ 2867717 w 9586368"/>
              <a:gd name="connsiteY6262" fmla="*/ 1928610 h 6479439"/>
              <a:gd name="connsiteX6263" fmla="*/ 2867717 w 9586368"/>
              <a:gd name="connsiteY6263" fmla="*/ 1918739 h 6479439"/>
              <a:gd name="connsiteX6264" fmla="*/ 2632423 w 9586368"/>
              <a:gd name="connsiteY6264" fmla="*/ 1914699 h 6479439"/>
              <a:gd name="connsiteX6265" fmla="*/ 2642334 w 9586368"/>
              <a:gd name="connsiteY6265" fmla="*/ 1914699 h 6479439"/>
              <a:gd name="connsiteX6266" fmla="*/ 2646352 w 9586368"/>
              <a:gd name="connsiteY6266" fmla="*/ 1918739 h 6479439"/>
              <a:gd name="connsiteX6267" fmla="*/ 2646352 w 9586368"/>
              <a:gd name="connsiteY6267" fmla="*/ 1928610 h 6479439"/>
              <a:gd name="connsiteX6268" fmla="*/ 2642334 w 9586368"/>
              <a:gd name="connsiteY6268" fmla="*/ 1932649 h 6479439"/>
              <a:gd name="connsiteX6269" fmla="*/ 2632423 w 9586368"/>
              <a:gd name="connsiteY6269" fmla="*/ 1932649 h 6479439"/>
              <a:gd name="connsiteX6270" fmla="*/ 2628404 w 9586368"/>
              <a:gd name="connsiteY6270" fmla="*/ 1928610 h 6479439"/>
              <a:gd name="connsiteX6271" fmla="*/ 2628404 w 9586368"/>
              <a:gd name="connsiteY6271" fmla="*/ 1918739 h 6479439"/>
              <a:gd name="connsiteX6272" fmla="*/ 3589676 w 9586368"/>
              <a:gd name="connsiteY6272" fmla="*/ 1914682 h 6479439"/>
              <a:gd name="connsiteX6273" fmla="*/ 3599585 w 9586368"/>
              <a:gd name="connsiteY6273" fmla="*/ 1914682 h 6479439"/>
              <a:gd name="connsiteX6274" fmla="*/ 3603604 w 9586368"/>
              <a:gd name="connsiteY6274" fmla="*/ 1918721 h 6479439"/>
              <a:gd name="connsiteX6275" fmla="*/ 3603604 w 9586368"/>
              <a:gd name="connsiteY6275" fmla="*/ 1928592 h 6479439"/>
              <a:gd name="connsiteX6276" fmla="*/ 3599585 w 9586368"/>
              <a:gd name="connsiteY6276" fmla="*/ 1932631 h 6479439"/>
              <a:gd name="connsiteX6277" fmla="*/ 3589676 w 9586368"/>
              <a:gd name="connsiteY6277" fmla="*/ 1932631 h 6479439"/>
              <a:gd name="connsiteX6278" fmla="*/ 3585657 w 9586368"/>
              <a:gd name="connsiteY6278" fmla="*/ 1928592 h 6479439"/>
              <a:gd name="connsiteX6279" fmla="*/ 3585657 w 9586368"/>
              <a:gd name="connsiteY6279" fmla="*/ 1918721 h 6479439"/>
              <a:gd name="connsiteX6280" fmla="*/ 4546929 w 9586368"/>
              <a:gd name="connsiteY6280" fmla="*/ 1914681 h 6479439"/>
              <a:gd name="connsiteX6281" fmla="*/ 4556840 w 9586368"/>
              <a:gd name="connsiteY6281" fmla="*/ 1914681 h 6479439"/>
              <a:gd name="connsiteX6282" fmla="*/ 4560859 w 9586368"/>
              <a:gd name="connsiteY6282" fmla="*/ 1918719 h 6479439"/>
              <a:gd name="connsiteX6283" fmla="*/ 4560859 w 9586368"/>
              <a:gd name="connsiteY6283" fmla="*/ 1928592 h 6479439"/>
              <a:gd name="connsiteX6284" fmla="*/ 4556840 w 9586368"/>
              <a:gd name="connsiteY6284" fmla="*/ 1932631 h 6479439"/>
              <a:gd name="connsiteX6285" fmla="*/ 4546929 w 9586368"/>
              <a:gd name="connsiteY6285" fmla="*/ 1932631 h 6479439"/>
              <a:gd name="connsiteX6286" fmla="*/ 4542910 w 9586368"/>
              <a:gd name="connsiteY6286" fmla="*/ 1928592 h 6479439"/>
              <a:gd name="connsiteX6287" fmla="*/ 4542910 w 9586368"/>
              <a:gd name="connsiteY6287" fmla="*/ 1918719 h 6479439"/>
              <a:gd name="connsiteX6288" fmla="*/ 4307612 w 9586368"/>
              <a:gd name="connsiteY6288" fmla="*/ 1914681 h 6479439"/>
              <a:gd name="connsiteX6289" fmla="*/ 4317523 w 9586368"/>
              <a:gd name="connsiteY6289" fmla="*/ 1914681 h 6479439"/>
              <a:gd name="connsiteX6290" fmla="*/ 4321543 w 9586368"/>
              <a:gd name="connsiteY6290" fmla="*/ 1918720 h 6479439"/>
              <a:gd name="connsiteX6291" fmla="*/ 4321543 w 9586368"/>
              <a:gd name="connsiteY6291" fmla="*/ 1928592 h 6479439"/>
              <a:gd name="connsiteX6292" fmla="*/ 4317523 w 9586368"/>
              <a:gd name="connsiteY6292" fmla="*/ 1932631 h 6479439"/>
              <a:gd name="connsiteX6293" fmla="*/ 4307612 w 9586368"/>
              <a:gd name="connsiteY6293" fmla="*/ 1932631 h 6479439"/>
              <a:gd name="connsiteX6294" fmla="*/ 4303595 w 9586368"/>
              <a:gd name="connsiteY6294" fmla="*/ 1928592 h 6479439"/>
              <a:gd name="connsiteX6295" fmla="*/ 4303595 w 9586368"/>
              <a:gd name="connsiteY6295" fmla="*/ 1918720 h 6479439"/>
              <a:gd name="connsiteX6296" fmla="*/ 4068297 w 9586368"/>
              <a:gd name="connsiteY6296" fmla="*/ 1914681 h 6479439"/>
              <a:gd name="connsiteX6297" fmla="*/ 4078210 w 9586368"/>
              <a:gd name="connsiteY6297" fmla="*/ 1914681 h 6479439"/>
              <a:gd name="connsiteX6298" fmla="*/ 4082229 w 9586368"/>
              <a:gd name="connsiteY6298" fmla="*/ 1918720 h 6479439"/>
              <a:gd name="connsiteX6299" fmla="*/ 4082229 w 9586368"/>
              <a:gd name="connsiteY6299" fmla="*/ 1928592 h 6479439"/>
              <a:gd name="connsiteX6300" fmla="*/ 4078210 w 9586368"/>
              <a:gd name="connsiteY6300" fmla="*/ 1932631 h 6479439"/>
              <a:gd name="connsiteX6301" fmla="*/ 4068297 w 9586368"/>
              <a:gd name="connsiteY6301" fmla="*/ 1932631 h 6479439"/>
              <a:gd name="connsiteX6302" fmla="*/ 4064278 w 9586368"/>
              <a:gd name="connsiteY6302" fmla="*/ 1928592 h 6479439"/>
              <a:gd name="connsiteX6303" fmla="*/ 4064278 w 9586368"/>
              <a:gd name="connsiteY6303" fmla="*/ 1918720 h 6479439"/>
              <a:gd name="connsiteX6304" fmla="*/ 3828990 w 9586368"/>
              <a:gd name="connsiteY6304" fmla="*/ 1914681 h 6479439"/>
              <a:gd name="connsiteX6305" fmla="*/ 3838899 w 9586368"/>
              <a:gd name="connsiteY6305" fmla="*/ 1914681 h 6479439"/>
              <a:gd name="connsiteX6306" fmla="*/ 3842917 w 9586368"/>
              <a:gd name="connsiteY6306" fmla="*/ 1918720 h 6479439"/>
              <a:gd name="connsiteX6307" fmla="*/ 3842917 w 9586368"/>
              <a:gd name="connsiteY6307" fmla="*/ 1928592 h 6479439"/>
              <a:gd name="connsiteX6308" fmla="*/ 3838899 w 9586368"/>
              <a:gd name="connsiteY6308" fmla="*/ 1932631 h 6479439"/>
              <a:gd name="connsiteX6309" fmla="*/ 3828990 w 9586368"/>
              <a:gd name="connsiteY6309" fmla="*/ 1932631 h 6479439"/>
              <a:gd name="connsiteX6310" fmla="*/ 3824971 w 9586368"/>
              <a:gd name="connsiteY6310" fmla="*/ 1928592 h 6479439"/>
              <a:gd name="connsiteX6311" fmla="*/ 3824971 w 9586368"/>
              <a:gd name="connsiteY6311" fmla="*/ 1918720 h 6479439"/>
              <a:gd name="connsiteX6312" fmla="*/ 4786241 w 9586368"/>
              <a:gd name="connsiteY6312" fmla="*/ 1914664 h 6479439"/>
              <a:gd name="connsiteX6313" fmla="*/ 4796152 w 9586368"/>
              <a:gd name="connsiteY6313" fmla="*/ 1914664 h 6479439"/>
              <a:gd name="connsiteX6314" fmla="*/ 4800171 w 9586368"/>
              <a:gd name="connsiteY6314" fmla="*/ 1918702 h 6479439"/>
              <a:gd name="connsiteX6315" fmla="*/ 4800171 w 9586368"/>
              <a:gd name="connsiteY6315" fmla="*/ 1928573 h 6479439"/>
              <a:gd name="connsiteX6316" fmla="*/ 4796152 w 9586368"/>
              <a:gd name="connsiteY6316" fmla="*/ 1932612 h 6479439"/>
              <a:gd name="connsiteX6317" fmla="*/ 4786241 w 9586368"/>
              <a:gd name="connsiteY6317" fmla="*/ 1932612 h 6479439"/>
              <a:gd name="connsiteX6318" fmla="*/ 4782224 w 9586368"/>
              <a:gd name="connsiteY6318" fmla="*/ 1928573 h 6479439"/>
              <a:gd name="connsiteX6319" fmla="*/ 4782224 w 9586368"/>
              <a:gd name="connsiteY6319" fmla="*/ 1918702 h 6479439"/>
              <a:gd name="connsiteX6320" fmla="*/ 5504099 w 9586368"/>
              <a:gd name="connsiteY6320" fmla="*/ 1914663 h 6479439"/>
              <a:gd name="connsiteX6321" fmla="*/ 5514010 w 9586368"/>
              <a:gd name="connsiteY6321" fmla="*/ 1914663 h 6479439"/>
              <a:gd name="connsiteX6322" fmla="*/ 5518029 w 9586368"/>
              <a:gd name="connsiteY6322" fmla="*/ 1918702 h 6479439"/>
              <a:gd name="connsiteX6323" fmla="*/ 5518029 w 9586368"/>
              <a:gd name="connsiteY6323" fmla="*/ 1928572 h 6479439"/>
              <a:gd name="connsiteX6324" fmla="*/ 5514010 w 9586368"/>
              <a:gd name="connsiteY6324" fmla="*/ 1932612 h 6479439"/>
              <a:gd name="connsiteX6325" fmla="*/ 5504099 w 9586368"/>
              <a:gd name="connsiteY6325" fmla="*/ 1932612 h 6479439"/>
              <a:gd name="connsiteX6326" fmla="*/ 5500080 w 9586368"/>
              <a:gd name="connsiteY6326" fmla="*/ 1928572 h 6479439"/>
              <a:gd name="connsiteX6327" fmla="*/ 5500080 w 9586368"/>
              <a:gd name="connsiteY6327" fmla="*/ 1918702 h 6479439"/>
              <a:gd name="connsiteX6328" fmla="*/ 5264784 w 9586368"/>
              <a:gd name="connsiteY6328" fmla="*/ 1914663 h 6479439"/>
              <a:gd name="connsiteX6329" fmla="*/ 5274694 w 9586368"/>
              <a:gd name="connsiteY6329" fmla="*/ 1914663 h 6479439"/>
              <a:gd name="connsiteX6330" fmla="*/ 5278713 w 9586368"/>
              <a:gd name="connsiteY6330" fmla="*/ 1918702 h 6479439"/>
              <a:gd name="connsiteX6331" fmla="*/ 5278713 w 9586368"/>
              <a:gd name="connsiteY6331" fmla="*/ 1928573 h 6479439"/>
              <a:gd name="connsiteX6332" fmla="*/ 5274694 w 9586368"/>
              <a:gd name="connsiteY6332" fmla="*/ 1932612 h 6479439"/>
              <a:gd name="connsiteX6333" fmla="*/ 5264784 w 9586368"/>
              <a:gd name="connsiteY6333" fmla="*/ 1932612 h 6479439"/>
              <a:gd name="connsiteX6334" fmla="*/ 5260765 w 9586368"/>
              <a:gd name="connsiteY6334" fmla="*/ 1928573 h 6479439"/>
              <a:gd name="connsiteX6335" fmla="*/ 5260765 w 9586368"/>
              <a:gd name="connsiteY6335" fmla="*/ 1918702 h 6479439"/>
              <a:gd name="connsiteX6336" fmla="*/ 5025470 w 9586368"/>
              <a:gd name="connsiteY6336" fmla="*/ 1914663 h 6479439"/>
              <a:gd name="connsiteX6337" fmla="*/ 5035381 w 9586368"/>
              <a:gd name="connsiteY6337" fmla="*/ 1914663 h 6479439"/>
              <a:gd name="connsiteX6338" fmla="*/ 5039400 w 9586368"/>
              <a:gd name="connsiteY6338" fmla="*/ 1918702 h 6479439"/>
              <a:gd name="connsiteX6339" fmla="*/ 5039400 w 9586368"/>
              <a:gd name="connsiteY6339" fmla="*/ 1928573 h 6479439"/>
              <a:gd name="connsiteX6340" fmla="*/ 5035381 w 9586368"/>
              <a:gd name="connsiteY6340" fmla="*/ 1932612 h 6479439"/>
              <a:gd name="connsiteX6341" fmla="*/ 5025470 w 9586368"/>
              <a:gd name="connsiteY6341" fmla="*/ 1932612 h 6479439"/>
              <a:gd name="connsiteX6342" fmla="*/ 5021451 w 9586368"/>
              <a:gd name="connsiteY6342" fmla="*/ 1928573 h 6479439"/>
              <a:gd name="connsiteX6343" fmla="*/ 5021451 w 9586368"/>
              <a:gd name="connsiteY6343" fmla="*/ 1918702 h 6479439"/>
              <a:gd name="connsiteX6344" fmla="*/ 5743412 w 9586368"/>
              <a:gd name="connsiteY6344" fmla="*/ 1914662 h 6479439"/>
              <a:gd name="connsiteX6345" fmla="*/ 5753323 w 9586368"/>
              <a:gd name="connsiteY6345" fmla="*/ 1914662 h 6479439"/>
              <a:gd name="connsiteX6346" fmla="*/ 5757342 w 9586368"/>
              <a:gd name="connsiteY6346" fmla="*/ 1918701 h 6479439"/>
              <a:gd name="connsiteX6347" fmla="*/ 5757342 w 9586368"/>
              <a:gd name="connsiteY6347" fmla="*/ 1928572 h 6479439"/>
              <a:gd name="connsiteX6348" fmla="*/ 5753323 w 9586368"/>
              <a:gd name="connsiteY6348" fmla="*/ 1932612 h 6479439"/>
              <a:gd name="connsiteX6349" fmla="*/ 5743412 w 9586368"/>
              <a:gd name="connsiteY6349" fmla="*/ 1932612 h 6479439"/>
              <a:gd name="connsiteX6350" fmla="*/ 5739393 w 9586368"/>
              <a:gd name="connsiteY6350" fmla="*/ 1928572 h 6479439"/>
              <a:gd name="connsiteX6351" fmla="*/ 5739393 w 9586368"/>
              <a:gd name="connsiteY6351" fmla="*/ 1918701 h 6479439"/>
              <a:gd name="connsiteX6352" fmla="*/ 5982729 w 9586368"/>
              <a:gd name="connsiteY6352" fmla="*/ 1914645 h 6479439"/>
              <a:gd name="connsiteX6353" fmla="*/ 5992639 w 9586368"/>
              <a:gd name="connsiteY6353" fmla="*/ 1914645 h 6479439"/>
              <a:gd name="connsiteX6354" fmla="*/ 5996658 w 9586368"/>
              <a:gd name="connsiteY6354" fmla="*/ 1918684 h 6479439"/>
              <a:gd name="connsiteX6355" fmla="*/ 5996658 w 9586368"/>
              <a:gd name="connsiteY6355" fmla="*/ 1928555 h 6479439"/>
              <a:gd name="connsiteX6356" fmla="*/ 5992639 w 9586368"/>
              <a:gd name="connsiteY6356" fmla="*/ 1932594 h 6479439"/>
              <a:gd name="connsiteX6357" fmla="*/ 5982729 w 9586368"/>
              <a:gd name="connsiteY6357" fmla="*/ 1932594 h 6479439"/>
              <a:gd name="connsiteX6358" fmla="*/ 5978710 w 9586368"/>
              <a:gd name="connsiteY6358" fmla="*/ 1928555 h 6479439"/>
              <a:gd name="connsiteX6359" fmla="*/ 5978710 w 9586368"/>
              <a:gd name="connsiteY6359" fmla="*/ 1918684 h 6479439"/>
              <a:gd name="connsiteX6360" fmla="*/ 6939983 w 9586368"/>
              <a:gd name="connsiteY6360" fmla="*/ 1914645 h 6479439"/>
              <a:gd name="connsiteX6361" fmla="*/ 6949894 w 9586368"/>
              <a:gd name="connsiteY6361" fmla="*/ 1914645 h 6479439"/>
              <a:gd name="connsiteX6362" fmla="*/ 6953913 w 9586368"/>
              <a:gd name="connsiteY6362" fmla="*/ 1918682 h 6479439"/>
              <a:gd name="connsiteX6363" fmla="*/ 6953913 w 9586368"/>
              <a:gd name="connsiteY6363" fmla="*/ 1928554 h 6479439"/>
              <a:gd name="connsiteX6364" fmla="*/ 6949894 w 9586368"/>
              <a:gd name="connsiteY6364" fmla="*/ 1932594 h 6479439"/>
              <a:gd name="connsiteX6365" fmla="*/ 6939983 w 9586368"/>
              <a:gd name="connsiteY6365" fmla="*/ 1932594 h 6479439"/>
              <a:gd name="connsiteX6366" fmla="*/ 6935964 w 9586368"/>
              <a:gd name="connsiteY6366" fmla="*/ 1928554 h 6479439"/>
              <a:gd name="connsiteX6367" fmla="*/ 6935964 w 9586368"/>
              <a:gd name="connsiteY6367" fmla="*/ 1918682 h 6479439"/>
              <a:gd name="connsiteX6368" fmla="*/ 6700670 w 9586368"/>
              <a:gd name="connsiteY6368" fmla="*/ 1914645 h 6479439"/>
              <a:gd name="connsiteX6369" fmla="*/ 6710581 w 9586368"/>
              <a:gd name="connsiteY6369" fmla="*/ 1914645 h 6479439"/>
              <a:gd name="connsiteX6370" fmla="*/ 6714600 w 9586368"/>
              <a:gd name="connsiteY6370" fmla="*/ 1918683 h 6479439"/>
              <a:gd name="connsiteX6371" fmla="*/ 6714600 w 9586368"/>
              <a:gd name="connsiteY6371" fmla="*/ 1928554 h 6479439"/>
              <a:gd name="connsiteX6372" fmla="*/ 6710581 w 9586368"/>
              <a:gd name="connsiteY6372" fmla="*/ 1932594 h 6479439"/>
              <a:gd name="connsiteX6373" fmla="*/ 6700670 w 9586368"/>
              <a:gd name="connsiteY6373" fmla="*/ 1932594 h 6479439"/>
              <a:gd name="connsiteX6374" fmla="*/ 6696651 w 9586368"/>
              <a:gd name="connsiteY6374" fmla="*/ 1928554 h 6479439"/>
              <a:gd name="connsiteX6375" fmla="*/ 6696651 w 9586368"/>
              <a:gd name="connsiteY6375" fmla="*/ 1918683 h 6479439"/>
              <a:gd name="connsiteX6376" fmla="*/ 6461356 w 9586368"/>
              <a:gd name="connsiteY6376" fmla="*/ 1914645 h 6479439"/>
              <a:gd name="connsiteX6377" fmla="*/ 6471266 w 9586368"/>
              <a:gd name="connsiteY6377" fmla="*/ 1914645 h 6479439"/>
              <a:gd name="connsiteX6378" fmla="*/ 6475285 w 9586368"/>
              <a:gd name="connsiteY6378" fmla="*/ 1918683 h 6479439"/>
              <a:gd name="connsiteX6379" fmla="*/ 6475285 w 9586368"/>
              <a:gd name="connsiteY6379" fmla="*/ 1928555 h 6479439"/>
              <a:gd name="connsiteX6380" fmla="*/ 6471266 w 9586368"/>
              <a:gd name="connsiteY6380" fmla="*/ 1932594 h 6479439"/>
              <a:gd name="connsiteX6381" fmla="*/ 6461356 w 9586368"/>
              <a:gd name="connsiteY6381" fmla="*/ 1932594 h 6479439"/>
              <a:gd name="connsiteX6382" fmla="*/ 6457337 w 9586368"/>
              <a:gd name="connsiteY6382" fmla="*/ 1928555 h 6479439"/>
              <a:gd name="connsiteX6383" fmla="*/ 6457337 w 9586368"/>
              <a:gd name="connsiteY6383" fmla="*/ 1918683 h 6479439"/>
              <a:gd name="connsiteX6384" fmla="*/ 6222042 w 9586368"/>
              <a:gd name="connsiteY6384" fmla="*/ 1914645 h 6479439"/>
              <a:gd name="connsiteX6385" fmla="*/ 6231952 w 9586368"/>
              <a:gd name="connsiteY6385" fmla="*/ 1914645 h 6479439"/>
              <a:gd name="connsiteX6386" fmla="*/ 6235971 w 9586368"/>
              <a:gd name="connsiteY6386" fmla="*/ 1918683 h 6479439"/>
              <a:gd name="connsiteX6387" fmla="*/ 6235971 w 9586368"/>
              <a:gd name="connsiteY6387" fmla="*/ 1928555 h 6479439"/>
              <a:gd name="connsiteX6388" fmla="*/ 6231952 w 9586368"/>
              <a:gd name="connsiteY6388" fmla="*/ 1932594 h 6479439"/>
              <a:gd name="connsiteX6389" fmla="*/ 6222042 w 9586368"/>
              <a:gd name="connsiteY6389" fmla="*/ 1932594 h 6479439"/>
              <a:gd name="connsiteX6390" fmla="*/ 6218023 w 9586368"/>
              <a:gd name="connsiteY6390" fmla="*/ 1928555 h 6479439"/>
              <a:gd name="connsiteX6391" fmla="*/ 6218023 w 9586368"/>
              <a:gd name="connsiteY6391" fmla="*/ 1918683 h 6479439"/>
              <a:gd name="connsiteX6392" fmla="*/ 7179298 w 9586368"/>
              <a:gd name="connsiteY6392" fmla="*/ 1914627 h 6479439"/>
              <a:gd name="connsiteX6393" fmla="*/ 7189209 w 9586368"/>
              <a:gd name="connsiteY6393" fmla="*/ 1914627 h 6479439"/>
              <a:gd name="connsiteX6394" fmla="*/ 7193228 w 9586368"/>
              <a:gd name="connsiteY6394" fmla="*/ 1918666 h 6479439"/>
              <a:gd name="connsiteX6395" fmla="*/ 7193228 w 9586368"/>
              <a:gd name="connsiteY6395" fmla="*/ 1928536 h 6479439"/>
              <a:gd name="connsiteX6396" fmla="*/ 7189209 w 9586368"/>
              <a:gd name="connsiteY6396" fmla="*/ 1932575 h 6479439"/>
              <a:gd name="connsiteX6397" fmla="*/ 7179298 w 9586368"/>
              <a:gd name="connsiteY6397" fmla="*/ 1932575 h 6479439"/>
              <a:gd name="connsiteX6398" fmla="*/ 7175279 w 9586368"/>
              <a:gd name="connsiteY6398" fmla="*/ 1928536 h 6479439"/>
              <a:gd name="connsiteX6399" fmla="*/ 7175279 w 9586368"/>
              <a:gd name="connsiteY6399" fmla="*/ 1918666 h 6479439"/>
              <a:gd name="connsiteX6400" fmla="*/ 7897241 w 9586368"/>
              <a:gd name="connsiteY6400" fmla="*/ 1914627 h 6479439"/>
              <a:gd name="connsiteX6401" fmla="*/ 7907151 w 9586368"/>
              <a:gd name="connsiteY6401" fmla="*/ 1914627 h 6479439"/>
              <a:gd name="connsiteX6402" fmla="*/ 7911170 w 9586368"/>
              <a:gd name="connsiteY6402" fmla="*/ 1918664 h 6479439"/>
              <a:gd name="connsiteX6403" fmla="*/ 7911170 w 9586368"/>
              <a:gd name="connsiteY6403" fmla="*/ 1928535 h 6479439"/>
              <a:gd name="connsiteX6404" fmla="*/ 7907151 w 9586368"/>
              <a:gd name="connsiteY6404" fmla="*/ 1932575 h 6479439"/>
              <a:gd name="connsiteX6405" fmla="*/ 7897241 w 9586368"/>
              <a:gd name="connsiteY6405" fmla="*/ 1932575 h 6479439"/>
              <a:gd name="connsiteX6406" fmla="*/ 7893222 w 9586368"/>
              <a:gd name="connsiteY6406" fmla="*/ 1928535 h 6479439"/>
              <a:gd name="connsiteX6407" fmla="*/ 7893222 w 9586368"/>
              <a:gd name="connsiteY6407" fmla="*/ 1918664 h 6479439"/>
              <a:gd name="connsiteX6408" fmla="*/ 7657926 w 9586368"/>
              <a:gd name="connsiteY6408" fmla="*/ 1914627 h 6479439"/>
              <a:gd name="connsiteX6409" fmla="*/ 7667836 w 9586368"/>
              <a:gd name="connsiteY6409" fmla="*/ 1914627 h 6479439"/>
              <a:gd name="connsiteX6410" fmla="*/ 7671855 w 9586368"/>
              <a:gd name="connsiteY6410" fmla="*/ 1918664 h 6479439"/>
              <a:gd name="connsiteX6411" fmla="*/ 7671855 w 9586368"/>
              <a:gd name="connsiteY6411" fmla="*/ 1928536 h 6479439"/>
              <a:gd name="connsiteX6412" fmla="*/ 7667836 w 9586368"/>
              <a:gd name="connsiteY6412" fmla="*/ 1932575 h 6479439"/>
              <a:gd name="connsiteX6413" fmla="*/ 7657926 w 9586368"/>
              <a:gd name="connsiteY6413" fmla="*/ 1932575 h 6479439"/>
              <a:gd name="connsiteX6414" fmla="*/ 7653906 w 9586368"/>
              <a:gd name="connsiteY6414" fmla="*/ 1928536 h 6479439"/>
              <a:gd name="connsiteX6415" fmla="*/ 7653906 w 9586368"/>
              <a:gd name="connsiteY6415" fmla="*/ 1918664 h 6479439"/>
              <a:gd name="connsiteX6416" fmla="*/ 7418611 w 9586368"/>
              <a:gd name="connsiteY6416" fmla="*/ 1914627 h 6479439"/>
              <a:gd name="connsiteX6417" fmla="*/ 7428521 w 9586368"/>
              <a:gd name="connsiteY6417" fmla="*/ 1914627 h 6479439"/>
              <a:gd name="connsiteX6418" fmla="*/ 7432540 w 9586368"/>
              <a:gd name="connsiteY6418" fmla="*/ 1918664 h 6479439"/>
              <a:gd name="connsiteX6419" fmla="*/ 7432540 w 9586368"/>
              <a:gd name="connsiteY6419" fmla="*/ 1928536 h 6479439"/>
              <a:gd name="connsiteX6420" fmla="*/ 7428521 w 9586368"/>
              <a:gd name="connsiteY6420" fmla="*/ 1932575 h 6479439"/>
              <a:gd name="connsiteX6421" fmla="*/ 7418611 w 9586368"/>
              <a:gd name="connsiteY6421" fmla="*/ 1932575 h 6479439"/>
              <a:gd name="connsiteX6422" fmla="*/ 7414592 w 9586368"/>
              <a:gd name="connsiteY6422" fmla="*/ 1928536 h 6479439"/>
              <a:gd name="connsiteX6423" fmla="*/ 7414592 w 9586368"/>
              <a:gd name="connsiteY6423" fmla="*/ 1918664 h 6479439"/>
              <a:gd name="connsiteX6424" fmla="*/ 8136553 w 9586368"/>
              <a:gd name="connsiteY6424" fmla="*/ 1914626 h 6479439"/>
              <a:gd name="connsiteX6425" fmla="*/ 8146464 w 9586368"/>
              <a:gd name="connsiteY6425" fmla="*/ 1914626 h 6479439"/>
              <a:gd name="connsiteX6426" fmla="*/ 8150483 w 9586368"/>
              <a:gd name="connsiteY6426" fmla="*/ 1918664 h 6479439"/>
              <a:gd name="connsiteX6427" fmla="*/ 8150483 w 9586368"/>
              <a:gd name="connsiteY6427" fmla="*/ 1928535 h 6479439"/>
              <a:gd name="connsiteX6428" fmla="*/ 8146464 w 9586368"/>
              <a:gd name="connsiteY6428" fmla="*/ 1932575 h 6479439"/>
              <a:gd name="connsiteX6429" fmla="*/ 8136553 w 9586368"/>
              <a:gd name="connsiteY6429" fmla="*/ 1932575 h 6479439"/>
              <a:gd name="connsiteX6430" fmla="*/ 8132534 w 9586368"/>
              <a:gd name="connsiteY6430" fmla="*/ 1928535 h 6479439"/>
              <a:gd name="connsiteX6431" fmla="*/ 8132534 w 9586368"/>
              <a:gd name="connsiteY6431" fmla="*/ 1918664 h 6479439"/>
              <a:gd name="connsiteX6432" fmla="*/ 8375869 w 9586368"/>
              <a:gd name="connsiteY6432" fmla="*/ 1914608 h 6479439"/>
              <a:gd name="connsiteX6433" fmla="*/ 8385779 w 9586368"/>
              <a:gd name="connsiteY6433" fmla="*/ 1914608 h 6479439"/>
              <a:gd name="connsiteX6434" fmla="*/ 8389799 w 9586368"/>
              <a:gd name="connsiteY6434" fmla="*/ 1918647 h 6479439"/>
              <a:gd name="connsiteX6435" fmla="*/ 8389799 w 9586368"/>
              <a:gd name="connsiteY6435" fmla="*/ 1928518 h 6479439"/>
              <a:gd name="connsiteX6436" fmla="*/ 8385779 w 9586368"/>
              <a:gd name="connsiteY6436" fmla="*/ 1932557 h 6479439"/>
              <a:gd name="connsiteX6437" fmla="*/ 8375869 w 9586368"/>
              <a:gd name="connsiteY6437" fmla="*/ 1932557 h 6479439"/>
              <a:gd name="connsiteX6438" fmla="*/ 8371850 w 9586368"/>
              <a:gd name="connsiteY6438" fmla="*/ 1928518 h 6479439"/>
              <a:gd name="connsiteX6439" fmla="*/ 8371850 w 9586368"/>
              <a:gd name="connsiteY6439" fmla="*/ 1918647 h 6479439"/>
              <a:gd name="connsiteX6440" fmla="*/ 9333125 w 9586368"/>
              <a:gd name="connsiteY6440" fmla="*/ 1914608 h 6479439"/>
              <a:gd name="connsiteX6441" fmla="*/ 9343036 w 9586368"/>
              <a:gd name="connsiteY6441" fmla="*/ 1914608 h 6479439"/>
              <a:gd name="connsiteX6442" fmla="*/ 9347055 w 9586368"/>
              <a:gd name="connsiteY6442" fmla="*/ 1918646 h 6479439"/>
              <a:gd name="connsiteX6443" fmla="*/ 9347055 w 9586368"/>
              <a:gd name="connsiteY6443" fmla="*/ 1928517 h 6479439"/>
              <a:gd name="connsiteX6444" fmla="*/ 9343036 w 9586368"/>
              <a:gd name="connsiteY6444" fmla="*/ 1932557 h 6479439"/>
              <a:gd name="connsiteX6445" fmla="*/ 9333125 w 9586368"/>
              <a:gd name="connsiteY6445" fmla="*/ 1932557 h 6479439"/>
              <a:gd name="connsiteX6446" fmla="*/ 9329106 w 9586368"/>
              <a:gd name="connsiteY6446" fmla="*/ 1928517 h 6479439"/>
              <a:gd name="connsiteX6447" fmla="*/ 9329106 w 9586368"/>
              <a:gd name="connsiteY6447" fmla="*/ 1918646 h 6479439"/>
              <a:gd name="connsiteX6448" fmla="*/ 9093811 w 9586368"/>
              <a:gd name="connsiteY6448" fmla="*/ 1914608 h 6479439"/>
              <a:gd name="connsiteX6449" fmla="*/ 9103722 w 9586368"/>
              <a:gd name="connsiteY6449" fmla="*/ 1914608 h 6479439"/>
              <a:gd name="connsiteX6450" fmla="*/ 9107741 w 9586368"/>
              <a:gd name="connsiteY6450" fmla="*/ 1918646 h 6479439"/>
              <a:gd name="connsiteX6451" fmla="*/ 9107741 w 9586368"/>
              <a:gd name="connsiteY6451" fmla="*/ 1928517 h 6479439"/>
              <a:gd name="connsiteX6452" fmla="*/ 9103722 w 9586368"/>
              <a:gd name="connsiteY6452" fmla="*/ 1932557 h 6479439"/>
              <a:gd name="connsiteX6453" fmla="*/ 9093811 w 9586368"/>
              <a:gd name="connsiteY6453" fmla="*/ 1932557 h 6479439"/>
              <a:gd name="connsiteX6454" fmla="*/ 9089792 w 9586368"/>
              <a:gd name="connsiteY6454" fmla="*/ 1928517 h 6479439"/>
              <a:gd name="connsiteX6455" fmla="*/ 9089792 w 9586368"/>
              <a:gd name="connsiteY6455" fmla="*/ 1918646 h 6479439"/>
              <a:gd name="connsiteX6456" fmla="*/ 8854496 w 9586368"/>
              <a:gd name="connsiteY6456" fmla="*/ 1914608 h 6479439"/>
              <a:gd name="connsiteX6457" fmla="*/ 8864407 w 9586368"/>
              <a:gd name="connsiteY6457" fmla="*/ 1914608 h 6479439"/>
              <a:gd name="connsiteX6458" fmla="*/ 8868426 w 9586368"/>
              <a:gd name="connsiteY6458" fmla="*/ 1918646 h 6479439"/>
              <a:gd name="connsiteX6459" fmla="*/ 8868426 w 9586368"/>
              <a:gd name="connsiteY6459" fmla="*/ 1928518 h 6479439"/>
              <a:gd name="connsiteX6460" fmla="*/ 8864407 w 9586368"/>
              <a:gd name="connsiteY6460" fmla="*/ 1932557 h 6479439"/>
              <a:gd name="connsiteX6461" fmla="*/ 8854496 w 9586368"/>
              <a:gd name="connsiteY6461" fmla="*/ 1932557 h 6479439"/>
              <a:gd name="connsiteX6462" fmla="*/ 8850477 w 9586368"/>
              <a:gd name="connsiteY6462" fmla="*/ 1928518 h 6479439"/>
              <a:gd name="connsiteX6463" fmla="*/ 8850477 w 9586368"/>
              <a:gd name="connsiteY6463" fmla="*/ 1918646 h 6479439"/>
              <a:gd name="connsiteX6464" fmla="*/ 8615184 w 9586368"/>
              <a:gd name="connsiteY6464" fmla="*/ 1914608 h 6479439"/>
              <a:gd name="connsiteX6465" fmla="*/ 8625095 w 9586368"/>
              <a:gd name="connsiteY6465" fmla="*/ 1914608 h 6479439"/>
              <a:gd name="connsiteX6466" fmla="*/ 8629114 w 9586368"/>
              <a:gd name="connsiteY6466" fmla="*/ 1918646 h 6479439"/>
              <a:gd name="connsiteX6467" fmla="*/ 8629114 w 9586368"/>
              <a:gd name="connsiteY6467" fmla="*/ 1928518 h 6479439"/>
              <a:gd name="connsiteX6468" fmla="*/ 8625095 w 9586368"/>
              <a:gd name="connsiteY6468" fmla="*/ 1932557 h 6479439"/>
              <a:gd name="connsiteX6469" fmla="*/ 8615184 w 9586368"/>
              <a:gd name="connsiteY6469" fmla="*/ 1932557 h 6479439"/>
              <a:gd name="connsiteX6470" fmla="*/ 8611165 w 9586368"/>
              <a:gd name="connsiteY6470" fmla="*/ 1928518 h 6479439"/>
              <a:gd name="connsiteX6471" fmla="*/ 8611165 w 9586368"/>
              <a:gd name="connsiteY6471" fmla="*/ 1918646 h 6479439"/>
              <a:gd name="connsiteX6472" fmla="*/ 9572438 w 9586368"/>
              <a:gd name="connsiteY6472" fmla="*/ 1914590 h 6479439"/>
              <a:gd name="connsiteX6473" fmla="*/ 9582349 w 9586368"/>
              <a:gd name="connsiteY6473" fmla="*/ 1914590 h 6479439"/>
              <a:gd name="connsiteX6474" fmla="*/ 9586368 w 9586368"/>
              <a:gd name="connsiteY6474" fmla="*/ 1918629 h 6479439"/>
              <a:gd name="connsiteX6475" fmla="*/ 9586368 w 9586368"/>
              <a:gd name="connsiteY6475" fmla="*/ 1928499 h 6479439"/>
              <a:gd name="connsiteX6476" fmla="*/ 9582349 w 9586368"/>
              <a:gd name="connsiteY6476" fmla="*/ 1932538 h 6479439"/>
              <a:gd name="connsiteX6477" fmla="*/ 9572438 w 9586368"/>
              <a:gd name="connsiteY6477" fmla="*/ 1932538 h 6479439"/>
              <a:gd name="connsiteX6478" fmla="*/ 9568419 w 9586368"/>
              <a:gd name="connsiteY6478" fmla="*/ 1928499 h 6479439"/>
              <a:gd name="connsiteX6479" fmla="*/ 9568419 w 9586368"/>
              <a:gd name="connsiteY6479" fmla="*/ 1918629 h 6479439"/>
              <a:gd name="connsiteX6480" fmla="*/ 243346 w 9586368"/>
              <a:gd name="connsiteY6480" fmla="*/ 1914550 h 6479439"/>
              <a:gd name="connsiteX6481" fmla="*/ 253256 w 9586368"/>
              <a:gd name="connsiteY6481" fmla="*/ 1914550 h 6479439"/>
              <a:gd name="connsiteX6482" fmla="*/ 257275 w 9586368"/>
              <a:gd name="connsiteY6482" fmla="*/ 1918589 h 6479439"/>
              <a:gd name="connsiteX6483" fmla="*/ 257275 w 9586368"/>
              <a:gd name="connsiteY6483" fmla="*/ 1928459 h 6479439"/>
              <a:gd name="connsiteX6484" fmla="*/ 253256 w 9586368"/>
              <a:gd name="connsiteY6484" fmla="*/ 1932498 h 6479439"/>
              <a:gd name="connsiteX6485" fmla="*/ 243346 w 9586368"/>
              <a:gd name="connsiteY6485" fmla="*/ 1932498 h 6479439"/>
              <a:gd name="connsiteX6486" fmla="*/ 239327 w 9586368"/>
              <a:gd name="connsiteY6486" fmla="*/ 1928459 h 6479439"/>
              <a:gd name="connsiteX6487" fmla="*/ 239327 w 9586368"/>
              <a:gd name="connsiteY6487" fmla="*/ 1918589 h 6479439"/>
              <a:gd name="connsiteX6488" fmla="*/ 4032 w 9586368"/>
              <a:gd name="connsiteY6488" fmla="*/ 1914550 h 6479439"/>
              <a:gd name="connsiteX6489" fmla="*/ 13943 w 9586368"/>
              <a:gd name="connsiteY6489" fmla="*/ 1914550 h 6479439"/>
              <a:gd name="connsiteX6490" fmla="*/ 17962 w 9586368"/>
              <a:gd name="connsiteY6490" fmla="*/ 1918589 h 6479439"/>
              <a:gd name="connsiteX6491" fmla="*/ 17962 w 9586368"/>
              <a:gd name="connsiteY6491" fmla="*/ 1928459 h 6479439"/>
              <a:gd name="connsiteX6492" fmla="*/ 13943 w 9586368"/>
              <a:gd name="connsiteY6492" fmla="*/ 1932498 h 6479439"/>
              <a:gd name="connsiteX6493" fmla="*/ 4032 w 9586368"/>
              <a:gd name="connsiteY6493" fmla="*/ 1932498 h 6479439"/>
              <a:gd name="connsiteX6494" fmla="*/ 13 w 9586368"/>
              <a:gd name="connsiteY6494" fmla="*/ 1928459 h 6479439"/>
              <a:gd name="connsiteX6495" fmla="*/ 13 w 9586368"/>
              <a:gd name="connsiteY6495" fmla="*/ 1918589 h 6479439"/>
              <a:gd name="connsiteX6496" fmla="*/ 721971 w 9586368"/>
              <a:gd name="connsiteY6496" fmla="*/ 1914550 h 6479439"/>
              <a:gd name="connsiteX6497" fmla="*/ 731882 w 9586368"/>
              <a:gd name="connsiteY6497" fmla="*/ 1914550 h 6479439"/>
              <a:gd name="connsiteX6498" fmla="*/ 735901 w 9586368"/>
              <a:gd name="connsiteY6498" fmla="*/ 1918588 h 6479439"/>
              <a:gd name="connsiteX6499" fmla="*/ 735901 w 9586368"/>
              <a:gd name="connsiteY6499" fmla="*/ 1928459 h 6479439"/>
              <a:gd name="connsiteX6500" fmla="*/ 731882 w 9586368"/>
              <a:gd name="connsiteY6500" fmla="*/ 1932497 h 6479439"/>
              <a:gd name="connsiteX6501" fmla="*/ 721971 w 9586368"/>
              <a:gd name="connsiteY6501" fmla="*/ 1932497 h 6479439"/>
              <a:gd name="connsiteX6502" fmla="*/ 717953 w 9586368"/>
              <a:gd name="connsiteY6502" fmla="*/ 1928459 h 6479439"/>
              <a:gd name="connsiteX6503" fmla="*/ 717953 w 9586368"/>
              <a:gd name="connsiteY6503" fmla="*/ 1918588 h 6479439"/>
              <a:gd name="connsiteX6504" fmla="*/ 482660 w 9586368"/>
              <a:gd name="connsiteY6504" fmla="*/ 1914550 h 6479439"/>
              <a:gd name="connsiteX6505" fmla="*/ 492570 w 9586368"/>
              <a:gd name="connsiteY6505" fmla="*/ 1914550 h 6479439"/>
              <a:gd name="connsiteX6506" fmla="*/ 496589 w 9586368"/>
              <a:gd name="connsiteY6506" fmla="*/ 1918588 h 6479439"/>
              <a:gd name="connsiteX6507" fmla="*/ 496589 w 9586368"/>
              <a:gd name="connsiteY6507" fmla="*/ 1928459 h 6479439"/>
              <a:gd name="connsiteX6508" fmla="*/ 492570 w 9586368"/>
              <a:gd name="connsiteY6508" fmla="*/ 1932497 h 6479439"/>
              <a:gd name="connsiteX6509" fmla="*/ 482660 w 9586368"/>
              <a:gd name="connsiteY6509" fmla="*/ 1932497 h 6479439"/>
              <a:gd name="connsiteX6510" fmla="*/ 478640 w 9586368"/>
              <a:gd name="connsiteY6510" fmla="*/ 1928459 h 6479439"/>
              <a:gd name="connsiteX6511" fmla="*/ 478640 w 9586368"/>
              <a:gd name="connsiteY6511" fmla="*/ 1918588 h 6479439"/>
              <a:gd name="connsiteX6512" fmla="*/ 1679215 w 9586368"/>
              <a:gd name="connsiteY6512" fmla="*/ 1914535 h 6479439"/>
              <a:gd name="connsiteX6513" fmla="*/ 1689125 w 9586368"/>
              <a:gd name="connsiteY6513" fmla="*/ 1914535 h 6479439"/>
              <a:gd name="connsiteX6514" fmla="*/ 1693144 w 9586368"/>
              <a:gd name="connsiteY6514" fmla="*/ 1918573 h 6479439"/>
              <a:gd name="connsiteX6515" fmla="*/ 1693144 w 9586368"/>
              <a:gd name="connsiteY6515" fmla="*/ 1928444 h 6479439"/>
              <a:gd name="connsiteX6516" fmla="*/ 1689125 w 9586368"/>
              <a:gd name="connsiteY6516" fmla="*/ 1932482 h 6479439"/>
              <a:gd name="connsiteX6517" fmla="*/ 1679215 w 9586368"/>
              <a:gd name="connsiteY6517" fmla="*/ 1932482 h 6479439"/>
              <a:gd name="connsiteX6518" fmla="*/ 1675195 w 9586368"/>
              <a:gd name="connsiteY6518" fmla="*/ 1928444 h 6479439"/>
              <a:gd name="connsiteX6519" fmla="*/ 1675195 w 9586368"/>
              <a:gd name="connsiteY6519" fmla="*/ 1918573 h 6479439"/>
              <a:gd name="connsiteX6520" fmla="*/ 1439897 w 9586368"/>
              <a:gd name="connsiteY6520" fmla="*/ 1914535 h 6479439"/>
              <a:gd name="connsiteX6521" fmla="*/ 1449808 w 9586368"/>
              <a:gd name="connsiteY6521" fmla="*/ 1914535 h 6479439"/>
              <a:gd name="connsiteX6522" fmla="*/ 1453827 w 9586368"/>
              <a:gd name="connsiteY6522" fmla="*/ 1918573 h 6479439"/>
              <a:gd name="connsiteX6523" fmla="*/ 1453827 w 9586368"/>
              <a:gd name="connsiteY6523" fmla="*/ 1928444 h 6479439"/>
              <a:gd name="connsiteX6524" fmla="*/ 1449808 w 9586368"/>
              <a:gd name="connsiteY6524" fmla="*/ 1932483 h 6479439"/>
              <a:gd name="connsiteX6525" fmla="*/ 1439897 w 9586368"/>
              <a:gd name="connsiteY6525" fmla="*/ 1932483 h 6479439"/>
              <a:gd name="connsiteX6526" fmla="*/ 1435879 w 9586368"/>
              <a:gd name="connsiteY6526" fmla="*/ 1928444 h 6479439"/>
              <a:gd name="connsiteX6527" fmla="*/ 1435879 w 9586368"/>
              <a:gd name="connsiteY6527" fmla="*/ 1918573 h 6479439"/>
              <a:gd name="connsiteX6528" fmla="*/ 1200582 w 9586368"/>
              <a:gd name="connsiteY6528" fmla="*/ 1914535 h 6479439"/>
              <a:gd name="connsiteX6529" fmla="*/ 1210492 w 9586368"/>
              <a:gd name="connsiteY6529" fmla="*/ 1914535 h 6479439"/>
              <a:gd name="connsiteX6530" fmla="*/ 1214511 w 9586368"/>
              <a:gd name="connsiteY6530" fmla="*/ 1918573 h 6479439"/>
              <a:gd name="connsiteX6531" fmla="*/ 1214511 w 9586368"/>
              <a:gd name="connsiteY6531" fmla="*/ 1928444 h 6479439"/>
              <a:gd name="connsiteX6532" fmla="*/ 1210492 w 9586368"/>
              <a:gd name="connsiteY6532" fmla="*/ 1932483 h 6479439"/>
              <a:gd name="connsiteX6533" fmla="*/ 1200582 w 9586368"/>
              <a:gd name="connsiteY6533" fmla="*/ 1932483 h 6479439"/>
              <a:gd name="connsiteX6534" fmla="*/ 1196563 w 9586368"/>
              <a:gd name="connsiteY6534" fmla="*/ 1928444 h 6479439"/>
              <a:gd name="connsiteX6535" fmla="*/ 1196563 w 9586368"/>
              <a:gd name="connsiteY6535" fmla="*/ 1918573 h 6479439"/>
              <a:gd name="connsiteX6536" fmla="*/ 961269 w 9586368"/>
              <a:gd name="connsiteY6536" fmla="*/ 1914535 h 6479439"/>
              <a:gd name="connsiteX6537" fmla="*/ 971179 w 9586368"/>
              <a:gd name="connsiteY6537" fmla="*/ 1914535 h 6479439"/>
              <a:gd name="connsiteX6538" fmla="*/ 975198 w 9586368"/>
              <a:gd name="connsiteY6538" fmla="*/ 1918573 h 6479439"/>
              <a:gd name="connsiteX6539" fmla="*/ 975198 w 9586368"/>
              <a:gd name="connsiteY6539" fmla="*/ 1928444 h 6479439"/>
              <a:gd name="connsiteX6540" fmla="*/ 971179 w 9586368"/>
              <a:gd name="connsiteY6540" fmla="*/ 1932483 h 6479439"/>
              <a:gd name="connsiteX6541" fmla="*/ 961269 w 9586368"/>
              <a:gd name="connsiteY6541" fmla="*/ 1932483 h 6479439"/>
              <a:gd name="connsiteX6542" fmla="*/ 957250 w 9586368"/>
              <a:gd name="connsiteY6542" fmla="*/ 1928444 h 6479439"/>
              <a:gd name="connsiteX6543" fmla="*/ 957250 w 9586368"/>
              <a:gd name="connsiteY6543" fmla="*/ 1918573 h 6479439"/>
              <a:gd name="connsiteX6544" fmla="*/ 1918513 w 9586368"/>
              <a:gd name="connsiteY6544" fmla="*/ 1914523 h 6479439"/>
              <a:gd name="connsiteX6545" fmla="*/ 1928424 w 9586368"/>
              <a:gd name="connsiteY6545" fmla="*/ 1914523 h 6479439"/>
              <a:gd name="connsiteX6546" fmla="*/ 1932443 w 9586368"/>
              <a:gd name="connsiteY6546" fmla="*/ 1918562 h 6479439"/>
              <a:gd name="connsiteX6547" fmla="*/ 1932443 w 9586368"/>
              <a:gd name="connsiteY6547" fmla="*/ 1928432 h 6479439"/>
              <a:gd name="connsiteX6548" fmla="*/ 1928424 w 9586368"/>
              <a:gd name="connsiteY6548" fmla="*/ 1932471 h 6479439"/>
              <a:gd name="connsiteX6549" fmla="*/ 1918513 w 9586368"/>
              <a:gd name="connsiteY6549" fmla="*/ 1932471 h 6479439"/>
              <a:gd name="connsiteX6550" fmla="*/ 1914494 w 9586368"/>
              <a:gd name="connsiteY6550" fmla="*/ 1928432 h 6479439"/>
              <a:gd name="connsiteX6551" fmla="*/ 1914494 w 9586368"/>
              <a:gd name="connsiteY6551" fmla="*/ 1918562 h 6479439"/>
              <a:gd name="connsiteX6552" fmla="*/ 2157821 w 9586368"/>
              <a:gd name="connsiteY6552" fmla="*/ 1914520 h 6479439"/>
              <a:gd name="connsiteX6553" fmla="*/ 2167732 w 9586368"/>
              <a:gd name="connsiteY6553" fmla="*/ 1914520 h 6479439"/>
              <a:gd name="connsiteX6554" fmla="*/ 2171751 w 9586368"/>
              <a:gd name="connsiteY6554" fmla="*/ 1918558 h 6479439"/>
              <a:gd name="connsiteX6555" fmla="*/ 2171751 w 9586368"/>
              <a:gd name="connsiteY6555" fmla="*/ 1928428 h 6479439"/>
              <a:gd name="connsiteX6556" fmla="*/ 2167732 w 9586368"/>
              <a:gd name="connsiteY6556" fmla="*/ 1932467 h 6479439"/>
              <a:gd name="connsiteX6557" fmla="*/ 2157821 w 9586368"/>
              <a:gd name="connsiteY6557" fmla="*/ 1932467 h 6479439"/>
              <a:gd name="connsiteX6558" fmla="*/ 2153803 w 9586368"/>
              <a:gd name="connsiteY6558" fmla="*/ 1928428 h 6479439"/>
              <a:gd name="connsiteX6559" fmla="*/ 2153803 w 9586368"/>
              <a:gd name="connsiteY6559" fmla="*/ 1918558 h 6479439"/>
              <a:gd name="connsiteX6560" fmla="*/ 2871737 w 9586368"/>
              <a:gd name="connsiteY6560" fmla="*/ 1675350 h 6479439"/>
              <a:gd name="connsiteX6561" fmla="*/ 2881646 w 9586368"/>
              <a:gd name="connsiteY6561" fmla="*/ 1675350 h 6479439"/>
              <a:gd name="connsiteX6562" fmla="*/ 2885666 w 9586368"/>
              <a:gd name="connsiteY6562" fmla="*/ 1679389 h 6479439"/>
              <a:gd name="connsiteX6563" fmla="*/ 2885666 w 9586368"/>
              <a:gd name="connsiteY6563" fmla="*/ 1689260 h 6479439"/>
              <a:gd name="connsiteX6564" fmla="*/ 2881646 w 9586368"/>
              <a:gd name="connsiteY6564" fmla="*/ 1693299 h 6479439"/>
              <a:gd name="connsiteX6565" fmla="*/ 2871737 w 9586368"/>
              <a:gd name="connsiteY6565" fmla="*/ 1693299 h 6479439"/>
              <a:gd name="connsiteX6566" fmla="*/ 2867717 w 9586368"/>
              <a:gd name="connsiteY6566" fmla="*/ 1689260 h 6479439"/>
              <a:gd name="connsiteX6567" fmla="*/ 2867717 w 9586368"/>
              <a:gd name="connsiteY6567" fmla="*/ 1679389 h 6479439"/>
              <a:gd name="connsiteX6568" fmla="*/ 2632423 w 9586368"/>
              <a:gd name="connsiteY6568" fmla="*/ 1675350 h 6479439"/>
              <a:gd name="connsiteX6569" fmla="*/ 2642334 w 9586368"/>
              <a:gd name="connsiteY6569" fmla="*/ 1675350 h 6479439"/>
              <a:gd name="connsiteX6570" fmla="*/ 2646352 w 9586368"/>
              <a:gd name="connsiteY6570" fmla="*/ 1679389 h 6479439"/>
              <a:gd name="connsiteX6571" fmla="*/ 2646352 w 9586368"/>
              <a:gd name="connsiteY6571" fmla="*/ 1689260 h 6479439"/>
              <a:gd name="connsiteX6572" fmla="*/ 2642334 w 9586368"/>
              <a:gd name="connsiteY6572" fmla="*/ 1693299 h 6479439"/>
              <a:gd name="connsiteX6573" fmla="*/ 2632423 w 9586368"/>
              <a:gd name="connsiteY6573" fmla="*/ 1693299 h 6479439"/>
              <a:gd name="connsiteX6574" fmla="*/ 2628404 w 9586368"/>
              <a:gd name="connsiteY6574" fmla="*/ 1689260 h 6479439"/>
              <a:gd name="connsiteX6575" fmla="*/ 2628404 w 9586368"/>
              <a:gd name="connsiteY6575" fmla="*/ 1679389 h 6479439"/>
              <a:gd name="connsiteX6576" fmla="*/ 2393104 w 9586368"/>
              <a:gd name="connsiteY6576" fmla="*/ 1675350 h 6479439"/>
              <a:gd name="connsiteX6577" fmla="*/ 2403015 w 9586368"/>
              <a:gd name="connsiteY6577" fmla="*/ 1675350 h 6479439"/>
              <a:gd name="connsiteX6578" fmla="*/ 2407034 w 9586368"/>
              <a:gd name="connsiteY6578" fmla="*/ 1679389 h 6479439"/>
              <a:gd name="connsiteX6579" fmla="*/ 2407034 w 9586368"/>
              <a:gd name="connsiteY6579" fmla="*/ 1689260 h 6479439"/>
              <a:gd name="connsiteX6580" fmla="*/ 2403015 w 9586368"/>
              <a:gd name="connsiteY6580" fmla="*/ 1693299 h 6479439"/>
              <a:gd name="connsiteX6581" fmla="*/ 2393104 w 9586368"/>
              <a:gd name="connsiteY6581" fmla="*/ 1693299 h 6479439"/>
              <a:gd name="connsiteX6582" fmla="*/ 2389087 w 9586368"/>
              <a:gd name="connsiteY6582" fmla="*/ 1689260 h 6479439"/>
              <a:gd name="connsiteX6583" fmla="*/ 2389087 w 9586368"/>
              <a:gd name="connsiteY6583" fmla="*/ 1679389 h 6479439"/>
              <a:gd name="connsiteX6584" fmla="*/ 3350359 w 9586368"/>
              <a:gd name="connsiteY6584" fmla="*/ 1675349 h 6479439"/>
              <a:gd name="connsiteX6585" fmla="*/ 3360268 w 9586368"/>
              <a:gd name="connsiteY6585" fmla="*/ 1675349 h 6479439"/>
              <a:gd name="connsiteX6586" fmla="*/ 3364287 w 9586368"/>
              <a:gd name="connsiteY6586" fmla="*/ 1679388 h 6479439"/>
              <a:gd name="connsiteX6587" fmla="*/ 3364287 w 9586368"/>
              <a:gd name="connsiteY6587" fmla="*/ 1689260 h 6479439"/>
              <a:gd name="connsiteX6588" fmla="*/ 3360268 w 9586368"/>
              <a:gd name="connsiteY6588" fmla="*/ 1693298 h 6479439"/>
              <a:gd name="connsiteX6589" fmla="*/ 3350359 w 9586368"/>
              <a:gd name="connsiteY6589" fmla="*/ 1693298 h 6479439"/>
              <a:gd name="connsiteX6590" fmla="*/ 3346340 w 9586368"/>
              <a:gd name="connsiteY6590" fmla="*/ 1689260 h 6479439"/>
              <a:gd name="connsiteX6591" fmla="*/ 3346340 w 9586368"/>
              <a:gd name="connsiteY6591" fmla="*/ 1679388 h 6479439"/>
              <a:gd name="connsiteX6592" fmla="*/ 3111048 w 9586368"/>
              <a:gd name="connsiteY6592" fmla="*/ 1675349 h 6479439"/>
              <a:gd name="connsiteX6593" fmla="*/ 3120959 w 9586368"/>
              <a:gd name="connsiteY6593" fmla="*/ 1675349 h 6479439"/>
              <a:gd name="connsiteX6594" fmla="*/ 3124977 w 9586368"/>
              <a:gd name="connsiteY6594" fmla="*/ 1679388 h 6479439"/>
              <a:gd name="connsiteX6595" fmla="*/ 3124977 w 9586368"/>
              <a:gd name="connsiteY6595" fmla="*/ 1689260 h 6479439"/>
              <a:gd name="connsiteX6596" fmla="*/ 3120959 w 9586368"/>
              <a:gd name="connsiteY6596" fmla="*/ 1693299 h 6479439"/>
              <a:gd name="connsiteX6597" fmla="*/ 3111048 w 9586368"/>
              <a:gd name="connsiteY6597" fmla="*/ 1693299 h 6479439"/>
              <a:gd name="connsiteX6598" fmla="*/ 3107029 w 9586368"/>
              <a:gd name="connsiteY6598" fmla="*/ 1689260 h 6479439"/>
              <a:gd name="connsiteX6599" fmla="*/ 3107029 w 9586368"/>
              <a:gd name="connsiteY6599" fmla="*/ 1679388 h 6479439"/>
              <a:gd name="connsiteX6600" fmla="*/ 4068297 w 9586368"/>
              <a:gd name="connsiteY6600" fmla="*/ 1675334 h 6479439"/>
              <a:gd name="connsiteX6601" fmla="*/ 4078210 w 9586368"/>
              <a:gd name="connsiteY6601" fmla="*/ 1675334 h 6479439"/>
              <a:gd name="connsiteX6602" fmla="*/ 4082229 w 9586368"/>
              <a:gd name="connsiteY6602" fmla="*/ 1679373 h 6479439"/>
              <a:gd name="connsiteX6603" fmla="*/ 4082229 w 9586368"/>
              <a:gd name="connsiteY6603" fmla="*/ 1689243 h 6479439"/>
              <a:gd name="connsiteX6604" fmla="*/ 4078210 w 9586368"/>
              <a:gd name="connsiteY6604" fmla="*/ 1693282 h 6479439"/>
              <a:gd name="connsiteX6605" fmla="*/ 4068297 w 9586368"/>
              <a:gd name="connsiteY6605" fmla="*/ 1693282 h 6479439"/>
              <a:gd name="connsiteX6606" fmla="*/ 4064278 w 9586368"/>
              <a:gd name="connsiteY6606" fmla="*/ 1689243 h 6479439"/>
              <a:gd name="connsiteX6607" fmla="*/ 4064278 w 9586368"/>
              <a:gd name="connsiteY6607" fmla="*/ 1679373 h 6479439"/>
              <a:gd name="connsiteX6608" fmla="*/ 3828990 w 9586368"/>
              <a:gd name="connsiteY6608" fmla="*/ 1675334 h 6479439"/>
              <a:gd name="connsiteX6609" fmla="*/ 3838899 w 9586368"/>
              <a:gd name="connsiteY6609" fmla="*/ 1675334 h 6479439"/>
              <a:gd name="connsiteX6610" fmla="*/ 3842917 w 9586368"/>
              <a:gd name="connsiteY6610" fmla="*/ 1679373 h 6479439"/>
              <a:gd name="connsiteX6611" fmla="*/ 3842917 w 9586368"/>
              <a:gd name="connsiteY6611" fmla="*/ 1689243 h 6479439"/>
              <a:gd name="connsiteX6612" fmla="*/ 3838899 w 9586368"/>
              <a:gd name="connsiteY6612" fmla="*/ 1693282 h 6479439"/>
              <a:gd name="connsiteX6613" fmla="*/ 3828990 w 9586368"/>
              <a:gd name="connsiteY6613" fmla="*/ 1693282 h 6479439"/>
              <a:gd name="connsiteX6614" fmla="*/ 3824971 w 9586368"/>
              <a:gd name="connsiteY6614" fmla="*/ 1689243 h 6479439"/>
              <a:gd name="connsiteX6615" fmla="*/ 3824971 w 9586368"/>
              <a:gd name="connsiteY6615" fmla="*/ 1679373 h 6479439"/>
              <a:gd name="connsiteX6616" fmla="*/ 3589676 w 9586368"/>
              <a:gd name="connsiteY6616" fmla="*/ 1675334 h 6479439"/>
              <a:gd name="connsiteX6617" fmla="*/ 3599585 w 9586368"/>
              <a:gd name="connsiteY6617" fmla="*/ 1675334 h 6479439"/>
              <a:gd name="connsiteX6618" fmla="*/ 3603604 w 9586368"/>
              <a:gd name="connsiteY6618" fmla="*/ 1679373 h 6479439"/>
              <a:gd name="connsiteX6619" fmla="*/ 3603604 w 9586368"/>
              <a:gd name="connsiteY6619" fmla="*/ 1689243 h 6479439"/>
              <a:gd name="connsiteX6620" fmla="*/ 3599585 w 9586368"/>
              <a:gd name="connsiteY6620" fmla="*/ 1693282 h 6479439"/>
              <a:gd name="connsiteX6621" fmla="*/ 3589676 w 9586368"/>
              <a:gd name="connsiteY6621" fmla="*/ 1693282 h 6479439"/>
              <a:gd name="connsiteX6622" fmla="*/ 3585657 w 9586368"/>
              <a:gd name="connsiteY6622" fmla="*/ 1689243 h 6479439"/>
              <a:gd name="connsiteX6623" fmla="*/ 3585657 w 9586368"/>
              <a:gd name="connsiteY6623" fmla="*/ 1679373 h 6479439"/>
              <a:gd name="connsiteX6624" fmla="*/ 4546929 w 9586368"/>
              <a:gd name="connsiteY6624" fmla="*/ 1675333 h 6479439"/>
              <a:gd name="connsiteX6625" fmla="*/ 4556840 w 9586368"/>
              <a:gd name="connsiteY6625" fmla="*/ 1675333 h 6479439"/>
              <a:gd name="connsiteX6626" fmla="*/ 4560859 w 9586368"/>
              <a:gd name="connsiteY6626" fmla="*/ 1679372 h 6479439"/>
              <a:gd name="connsiteX6627" fmla="*/ 4560859 w 9586368"/>
              <a:gd name="connsiteY6627" fmla="*/ 1689243 h 6479439"/>
              <a:gd name="connsiteX6628" fmla="*/ 4556840 w 9586368"/>
              <a:gd name="connsiteY6628" fmla="*/ 1693281 h 6479439"/>
              <a:gd name="connsiteX6629" fmla="*/ 4546929 w 9586368"/>
              <a:gd name="connsiteY6629" fmla="*/ 1693281 h 6479439"/>
              <a:gd name="connsiteX6630" fmla="*/ 4542910 w 9586368"/>
              <a:gd name="connsiteY6630" fmla="*/ 1689243 h 6479439"/>
              <a:gd name="connsiteX6631" fmla="*/ 4542910 w 9586368"/>
              <a:gd name="connsiteY6631" fmla="*/ 1679372 h 6479439"/>
              <a:gd name="connsiteX6632" fmla="*/ 4307612 w 9586368"/>
              <a:gd name="connsiteY6632" fmla="*/ 1675333 h 6479439"/>
              <a:gd name="connsiteX6633" fmla="*/ 4317523 w 9586368"/>
              <a:gd name="connsiteY6633" fmla="*/ 1675333 h 6479439"/>
              <a:gd name="connsiteX6634" fmla="*/ 4321543 w 9586368"/>
              <a:gd name="connsiteY6634" fmla="*/ 1679372 h 6479439"/>
              <a:gd name="connsiteX6635" fmla="*/ 4321543 w 9586368"/>
              <a:gd name="connsiteY6635" fmla="*/ 1689243 h 6479439"/>
              <a:gd name="connsiteX6636" fmla="*/ 4317523 w 9586368"/>
              <a:gd name="connsiteY6636" fmla="*/ 1693282 h 6479439"/>
              <a:gd name="connsiteX6637" fmla="*/ 4307612 w 9586368"/>
              <a:gd name="connsiteY6637" fmla="*/ 1693282 h 6479439"/>
              <a:gd name="connsiteX6638" fmla="*/ 4303595 w 9586368"/>
              <a:gd name="connsiteY6638" fmla="*/ 1689243 h 6479439"/>
              <a:gd name="connsiteX6639" fmla="*/ 4303595 w 9586368"/>
              <a:gd name="connsiteY6639" fmla="*/ 1679372 h 6479439"/>
              <a:gd name="connsiteX6640" fmla="*/ 5264784 w 9586368"/>
              <a:gd name="connsiteY6640" fmla="*/ 1675318 h 6479439"/>
              <a:gd name="connsiteX6641" fmla="*/ 5274694 w 9586368"/>
              <a:gd name="connsiteY6641" fmla="*/ 1675318 h 6479439"/>
              <a:gd name="connsiteX6642" fmla="*/ 5278713 w 9586368"/>
              <a:gd name="connsiteY6642" fmla="*/ 1679357 h 6479439"/>
              <a:gd name="connsiteX6643" fmla="*/ 5278713 w 9586368"/>
              <a:gd name="connsiteY6643" fmla="*/ 1689227 h 6479439"/>
              <a:gd name="connsiteX6644" fmla="*/ 5274694 w 9586368"/>
              <a:gd name="connsiteY6644" fmla="*/ 1693266 h 6479439"/>
              <a:gd name="connsiteX6645" fmla="*/ 5264784 w 9586368"/>
              <a:gd name="connsiteY6645" fmla="*/ 1693266 h 6479439"/>
              <a:gd name="connsiteX6646" fmla="*/ 5260765 w 9586368"/>
              <a:gd name="connsiteY6646" fmla="*/ 1689227 h 6479439"/>
              <a:gd name="connsiteX6647" fmla="*/ 5260765 w 9586368"/>
              <a:gd name="connsiteY6647" fmla="*/ 1679357 h 6479439"/>
              <a:gd name="connsiteX6648" fmla="*/ 5025470 w 9586368"/>
              <a:gd name="connsiteY6648" fmla="*/ 1675318 h 6479439"/>
              <a:gd name="connsiteX6649" fmla="*/ 5035381 w 9586368"/>
              <a:gd name="connsiteY6649" fmla="*/ 1675318 h 6479439"/>
              <a:gd name="connsiteX6650" fmla="*/ 5039400 w 9586368"/>
              <a:gd name="connsiteY6650" fmla="*/ 1679357 h 6479439"/>
              <a:gd name="connsiteX6651" fmla="*/ 5039400 w 9586368"/>
              <a:gd name="connsiteY6651" fmla="*/ 1689227 h 6479439"/>
              <a:gd name="connsiteX6652" fmla="*/ 5035381 w 9586368"/>
              <a:gd name="connsiteY6652" fmla="*/ 1693266 h 6479439"/>
              <a:gd name="connsiteX6653" fmla="*/ 5025470 w 9586368"/>
              <a:gd name="connsiteY6653" fmla="*/ 1693266 h 6479439"/>
              <a:gd name="connsiteX6654" fmla="*/ 5021451 w 9586368"/>
              <a:gd name="connsiteY6654" fmla="*/ 1689227 h 6479439"/>
              <a:gd name="connsiteX6655" fmla="*/ 5021451 w 9586368"/>
              <a:gd name="connsiteY6655" fmla="*/ 1679357 h 6479439"/>
              <a:gd name="connsiteX6656" fmla="*/ 4786241 w 9586368"/>
              <a:gd name="connsiteY6656" fmla="*/ 1675318 h 6479439"/>
              <a:gd name="connsiteX6657" fmla="*/ 4796152 w 9586368"/>
              <a:gd name="connsiteY6657" fmla="*/ 1675318 h 6479439"/>
              <a:gd name="connsiteX6658" fmla="*/ 4800171 w 9586368"/>
              <a:gd name="connsiteY6658" fmla="*/ 1679357 h 6479439"/>
              <a:gd name="connsiteX6659" fmla="*/ 4800171 w 9586368"/>
              <a:gd name="connsiteY6659" fmla="*/ 1689227 h 6479439"/>
              <a:gd name="connsiteX6660" fmla="*/ 4796152 w 9586368"/>
              <a:gd name="connsiteY6660" fmla="*/ 1693266 h 6479439"/>
              <a:gd name="connsiteX6661" fmla="*/ 4786241 w 9586368"/>
              <a:gd name="connsiteY6661" fmla="*/ 1693266 h 6479439"/>
              <a:gd name="connsiteX6662" fmla="*/ 4782224 w 9586368"/>
              <a:gd name="connsiteY6662" fmla="*/ 1689227 h 6479439"/>
              <a:gd name="connsiteX6663" fmla="*/ 4782224 w 9586368"/>
              <a:gd name="connsiteY6663" fmla="*/ 1679357 h 6479439"/>
              <a:gd name="connsiteX6664" fmla="*/ 5743412 w 9586368"/>
              <a:gd name="connsiteY6664" fmla="*/ 1675316 h 6479439"/>
              <a:gd name="connsiteX6665" fmla="*/ 5753323 w 9586368"/>
              <a:gd name="connsiteY6665" fmla="*/ 1675316 h 6479439"/>
              <a:gd name="connsiteX6666" fmla="*/ 5757342 w 9586368"/>
              <a:gd name="connsiteY6666" fmla="*/ 1679356 h 6479439"/>
              <a:gd name="connsiteX6667" fmla="*/ 5757342 w 9586368"/>
              <a:gd name="connsiteY6667" fmla="*/ 1689227 h 6479439"/>
              <a:gd name="connsiteX6668" fmla="*/ 5753323 w 9586368"/>
              <a:gd name="connsiteY6668" fmla="*/ 1693266 h 6479439"/>
              <a:gd name="connsiteX6669" fmla="*/ 5743412 w 9586368"/>
              <a:gd name="connsiteY6669" fmla="*/ 1693266 h 6479439"/>
              <a:gd name="connsiteX6670" fmla="*/ 5739393 w 9586368"/>
              <a:gd name="connsiteY6670" fmla="*/ 1689227 h 6479439"/>
              <a:gd name="connsiteX6671" fmla="*/ 5739393 w 9586368"/>
              <a:gd name="connsiteY6671" fmla="*/ 1679356 h 6479439"/>
              <a:gd name="connsiteX6672" fmla="*/ 5504099 w 9586368"/>
              <a:gd name="connsiteY6672" fmla="*/ 1675316 h 6479439"/>
              <a:gd name="connsiteX6673" fmla="*/ 5514010 w 9586368"/>
              <a:gd name="connsiteY6673" fmla="*/ 1675316 h 6479439"/>
              <a:gd name="connsiteX6674" fmla="*/ 5518029 w 9586368"/>
              <a:gd name="connsiteY6674" fmla="*/ 1679356 h 6479439"/>
              <a:gd name="connsiteX6675" fmla="*/ 5518029 w 9586368"/>
              <a:gd name="connsiteY6675" fmla="*/ 1689227 h 6479439"/>
              <a:gd name="connsiteX6676" fmla="*/ 5514010 w 9586368"/>
              <a:gd name="connsiteY6676" fmla="*/ 1693266 h 6479439"/>
              <a:gd name="connsiteX6677" fmla="*/ 5504099 w 9586368"/>
              <a:gd name="connsiteY6677" fmla="*/ 1693266 h 6479439"/>
              <a:gd name="connsiteX6678" fmla="*/ 5500080 w 9586368"/>
              <a:gd name="connsiteY6678" fmla="*/ 1689227 h 6479439"/>
              <a:gd name="connsiteX6679" fmla="*/ 5500080 w 9586368"/>
              <a:gd name="connsiteY6679" fmla="*/ 1679356 h 6479439"/>
              <a:gd name="connsiteX6680" fmla="*/ 6461356 w 9586368"/>
              <a:gd name="connsiteY6680" fmla="*/ 1675301 h 6479439"/>
              <a:gd name="connsiteX6681" fmla="*/ 6471266 w 9586368"/>
              <a:gd name="connsiteY6681" fmla="*/ 1675301 h 6479439"/>
              <a:gd name="connsiteX6682" fmla="*/ 6475285 w 9586368"/>
              <a:gd name="connsiteY6682" fmla="*/ 1679339 h 6479439"/>
              <a:gd name="connsiteX6683" fmla="*/ 6475285 w 9586368"/>
              <a:gd name="connsiteY6683" fmla="*/ 1689210 h 6479439"/>
              <a:gd name="connsiteX6684" fmla="*/ 6471266 w 9586368"/>
              <a:gd name="connsiteY6684" fmla="*/ 1693249 h 6479439"/>
              <a:gd name="connsiteX6685" fmla="*/ 6461356 w 9586368"/>
              <a:gd name="connsiteY6685" fmla="*/ 1693249 h 6479439"/>
              <a:gd name="connsiteX6686" fmla="*/ 6457337 w 9586368"/>
              <a:gd name="connsiteY6686" fmla="*/ 1689210 h 6479439"/>
              <a:gd name="connsiteX6687" fmla="*/ 6457337 w 9586368"/>
              <a:gd name="connsiteY6687" fmla="*/ 1679339 h 6479439"/>
              <a:gd name="connsiteX6688" fmla="*/ 6222042 w 9586368"/>
              <a:gd name="connsiteY6688" fmla="*/ 1675301 h 6479439"/>
              <a:gd name="connsiteX6689" fmla="*/ 6231952 w 9586368"/>
              <a:gd name="connsiteY6689" fmla="*/ 1675301 h 6479439"/>
              <a:gd name="connsiteX6690" fmla="*/ 6235971 w 9586368"/>
              <a:gd name="connsiteY6690" fmla="*/ 1679339 h 6479439"/>
              <a:gd name="connsiteX6691" fmla="*/ 6235971 w 9586368"/>
              <a:gd name="connsiteY6691" fmla="*/ 1689211 h 6479439"/>
              <a:gd name="connsiteX6692" fmla="*/ 6231952 w 9586368"/>
              <a:gd name="connsiteY6692" fmla="*/ 1693249 h 6479439"/>
              <a:gd name="connsiteX6693" fmla="*/ 6222042 w 9586368"/>
              <a:gd name="connsiteY6693" fmla="*/ 1693249 h 6479439"/>
              <a:gd name="connsiteX6694" fmla="*/ 6218023 w 9586368"/>
              <a:gd name="connsiteY6694" fmla="*/ 1689211 h 6479439"/>
              <a:gd name="connsiteX6695" fmla="*/ 6218023 w 9586368"/>
              <a:gd name="connsiteY6695" fmla="*/ 1679339 h 6479439"/>
              <a:gd name="connsiteX6696" fmla="*/ 5982729 w 9586368"/>
              <a:gd name="connsiteY6696" fmla="*/ 1675301 h 6479439"/>
              <a:gd name="connsiteX6697" fmla="*/ 5992639 w 9586368"/>
              <a:gd name="connsiteY6697" fmla="*/ 1675301 h 6479439"/>
              <a:gd name="connsiteX6698" fmla="*/ 5996658 w 9586368"/>
              <a:gd name="connsiteY6698" fmla="*/ 1679339 h 6479439"/>
              <a:gd name="connsiteX6699" fmla="*/ 5996658 w 9586368"/>
              <a:gd name="connsiteY6699" fmla="*/ 1689211 h 6479439"/>
              <a:gd name="connsiteX6700" fmla="*/ 5992639 w 9586368"/>
              <a:gd name="connsiteY6700" fmla="*/ 1693251 h 6479439"/>
              <a:gd name="connsiteX6701" fmla="*/ 5982729 w 9586368"/>
              <a:gd name="connsiteY6701" fmla="*/ 1693251 h 6479439"/>
              <a:gd name="connsiteX6702" fmla="*/ 5978710 w 9586368"/>
              <a:gd name="connsiteY6702" fmla="*/ 1689211 h 6479439"/>
              <a:gd name="connsiteX6703" fmla="*/ 5978710 w 9586368"/>
              <a:gd name="connsiteY6703" fmla="*/ 1679339 h 6479439"/>
              <a:gd name="connsiteX6704" fmla="*/ 6939983 w 9586368"/>
              <a:gd name="connsiteY6704" fmla="*/ 1675300 h 6479439"/>
              <a:gd name="connsiteX6705" fmla="*/ 6949894 w 9586368"/>
              <a:gd name="connsiteY6705" fmla="*/ 1675300 h 6479439"/>
              <a:gd name="connsiteX6706" fmla="*/ 6953913 w 9586368"/>
              <a:gd name="connsiteY6706" fmla="*/ 1679339 h 6479439"/>
              <a:gd name="connsiteX6707" fmla="*/ 6953913 w 9586368"/>
              <a:gd name="connsiteY6707" fmla="*/ 1689210 h 6479439"/>
              <a:gd name="connsiteX6708" fmla="*/ 6949894 w 9586368"/>
              <a:gd name="connsiteY6708" fmla="*/ 1693249 h 6479439"/>
              <a:gd name="connsiteX6709" fmla="*/ 6939983 w 9586368"/>
              <a:gd name="connsiteY6709" fmla="*/ 1693249 h 6479439"/>
              <a:gd name="connsiteX6710" fmla="*/ 6935964 w 9586368"/>
              <a:gd name="connsiteY6710" fmla="*/ 1689210 h 6479439"/>
              <a:gd name="connsiteX6711" fmla="*/ 6935964 w 9586368"/>
              <a:gd name="connsiteY6711" fmla="*/ 1679339 h 6479439"/>
              <a:gd name="connsiteX6712" fmla="*/ 6700670 w 9586368"/>
              <a:gd name="connsiteY6712" fmla="*/ 1675300 h 6479439"/>
              <a:gd name="connsiteX6713" fmla="*/ 6710581 w 9586368"/>
              <a:gd name="connsiteY6713" fmla="*/ 1675300 h 6479439"/>
              <a:gd name="connsiteX6714" fmla="*/ 6714600 w 9586368"/>
              <a:gd name="connsiteY6714" fmla="*/ 1679339 h 6479439"/>
              <a:gd name="connsiteX6715" fmla="*/ 6714600 w 9586368"/>
              <a:gd name="connsiteY6715" fmla="*/ 1689210 h 6479439"/>
              <a:gd name="connsiteX6716" fmla="*/ 6710581 w 9586368"/>
              <a:gd name="connsiteY6716" fmla="*/ 1693249 h 6479439"/>
              <a:gd name="connsiteX6717" fmla="*/ 6700670 w 9586368"/>
              <a:gd name="connsiteY6717" fmla="*/ 1693249 h 6479439"/>
              <a:gd name="connsiteX6718" fmla="*/ 6696651 w 9586368"/>
              <a:gd name="connsiteY6718" fmla="*/ 1689210 h 6479439"/>
              <a:gd name="connsiteX6719" fmla="*/ 6696651 w 9586368"/>
              <a:gd name="connsiteY6719" fmla="*/ 1679339 h 6479439"/>
              <a:gd name="connsiteX6720" fmla="*/ 8136553 w 9586368"/>
              <a:gd name="connsiteY6720" fmla="*/ 1675285 h 6479439"/>
              <a:gd name="connsiteX6721" fmla="*/ 8146464 w 9586368"/>
              <a:gd name="connsiteY6721" fmla="*/ 1675285 h 6479439"/>
              <a:gd name="connsiteX6722" fmla="*/ 8150483 w 9586368"/>
              <a:gd name="connsiteY6722" fmla="*/ 1679323 h 6479439"/>
              <a:gd name="connsiteX6723" fmla="*/ 8150483 w 9586368"/>
              <a:gd name="connsiteY6723" fmla="*/ 1689193 h 6479439"/>
              <a:gd name="connsiteX6724" fmla="*/ 8146464 w 9586368"/>
              <a:gd name="connsiteY6724" fmla="*/ 1693232 h 6479439"/>
              <a:gd name="connsiteX6725" fmla="*/ 8136553 w 9586368"/>
              <a:gd name="connsiteY6725" fmla="*/ 1693232 h 6479439"/>
              <a:gd name="connsiteX6726" fmla="*/ 8132534 w 9586368"/>
              <a:gd name="connsiteY6726" fmla="*/ 1689193 h 6479439"/>
              <a:gd name="connsiteX6727" fmla="*/ 8132534 w 9586368"/>
              <a:gd name="connsiteY6727" fmla="*/ 1679323 h 6479439"/>
              <a:gd name="connsiteX6728" fmla="*/ 7897241 w 9586368"/>
              <a:gd name="connsiteY6728" fmla="*/ 1675285 h 6479439"/>
              <a:gd name="connsiteX6729" fmla="*/ 7907151 w 9586368"/>
              <a:gd name="connsiteY6729" fmla="*/ 1675285 h 6479439"/>
              <a:gd name="connsiteX6730" fmla="*/ 7911170 w 9586368"/>
              <a:gd name="connsiteY6730" fmla="*/ 1679323 h 6479439"/>
              <a:gd name="connsiteX6731" fmla="*/ 7911170 w 9586368"/>
              <a:gd name="connsiteY6731" fmla="*/ 1689193 h 6479439"/>
              <a:gd name="connsiteX6732" fmla="*/ 7907151 w 9586368"/>
              <a:gd name="connsiteY6732" fmla="*/ 1693232 h 6479439"/>
              <a:gd name="connsiteX6733" fmla="*/ 7897241 w 9586368"/>
              <a:gd name="connsiteY6733" fmla="*/ 1693232 h 6479439"/>
              <a:gd name="connsiteX6734" fmla="*/ 7893222 w 9586368"/>
              <a:gd name="connsiteY6734" fmla="*/ 1689193 h 6479439"/>
              <a:gd name="connsiteX6735" fmla="*/ 7893222 w 9586368"/>
              <a:gd name="connsiteY6735" fmla="*/ 1679323 h 6479439"/>
              <a:gd name="connsiteX6736" fmla="*/ 7657926 w 9586368"/>
              <a:gd name="connsiteY6736" fmla="*/ 1675285 h 6479439"/>
              <a:gd name="connsiteX6737" fmla="*/ 7667836 w 9586368"/>
              <a:gd name="connsiteY6737" fmla="*/ 1675285 h 6479439"/>
              <a:gd name="connsiteX6738" fmla="*/ 7671855 w 9586368"/>
              <a:gd name="connsiteY6738" fmla="*/ 1679323 h 6479439"/>
              <a:gd name="connsiteX6739" fmla="*/ 7671855 w 9586368"/>
              <a:gd name="connsiteY6739" fmla="*/ 1689193 h 6479439"/>
              <a:gd name="connsiteX6740" fmla="*/ 7667836 w 9586368"/>
              <a:gd name="connsiteY6740" fmla="*/ 1693232 h 6479439"/>
              <a:gd name="connsiteX6741" fmla="*/ 7657926 w 9586368"/>
              <a:gd name="connsiteY6741" fmla="*/ 1693232 h 6479439"/>
              <a:gd name="connsiteX6742" fmla="*/ 7653906 w 9586368"/>
              <a:gd name="connsiteY6742" fmla="*/ 1689193 h 6479439"/>
              <a:gd name="connsiteX6743" fmla="*/ 7653906 w 9586368"/>
              <a:gd name="connsiteY6743" fmla="*/ 1679323 h 6479439"/>
              <a:gd name="connsiteX6744" fmla="*/ 7418611 w 9586368"/>
              <a:gd name="connsiteY6744" fmla="*/ 1675285 h 6479439"/>
              <a:gd name="connsiteX6745" fmla="*/ 7428521 w 9586368"/>
              <a:gd name="connsiteY6745" fmla="*/ 1675285 h 6479439"/>
              <a:gd name="connsiteX6746" fmla="*/ 7432540 w 9586368"/>
              <a:gd name="connsiteY6746" fmla="*/ 1679323 h 6479439"/>
              <a:gd name="connsiteX6747" fmla="*/ 7432540 w 9586368"/>
              <a:gd name="connsiteY6747" fmla="*/ 1689195 h 6479439"/>
              <a:gd name="connsiteX6748" fmla="*/ 7428521 w 9586368"/>
              <a:gd name="connsiteY6748" fmla="*/ 1693232 h 6479439"/>
              <a:gd name="connsiteX6749" fmla="*/ 7418611 w 9586368"/>
              <a:gd name="connsiteY6749" fmla="*/ 1693232 h 6479439"/>
              <a:gd name="connsiteX6750" fmla="*/ 7414592 w 9586368"/>
              <a:gd name="connsiteY6750" fmla="*/ 1689195 h 6479439"/>
              <a:gd name="connsiteX6751" fmla="*/ 7414592 w 9586368"/>
              <a:gd name="connsiteY6751" fmla="*/ 1679323 h 6479439"/>
              <a:gd name="connsiteX6752" fmla="*/ 7179298 w 9586368"/>
              <a:gd name="connsiteY6752" fmla="*/ 1675285 h 6479439"/>
              <a:gd name="connsiteX6753" fmla="*/ 7189209 w 9586368"/>
              <a:gd name="connsiteY6753" fmla="*/ 1675285 h 6479439"/>
              <a:gd name="connsiteX6754" fmla="*/ 7193228 w 9586368"/>
              <a:gd name="connsiteY6754" fmla="*/ 1679323 h 6479439"/>
              <a:gd name="connsiteX6755" fmla="*/ 7193228 w 9586368"/>
              <a:gd name="connsiteY6755" fmla="*/ 1689195 h 6479439"/>
              <a:gd name="connsiteX6756" fmla="*/ 7189209 w 9586368"/>
              <a:gd name="connsiteY6756" fmla="*/ 1693234 h 6479439"/>
              <a:gd name="connsiteX6757" fmla="*/ 7179298 w 9586368"/>
              <a:gd name="connsiteY6757" fmla="*/ 1693234 h 6479439"/>
              <a:gd name="connsiteX6758" fmla="*/ 7175279 w 9586368"/>
              <a:gd name="connsiteY6758" fmla="*/ 1689195 h 6479439"/>
              <a:gd name="connsiteX6759" fmla="*/ 7175279 w 9586368"/>
              <a:gd name="connsiteY6759" fmla="*/ 1679323 h 6479439"/>
              <a:gd name="connsiteX6760" fmla="*/ 9333125 w 9586368"/>
              <a:gd name="connsiteY6760" fmla="*/ 1675268 h 6479439"/>
              <a:gd name="connsiteX6761" fmla="*/ 9343036 w 9586368"/>
              <a:gd name="connsiteY6761" fmla="*/ 1675268 h 6479439"/>
              <a:gd name="connsiteX6762" fmla="*/ 9347055 w 9586368"/>
              <a:gd name="connsiteY6762" fmla="*/ 1679306 h 6479439"/>
              <a:gd name="connsiteX6763" fmla="*/ 9347055 w 9586368"/>
              <a:gd name="connsiteY6763" fmla="*/ 1689177 h 6479439"/>
              <a:gd name="connsiteX6764" fmla="*/ 9343036 w 9586368"/>
              <a:gd name="connsiteY6764" fmla="*/ 1693216 h 6479439"/>
              <a:gd name="connsiteX6765" fmla="*/ 9333125 w 9586368"/>
              <a:gd name="connsiteY6765" fmla="*/ 1693216 h 6479439"/>
              <a:gd name="connsiteX6766" fmla="*/ 9329106 w 9586368"/>
              <a:gd name="connsiteY6766" fmla="*/ 1689177 h 6479439"/>
              <a:gd name="connsiteX6767" fmla="*/ 9329106 w 9586368"/>
              <a:gd name="connsiteY6767" fmla="*/ 1679306 h 6479439"/>
              <a:gd name="connsiteX6768" fmla="*/ 9093811 w 9586368"/>
              <a:gd name="connsiteY6768" fmla="*/ 1675268 h 6479439"/>
              <a:gd name="connsiteX6769" fmla="*/ 9103722 w 9586368"/>
              <a:gd name="connsiteY6769" fmla="*/ 1675268 h 6479439"/>
              <a:gd name="connsiteX6770" fmla="*/ 9107741 w 9586368"/>
              <a:gd name="connsiteY6770" fmla="*/ 1679306 h 6479439"/>
              <a:gd name="connsiteX6771" fmla="*/ 9107741 w 9586368"/>
              <a:gd name="connsiteY6771" fmla="*/ 1689177 h 6479439"/>
              <a:gd name="connsiteX6772" fmla="*/ 9103722 w 9586368"/>
              <a:gd name="connsiteY6772" fmla="*/ 1693217 h 6479439"/>
              <a:gd name="connsiteX6773" fmla="*/ 9093811 w 9586368"/>
              <a:gd name="connsiteY6773" fmla="*/ 1693217 h 6479439"/>
              <a:gd name="connsiteX6774" fmla="*/ 9089792 w 9586368"/>
              <a:gd name="connsiteY6774" fmla="*/ 1689177 h 6479439"/>
              <a:gd name="connsiteX6775" fmla="*/ 9089792 w 9586368"/>
              <a:gd name="connsiteY6775" fmla="*/ 1679306 h 6479439"/>
              <a:gd name="connsiteX6776" fmla="*/ 8854496 w 9586368"/>
              <a:gd name="connsiteY6776" fmla="*/ 1675268 h 6479439"/>
              <a:gd name="connsiteX6777" fmla="*/ 8864407 w 9586368"/>
              <a:gd name="connsiteY6777" fmla="*/ 1675268 h 6479439"/>
              <a:gd name="connsiteX6778" fmla="*/ 8868426 w 9586368"/>
              <a:gd name="connsiteY6778" fmla="*/ 1679307 h 6479439"/>
              <a:gd name="connsiteX6779" fmla="*/ 8868426 w 9586368"/>
              <a:gd name="connsiteY6779" fmla="*/ 1689177 h 6479439"/>
              <a:gd name="connsiteX6780" fmla="*/ 8864407 w 9586368"/>
              <a:gd name="connsiteY6780" fmla="*/ 1693217 h 6479439"/>
              <a:gd name="connsiteX6781" fmla="*/ 8854496 w 9586368"/>
              <a:gd name="connsiteY6781" fmla="*/ 1693217 h 6479439"/>
              <a:gd name="connsiteX6782" fmla="*/ 8850477 w 9586368"/>
              <a:gd name="connsiteY6782" fmla="*/ 1689177 h 6479439"/>
              <a:gd name="connsiteX6783" fmla="*/ 8850477 w 9586368"/>
              <a:gd name="connsiteY6783" fmla="*/ 1679307 h 6479439"/>
              <a:gd name="connsiteX6784" fmla="*/ 8615184 w 9586368"/>
              <a:gd name="connsiteY6784" fmla="*/ 1675268 h 6479439"/>
              <a:gd name="connsiteX6785" fmla="*/ 8625095 w 9586368"/>
              <a:gd name="connsiteY6785" fmla="*/ 1675268 h 6479439"/>
              <a:gd name="connsiteX6786" fmla="*/ 8629114 w 9586368"/>
              <a:gd name="connsiteY6786" fmla="*/ 1679307 h 6479439"/>
              <a:gd name="connsiteX6787" fmla="*/ 8629114 w 9586368"/>
              <a:gd name="connsiteY6787" fmla="*/ 1689178 h 6479439"/>
              <a:gd name="connsiteX6788" fmla="*/ 8625095 w 9586368"/>
              <a:gd name="connsiteY6788" fmla="*/ 1693217 h 6479439"/>
              <a:gd name="connsiteX6789" fmla="*/ 8615184 w 9586368"/>
              <a:gd name="connsiteY6789" fmla="*/ 1693217 h 6479439"/>
              <a:gd name="connsiteX6790" fmla="*/ 8611165 w 9586368"/>
              <a:gd name="connsiteY6790" fmla="*/ 1689178 h 6479439"/>
              <a:gd name="connsiteX6791" fmla="*/ 8611165 w 9586368"/>
              <a:gd name="connsiteY6791" fmla="*/ 1679307 h 6479439"/>
              <a:gd name="connsiteX6792" fmla="*/ 8375869 w 9586368"/>
              <a:gd name="connsiteY6792" fmla="*/ 1675268 h 6479439"/>
              <a:gd name="connsiteX6793" fmla="*/ 8385779 w 9586368"/>
              <a:gd name="connsiteY6793" fmla="*/ 1675268 h 6479439"/>
              <a:gd name="connsiteX6794" fmla="*/ 8389799 w 9586368"/>
              <a:gd name="connsiteY6794" fmla="*/ 1679307 h 6479439"/>
              <a:gd name="connsiteX6795" fmla="*/ 8389799 w 9586368"/>
              <a:gd name="connsiteY6795" fmla="*/ 1689178 h 6479439"/>
              <a:gd name="connsiteX6796" fmla="*/ 8385779 w 9586368"/>
              <a:gd name="connsiteY6796" fmla="*/ 1693217 h 6479439"/>
              <a:gd name="connsiteX6797" fmla="*/ 8375869 w 9586368"/>
              <a:gd name="connsiteY6797" fmla="*/ 1693217 h 6479439"/>
              <a:gd name="connsiteX6798" fmla="*/ 8371850 w 9586368"/>
              <a:gd name="connsiteY6798" fmla="*/ 1689178 h 6479439"/>
              <a:gd name="connsiteX6799" fmla="*/ 8371850 w 9586368"/>
              <a:gd name="connsiteY6799" fmla="*/ 1679307 h 6479439"/>
              <a:gd name="connsiteX6800" fmla="*/ 961270 w 9586368"/>
              <a:gd name="connsiteY6800" fmla="*/ 1675255 h 6479439"/>
              <a:gd name="connsiteX6801" fmla="*/ 971180 w 9586368"/>
              <a:gd name="connsiteY6801" fmla="*/ 1675255 h 6479439"/>
              <a:gd name="connsiteX6802" fmla="*/ 975199 w 9586368"/>
              <a:gd name="connsiteY6802" fmla="*/ 1679292 h 6479439"/>
              <a:gd name="connsiteX6803" fmla="*/ 975199 w 9586368"/>
              <a:gd name="connsiteY6803" fmla="*/ 1689163 h 6479439"/>
              <a:gd name="connsiteX6804" fmla="*/ 971180 w 9586368"/>
              <a:gd name="connsiteY6804" fmla="*/ 1693202 h 6479439"/>
              <a:gd name="connsiteX6805" fmla="*/ 961270 w 9586368"/>
              <a:gd name="connsiteY6805" fmla="*/ 1693202 h 6479439"/>
              <a:gd name="connsiteX6806" fmla="*/ 957251 w 9586368"/>
              <a:gd name="connsiteY6806" fmla="*/ 1689163 h 6479439"/>
              <a:gd name="connsiteX6807" fmla="*/ 957251 w 9586368"/>
              <a:gd name="connsiteY6807" fmla="*/ 1679292 h 6479439"/>
              <a:gd name="connsiteX6808" fmla="*/ 1679215 w 9586368"/>
              <a:gd name="connsiteY6808" fmla="*/ 1675254 h 6479439"/>
              <a:gd name="connsiteX6809" fmla="*/ 1689126 w 9586368"/>
              <a:gd name="connsiteY6809" fmla="*/ 1675254 h 6479439"/>
              <a:gd name="connsiteX6810" fmla="*/ 1693145 w 9586368"/>
              <a:gd name="connsiteY6810" fmla="*/ 1679292 h 6479439"/>
              <a:gd name="connsiteX6811" fmla="*/ 1693145 w 9586368"/>
              <a:gd name="connsiteY6811" fmla="*/ 1689163 h 6479439"/>
              <a:gd name="connsiteX6812" fmla="*/ 1689126 w 9586368"/>
              <a:gd name="connsiteY6812" fmla="*/ 1693202 h 6479439"/>
              <a:gd name="connsiteX6813" fmla="*/ 1679215 w 9586368"/>
              <a:gd name="connsiteY6813" fmla="*/ 1693202 h 6479439"/>
              <a:gd name="connsiteX6814" fmla="*/ 1675196 w 9586368"/>
              <a:gd name="connsiteY6814" fmla="*/ 1689163 h 6479439"/>
              <a:gd name="connsiteX6815" fmla="*/ 1675196 w 9586368"/>
              <a:gd name="connsiteY6815" fmla="*/ 1679292 h 6479439"/>
              <a:gd name="connsiteX6816" fmla="*/ 1439898 w 9586368"/>
              <a:gd name="connsiteY6816" fmla="*/ 1675254 h 6479439"/>
              <a:gd name="connsiteX6817" fmla="*/ 1449808 w 9586368"/>
              <a:gd name="connsiteY6817" fmla="*/ 1675254 h 6479439"/>
              <a:gd name="connsiteX6818" fmla="*/ 1453828 w 9586368"/>
              <a:gd name="connsiteY6818" fmla="*/ 1679292 h 6479439"/>
              <a:gd name="connsiteX6819" fmla="*/ 1453828 w 9586368"/>
              <a:gd name="connsiteY6819" fmla="*/ 1689163 h 6479439"/>
              <a:gd name="connsiteX6820" fmla="*/ 1449808 w 9586368"/>
              <a:gd name="connsiteY6820" fmla="*/ 1693202 h 6479439"/>
              <a:gd name="connsiteX6821" fmla="*/ 1439898 w 9586368"/>
              <a:gd name="connsiteY6821" fmla="*/ 1693202 h 6479439"/>
              <a:gd name="connsiteX6822" fmla="*/ 1435880 w 9586368"/>
              <a:gd name="connsiteY6822" fmla="*/ 1689163 h 6479439"/>
              <a:gd name="connsiteX6823" fmla="*/ 1435880 w 9586368"/>
              <a:gd name="connsiteY6823" fmla="*/ 1679292 h 6479439"/>
              <a:gd name="connsiteX6824" fmla="*/ 1200583 w 9586368"/>
              <a:gd name="connsiteY6824" fmla="*/ 1675254 h 6479439"/>
              <a:gd name="connsiteX6825" fmla="*/ 1210493 w 9586368"/>
              <a:gd name="connsiteY6825" fmla="*/ 1675254 h 6479439"/>
              <a:gd name="connsiteX6826" fmla="*/ 1214511 w 9586368"/>
              <a:gd name="connsiteY6826" fmla="*/ 1679292 h 6479439"/>
              <a:gd name="connsiteX6827" fmla="*/ 1214511 w 9586368"/>
              <a:gd name="connsiteY6827" fmla="*/ 1689163 h 6479439"/>
              <a:gd name="connsiteX6828" fmla="*/ 1210493 w 9586368"/>
              <a:gd name="connsiteY6828" fmla="*/ 1693202 h 6479439"/>
              <a:gd name="connsiteX6829" fmla="*/ 1200583 w 9586368"/>
              <a:gd name="connsiteY6829" fmla="*/ 1693202 h 6479439"/>
              <a:gd name="connsiteX6830" fmla="*/ 1196564 w 9586368"/>
              <a:gd name="connsiteY6830" fmla="*/ 1689163 h 6479439"/>
              <a:gd name="connsiteX6831" fmla="*/ 1196564 w 9586368"/>
              <a:gd name="connsiteY6831" fmla="*/ 1679292 h 6479439"/>
              <a:gd name="connsiteX6832" fmla="*/ 9572438 w 9586368"/>
              <a:gd name="connsiteY6832" fmla="*/ 1675251 h 6479439"/>
              <a:gd name="connsiteX6833" fmla="*/ 9582349 w 9586368"/>
              <a:gd name="connsiteY6833" fmla="*/ 1675251 h 6479439"/>
              <a:gd name="connsiteX6834" fmla="*/ 9586368 w 9586368"/>
              <a:gd name="connsiteY6834" fmla="*/ 1679290 h 6479439"/>
              <a:gd name="connsiteX6835" fmla="*/ 9586368 w 9586368"/>
              <a:gd name="connsiteY6835" fmla="*/ 1689161 h 6479439"/>
              <a:gd name="connsiteX6836" fmla="*/ 9582349 w 9586368"/>
              <a:gd name="connsiteY6836" fmla="*/ 1693201 h 6479439"/>
              <a:gd name="connsiteX6837" fmla="*/ 9572438 w 9586368"/>
              <a:gd name="connsiteY6837" fmla="*/ 1693201 h 6479439"/>
              <a:gd name="connsiteX6838" fmla="*/ 9568419 w 9586368"/>
              <a:gd name="connsiteY6838" fmla="*/ 1689161 h 6479439"/>
              <a:gd name="connsiteX6839" fmla="*/ 9568419 w 9586368"/>
              <a:gd name="connsiteY6839" fmla="*/ 1679290 h 6479439"/>
              <a:gd name="connsiteX6840" fmla="*/ 1918514 w 9586368"/>
              <a:gd name="connsiteY6840" fmla="*/ 1675243 h 6479439"/>
              <a:gd name="connsiteX6841" fmla="*/ 1928424 w 9586368"/>
              <a:gd name="connsiteY6841" fmla="*/ 1675243 h 6479439"/>
              <a:gd name="connsiteX6842" fmla="*/ 1932443 w 9586368"/>
              <a:gd name="connsiteY6842" fmla="*/ 1679282 h 6479439"/>
              <a:gd name="connsiteX6843" fmla="*/ 1932443 w 9586368"/>
              <a:gd name="connsiteY6843" fmla="*/ 1689153 h 6479439"/>
              <a:gd name="connsiteX6844" fmla="*/ 1928424 w 9586368"/>
              <a:gd name="connsiteY6844" fmla="*/ 1693191 h 6479439"/>
              <a:gd name="connsiteX6845" fmla="*/ 1918514 w 9586368"/>
              <a:gd name="connsiteY6845" fmla="*/ 1693191 h 6479439"/>
              <a:gd name="connsiteX6846" fmla="*/ 1914494 w 9586368"/>
              <a:gd name="connsiteY6846" fmla="*/ 1689153 h 6479439"/>
              <a:gd name="connsiteX6847" fmla="*/ 1914494 w 9586368"/>
              <a:gd name="connsiteY6847" fmla="*/ 1679282 h 6479439"/>
              <a:gd name="connsiteX6848" fmla="*/ 2157821 w 9586368"/>
              <a:gd name="connsiteY6848" fmla="*/ 1675240 h 6479439"/>
              <a:gd name="connsiteX6849" fmla="*/ 2167732 w 9586368"/>
              <a:gd name="connsiteY6849" fmla="*/ 1675240 h 6479439"/>
              <a:gd name="connsiteX6850" fmla="*/ 2171751 w 9586368"/>
              <a:gd name="connsiteY6850" fmla="*/ 1679279 h 6479439"/>
              <a:gd name="connsiteX6851" fmla="*/ 2171751 w 9586368"/>
              <a:gd name="connsiteY6851" fmla="*/ 1689149 h 6479439"/>
              <a:gd name="connsiteX6852" fmla="*/ 2167732 w 9586368"/>
              <a:gd name="connsiteY6852" fmla="*/ 1693188 h 6479439"/>
              <a:gd name="connsiteX6853" fmla="*/ 2157821 w 9586368"/>
              <a:gd name="connsiteY6853" fmla="*/ 1693188 h 6479439"/>
              <a:gd name="connsiteX6854" fmla="*/ 2153803 w 9586368"/>
              <a:gd name="connsiteY6854" fmla="*/ 1689149 h 6479439"/>
              <a:gd name="connsiteX6855" fmla="*/ 2153803 w 9586368"/>
              <a:gd name="connsiteY6855" fmla="*/ 1679279 h 6479439"/>
              <a:gd name="connsiteX6856" fmla="*/ 243346 w 9586368"/>
              <a:gd name="connsiteY6856" fmla="*/ 1675216 h 6479439"/>
              <a:gd name="connsiteX6857" fmla="*/ 253257 w 9586368"/>
              <a:gd name="connsiteY6857" fmla="*/ 1675216 h 6479439"/>
              <a:gd name="connsiteX6858" fmla="*/ 257276 w 9586368"/>
              <a:gd name="connsiteY6858" fmla="*/ 1679254 h 6479439"/>
              <a:gd name="connsiteX6859" fmla="*/ 257276 w 9586368"/>
              <a:gd name="connsiteY6859" fmla="*/ 1689125 h 6479439"/>
              <a:gd name="connsiteX6860" fmla="*/ 253257 w 9586368"/>
              <a:gd name="connsiteY6860" fmla="*/ 1693164 h 6479439"/>
              <a:gd name="connsiteX6861" fmla="*/ 243346 w 9586368"/>
              <a:gd name="connsiteY6861" fmla="*/ 1693164 h 6479439"/>
              <a:gd name="connsiteX6862" fmla="*/ 239327 w 9586368"/>
              <a:gd name="connsiteY6862" fmla="*/ 1689125 h 6479439"/>
              <a:gd name="connsiteX6863" fmla="*/ 239327 w 9586368"/>
              <a:gd name="connsiteY6863" fmla="*/ 1679254 h 6479439"/>
              <a:gd name="connsiteX6864" fmla="*/ 4034 w 9586368"/>
              <a:gd name="connsiteY6864" fmla="*/ 1675216 h 6479439"/>
              <a:gd name="connsiteX6865" fmla="*/ 13943 w 9586368"/>
              <a:gd name="connsiteY6865" fmla="*/ 1675216 h 6479439"/>
              <a:gd name="connsiteX6866" fmla="*/ 17962 w 9586368"/>
              <a:gd name="connsiteY6866" fmla="*/ 1679254 h 6479439"/>
              <a:gd name="connsiteX6867" fmla="*/ 17962 w 9586368"/>
              <a:gd name="connsiteY6867" fmla="*/ 1689125 h 6479439"/>
              <a:gd name="connsiteX6868" fmla="*/ 13943 w 9586368"/>
              <a:gd name="connsiteY6868" fmla="*/ 1693164 h 6479439"/>
              <a:gd name="connsiteX6869" fmla="*/ 4034 w 9586368"/>
              <a:gd name="connsiteY6869" fmla="*/ 1693164 h 6479439"/>
              <a:gd name="connsiteX6870" fmla="*/ 14 w 9586368"/>
              <a:gd name="connsiteY6870" fmla="*/ 1689125 h 6479439"/>
              <a:gd name="connsiteX6871" fmla="*/ 14 w 9586368"/>
              <a:gd name="connsiteY6871" fmla="*/ 1679254 h 6479439"/>
              <a:gd name="connsiteX6872" fmla="*/ 721972 w 9586368"/>
              <a:gd name="connsiteY6872" fmla="*/ 1675216 h 6479439"/>
              <a:gd name="connsiteX6873" fmla="*/ 731882 w 9586368"/>
              <a:gd name="connsiteY6873" fmla="*/ 1675216 h 6479439"/>
              <a:gd name="connsiteX6874" fmla="*/ 735902 w 9586368"/>
              <a:gd name="connsiteY6874" fmla="*/ 1679254 h 6479439"/>
              <a:gd name="connsiteX6875" fmla="*/ 735902 w 9586368"/>
              <a:gd name="connsiteY6875" fmla="*/ 1689125 h 6479439"/>
              <a:gd name="connsiteX6876" fmla="*/ 731882 w 9586368"/>
              <a:gd name="connsiteY6876" fmla="*/ 1693164 h 6479439"/>
              <a:gd name="connsiteX6877" fmla="*/ 721972 w 9586368"/>
              <a:gd name="connsiteY6877" fmla="*/ 1693164 h 6479439"/>
              <a:gd name="connsiteX6878" fmla="*/ 717954 w 9586368"/>
              <a:gd name="connsiteY6878" fmla="*/ 1689125 h 6479439"/>
              <a:gd name="connsiteX6879" fmla="*/ 717954 w 9586368"/>
              <a:gd name="connsiteY6879" fmla="*/ 1679254 h 6479439"/>
              <a:gd name="connsiteX6880" fmla="*/ 482660 w 9586368"/>
              <a:gd name="connsiteY6880" fmla="*/ 1675216 h 6479439"/>
              <a:gd name="connsiteX6881" fmla="*/ 492571 w 9586368"/>
              <a:gd name="connsiteY6881" fmla="*/ 1675216 h 6479439"/>
              <a:gd name="connsiteX6882" fmla="*/ 496589 w 9586368"/>
              <a:gd name="connsiteY6882" fmla="*/ 1679254 h 6479439"/>
              <a:gd name="connsiteX6883" fmla="*/ 496589 w 9586368"/>
              <a:gd name="connsiteY6883" fmla="*/ 1689125 h 6479439"/>
              <a:gd name="connsiteX6884" fmla="*/ 492571 w 9586368"/>
              <a:gd name="connsiteY6884" fmla="*/ 1693164 h 6479439"/>
              <a:gd name="connsiteX6885" fmla="*/ 482660 w 9586368"/>
              <a:gd name="connsiteY6885" fmla="*/ 1693164 h 6479439"/>
              <a:gd name="connsiteX6886" fmla="*/ 478641 w 9586368"/>
              <a:gd name="connsiteY6886" fmla="*/ 1689125 h 6479439"/>
              <a:gd name="connsiteX6887" fmla="*/ 478641 w 9586368"/>
              <a:gd name="connsiteY6887" fmla="*/ 1679254 h 6479439"/>
              <a:gd name="connsiteX6888" fmla="*/ 2393104 w 9586368"/>
              <a:gd name="connsiteY6888" fmla="*/ 1436001 h 6479439"/>
              <a:gd name="connsiteX6889" fmla="*/ 2403015 w 9586368"/>
              <a:gd name="connsiteY6889" fmla="*/ 1436001 h 6479439"/>
              <a:gd name="connsiteX6890" fmla="*/ 2407034 w 9586368"/>
              <a:gd name="connsiteY6890" fmla="*/ 1440038 h 6479439"/>
              <a:gd name="connsiteX6891" fmla="*/ 2407034 w 9586368"/>
              <a:gd name="connsiteY6891" fmla="*/ 1449910 h 6479439"/>
              <a:gd name="connsiteX6892" fmla="*/ 2403015 w 9586368"/>
              <a:gd name="connsiteY6892" fmla="*/ 1453949 h 6479439"/>
              <a:gd name="connsiteX6893" fmla="*/ 2393104 w 9586368"/>
              <a:gd name="connsiteY6893" fmla="*/ 1453949 h 6479439"/>
              <a:gd name="connsiteX6894" fmla="*/ 2389087 w 9586368"/>
              <a:gd name="connsiteY6894" fmla="*/ 1449910 h 6479439"/>
              <a:gd name="connsiteX6895" fmla="*/ 2389087 w 9586368"/>
              <a:gd name="connsiteY6895" fmla="*/ 1440038 h 6479439"/>
              <a:gd name="connsiteX6896" fmla="*/ 3350359 w 9586368"/>
              <a:gd name="connsiteY6896" fmla="*/ 1436000 h 6479439"/>
              <a:gd name="connsiteX6897" fmla="*/ 3360268 w 9586368"/>
              <a:gd name="connsiteY6897" fmla="*/ 1436000 h 6479439"/>
              <a:gd name="connsiteX6898" fmla="*/ 3364287 w 9586368"/>
              <a:gd name="connsiteY6898" fmla="*/ 1440038 h 6479439"/>
              <a:gd name="connsiteX6899" fmla="*/ 3364287 w 9586368"/>
              <a:gd name="connsiteY6899" fmla="*/ 1449909 h 6479439"/>
              <a:gd name="connsiteX6900" fmla="*/ 3360268 w 9586368"/>
              <a:gd name="connsiteY6900" fmla="*/ 1453949 h 6479439"/>
              <a:gd name="connsiteX6901" fmla="*/ 3350359 w 9586368"/>
              <a:gd name="connsiteY6901" fmla="*/ 1453949 h 6479439"/>
              <a:gd name="connsiteX6902" fmla="*/ 3346340 w 9586368"/>
              <a:gd name="connsiteY6902" fmla="*/ 1449909 h 6479439"/>
              <a:gd name="connsiteX6903" fmla="*/ 3346340 w 9586368"/>
              <a:gd name="connsiteY6903" fmla="*/ 1440038 h 6479439"/>
              <a:gd name="connsiteX6904" fmla="*/ 3111048 w 9586368"/>
              <a:gd name="connsiteY6904" fmla="*/ 1436000 h 6479439"/>
              <a:gd name="connsiteX6905" fmla="*/ 3120959 w 9586368"/>
              <a:gd name="connsiteY6905" fmla="*/ 1436000 h 6479439"/>
              <a:gd name="connsiteX6906" fmla="*/ 3124977 w 9586368"/>
              <a:gd name="connsiteY6906" fmla="*/ 1440038 h 6479439"/>
              <a:gd name="connsiteX6907" fmla="*/ 3124977 w 9586368"/>
              <a:gd name="connsiteY6907" fmla="*/ 1449910 h 6479439"/>
              <a:gd name="connsiteX6908" fmla="*/ 3120959 w 9586368"/>
              <a:gd name="connsiteY6908" fmla="*/ 1453949 h 6479439"/>
              <a:gd name="connsiteX6909" fmla="*/ 3111048 w 9586368"/>
              <a:gd name="connsiteY6909" fmla="*/ 1453949 h 6479439"/>
              <a:gd name="connsiteX6910" fmla="*/ 3107029 w 9586368"/>
              <a:gd name="connsiteY6910" fmla="*/ 1449910 h 6479439"/>
              <a:gd name="connsiteX6911" fmla="*/ 3107029 w 9586368"/>
              <a:gd name="connsiteY6911" fmla="*/ 1440038 h 6479439"/>
              <a:gd name="connsiteX6912" fmla="*/ 2871737 w 9586368"/>
              <a:gd name="connsiteY6912" fmla="*/ 1436000 h 6479439"/>
              <a:gd name="connsiteX6913" fmla="*/ 2881646 w 9586368"/>
              <a:gd name="connsiteY6913" fmla="*/ 1436000 h 6479439"/>
              <a:gd name="connsiteX6914" fmla="*/ 2885666 w 9586368"/>
              <a:gd name="connsiteY6914" fmla="*/ 1440038 h 6479439"/>
              <a:gd name="connsiteX6915" fmla="*/ 2885666 w 9586368"/>
              <a:gd name="connsiteY6915" fmla="*/ 1449910 h 6479439"/>
              <a:gd name="connsiteX6916" fmla="*/ 2881646 w 9586368"/>
              <a:gd name="connsiteY6916" fmla="*/ 1453949 h 6479439"/>
              <a:gd name="connsiteX6917" fmla="*/ 2871737 w 9586368"/>
              <a:gd name="connsiteY6917" fmla="*/ 1453949 h 6479439"/>
              <a:gd name="connsiteX6918" fmla="*/ 2867717 w 9586368"/>
              <a:gd name="connsiteY6918" fmla="*/ 1449910 h 6479439"/>
              <a:gd name="connsiteX6919" fmla="*/ 2867717 w 9586368"/>
              <a:gd name="connsiteY6919" fmla="*/ 1440038 h 6479439"/>
              <a:gd name="connsiteX6920" fmla="*/ 2632423 w 9586368"/>
              <a:gd name="connsiteY6920" fmla="*/ 1436000 h 6479439"/>
              <a:gd name="connsiteX6921" fmla="*/ 2642334 w 9586368"/>
              <a:gd name="connsiteY6921" fmla="*/ 1436000 h 6479439"/>
              <a:gd name="connsiteX6922" fmla="*/ 2646352 w 9586368"/>
              <a:gd name="connsiteY6922" fmla="*/ 1440038 h 6479439"/>
              <a:gd name="connsiteX6923" fmla="*/ 2646352 w 9586368"/>
              <a:gd name="connsiteY6923" fmla="*/ 1449910 h 6479439"/>
              <a:gd name="connsiteX6924" fmla="*/ 2642334 w 9586368"/>
              <a:gd name="connsiteY6924" fmla="*/ 1453949 h 6479439"/>
              <a:gd name="connsiteX6925" fmla="*/ 2632423 w 9586368"/>
              <a:gd name="connsiteY6925" fmla="*/ 1453949 h 6479439"/>
              <a:gd name="connsiteX6926" fmla="*/ 2628404 w 9586368"/>
              <a:gd name="connsiteY6926" fmla="*/ 1449910 h 6479439"/>
              <a:gd name="connsiteX6927" fmla="*/ 2628404 w 9586368"/>
              <a:gd name="connsiteY6927" fmla="*/ 1440038 h 6479439"/>
              <a:gd name="connsiteX6928" fmla="*/ 3589676 w 9586368"/>
              <a:gd name="connsiteY6928" fmla="*/ 1435986 h 6479439"/>
              <a:gd name="connsiteX6929" fmla="*/ 3599585 w 9586368"/>
              <a:gd name="connsiteY6929" fmla="*/ 1435986 h 6479439"/>
              <a:gd name="connsiteX6930" fmla="*/ 3603604 w 9586368"/>
              <a:gd name="connsiteY6930" fmla="*/ 1440024 h 6479439"/>
              <a:gd name="connsiteX6931" fmla="*/ 3603604 w 9586368"/>
              <a:gd name="connsiteY6931" fmla="*/ 1449895 h 6479439"/>
              <a:gd name="connsiteX6932" fmla="*/ 3599585 w 9586368"/>
              <a:gd name="connsiteY6932" fmla="*/ 1453934 h 6479439"/>
              <a:gd name="connsiteX6933" fmla="*/ 3589676 w 9586368"/>
              <a:gd name="connsiteY6933" fmla="*/ 1453934 h 6479439"/>
              <a:gd name="connsiteX6934" fmla="*/ 3585657 w 9586368"/>
              <a:gd name="connsiteY6934" fmla="*/ 1449895 h 6479439"/>
              <a:gd name="connsiteX6935" fmla="*/ 3585657 w 9586368"/>
              <a:gd name="connsiteY6935" fmla="*/ 1440024 h 6479439"/>
              <a:gd name="connsiteX6936" fmla="*/ 4546929 w 9586368"/>
              <a:gd name="connsiteY6936" fmla="*/ 1435986 h 6479439"/>
              <a:gd name="connsiteX6937" fmla="*/ 4556840 w 9586368"/>
              <a:gd name="connsiteY6937" fmla="*/ 1435986 h 6479439"/>
              <a:gd name="connsiteX6938" fmla="*/ 4560859 w 9586368"/>
              <a:gd name="connsiteY6938" fmla="*/ 1440024 h 6479439"/>
              <a:gd name="connsiteX6939" fmla="*/ 4560859 w 9586368"/>
              <a:gd name="connsiteY6939" fmla="*/ 1449895 h 6479439"/>
              <a:gd name="connsiteX6940" fmla="*/ 4556840 w 9586368"/>
              <a:gd name="connsiteY6940" fmla="*/ 1453934 h 6479439"/>
              <a:gd name="connsiteX6941" fmla="*/ 4546929 w 9586368"/>
              <a:gd name="connsiteY6941" fmla="*/ 1453934 h 6479439"/>
              <a:gd name="connsiteX6942" fmla="*/ 4542910 w 9586368"/>
              <a:gd name="connsiteY6942" fmla="*/ 1449895 h 6479439"/>
              <a:gd name="connsiteX6943" fmla="*/ 4542910 w 9586368"/>
              <a:gd name="connsiteY6943" fmla="*/ 1440024 h 6479439"/>
              <a:gd name="connsiteX6944" fmla="*/ 4307612 w 9586368"/>
              <a:gd name="connsiteY6944" fmla="*/ 1435986 h 6479439"/>
              <a:gd name="connsiteX6945" fmla="*/ 4317523 w 9586368"/>
              <a:gd name="connsiteY6945" fmla="*/ 1435986 h 6479439"/>
              <a:gd name="connsiteX6946" fmla="*/ 4321543 w 9586368"/>
              <a:gd name="connsiteY6946" fmla="*/ 1440024 h 6479439"/>
              <a:gd name="connsiteX6947" fmla="*/ 4321543 w 9586368"/>
              <a:gd name="connsiteY6947" fmla="*/ 1449895 h 6479439"/>
              <a:gd name="connsiteX6948" fmla="*/ 4317523 w 9586368"/>
              <a:gd name="connsiteY6948" fmla="*/ 1453934 h 6479439"/>
              <a:gd name="connsiteX6949" fmla="*/ 4307612 w 9586368"/>
              <a:gd name="connsiteY6949" fmla="*/ 1453934 h 6479439"/>
              <a:gd name="connsiteX6950" fmla="*/ 4303595 w 9586368"/>
              <a:gd name="connsiteY6950" fmla="*/ 1449895 h 6479439"/>
              <a:gd name="connsiteX6951" fmla="*/ 4303595 w 9586368"/>
              <a:gd name="connsiteY6951" fmla="*/ 1440024 h 6479439"/>
              <a:gd name="connsiteX6952" fmla="*/ 4068297 w 9586368"/>
              <a:gd name="connsiteY6952" fmla="*/ 1435986 h 6479439"/>
              <a:gd name="connsiteX6953" fmla="*/ 4078210 w 9586368"/>
              <a:gd name="connsiteY6953" fmla="*/ 1435986 h 6479439"/>
              <a:gd name="connsiteX6954" fmla="*/ 4082229 w 9586368"/>
              <a:gd name="connsiteY6954" fmla="*/ 1440024 h 6479439"/>
              <a:gd name="connsiteX6955" fmla="*/ 4082229 w 9586368"/>
              <a:gd name="connsiteY6955" fmla="*/ 1449895 h 6479439"/>
              <a:gd name="connsiteX6956" fmla="*/ 4078210 w 9586368"/>
              <a:gd name="connsiteY6956" fmla="*/ 1453934 h 6479439"/>
              <a:gd name="connsiteX6957" fmla="*/ 4068297 w 9586368"/>
              <a:gd name="connsiteY6957" fmla="*/ 1453934 h 6479439"/>
              <a:gd name="connsiteX6958" fmla="*/ 4064278 w 9586368"/>
              <a:gd name="connsiteY6958" fmla="*/ 1449895 h 6479439"/>
              <a:gd name="connsiteX6959" fmla="*/ 4064278 w 9586368"/>
              <a:gd name="connsiteY6959" fmla="*/ 1440024 h 6479439"/>
              <a:gd name="connsiteX6960" fmla="*/ 3828990 w 9586368"/>
              <a:gd name="connsiteY6960" fmla="*/ 1435986 h 6479439"/>
              <a:gd name="connsiteX6961" fmla="*/ 3838899 w 9586368"/>
              <a:gd name="connsiteY6961" fmla="*/ 1435986 h 6479439"/>
              <a:gd name="connsiteX6962" fmla="*/ 3842917 w 9586368"/>
              <a:gd name="connsiteY6962" fmla="*/ 1440024 h 6479439"/>
              <a:gd name="connsiteX6963" fmla="*/ 3842917 w 9586368"/>
              <a:gd name="connsiteY6963" fmla="*/ 1449895 h 6479439"/>
              <a:gd name="connsiteX6964" fmla="*/ 3838899 w 9586368"/>
              <a:gd name="connsiteY6964" fmla="*/ 1453934 h 6479439"/>
              <a:gd name="connsiteX6965" fmla="*/ 3828990 w 9586368"/>
              <a:gd name="connsiteY6965" fmla="*/ 1453934 h 6479439"/>
              <a:gd name="connsiteX6966" fmla="*/ 3824971 w 9586368"/>
              <a:gd name="connsiteY6966" fmla="*/ 1449895 h 6479439"/>
              <a:gd name="connsiteX6967" fmla="*/ 3824971 w 9586368"/>
              <a:gd name="connsiteY6967" fmla="*/ 1440024 h 6479439"/>
              <a:gd name="connsiteX6968" fmla="*/ 4786241 w 9586368"/>
              <a:gd name="connsiteY6968" fmla="*/ 1435972 h 6479439"/>
              <a:gd name="connsiteX6969" fmla="*/ 4796152 w 9586368"/>
              <a:gd name="connsiteY6969" fmla="*/ 1435972 h 6479439"/>
              <a:gd name="connsiteX6970" fmla="*/ 4800171 w 9586368"/>
              <a:gd name="connsiteY6970" fmla="*/ 1440010 h 6479439"/>
              <a:gd name="connsiteX6971" fmla="*/ 4800171 w 9586368"/>
              <a:gd name="connsiteY6971" fmla="*/ 1449881 h 6479439"/>
              <a:gd name="connsiteX6972" fmla="*/ 4796152 w 9586368"/>
              <a:gd name="connsiteY6972" fmla="*/ 1453920 h 6479439"/>
              <a:gd name="connsiteX6973" fmla="*/ 4786241 w 9586368"/>
              <a:gd name="connsiteY6973" fmla="*/ 1453920 h 6479439"/>
              <a:gd name="connsiteX6974" fmla="*/ 4782224 w 9586368"/>
              <a:gd name="connsiteY6974" fmla="*/ 1449881 h 6479439"/>
              <a:gd name="connsiteX6975" fmla="*/ 4782224 w 9586368"/>
              <a:gd name="connsiteY6975" fmla="*/ 1440010 h 6479439"/>
              <a:gd name="connsiteX6976" fmla="*/ 5743412 w 9586368"/>
              <a:gd name="connsiteY6976" fmla="*/ 1435971 h 6479439"/>
              <a:gd name="connsiteX6977" fmla="*/ 5753323 w 9586368"/>
              <a:gd name="connsiteY6977" fmla="*/ 1435971 h 6479439"/>
              <a:gd name="connsiteX6978" fmla="*/ 5757342 w 9586368"/>
              <a:gd name="connsiteY6978" fmla="*/ 1440010 h 6479439"/>
              <a:gd name="connsiteX6979" fmla="*/ 5757342 w 9586368"/>
              <a:gd name="connsiteY6979" fmla="*/ 1449880 h 6479439"/>
              <a:gd name="connsiteX6980" fmla="*/ 5753323 w 9586368"/>
              <a:gd name="connsiteY6980" fmla="*/ 1453919 h 6479439"/>
              <a:gd name="connsiteX6981" fmla="*/ 5743412 w 9586368"/>
              <a:gd name="connsiteY6981" fmla="*/ 1453919 h 6479439"/>
              <a:gd name="connsiteX6982" fmla="*/ 5739393 w 9586368"/>
              <a:gd name="connsiteY6982" fmla="*/ 1449880 h 6479439"/>
              <a:gd name="connsiteX6983" fmla="*/ 5739393 w 9586368"/>
              <a:gd name="connsiteY6983" fmla="*/ 1440010 h 6479439"/>
              <a:gd name="connsiteX6984" fmla="*/ 5504099 w 9586368"/>
              <a:gd name="connsiteY6984" fmla="*/ 1435971 h 6479439"/>
              <a:gd name="connsiteX6985" fmla="*/ 5514010 w 9586368"/>
              <a:gd name="connsiteY6985" fmla="*/ 1435971 h 6479439"/>
              <a:gd name="connsiteX6986" fmla="*/ 5518029 w 9586368"/>
              <a:gd name="connsiteY6986" fmla="*/ 1440010 h 6479439"/>
              <a:gd name="connsiteX6987" fmla="*/ 5518029 w 9586368"/>
              <a:gd name="connsiteY6987" fmla="*/ 1449881 h 6479439"/>
              <a:gd name="connsiteX6988" fmla="*/ 5514010 w 9586368"/>
              <a:gd name="connsiteY6988" fmla="*/ 1453919 h 6479439"/>
              <a:gd name="connsiteX6989" fmla="*/ 5504099 w 9586368"/>
              <a:gd name="connsiteY6989" fmla="*/ 1453919 h 6479439"/>
              <a:gd name="connsiteX6990" fmla="*/ 5500080 w 9586368"/>
              <a:gd name="connsiteY6990" fmla="*/ 1449881 h 6479439"/>
              <a:gd name="connsiteX6991" fmla="*/ 5500080 w 9586368"/>
              <a:gd name="connsiteY6991" fmla="*/ 1440010 h 6479439"/>
              <a:gd name="connsiteX6992" fmla="*/ 5264784 w 9586368"/>
              <a:gd name="connsiteY6992" fmla="*/ 1435971 h 6479439"/>
              <a:gd name="connsiteX6993" fmla="*/ 5274694 w 9586368"/>
              <a:gd name="connsiteY6993" fmla="*/ 1435971 h 6479439"/>
              <a:gd name="connsiteX6994" fmla="*/ 5278713 w 9586368"/>
              <a:gd name="connsiteY6994" fmla="*/ 1440010 h 6479439"/>
              <a:gd name="connsiteX6995" fmla="*/ 5278713 w 9586368"/>
              <a:gd name="connsiteY6995" fmla="*/ 1449881 h 6479439"/>
              <a:gd name="connsiteX6996" fmla="*/ 5274694 w 9586368"/>
              <a:gd name="connsiteY6996" fmla="*/ 1453920 h 6479439"/>
              <a:gd name="connsiteX6997" fmla="*/ 5264784 w 9586368"/>
              <a:gd name="connsiteY6997" fmla="*/ 1453920 h 6479439"/>
              <a:gd name="connsiteX6998" fmla="*/ 5260765 w 9586368"/>
              <a:gd name="connsiteY6998" fmla="*/ 1449881 h 6479439"/>
              <a:gd name="connsiteX6999" fmla="*/ 5260765 w 9586368"/>
              <a:gd name="connsiteY6999" fmla="*/ 1440010 h 6479439"/>
              <a:gd name="connsiteX7000" fmla="*/ 5025470 w 9586368"/>
              <a:gd name="connsiteY7000" fmla="*/ 1435971 h 6479439"/>
              <a:gd name="connsiteX7001" fmla="*/ 5035381 w 9586368"/>
              <a:gd name="connsiteY7001" fmla="*/ 1435971 h 6479439"/>
              <a:gd name="connsiteX7002" fmla="*/ 5039400 w 9586368"/>
              <a:gd name="connsiteY7002" fmla="*/ 1440010 h 6479439"/>
              <a:gd name="connsiteX7003" fmla="*/ 5039400 w 9586368"/>
              <a:gd name="connsiteY7003" fmla="*/ 1449881 h 6479439"/>
              <a:gd name="connsiteX7004" fmla="*/ 5035381 w 9586368"/>
              <a:gd name="connsiteY7004" fmla="*/ 1453920 h 6479439"/>
              <a:gd name="connsiteX7005" fmla="*/ 5025470 w 9586368"/>
              <a:gd name="connsiteY7005" fmla="*/ 1453920 h 6479439"/>
              <a:gd name="connsiteX7006" fmla="*/ 5021451 w 9586368"/>
              <a:gd name="connsiteY7006" fmla="*/ 1449881 h 6479439"/>
              <a:gd name="connsiteX7007" fmla="*/ 5021451 w 9586368"/>
              <a:gd name="connsiteY7007" fmla="*/ 1440010 h 6479439"/>
              <a:gd name="connsiteX7008" fmla="*/ 5982729 w 9586368"/>
              <a:gd name="connsiteY7008" fmla="*/ 1435958 h 6479439"/>
              <a:gd name="connsiteX7009" fmla="*/ 5992639 w 9586368"/>
              <a:gd name="connsiteY7009" fmla="*/ 1435958 h 6479439"/>
              <a:gd name="connsiteX7010" fmla="*/ 5996658 w 9586368"/>
              <a:gd name="connsiteY7010" fmla="*/ 1439995 h 6479439"/>
              <a:gd name="connsiteX7011" fmla="*/ 5996658 w 9586368"/>
              <a:gd name="connsiteY7011" fmla="*/ 1449866 h 6479439"/>
              <a:gd name="connsiteX7012" fmla="*/ 5992639 w 9586368"/>
              <a:gd name="connsiteY7012" fmla="*/ 1453905 h 6479439"/>
              <a:gd name="connsiteX7013" fmla="*/ 5982729 w 9586368"/>
              <a:gd name="connsiteY7013" fmla="*/ 1453905 h 6479439"/>
              <a:gd name="connsiteX7014" fmla="*/ 5978710 w 9586368"/>
              <a:gd name="connsiteY7014" fmla="*/ 1449866 h 6479439"/>
              <a:gd name="connsiteX7015" fmla="*/ 5978710 w 9586368"/>
              <a:gd name="connsiteY7015" fmla="*/ 1439995 h 6479439"/>
              <a:gd name="connsiteX7016" fmla="*/ 6939983 w 9586368"/>
              <a:gd name="connsiteY7016" fmla="*/ 1435956 h 6479439"/>
              <a:gd name="connsiteX7017" fmla="*/ 6949894 w 9586368"/>
              <a:gd name="connsiteY7017" fmla="*/ 1435956 h 6479439"/>
              <a:gd name="connsiteX7018" fmla="*/ 6953913 w 9586368"/>
              <a:gd name="connsiteY7018" fmla="*/ 1439995 h 6479439"/>
              <a:gd name="connsiteX7019" fmla="*/ 6953913 w 9586368"/>
              <a:gd name="connsiteY7019" fmla="*/ 1449865 h 6479439"/>
              <a:gd name="connsiteX7020" fmla="*/ 6949894 w 9586368"/>
              <a:gd name="connsiteY7020" fmla="*/ 1453905 h 6479439"/>
              <a:gd name="connsiteX7021" fmla="*/ 6939983 w 9586368"/>
              <a:gd name="connsiteY7021" fmla="*/ 1453905 h 6479439"/>
              <a:gd name="connsiteX7022" fmla="*/ 6935964 w 9586368"/>
              <a:gd name="connsiteY7022" fmla="*/ 1449865 h 6479439"/>
              <a:gd name="connsiteX7023" fmla="*/ 6935964 w 9586368"/>
              <a:gd name="connsiteY7023" fmla="*/ 1439995 h 6479439"/>
              <a:gd name="connsiteX7024" fmla="*/ 6700670 w 9586368"/>
              <a:gd name="connsiteY7024" fmla="*/ 1435956 h 6479439"/>
              <a:gd name="connsiteX7025" fmla="*/ 6710581 w 9586368"/>
              <a:gd name="connsiteY7025" fmla="*/ 1435956 h 6479439"/>
              <a:gd name="connsiteX7026" fmla="*/ 6714600 w 9586368"/>
              <a:gd name="connsiteY7026" fmla="*/ 1439995 h 6479439"/>
              <a:gd name="connsiteX7027" fmla="*/ 6714600 w 9586368"/>
              <a:gd name="connsiteY7027" fmla="*/ 1449866 h 6479439"/>
              <a:gd name="connsiteX7028" fmla="*/ 6710581 w 9586368"/>
              <a:gd name="connsiteY7028" fmla="*/ 1453905 h 6479439"/>
              <a:gd name="connsiteX7029" fmla="*/ 6700670 w 9586368"/>
              <a:gd name="connsiteY7029" fmla="*/ 1453905 h 6479439"/>
              <a:gd name="connsiteX7030" fmla="*/ 6696651 w 9586368"/>
              <a:gd name="connsiteY7030" fmla="*/ 1449866 h 6479439"/>
              <a:gd name="connsiteX7031" fmla="*/ 6696651 w 9586368"/>
              <a:gd name="connsiteY7031" fmla="*/ 1439995 h 6479439"/>
              <a:gd name="connsiteX7032" fmla="*/ 6461356 w 9586368"/>
              <a:gd name="connsiteY7032" fmla="*/ 1435956 h 6479439"/>
              <a:gd name="connsiteX7033" fmla="*/ 6471266 w 9586368"/>
              <a:gd name="connsiteY7033" fmla="*/ 1435956 h 6479439"/>
              <a:gd name="connsiteX7034" fmla="*/ 6475285 w 9586368"/>
              <a:gd name="connsiteY7034" fmla="*/ 1439995 h 6479439"/>
              <a:gd name="connsiteX7035" fmla="*/ 6475285 w 9586368"/>
              <a:gd name="connsiteY7035" fmla="*/ 1449866 h 6479439"/>
              <a:gd name="connsiteX7036" fmla="*/ 6471266 w 9586368"/>
              <a:gd name="connsiteY7036" fmla="*/ 1453905 h 6479439"/>
              <a:gd name="connsiteX7037" fmla="*/ 6461356 w 9586368"/>
              <a:gd name="connsiteY7037" fmla="*/ 1453905 h 6479439"/>
              <a:gd name="connsiteX7038" fmla="*/ 6457337 w 9586368"/>
              <a:gd name="connsiteY7038" fmla="*/ 1449866 h 6479439"/>
              <a:gd name="connsiteX7039" fmla="*/ 6457337 w 9586368"/>
              <a:gd name="connsiteY7039" fmla="*/ 1439995 h 6479439"/>
              <a:gd name="connsiteX7040" fmla="*/ 6222042 w 9586368"/>
              <a:gd name="connsiteY7040" fmla="*/ 1435956 h 6479439"/>
              <a:gd name="connsiteX7041" fmla="*/ 6231952 w 9586368"/>
              <a:gd name="connsiteY7041" fmla="*/ 1435956 h 6479439"/>
              <a:gd name="connsiteX7042" fmla="*/ 6235971 w 9586368"/>
              <a:gd name="connsiteY7042" fmla="*/ 1439995 h 6479439"/>
              <a:gd name="connsiteX7043" fmla="*/ 6235971 w 9586368"/>
              <a:gd name="connsiteY7043" fmla="*/ 1449866 h 6479439"/>
              <a:gd name="connsiteX7044" fmla="*/ 6231952 w 9586368"/>
              <a:gd name="connsiteY7044" fmla="*/ 1453905 h 6479439"/>
              <a:gd name="connsiteX7045" fmla="*/ 6222042 w 9586368"/>
              <a:gd name="connsiteY7045" fmla="*/ 1453905 h 6479439"/>
              <a:gd name="connsiteX7046" fmla="*/ 6218023 w 9586368"/>
              <a:gd name="connsiteY7046" fmla="*/ 1449866 h 6479439"/>
              <a:gd name="connsiteX7047" fmla="*/ 6218023 w 9586368"/>
              <a:gd name="connsiteY7047" fmla="*/ 1439995 h 6479439"/>
              <a:gd name="connsiteX7048" fmla="*/ 7179298 w 9586368"/>
              <a:gd name="connsiteY7048" fmla="*/ 1435943 h 6479439"/>
              <a:gd name="connsiteX7049" fmla="*/ 7189209 w 9586368"/>
              <a:gd name="connsiteY7049" fmla="*/ 1435943 h 6479439"/>
              <a:gd name="connsiteX7050" fmla="*/ 7193228 w 9586368"/>
              <a:gd name="connsiteY7050" fmla="*/ 1439981 h 6479439"/>
              <a:gd name="connsiteX7051" fmla="*/ 7193228 w 9586368"/>
              <a:gd name="connsiteY7051" fmla="*/ 1449852 h 6479439"/>
              <a:gd name="connsiteX7052" fmla="*/ 7189209 w 9586368"/>
              <a:gd name="connsiteY7052" fmla="*/ 1453891 h 6479439"/>
              <a:gd name="connsiteX7053" fmla="*/ 7179298 w 9586368"/>
              <a:gd name="connsiteY7053" fmla="*/ 1453891 h 6479439"/>
              <a:gd name="connsiteX7054" fmla="*/ 7175279 w 9586368"/>
              <a:gd name="connsiteY7054" fmla="*/ 1449852 h 6479439"/>
              <a:gd name="connsiteX7055" fmla="*/ 7175279 w 9586368"/>
              <a:gd name="connsiteY7055" fmla="*/ 1439981 h 6479439"/>
              <a:gd name="connsiteX7056" fmla="*/ 8136553 w 9586368"/>
              <a:gd name="connsiteY7056" fmla="*/ 1435943 h 6479439"/>
              <a:gd name="connsiteX7057" fmla="*/ 8146464 w 9586368"/>
              <a:gd name="connsiteY7057" fmla="*/ 1435943 h 6479439"/>
              <a:gd name="connsiteX7058" fmla="*/ 8150483 w 9586368"/>
              <a:gd name="connsiteY7058" fmla="*/ 1439980 h 6479439"/>
              <a:gd name="connsiteX7059" fmla="*/ 8150483 w 9586368"/>
              <a:gd name="connsiteY7059" fmla="*/ 1449851 h 6479439"/>
              <a:gd name="connsiteX7060" fmla="*/ 8146464 w 9586368"/>
              <a:gd name="connsiteY7060" fmla="*/ 1453890 h 6479439"/>
              <a:gd name="connsiteX7061" fmla="*/ 8136553 w 9586368"/>
              <a:gd name="connsiteY7061" fmla="*/ 1453890 h 6479439"/>
              <a:gd name="connsiteX7062" fmla="*/ 8132534 w 9586368"/>
              <a:gd name="connsiteY7062" fmla="*/ 1449851 h 6479439"/>
              <a:gd name="connsiteX7063" fmla="*/ 8132534 w 9586368"/>
              <a:gd name="connsiteY7063" fmla="*/ 1439980 h 6479439"/>
              <a:gd name="connsiteX7064" fmla="*/ 7897241 w 9586368"/>
              <a:gd name="connsiteY7064" fmla="*/ 1435943 h 6479439"/>
              <a:gd name="connsiteX7065" fmla="*/ 7907151 w 9586368"/>
              <a:gd name="connsiteY7065" fmla="*/ 1435943 h 6479439"/>
              <a:gd name="connsiteX7066" fmla="*/ 7911170 w 9586368"/>
              <a:gd name="connsiteY7066" fmla="*/ 1439980 h 6479439"/>
              <a:gd name="connsiteX7067" fmla="*/ 7911170 w 9586368"/>
              <a:gd name="connsiteY7067" fmla="*/ 1449852 h 6479439"/>
              <a:gd name="connsiteX7068" fmla="*/ 7907151 w 9586368"/>
              <a:gd name="connsiteY7068" fmla="*/ 1453890 h 6479439"/>
              <a:gd name="connsiteX7069" fmla="*/ 7897241 w 9586368"/>
              <a:gd name="connsiteY7069" fmla="*/ 1453890 h 6479439"/>
              <a:gd name="connsiteX7070" fmla="*/ 7893222 w 9586368"/>
              <a:gd name="connsiteY7070" fmla="*/ 1449852 h 6479439"/>
              <a:gd name="connsiteX7071" fmla="*/ 7893222 w 9586368"/>
              <a:gd name="connsiteY7071" fmla="*/ 1439980 h 6479439"/>
              <a:gd name="connsiteX7072" fmla="*/ 7657926 w 9586368"/>
              <a:gd name="connsiteY7072" fmla="*/ 1435943 h 6479439"/>
              <a:gd name="connsiteX7073" fmla="*/ 7667836 w 9586368"/>
              <a:gd name="connsiteY7073" fmla="*/ 1435943 h 6479439"/>
              <a:gd name="connsiteX7074" fmla="*/ 7671855 w 9586368"/>
              <a:gd name="connsiteY7074" fmla="*/ 1439980 h 6479439"/>
              <a:gd name="connsiteX7075" fmla="*/ 7671855 w 9586368"/>
              <a:gd name="connsiteY7075" fmla="*/ 1449852 h 6479439"/>
              <a:gd name="connsiteX7076" fmla="*/ 7667836 w 9586368"/>
              <a:gd name="connsiteY7076" fmla="*/ 1453891 h 6479439"/>
              <a:gd name="connsiteX7077" fmla="*/ 7657926 w 9586368"/>
              <a:gd name="connsiteY7077" fmla="*/ 1453891 h 6479439"/>
              <a:gd name="connsiteX7078" fmla="*/ 7653906 w 9586368"/>
              <a:gd name="connsiteY7078" fmla="*/ 1449852 h 6479439"/>
              <a:gd name="connsiteX7079" fmla="*/ 7653906 w 9586368"/>
              <a:gd name="connsiteY7079" fmla="*/ 1439980 h 6479439"/>
              <a:gd name="connsiteX7080" fmla="*/ 7418611 w 9586368"/>
              <a:gd name="connsiteY7080" fmla="*/ 1435943 h 6479439"/>
              <a:gd name="connsiteX7081" fmla="*/ 7428521 w 9586368"/>
              <a:gd name="connsiteY7081" fmla="*/ 1435943 h 6479439"/>
              <a:gd name="connsiteX7082" fmla="*/ 7432540 w 9586368"/>
              <a:gd name="connsiteY7082" fmla="*/ 1439980 h 6479439"/>
              <a:gd name="connsiteX7083" fmla="*/ 7432540 w 9586368"/>
              <a:gd name="connsiteY7083" fmla="*/ 1449852 h 6479439"/>
              <a:gd name="connsiteX7084" fmla="*/ 7428521 w 9586368"/>
              <a:gd name="connsiteY7084" fmla="*/ 1453891 h 6479439"/>
              <a:gd name="connsiteX7085" fmla="*/ 7418611 w 9586368"/>
              <a:gd name="connsiteY7085" fmla="*/ 1453891 h 6479439"/>
              <a:gd name="connsiteX7086" fmla="*/ 7414592 w 9586368"/>
              <a:gd name="connsiteY7086" fmla="*/ 1449852 h 6479439"/>
              <a:gd name="connsiteX7087" fmla="*/ 7414592 w 9586368"/>
              <a:gd name="connsiteY7087" fmla="*/ 1439980 h 6479439"/>
              <a:gd name="connsiteX7088" fmla="*/ 8375869 w 9586368"/>
              <a:gd name="connsiteY7088" fmla="*/ 1435928 h 6479439"/>
              <a:gd name="connsiteX7089" fmla="*/ 8385779 w 9586368"/>
              <a:gd name="connsiteY7089" fmla="*/ 1435928 h 6479439"/>
              <a:gd name="connsiteX7090" fmla="*/ 8389799 w 9586368"/>
              <a:gd name="connsiteY7090" fmla="*/ 1439967 h 6479439"/>
              <a:gd name="connsiteX7091" fmla="*/ 8389799 w 9586368"/>
              <a:gd name="connsiteY7091" fmla="*/ 1449837 h 6479439"/>
              <a:gd name="connsiteX7092" fmla="*/ 8385779 w 9586368"/>
              <a:gd name="connsiteY7092" fmla="*/ 1453877 h 6479439"/>
              <a:gd name="connsiteX7093" fmla="*/ 8375869 w 9586368"/>
              <a:gd name="connsiteY7093" fmla="*/ 1453877 h 6479439"/>
              <a:gd name="connsiteX7094" fmla="*/ 8371850 w 9586368"/>
              <a:gd name="connsiteY7094" fmla="*/ 1449837 h 6479439"/>
              <a:gd name="connsiteX7095" fmla="*/ 8371850 w 9586368"/>
              <a:gd name="connsiteY7095" fmla="*/ 1439967 h 6479439"/>
              <a:gd name="connsiteX7096" fmla="*/ 9333125 w 9586368"/>
              <a:gd name="connsiteY7096" fmla="*/ 1435928 h 6479439"/>
              <a:gd name="connsiteX7097" fmla="*/ 9343036 w 9586368"/>
              <a:gd name="connsiteY7097" fmla="*/ 1435928 h 6479439"/>
              <a:gd name="connsiteX7098" fmla="*/ 9347055 w 9586368"/>
              <a:gd name="connsiteY7098" fmla="*/ 1439967 h 6479439"/>
              <a:gd name="connsiteX7099" fmla="*/ 9347055 w 9586368"/>
              <a:gd name="connsiteY7099" fmla="*/ 1449836 h 6479439"/>
              <a:gd name="connsiteX7100" fmla="*/ 9343036 w 9586368"/>
              <a:gd name="connsiteY7100" fmla="*/ 1453876 h 6479439"/>
              <a:gd name="connsiteX7101" fmla="*/ 9333125 w 9586368"/>
              <a:gd name="connsiteY7101" fmla="*/ 1453876 h 6479439"/>
              <a:gd name="connsiteX7102" fmla="*/ 9329106 w 9586368"/>
              <a:gd name="connsiteY7102" fmla="*/ 1449836 h 6479439"/>
              <a:gd name="connsiteX7103" fmla="*/ 9329106 w 9586368"/>
              <a:gd name="connsiteY7103" fmla="*/ 1439967 h 6479439"/>
              <a:gd name="connsiteX7104" fmla="*/ 9093811 w 9586368"/>
              <a:gd name="connsiteY7104" fmla="*/ 1435928 h 6479439"/>
              <a:gd name="connsiteX7105" fmla="*/ 9103722 w 9586368"/>
              <a:gd name="connsiteY7105" fmla="*/ 1435928 h 6479439"/>
              <a:gd name="connsiteX7106" fmla="*/ 9107741 w 9586368"/>
              <a:gd name="connsiteY7106" fmla="*/ 1439967 h 6479439"/>
              <a:gd name="connsiteX7107" fmla="*/ 9107741 w 9586368"/>
              <a:gd name="connsiteY7107" fmla="*/ 1449837 h 6479439"/>
              <a:gd name="connsiteX7108" fmla="*/ 9103722 w 9586368"/>
              <a:gd name="connsiteY7108" fmla="*/ 1453876 h 6479439"/>
              <a:gd name="connsiteX7109" fmla="*/ 9093811 w 9586368"/>
              <a:gd name="connsiteY7109" fmla="*/ 1453876 h 6479439"/>
              <a:gd name="connsiteX7110" fmla="*/ 9089792 w 9586368"/>
              <a:gd name="connsiteY7110" fmla="*/ 1449837 h 6479439"/>
              <a:gd name="connsiteX7111" fmla="*/ 9089792 w 9586368"/>
              <a:gd name="connsiteY7111" fmla="*/ 1439967 h 6479439"/>
              <a:gd name="connsiteX7112" fmla="*/ 8854496 w 9586368"/>
              <a:gd name="connsiteY7112" fmla="*/ 1435928 h 6479439"/>
              <a:gd name="connsiteX7113" fmla="*/ 8864407 w 9586368"/>
              <a:gd name="connsiteY7113" fmla="*/ 1435928 h 6479439"/>
              <a:gd name="connsiteX7114" fmla="*/ 8868426 w 9586368"/>
              <a:gd name="connsiteY7114" fmla="*/ 1439967 h 6479439"/>
              <a:gd name="connsiteX7115" fmla="*/ 8868426 w 9586368"/>
              <a:gd name="connsiteY7115" fmla="*/ 1449837 h 6479439"/>
              <a:gd name="connsiteX7116" fmla="*/ 8864407 w 9586368"/>
              <a:gd name="connsiteY7116" fmla="*/ 1453877 h 6479439"/>
              <a:gd name="connsiteX7117" fmla="*/ 8854496 w 9586368"/>
              <a:gd name="connsiteY7117" fmla="*/ 1453877 h 6479439"/>
              <a:gd name="connsiteX7118" fmla="*/ 8850477 w 9586368"/>
              <a:gd name="connsiteY7118" fmla="*/ 1449837 h 6479439"/>
              <a:gd name="connsiteX7119" fmla="*/ 8850477 w 9586368"/>
              <a:gd name="connsiteY7119" fmla="*/ 1439967 h 6479439"/>
              <a:gd name="connsiteX7120" fmla="*/ 8615184 w 9586368"/>
              <a:gd name="connsiteY7120" fmla="*/ 1435928 h 6479439"/>
              <a:gd name="connsiteX7121" fmla="*/ 8625095 w 9586368"/>
              <a:gd name="connsiteY7121" fmla="*/ 1435928 h 6479439"/>
              <a:gd name="connsiteX7122" fmla="*/ 8629114 w 9586368"/>
              <a:gd name="connsiteY7122" fmla="*/ 1439967 h 6479439"/>
              <a:gd name="connsiteX7123" fmla="*/ 8629114 w 9586368"/>
              <a:gd name="connsiteY7123" fmla="*/ 1449837 h 6479439"/>
              <a:gd name="connsiteX7124" fmla="*/ 8625095 w 9586368"/>
              <a:gd name="connsiteY7124" fmla="*/ 1453877 h 6479439"/>
              <a:gd name="connsiteX7125" fmla="*/ 8615184 w 9586368"/>
              <a:gd name="connsiteY7125" fmla="*/ 1453877 h 6479439"/>
              <a:gd name="connsiteX7126" fmla="*/ 8611165 w 9586368"/>
              <a:gd name="connsiteY7126" fmla="*/ 1449837 h 6479439"/>
              <a:gd name="connsiteX7127" fmla="*/ 8611165 w 9586368"/>
              <a:gd name="connsiteY7127" fmla="*/ 1439967 h 6479439"/>
              <a:gd name="connsiteX7128" fmla="*/ 1679216 w 9586368"/>
              <a:gd name="connsiteY7128" fmla="*/ 1435922 h 6479439"/>
              <a:gd name="connsiteX7129" fmla="*/ 1689126 w 9586368"/>
              <a:gd name="connsiteY7129" fmla="*/ 1435922 h 6479439"/>
              <a:gd name="connsiteX7130" fmla="*/ 1693146 w 9586368"/>
              <a:gd name="connsiteY7130" fmla="*/ 1439960 h 6479439"/>
              <a:gd name="connsiteX7131" fmla="*/ 1693146 w 9586368"/>
              <a:gd name="connsiteY7131" fmla="*/ 1449831 h 6479439"/>
              <a:gd name="connsiteX7132" fmla="*/ 1689126 w 9586368"/>
              <a:gd name="connsiteY7132" fmla="*/ 1453870 h 6479439"/>
              <a:gd name="connsiteX7133" fmla="*/ 1679216 w 9586368"/>
              <a:gd name="connsiteY7133" fmla="*/ 1453870 h 6479439"/>
              <a:gd name="connsiteX7134" fmla="*/ 1675198 w 9586368"/>
              <a:gd name="connsiteY7134" fmla="*/ 1449831 h 6479439"/>
              <a:gd name="connsiteX7135" fmla="*/ 1675198 w 9586368"/>
              <a:gd name="connsiteY7135" fmla="*/ 1439960 h 6479439"/>
              <a:gd name="connsiteX7136" fmla="*/ 1439900 w 9586368"/>
              <a:gd name="connsiteY7136" fmla="*/ 1435922 h 6479439"/>
              <a:gd name="connsiteX7137" fmla="*/ 1449810 w 9586368"/>
              <a:gd name="connsiteY7137" fmla="*/ 1435922 h 6479439"/>
              <a:gd name="connsiteX7138" fmla="*/ 1453828 w 9586368"/>
              <a:gd name="connsiteY7138" fmla="*/ 1439960 h 6479439"/>
              <a:gd name="connsiteX7139" fmla="*/ 1453828 w 9586368"/>
              <a:gd name="connsiteY7139" fmla="*/ 1449831 h 6479439"/>
              <a:gd name="connsiteX7140" fmla="*/ 1449810 w 9586368"/>
              <a:gd name="connsiteY7140" fmla="*/ 1453870 h 6479439"/>
              <a:gd name="connsiteX7141" fmla="*/ 1439900 w 9586368"/>
              <a:gd name="connsiteY7141" fmla="*/ 1453870 h 6479439"/>
              <a:gd name="connsiteX7142" fmla="*/ 1435880 w 9586368"/>
              <a:gd name="connsiteY7142" fmla="*/ 1449831 h 6479439"/>
              <a:gd name="connsiteX7143" fmla="*/ 1435880 w 9586368"/>
              <a:gd name="connsiteY7143" fmla="*/ 1439960 h 6479439"/>
              <a:gd name="connsiteX7144" fmla="*/ 1200583 w 9586368"/>
              <a:gd name="connsiteY7144" fmla="*/ 1435922 h 6479439"/>
              <a:gd name="connsiteX7145" fmla="*/ 1210493 w 9586368"/>
              <a:gd name="connsiteY7145" fmla="*/ 1435922 h 6479439"/>
              <a:gd name="connsiteX7146" fmla="*/ 1214512 w 9586368"/>
              <a:gd name="connsiteY7146" fmla="*/ 1439960 h 6479439"/>
              <a:gd name="connsiteX7147" fmla="*/ 1214512 w 9586368"/>
              <a:gd name="connsiteY7147" fmla="*/ 1449831 h 6479439"/>
              <a:gd name="connsiteX7148" fmla="*/ 1210493 w 9586368"/>
              <a:gd name="connsiteY7148" fmla="*/ 1453870 h 6479439"/>
              <a:gd name="connsiteX7149" fmla="*/ 1200583 w 9586368"/>
              <a:gd name="connsiteY7149" fmla="*/ 1453870 h 6479439"/>
              <a:gd name="connsiteX7150" fmla="*/ 1196564 w 9586368"/>
              <a:gd name="connsiteY7150" fmla="*/ 1449831 h 6479439"/>
              <a:gd name="connsiteX7151" fmla="*/ 1196564 w 9586368"/>
              <a:gd name="connsiteY7151" fmla="*/ 1439960 h 6479439"/>
              <a:gd name="connsiteX7152" fmla="*/ 961270 w 9586368"/>
              <a:gd name="connsiteY7152" fmla="*/ 1435922 h 6479439"/>
              <a:gd name="connsiteX7153" fmla="*/ 971181 w 9586368"/>
              <a:gd name="connsiteY7153" fmla="*/ 1435922 h 6479439"/>
              <a:gd name="connsiteX7154" fmla="*/ 975200 w 9586368"/>
              <a:gd name="connsiteY7154" fmla="*/ 1439960 h 6479439"/>
              <a:gd name="connsiteX7155" fmla="*/ 975200 w 9586368"/>
              <a:gd name="connsiteY7155" fmla="*/ 1449831 h 6479439"/>
              <a:gd name="connsiteX7156" fmla="*/ 971181 w 9586368"/>
              <a:gd name="connsiteY7156" fmla="*/ 1453870 h 6479439"/>
              <a:gd name="connsiteX7157" fmla="*/ 961270 w 9586368"/>
              <a:gd name="connsiteY7157" fmla="*/ 1453870 h 6479439"/>
              <a:gd name="connsiteX7158" fmla="*/ 957252 w 9586368"/>
              <a:gd name="connsiteY7158" fmla="*/ 1449831 h 6479439"/>
              <a:gd name="connsiteX7159" fmla="*/ 957252 w 9586368"/>
              <a:gd name="connsiteY7159" fmla="*/ 1439960 h 6479439"/>
              <a:gd name="connsiteX7160" fmla="*/ 9572438 w 9586368"/>
              <a:gd name="connsiteY7160" fmla="*/ 1435914 h 6479439"/>
              <a:gd name="connsiteX7161" fmla="*/ 9582349 w 9586368"/>
              <a:gd name="connsiteY7161" fmla="*/ 1435914 h 6479439"/>
              <a:gd name="connsiteX7162" fmla="*/ 9586368 w 9586368"/>
              <a:gd name="connsiteY7162" fmla="*/ 1439952 h 6479439"/>
              <a:gd name="connsiteX7163" fmla="*/ 9586368 w 9586368"/>
              <a:gd name="connsiteY7163" fmla="*/ 1449823 h 6479439"/>
              <a:gd name="connsiteX7164" fmla="*/ 9582349 w 9586368"/>
              <a:gd name="connsiteY7164" fmla="*/ 1453862 h 6479439"/>
              <a:gd name="connsiteX7165" fmla="*/ 9572438 w 9586368"/>
              <a:gd name="connsiteY7165" fmla="*/ 1453862 h 6479439"/>
              <a:gd name="connsiteX7166" fmla="*/ 9568419 w 9586368"/>
              <a:gd name="connsiteY7166" fmla="*/ 1449823 h 6479439"/>
              <a:gd name="connsiteX7167" fmla="*/ 9568419 w 9586368"/>
              <a:gd name="connsiteY7167" fmla="*/ 1439952 h 6479439"/>
              <a:gd name="connsiteX7168" fmla="*/ 1918514 w 9586368"/>
              <a:gd name="connsiteY7168" fmla="*/ 1435912 h 6479439"/>
              <a:gd name="connsiteX7169" fmla="*/ 1928424 w 9586368"/>
              <a:gd name="connsiteY7169" fmla="*/ 1435912 h 6479439"/>
              <a:gd name="connsiteX7170" fmla="*/ 1932443 w 9586368"/>
              <a:gd name="connsiteY7170" fmla="*/ 1439950 h 6479439"/>
              <a:gd name="connsiteX7171" fmla="*/ 1932443 w 9586368"/>
              <a:gd name="connsiteY7171" fmla="*/ 1449821 h 6479439"/>
              <a:gd name="connsiteX7172" fmla="*/ 1928424 w 9586368"/>
              <a:gd name="connsiteY7172" fmla="*/ 1453860 h 6479439"/>
              <a:gd name="connsiteX7173" fmla="*/ 1918514 w 9586368"/>
              <a:gd name="connsiteY7173" fmla="*/ 1453860 h 6479439"/>
              <a:gd name="connsiteX7174" fmla="*/ 1914494 w 9586368"/>
              <a:gd name="connsiteY7174" fmla="*/ 1449821 h 6479439"/>
              <a:gd name="connsiteX7175" fmla="*/ 1914494 w 9586368"/>
              <a:gd name="connsiteY7175" fmla="*/ 1439950 h 6479439"/>
              <a:gd name="connsiteX7176" fmla="*/ 2157823 w 9586368"/>
              <a:gd name="connsiteY7176" fmla="*/ 1435909 h 6479439"/>
              <a:gd name="connsiteX7177" fmla="*/ 2167733 w 9586368"/>
              <a:gd name="connsiteY7177" fmla="*/ 1435909 h 6479439"/>
              <a:gd name="connsiteX7178" fmla="*/ 2171751 w 9586368"/>
              <a:gd name="connsiteY7178" fmla="*/ 1439947 h 6479439"/>
              <a:gd name="connsiteX7179" fmla="*/ 2171751 w 9586368"/>
              <a:gd name="connsiteY7179" fmla="*/ 1449818 h 6479439"/>
              <a:gd name="connsiteX7180" fmla="*/ 2167733 w 9586368"/>
              <a:gd name="connsiteY7180" fmla="*/ 1453857 h 6479439"/>
              <a:gd name="connsiteX7181" fmla="*/ 2157823 w 9586368"/>
              <a:gd name="connsiteY7181" fmla="*/ 1453857 h 6479439"/>
              <a:gd name="connsiteX7182" fmla="*/ 2153803 w 9586368"/>
              <a:gd name="connsiteY7182" fmla="*/ 1449818 h 6479439"/>
              <a:gd name="connsiteX7183" fmla="*/ 2153803 w 9586368"/>
              <a:gd name="connsiteY7183" fmla="*/ 1439947 h 6479439"/>
              <a:gd name="connsiteX7184" fmla="*/ 243347 w 9586368"/>
              <a:gd name="connsiteY7184" fmla="*/ 1435883 h 6479439"/>
              <a:gd name="connsiteX7185" fmla="*/ 253257 w 9586368"/>
              <a:gd name="connsiteY7185" fmla="*/ 1435883 h 6479439"/>
              <a:gd name="connsiteX7186" fmla="*/ 257276 w 9586368"/>
              <a:gd name="connsiteY7186" fmla="*/ 1439920 h 6479439"/>
              <a:gd name="connsiteX7187" fmla="*/ 257276 w 9586368"/>
              <a:gd name="connsiteY7187" fmla="*/ 1449791 h 6479439"/>
              <a:gd name="connsiteX7188" fmla="*/ 253257 w 9586368"/>
              <a:gd name="connsiteY7188" fmla="*/ 1453830 h 6479439"/>
              <a:gd name="connsiteX7189" fmla="*/ 243347 w 9586368"/>
              <a:gd name="connsiteY7189" fmla="*/ 1453830 h 6479439"/>
              <a:gd name="connsiteX7190" fmla="*/ 239328 w 9586368"/>
              <a:gd name="connsiteY7190" fmla="*/ 1449791 h 6479439"/>
              <a:gd name="connsiteX7191" fmla="*/ 239328 w 9586368"/>
              <a:gd name="connsiteY7191" fmla="*/ 1439920 h 6479439"/>
              <a:gd name="connsiteX7192" fmla="*/ 4034 w 9586368"/>
              <a:gd name="connsiteY7192" fmla="*/ 1435883 h 6479439"/>
              <a:gd name="connsiteX7193" fmla="*/ 13944 w 9586368"/>
              <a:gd name="connsiteY7193" fmla="*/ 1435883 h 6479439"/>
              <a:gd name="connsiteX7194" fmla="*/ 17964 w 9586368"/>
              <a:gd name="connsiteY7194" fmla="*/ 1439920 h 6479439"/>
              <a:gd name="connsiteX7195" fmla="*/ 17964 w 9586368"/>
              <a:gd name="connsiteY7195" fmla="*/ 1449791 h 6479439"/>
              <a:gd name="connsiteX7196" fmla="*/ 13944 w 9586368"/>
              <a:gd name="connsiteY7196" fmla="*/ 1453830 h 6479439"/>
              <a:gd name="connsiteX7197" fmla="*/ 4034 w 9586368"/>
              <a:gd name="connsiteY7197" fmla="*/ 1453830 h 6479439"/>
              <a:gd name="connsiteX7198" fmla="*/ 15 w 9586368"/>
              <a:gd name="connsiteY7198" fmla="*/ 1449791 h 6479439"/>
              <a:gd name="connsiteX7199" fmla="*/ 15 w 9586368"/>
              <a:gd name="connsiteY7199" fmla="*/ 1439920 h 6479439"/>
              <a:gd name="connsiteX7200" fmla="*/ 721973 w 9586368"/>
              <a:gd name="connsiteY7200" fmla="*/ 1435882 h 6479439"/>
              <a:gd name="connsiteX7201" fmla="*/ 731883 w 9586368"/>
              <a:gd name="connsiteY7201" fmla="*/ 1435882 h 6479439"/>
              <a:gd name="connsiteX7202" fmla="*/ 735902 w 9586368"/>
              <a:gd name="connsiteY7202" fmla="*/ 1439920 h 6479439"/>
              <a:gd name="connsiteX7203" fmla="*/ 735902 w 9586368"/>
              <a:gd name="connsiteY7203" fmla="*/ 1449791 h 6479439"/>
              <a:gd name="connsiteX7204" fmla="*/ 731883 w 9586368"/>
              <a:gd name="connsiteY7204" fmla="*/ 1453830 h 6479439"/>
              <a:gd name="connsiteX7205" fmla="*/ 721973 w 9586368"/>
              <a:gd name="connsiteY7205" fmla="*/ 1453830 h 6479439"/>
              <a:gd name="connsiteX7206" fmla="*/ 717954 w 9586368"/>
              <a:gd name="connsiteY7206" fmla="*/ 1449791 h 6479439"/>
              <a:gd name="connsiteX7207" fmla="*/ 717954 w 9586368"/>
              <a:gd name="connsiteY7207" fmla="*/ 1439920 h 6479439"/>
              <a:gd name="connsiteX7208" fmla="*/ 482661 w 9586368"/>
              <a:gd name="connsiteY7208" fmla="*/ 1435882 h 6479439"/>
              <a:gd name="connsiteX7209" fmla="*/ 492571 w 9586368"/>
              <a:gd name="connsiteY7209" fmla="*/ 1435882 h 6479439"/>
              <a:gd name="connsiteX7210" fmla="*/ 496590 w 9586368"/>
              <a:gd name="connsiteY7210" fmla="*/ 1439920 h 6479439"/>
              <a:gd name="connsiteX7211" fmla="*/ 496590 w 9586368"/>
              <a:gd name="connsiteY7211" fmla="*/ 1449791 h 6479439"/>
              <a:gd name="connsiteX7212" fmla="*/ 492571 w 9586368"/>
              <a:gd name="connsiteY7212" fmla="*/ 1453830 h 6479439"/>
              <a:gd name="connsiteX7213" fmla="*/ 482661 w 9586368"/>
              <a:gd name="connsiteY7213" fmla="*/ 1453830 h 6479439"/>
              <a:gd name="connsiteX7214" fmla="*/ 478642 w 9586368"/>
              <a:gd name="connsiteY7214" fmla="*/ 1449791 h 6479439"/>
              <a:gd name="connsiteX7215" fmla="*/ 478642 w 9586368"/>
              <a:gd name="connsiteY7215" fmla="*/ 1439920 h 6479439"/>
              <a:gd name="connsiteX7216" fmla="*/ 3350359 w 9586368"/>
              <a:gd name="connsiteY7216" fmla="*/ 1196701 h 6479439"/>
              <a:gd name="connsiteX7217" fmla="*/ 3360268 w 9586368"/>
              <a:gd name="connsiteY7217" fmla="*/ 1196701 h 6479439"/>
              <a:gd name="connsiteX7218" fmla="*/ 3364287 w 9586368"/>
              <a:gd name="connsiteY7218" fmla="*/ 1200738 h 6479439"/>
              <a:gd name="connsiteX7219" fmla="*/ 3364287 w 9586368"/>
              <a:gd name="connsiteY7219" fmla="*/ 1210610 h 6479439"/>
              <a:gd name="connsiteX7220" fmla="*/ 3360268 w 9586368"/>
              <a:gd name="connsiteY7220" fmla="*/ 1214650 h 6479439"/>
              <a:gd name="connsiteX7221" fmla="*/ 3350359 w 9586368"/>
              <a:gd name="connsiteY7221" fmla="*/ 1214650 h 6479439"/>
              <a:gd name="connsiteX7222" fmla="*/ 3346340 w 9586368"/>
              <a:gd name="connsiteY7222" fmla="*/ 1210610 h 6479439"/>
              <a:gd name="connsiteX7223" fmla="*/ 3346340 w 9586368"/>
              <a:gd name="connsiteY7223" fmla="*/ 1200738 h 6479439"/>
              <a:gd name="connsiteX7224" fmla="*/ 3111048 w 9586368"/>
              <a:gd name="connsiteY7224" fmla="*/ 1196701 h 6479439"/>
              <a:gd name="connsiteX7225" fmla="*/ 3120959 w 9586368"/>
              <a:gd name="connsiteY7225" fmla="*/ 1196701 h 6479439"/>
              <a:gd name="connsiteX7226" fmla="*/ 3124977 w 9586368"/>
              <a:gd name="connsiteY7226" fmla="*/ 1200738 h 6479439"/>
              <a:gd name="connsiteX7227" fmla="*/ 3124977 w 9586368"/>
              <a:gd name="connsiteY7227" fmla="*/ 1210610 h 6479439"/>
              <a:gd name="connsiteX7228" fmla="*/ 3120959 w 9586368"/>
              <a:gd name="connsiteY7228" fmla="*/ 1214650 h 6479439"/>
              <a:gd name="connsiteX7229" fmla="*/ 3111048 w 9586368"/>
              <a:gd name="connsiteY7229" fmla="*/ 1214650 h 6479439"/>
              <a:gd name="connsiteX7230" fmla="*/ 3107029 w 9586368"/>
              <a:gd name="connsiteY7230" fmla="*/ 1210610 h 6479439"/>
              <a:gd name="connsiteX7231" fmla="*/ 3107029 w 9586368"/>
              <a:gd name="connsiteY7231" fmla="*/ 1200738 h 6479439"/>
              <a:gd name="connsiteX7232" fmla="*/ 2871737 w 9586368"/>
              <a:gd name="connsiteY7232" fmla="*/ 1196701 h 6479439"/>
              <a:gd name="connsiteX7233" fmla="*/ 2881646 w 9586368"/>
              <a:gd name="connsiteY7233" fmla="*/ 1196701 h 6479439"/>
              <a:gd name="connsiteX7234" fmla="*/ 2885666 w 9586368"/>
              <a:gd name="connsiteY7234" fmla="*/ 1200738 h 6479439"/>
              <a:gd name="connsiteX7235" fmla="*/ 2885666 w 9586368"/>
              <a:gd name="connsiteY7235" fmla="*/ 1210610 h 6479439"/>
              <a:gd name="connsiteX7236" fmla="*/ 2881646 w 9586368"/>
              <a:gd name="connsiteY7236" fmla="*/ 1214650 h 6479439"/>
              <a:gd name="connsiteX7237" fmla="*/ 2871737 w 9586368"/>
              <a:gd name="connsiteY7237" fmla="*/ 1214650 h 6479439"/>
              <a:gd name="connsiteX7238" fmla="*/ 2867717 w 9586368"/>
              <a:gd name="connsiteY7238" fmla="*/ 1210610 h 6479439"/>
              <a:gd name="connsiteX7239" fmla="*/ 2867717 w 9586368"/>
              <a:gd name="connsiteY7239" fmla="*/ 1200738 h 6479439"/>
              <a:gd name="connsiteX7240" fmla="*/ 2632423 w 9586368"/>
              <a:gd name="connsiteY7240" fmla="*/ 1196701 h 6479439"/>
              <a:gd name="connsiteX7241" fmla="*/ 2642334 w 9586368"/>
              <a:gd name="connsiteY7241" fmla="*/ 1196701 h 6479439"/>
              <a:gd name="connsiteX7242" fmla="*/ 2646352 w 9586368"/>
              <a:gd name="connsiteY7242" fmla="*/ 1200740 h 6479439"/>
              <a:gd name="connsiteX7243" fmla="*/ 2646352 w 9586368"/>
              <a:gd name="connsiteY7243" fmla="*/ 1210610 h 6479439"/>
              <a:gd name="connsiteX7244" fmla="*/ 2642334 w 9586368"/>
              <a:gd name="connsiteY7244" fmla="*/ 1214650 h 6479439"/>
              <a:gd name="connsiteX7245" fmla="*/ 2632423 w 9586368"/>
              <a:gd name="connsiteY7245" fmla="*/ 1214650 h 6479439"/>
              <a:gd name="connsiteX7246" fmla="*/ 2628404 w 9586368"/>
              <a:gd name="connsiteY7246" fmla="*/ 1210610 h 6479439"/>
              <a:gd name="connsiteX7247" fmla="*/ 2628404 w 9586368"/>
              <a:gd name="connsiteY7247" fmla="*/ 1200740 h 6479439"/>
              <a:gd name="connsiteX7248" fmla="*/ 2393104 w 9586368"/>
              <a:gd name="connsiteY7248" fmla="*/ 1196701 h 6479439"/>
              <a:gd name="connsiteX7249" fmla="*/ 2403015 w 9586368"/>
              <a:gd name="connsiteY7249" fmla="*/ 1196701 h 6479439"/>
              <a:gd name="connsiteX7250" fmla="*/ 2407034 w 9586368"/>
              <a:gd name="connsiteY7250" fmla="*/ 1200740 h 6479439"/>
              <a:gd name="connsiteX7251" fmla="*/ 2407034 w 9586368"/>
              <a:gd name="connsiteY7251" fmla="*/ 1210610 h 6479439"/>
              <a:gd name="connsiteX7252" fmla="*/ 2403015 w 9586368"/>
              <a:gd name="connsiteY7252" fmla="*/ 1214650 h 6479439"/>
              <a:gd name="connsiteX7253" fmla="*/ 2393104 w 9586368"/>
              <a:gd name="connsiteY7253" fmla="*/ 1214650 h 6479439"/>
              <a:gd name="connsiteX7254" fmla="*/ 2389087 w 9586368"/>
              <a:gd name="connsiteY7254" fmla="*/ 1210610 h 6479439"/>
              <a:gd name="connsiteX7255" fmla="*/ 2389087 w 9586368"/>
              <a:gd name="connsiteY7255" fmla="*/ 1200740 h 6479439"/>
              <a:gd name="connsiteX7256" fmla="*/ 4546929 w 9586368"/>
              <a:gd name="connsiteY7256" fmla="*/ 1196689 h 6479439"/>
              <a:gd name="connsiteX7257" fmla="*/ 4556840 w 9586368"/>
              <a:gd name="connsiteY7257" fmla="*/ 1196689 h 6479439"/>
              <a:gd name="connsiteX7258" fmla="*/ 4560859 w 9586368"/>
              <a:gd name="connsiteY7258" fmla="*/ 1200726 h 6479439"/>
              <a:gd name="connsiteX7259" fmla="*/ 4560859 w 9586368"/>
              <a:gd name="connsiteY7259" fmla="*/ 1210598 h 6479439"/>
              <a:gd name="connsiteX7260" fmla="*/ 4556840 w 9586368"/>
              <a:gd name="connsiteY7260" fmla="*/ 1214637 h 6479439"/>
              <a:gd name="connsiteX7261" fmla="*/ 4546929 w 9586368"/>
              <a:gd name="connsiteY7261" fmla="*/ 1214637 h 6479439"/>
              <a:gd name="connsiteX7262" fmla="*/ 4542910 w 9586368"/>
              <a:gd name="connsiteY7262" fmla="*/ 1210598 h 6479439"/>
              <a:gd name="connsiteX7263" fmla="*/ 4542910 w 9586368"/>
              <a:gd name="connsiteY7263" fmla="*/ 1200726 h 6479439"/>
              <a:gd name="connsiteX7264" fmla="*/ 4307612 w 9586368"/>
              <a:gd name="connsiteY7264" fmla="*/ 1196689 h 6479439"/>
              <a:gd name="connsiteX7265" fmla="*/ 4317523 w 9586368"/>
              <a:gd name="connsiteY7265" fmla="*/ 1196689 h 6479439"/>
              <a:gd name="connsiteX7266" fmla="*/ 4321543 w 9586368"/>
              <a:gd name="connsiteY7266" fmla="*/ 1200726 h 6479439"/>
              <a:gd name="connsiteX7267" fmla="*/ 4321543 w 9586368"/>
              <a:gd name="connsiteY7267" fmla="*/ 1210598 h 6479439"/>
              <a:gd name="connsiteX7268" fmla="*/ 4317523 w 9586368"/>
              <a:gd name="connsiteY7268" fmla="*/ 1214637 h 6479439"/>
              <a:gd name="connsiteX7269" fmla="*/ 4307612 w 9586368"/>
              <a:gd name="connsiteY7269" fmla="*/ 1214637 h 6479439"/>
              <a:gd name="connsiteX7270" fmla="*/ 4303595 w 9586368"/>
              <a:gd name="connsiteY7270" fmla="*/ 1210598 h 6479439"/>
              <a:gd name="connsiteX7271" fmla="*/ 4303595 w 9586368"/>
              <a:gd name="connsiteY7271" fmla="*/ 1200726 h 6479439"/>
              <a:gd name="connsiteX7272" fmla="*/ 4068297 w 9586368"/>
              <a:gd name="connsiteY7272" fmla="*/ 1196689 h 6479439"/>
              <a:gd name="connsiteX7273" fmla="*/ 4078210 w 9586368"/>
              <a:gd name="connsiteY7273" fmla="*/ 1196689 h 6479439"/>
              <a:gd name="connsiteX7274" fmla="*/ 4082229 w 9586368"/>
              <a:gd name="connsiteY7274" fmla="*/ 1200726 h 6479439"/>
              <a:gd name="connsiteX7275" fmla="*/ 4082229 w 9586368"/>
              <a:gd name="connsiteY7275" fmla="*/ 1210598 h 6479439"/>
              <a:gd name="connsiteX7276" fmla="*/ 4078210 w 9586368"/>
              <a:gd name="connsiteY7276" fmla="*/ 1214637 h 6479439"/>
              <a:gd name="connsiteX7277" fmla="*/ 4068297 w 9586368"/>
              <a:gd name="connsiteY7277" fmla="*/ 1214637 h 6479439"/>
              <a:gd name="connsiteX7278" fmla="*/ 4064278 w 9586368"/>
              <a:gd name="connsiteY7278" fmla="*/ 1210598 h 6479439"/>
              <a:gd name="connsiteX7279" fmla="*/ 4064278 w 9586368"/>
              <a:gd name="connsiteY7279" fmla="*/ 1200726 h 6479439"/>
              <a:gd name="connsiteX7280" fmla="*/ 3828990 w 9586368"/>
              <a:gd name="connsiteY7280" fmla="*/ 1196689 h 6479439"/>
              <a:gd name="connsiteX7281" fmla="*/ 3838899 w 9586368"/>
              <a:gd name="connsiteY7281" fmla="*/ 1196689 h 6479439"/>
              <a:gd name="connsiteX7282" fmla="*/ 3842917 w 9586368"/>
              <a:gd name="connsiteY7282" fmla="*/ 1200728 h 6479439"/>
              <a:gd name="connsiteX7283" fmla="*/ 3842917 w 9586368"/>
              <a:gd name="connsiteY7283" fmla="*/ 1210598 h 6479439"/>
              <a:gd name="connsiteX7284" fmla="*/ 3838899 w 9586368"/>
              <a:gd name="connsiteY7284" fmla="*/ 1214637 h 6479439"/>
              <a:gd name="connsiteX7285" fmla="*/ 3828990 w 9586368"/>
              <a:gd name="connsiteY7285" fmla="*/ 1214637 h 6479439"/>
              <a:gd name="connsiteX7286" fmla="*/ 3824971 w 9586368"/>
              <a:gd name="connsiteY7286" fmla="*/ 1210598 h 6479439"/>
              <a:gd name="connsiteX7287" fmla="*/ 3824971 w 9586368"/>
              <a:gd name="connsiteY7287" fmla="*/ 1200728 h 6479439"/>
              <a:gd name="connsiteX7288" fmla="*/ 3589676 w 9586368"/>
              <a:gd name="connsiteY7288" fmla="*/ 1196689 h 6479439"/>
              <a:gd name="connsiteX7289" fmla="*/ 3599585 w 9586368"/>
              <a:gd name="connsiteY7289" fmla="*/ 1196689 h 6479439"/>
              <a:gd name="connsiteX7290" fmla="*/ 3603604 w 9586368"/>
              <a:gd name="connsiteY7290" fmla="*/ 1200728 h 6479439"/>
              <a:gd name="connsiteX7291" fmla="*/ 3603604 w 9586368"/>
              <a:gd name="connsiteY7291" fmla="*/ 1210598 h 6479439"/>
              <a:gd name="connsiteX7292" fmla="*/ 3599585 w 9586368"/>
              <a:gd name="connsiteY7292" fmla="*/ 1214637 h 6479439"/>
              <a:gd name="connsiteX7293" fmla="*/ 3589676 w 9586368"/>
              <a:gd name="connsiteY7293" fmla="*/ 1214637 h 6479439"/>
              <a:gd name="connsiteX7294" fmla="*/ 3585657 w 9586368"/>
              <a:gd name="connsiteY7294" fmla="*/ 1210598 h 6479439"/>
              <a:gd name="connsiteX7295" fmla="*/ 3585657 w 9586368"/>
              <a:gd name="connsiteY7295" fmla="*/ 1200728 h 6479439"/>
              <a:gd name="connsiteX7296" fmla="*/ 5743412 w 9586368"/>
              <a:gd name="connsiteY7296" fmla="*/ 1196676 h 6479439"/>
              <a:gd name="connsiteX7297" fmla="*/ 5753323 w 9586368"/>
              <a:gd name="connsiteY7297" fmla="*/ 1196676 h 6479439"/>
              <a:gd name="connsiteX7298" fmla="*/ 5757342 w 9586368"/>
              <a:gd name="connsiteY7298" fmla="*/ 1200714 h 6479439"/>
              <a:gd name="connsiteX7299" fmla="*/ 5757342 w 9586368"/>
              <a:gd name="connsiteY7299" fmla="*/ 1210586 h 6479439"/>
              <a:gd name="connsiteX7300" fmla="*/ 5753323 w 9586368"/>
              <a:gd name="connsiteY7300" fmla="*/ 1214625 h 6479439"/>
              <a:gd name="connsiteX7301" fmla="*/ 5743412 w 9586368"/>
              <a:gd name="connsiteY7301" fmla="*/ 1214625 h 6479439"/>
              <a:gd name="connsiteX7302" fmla="*/ 5739393 w 9586368"/>
              <a:gd name="connsiteY7302" fmla="*/ 1210586 h 6479439"/>
              <a:gd name="connsiteX7303" fmla="*/ 5739393 w 9586368"/>
              <a:gd name="connsiteY7303" fmla="*/ 1200714 h 6479439"/>
              <a:gd name="connsiteX7304" fmla="*/ 5504099 w 9586368"/>
              <a:gd name="connsiteY7304" fmla="*/ 1196676 h 6479439"/>
              <a:gd name="connsiteX7305" fmla="*/ 5514010 w 9586368"/>
              <a:gd name="connsiteY7305" fmla="*/ 1196676 h 6479439"/>
              <a:gd name="connsiteX7306" fmla="*/ 5518029 w 9586368"/>
              <a:gd name="connsiteY7306" fmla="*/ 1200714 h 6479439"/>
              <a:gd name="connsiteX7307" fmla="*/ 5518029 w 9586368"/>
              <a:gd name="connsiteY7307" fmla="*/ 1210586 h 6479439"/>
              <a:gd name="connsiteX7308" fmla="*/ 5514010 w 9586368"/>
              <a:gd name="connsiteY7308" fmla="*/ 1214625 h 6479439"/>
              <a:gd name="connsiteX7309" fmla="*/ 5504099 w 9586368"/>
              <a:gd name="connsiteY7309" fmla="*/ 1214625 h 6479439"/>
              <a:gd name="connsiteX7310" fmla="*/ 5500080 w 9586368"/>
              <a:gd name="connsiteY7310" fmla="*/ 1210586 h 6479439"/>
              <a:gd name="connsiteX7311" fmla="*/ 5500080 w 9586368"/>
              <a:gd name="connsiteY7311" fmla="*/ 1200714 h 6479439"/>
              <a:gd name="connsiteX7312" fmla="*/ 5264784 w 9586368"/>
              <a:gd name="connsiteY7312" fmla="*/ 1196676 h 6479439"/>
              <a:gd name="connsiteX7313" fmla="*/ 5274694 w 9586368"/>
              <a:gd name="connsiteY7313" fmla="*/ 1196676 h 6479439"/>
              <a:gd name="connsiteX7314" fmla="*/ 5278713 w 9586368"/>
              <a:gd name="connsiteY7314" fmla="*/ 1200714 h 6479439"/>
              <a:gd name="connsiteX7315" fmla="*/ 5278713 w 9586368"/>
              <a:gd name="connsiteY7315" fmla="*/ 1210586 h 6479439"/>
              <a:gd name="connsiteX7316" fmla="*/ 5274694 w 9586368"/>
              <a:gd name="connsiteY7316" fmla="*/ 1214625 h 6479439"/>
              <a:gd name="connsiteX7317" fmla="*/ 5264784 w 9586368"/>
              <a:gd name="connsiteY7317" fmla="*/ 1214625 h 6479439"/>
              <a:gd name="connsiteX7318" fmla="*/ 5260765 w 9586368"/>
              <a:gd name="connsiteY7318" fmla="*/ 1210586 h 6479439"/>
              <a:gd name="connsiteX7319" fmla="*/ 5260765 w 9586368"/>
              <a:gd name="connsiteY7319" fmla="*/ 1200714 h 6479439"/>
              <a:gd name="connsiteX7320" fmla="*/ 5025470 w 9586368"/>
              <a:gd name="connsiteY7320" fmla="*/ 1196676 h 6479439"/>
              <a:gd name="connsiteX7321" fmla="*/ 5035381 w 9586368"/>
              <a:gd name="connsiteY7321" fmla="*/ 1196676 h 6479439"/>
              <a:gd name="connsiteX7322" fmla="*/ 5039400 w 9586368"/>
              <a:gd name="connsiteY7322" fmla="*/ 1200715 h 6479439"/>
              <a:gd name="connsiteX7323" fmla="*/ 5039400 w 9586368"/>
              <a:gd name="connsiteY7323" fmla="*/ 1210586 h 6479439"/>
              <a:gd name="connsiteX7324" fmla="*/ 5035381 w 9586368"/>
              <a:gd name="connsiteY7324" fmla="*/ 1214625 h 6479439"/>
              <a:gd name="connsiteX7325" fmla="*/ 5025470 w 9586368"/>
              <a:gd name="connsiteY7325" fmla="*/ 1214625 h 6479439"/>
              <a:gd name="connsiteX7326" fmla="*/ 5021451 w 9586368"/>
              <a:gd name="connsiteY7326" fmla="*/ 1210586 h 6479439"/>
              <a:gd name="connsiteX7327" fmla="*/ 5021451 w 9586368"/>
              <a:gd name="connsiteY7327" fmla="*/ 1200715 h 6479439"/>
              <a:gd name="connsiteX7328" fmla="*/ 4786241 w 9586368"/>
              <a:gd name="connsiteY7328" fmla="*/ 1196676 h 6479439"/>
              <a:gd name="connsiteX7329" fmla="*/ 4796152 w 9586368"/>
              <a:gd name="connsiteY7329" fmla="*/ 1196676 h 6479439"/>
              <a:gd name="connsiteX7330" fmla="*/ 4800171 w 9586368"/>
              <a:gd name="connsiteY7330" fmla="*/ 1200715 h 6479439"/>
              <a:gd name="connsiteX7331" fmla="*/ 4800171 w 9586368"/>
              <a:gd name="connsiteY7331" fmla="*/ 1210586 h 6479439"/>
              <a:gd name="connsiteX7332" fmla="*/ 4796152 w 9586368"/>
              <a:gd name="connsiteY7332" fmla="*/ 1214625 h 6479439"/>
              <a:gd name="connsiteX7333" fmla="*/ 4786241 w 9586368"/>
              <a:gd name="connsiteY7333" fmla="*/ 1214625 h 6479439"/>
              <a:gd name="connsiteX7334" fmla="*/ 4782224 w 9586368"/>
              <a:gd name="connsiteY7334" fmla="*/ 1210586 h 6479439"/>
              <a:gd name="connsiteX7335" fmla="*/ 4782224 w 9586368"/>
              <a:gd name="connsiteY7335" fmla="*/ 1200715 h 6479439"/>
              <a:gd name="connsiteX7336" fmla="*/ 6222042 w 9586368"/>
              <a:gd name="connsiteY7336" fmla="*/ 1196664 h 6479439"/>
              <a:gd name="connsiteX7337" fmla="*/ 6231952 w 9586368"/>
              <a:gd name="connsiteY7337" fmla="*/ 1196664 h 6479439"/>
              <a:gd name="connsiteX7338" fmla="*/ 6235971 w 9586368"/>
              <a:gd name="connsiteY7338" fmla="*/ 1200703 h 6479439"/>
              <a:gd name="connsiteX7339" fmla="*/ 6235971 w 9586368"/>
              <a:gd name="connsiteY7339" fmla="*/ 1210573 h 6479439"/>
              <a:gd name="connsiteX7340" fmla="*/ 6231952 w 9586368"/>
              <a:gd name="connsiteY7340" fmla="*/ 1214612 h 6479439"/>
              <a:gd name="connsiteX7341" fmla="*/ 6222042 w 9586368"/>
              <a:gd name="connsiteY7341" fmla="*/ 1214612 h 6479439"/>
              <a:gd name="connsiteX7342" fmla="*/ 6218023 w 9586368"/>
              <a:gd name="connsiteY7342" fmla="*/ 1210573 h 6479439"/>
              <a:gd name="connsiteX7343" fmla="*/ 6218023 w 9586368"/>
              <a:gd name="connsiteY7343" fmla="*/ 1200703 h 6479439"/>
              <a:gd name="connsiteX7344" fmla="*/ 5982729 w 9586368"/>
              <a:gd name="connsiteY7344" fmla="*/ 1196664 h 6479439"/>
              <a:gd name="connsiteX7345" fmla="*/ 5992639 w 9586368"/>
              <a:gd name="connsiteY7345" fmla="*/ 1196664 h 6479439"/>
              <a:gd name="connsiteX7346" fmla="*/ 5996658 w 9586368"/>
              <a:gd name="connsiteY7346" fmla="*/ 1200703 h 6479439"/>
              <a:gd name="connsiteX7347" fmla="*/ 5996658 w 9586368"/>
              <a:gd name="connsiteY7347" fmla="*/ 1210573 h 6479439"/>
              <a:gd name="connsiteX7348" fmla="*/ 5992639 w 9586368"/>
              <a:gd name="connsiteY7348" fmla="*/ 1214612 h 6479439"/>
              <a:gd name="connsiteX7349" fmla="*/ 5982729 w 9586368"/>
              <a:gd name="connsiteY7349" fmla="*/ 1214612 h 6479439"/>
              <a:gd name="connsiteX7350" fmla="*/ 5978710 w 9586368"/>
              <a:gd name="connsiteY7350" fmla="*/ 1210573 h 6479439"/>
              <a:gd name="connsiteX7351" fmla="*/ 5978710 w 9586368"/>
              <a:gd name="connsiteY7351" fmla="*/ 1200703 h 6479439"/>
              <a:gd name="connsiteX7352" fmla="*/ 6939983 w 9586368"/>
              <a:gd name="connsiteY7352" fmla="*/ 1196664 h 6479439"/>
              <a:gd name="connsiteX7353" fmla="*/ 6949894 w 9586368"/>
              <a:gd name="connsiteY7353" fmla="*/ 1196664 h 6479439"/>
              <a:gd name="connsiteX7354" fmla="*/ 6953913 w 9586368"/>
              <a:gd name="connsiteY7354" fmla="*/ 1200702 h 6479439"/>
              <a:gd name="connsiteX7355" fmla="*/ 6953913 w 9586368"/>
              <a:gd name="connsiteY7355" fmla="*/ 1210573 h 6479439"/>
              <a:gd name="connsiteX7356" fmla="*/ 6949894 w 9586368"/>
              <a:gd name="connsiteY7356" fmla="*/ 1214612 h 6479439"/>
              <a:gd name="connsiteX7357" fmla="*/ 6939983 w 9586368"/>
              <a:gd name="connsiteY7357" fmla="*/ 1214612 h 6479439"/>
              <a:gd name="connsiteX7358" fmla="*/ 6935964 w 9586368"/>
              <a:gd name="connsiteY7358" fmla="*/ 1210573 h 6479439"/>
              <a:gd name="connsiteX7359" fmla="*/ 6935964 w 9586368"/>
              <a:gd name="connsiteY7359" fmla="*/ 1200702 h 6479439"/>
              <a:gd name="connsiteX7360" fmla="*/ 6700670 w 9586368"/>
              <a:gd name="connsiteY7360" fmla="*/ 1196664 h 6479439"/>
              <a:gd name="connsiteX7361" fmla="*/ 6710581 w 9586368"/>
              <a:gd name="connsiteY7361" fmla="*/ 1196664 h 6479439"/>
              <a:gd name="connsiteX7362" fmla="*/ 6714600 w 9586368"/>
              <a:gd name="connsiteY7362" fmla="*/ 1200702 h 6479439"/>
              <a:gd name="connsiteX7363" fmla="*/ 6714600 w 9586368"/>
              <a:gd name="connsiteY7363" fmla="*/ 1210573 h 6479439"/>
              <a:gd name="connsiteX7364" fmla="*/ 6710581 w 9586368"/>
              <a:gd name="connsiteY7364" fmla="*/ 1214612 h 6479439"/>
              <a:gd name="connsiteX7365" fmla="*/ 6700670 w 9586368"/>
              <a:gd name="connsiteY7365" fmla="*/ 1214612 h 6479439"/>
              <a:gd name="connsiteX7366" fmla="*/ 6696651 w 9586368"/>
              <a:gd name="connsiteY7366" fmla="*/ 1210573 h 6479439"/>
              <a:gd name="connsiteX7367" fmla="*/ 6696651 w 9586368"/>
              <a:gd name="connsiteY7367" fmla="*/ 1200702 h 6479439"/>
              <a:gd name="connsiteX7368" fmla="*/ 6461356 w 9586368"/>
              <a:gd name="connsiteY7368" fmla="*/ 1196664 h 6479439"/>
              <a:gd name="connsiteX7369" fmla="*/ 6471266 w 9586368"/>
              <a:gd name="connsiteY7369" fmla="*/ 1196664 h 6479439"/>
              <a:gd name="connsiteX7370" fmla="*/ 6475285 w 9586368"/>
              <a:gd name="connsiteY7370" fmla="*/ 1200702 h 6479439"/>
              <a:gd name="connsiteX7371" fmla="*/ 6475285 w 9586368"/>
              <a:gd name="connsiteY7371" fmla="*/ 1210573 h 6479439"/>
              <a:gd name="connsiteX7372" fmla="*/ 6471266 w 9586368"/>
              <a:gd name="connsiteY7372" fmla="*/ 1214612 h 6479439"/>
              <a:gd name="connsiteX7373" fmla="*/ 6461356 w 9586368"/>
              <a:gd name="connsiteY7373" fmla="*/ 1214612 h 6479439"/>
              <a:gd name="connsiteX7374" fmla="*/ 6457337 w 9586368"/>
              <a:gd name="connsiteY7374" fmla="*/ 1210573 h 6479439"/>
              <a:gd name="connsiteX7375" fmla="*/ 6457337 w 9586368"/>
              <a:gd name="connsiteY7375" fmla="*/ 1200702 h 6479439"/>
              <a:gd name="connsiteX7376" fmla="*/ 7418611 w 9586368"/>
              <a:gd name="connsiteY7376" fmla="*/ 1196652 h 6479439"/>
              <a:gd name="connsiteX7377" fmla="*/ 7428521 w 9586368"/>
              <a:gd name="connsiteY7377" fmla="*/ 1196652 h 6479439"/>
              <a:gd name="connsiteX7378" fmla="*/ 7432540 w 9586368"/>
              <a:gd name="connsiteY7378" fmla="*/ 1200690 h 6479439"/>
              <a:gd name="connsiteX7379" fmla="*/ 7432540 w 9586368"/>
              <a:gd name="connsiteY7379" fmla="*/ 1210561 h 6479439"/>
              <a:gd name="connsiteX7380" fmla="*/ 7428521 w 9586368"/>
              <a:gd name="connsiteY7380" fmla="*/ 1214600 h 6479439"/>
              <a:gd name="connsiteX7381" fmla="*/ 7418611 w 9586368"/>
              <a:gd name="connsiteY7381" fmla="*/ 1214600 h 6479439"/>
              <a:gd name="connsiteX7382" fmla="*/ 7414592 w 9586368"/>
              <a:gd name="connsiteY7382" fmla="*/ 1210561 h 6479439"/>
              <a:gd name="connsiteX7383" fmla="*/ 7414592 w 9586368"/>
              <a:gd name="connsiteY7383" fmla="*/ 1200690 h 6479439"/>
              <a:gd name="connsiteX7384" fmla="*/ 7179298 w 9586368"/>
              <a:gd name="connsiteY7384" fmla="*/ 1196652 h 6479439"/>
              <a:gd name="connsiteX7385" fmla="*/ 7189209 w 9586368"/>
              <a:gd name="connsiteY7385" fmla="*/ 1196652 h 6479439"/>
              <a:gd name="connsiteX7386" fmla="*/ 7193228 w 9586368"/>
              <a:gd name="connsiteY7386" fmla="*/ 1200690 h 6479439"/>
              <a:gd name="connsiteX7387" fmla="*/ 7193228 w 9586368"/>
              <a:gd name="connsiteY7387" fmla="*/ 1210561 h 6479439"/>
              <a:gd name="connsiteX7388" fmla="*/ 7189209 w 9586368"/>
              <a:gd name="connsiteY7388" fmla="*/ 1214600 h 6479439"/>
              <a:gd name="connsiteX7389" fmla="*/ 7179298 w 9586368"/>
              <a:gd name="connsiteY7389" fmla="*/ 1214600 h 6479439"/>
              <a:gd name="connsiteX7390" fmla="*/ 7175279 w 9586368"/>
              <a:gd name="connsiteY7390" fmla="*/ 1210561 h 6479439"/>
              <a:gd name="connsiteX7391" fmla="*/ 7175279 w 9586368"/>
              <a:gd name="connsiteY7391" fmla="*/ 1200690 h 6479439"/>
              <a:gd name="connsiteX7392" fmla="*/ 8136553 w 9586368"/>
              <a:gd name="connsiteY7392" fmla="*/ 1196651 h 6479439"/>
              <a:gd name="connsiteX7393" fmla="*/ 8146464 w 9586368"/>
              <a:gd name="connsiteY7393" fmla="*/ 1196651 h 6479439"/>
              <a:gd name="connsiteX7394" fmla="*/ 8150483 w 9586368"/>
              <a:gd name="connsiteY7394" fmla="*/ 1200689 h 6479439"/>
              <a:gd name="connsiteX7395" fmla="*/ 8150483 w 9586368"/>
              <a:gd name="connsiteY7395" fmla="*/ 1210561 h 6479439"/>
              <a:gd name="connsiteX7396" fmla="*/ 8146464 w 9586368"/>
              <a:gd name="connsiteY7396" fmla="*/ 1214600 h 6479439"/>
              <a:gd name="connsiteX7397" fmla="*/ 8136553 w 9586368"/>
              <a:gd name="connsiteY7397" fmla="*/ 1214600 h 6479439"/>
              <a:gd name="connsiteX7398" fmla="*/ 8132534 w 9586368"/>
              <a:gd name="connsiteY7398" fmla="*/ 1210561 h 6479439"/>
              <a:gd name="connsiteX7399" fmla="*/ 8132534 w 9586368"/>
              <a:gd name="connsiteY7399" fmla="*/ 1200689 h 6479439"/>
              <a:gd name="connsiteX7400" fmla="*/ 7897241 w 9586368"/>
              <a:gd name="connsiteY7400" fmla="*/ 1196651 h 6479439"/>
              <a:gd name="connsiteX7401" fmla="*/ 7907151 w 9586368"/>
              <a:gd name="connsiteY7401" fmla="*/ 1196651 h 6479439"/>
              <a:gd name="connsiteX7402" fmla="*/ 7911170 w 9586368"/>
              <a:gd name="connsiteY7402" fmla="*/ 1200689 h 6479439"/>
              <a:gd name="connsiteX7403" fmla="*/ 7911170 w 9586368"/>
              <a:gd name="connsiteY7403" fmla="*/ 1210561 h 6479439"/>
              <a:gd name="connsiteX7404" fmla="*/ 7907151 w 9586368"/>
              <a:gd name="connsiteY7404" fmla="*/ 1214600 h 6479439"/>
              <a:gd name="connsiteX7405" fmla="*/ 7897241 w 9586368"/>
              <a:gd name="connsiteY7405" fmla="*/ 1214600 h 6479439"/>
              <a:gd name="connsiteX7406" fmla="*/ 7893222 w 9586368"/>
              <a:gd name="connsiteY7406" fmla="*/ 1210561 h 6479439"/>
              <a:gd name="connsiteX7407" fmla="*/ 7893222 w 9586368"/>
              <a:gd name="connsiteY7407" fmla="*/ 1200689 h 6479439"/>
              <a:gd name="connsiteX7408" fmla="*/ 7657926 w 9586368"/>
              <a:gd name="connsiteY7408" fmla="*/ 1196651 h 6479439"/>
              <a:gd name="connsiteX7409" fmla="*/ 7667836 w 9586368"/>
              <a:gd name="connsiteY7409" fmla="*/ 1196651 h 6479439"/>
              <a:gd name="connsiteX7410" fmla="*/ 7671855 w 9586368"/>
              <a:gd name="connsiteY7410" fmla="*/ 1200689 h 6479439"/>
              <a:gd name="connsiteX7411" fmla="*/ 7671855 w 9586368"/>
              <a:gd name="connsiteY7411" fmla="*/ 1210561 h 6479439"/>
              <a:gd name="connsiteX7412" fmla="*/ 7667836 w 9586368"/>
              <a:gd name="connsiteY7412" fmla="*/ 1214600 h 6479439"/>
              <a:gd name="connsiteX7413" fmla="*/ 7657926 w 9586368"/>
              <a:gd name="connsiteY7413" fmla="*/ 1214600 h 6479439"/>
              <a:gd name="connsiteX7414" fmla="*/ 7653906 w 9586368"/>
              <a:gd name="connsiteY7414" fmla="*/ 1210561 h 6479439"/>
              <a:gd name="connsiteX7415" fmla="*/ 7653906 w 9586368"/>
              <a:gd name="connsiteY7415" fmla="*/ 1200689 h 6479439"/>
              <a:gd name="connsiteX7416" fmla="*/ 8615184 w 9586368"/>
              <a:gd name="connsiteY7416" fmla="*/ 1196639 h 6479439"/>
              <a:gd name="connsiteX7417" fmla="*/ 8625095 w 9586368"/>
              <a:gd name="connsiteY7417" fmla="*/ 1196639 h 6479439"/>
              <a:gd name="connsiteX7418" fmla="*/ 8629114 w 9586368"/>
              <a:gd name="connsiteY7418" fmla="*/ 1200678 h 6479439"/>
              <a:gd name="connsiteX7419" fmla="*/ 8629114 w 9586368"/>
              <a:gd name="connsiteY7419" fmla="*/ 1210548 h 6479439"/>
              <a:gd name="connsiteX7420" fmla="*/ 8625095 w 9586368"/>
              <a:gd name="connsiteY7420" fmla="*/ 1214587 h 6479439"/>
              <a:gd name="connsiteX7421" fmla="*/ 8615184 w 9586368"/>
              <a:gd name="connsiteY7421" fmla="*/ 1214587 h 6479439"/>
              <a:gd name="connsiteX7422" fmla="*/ 8611165 w 9586368"/>
              <a:gd name="connsiteY7422" fmla="*/ 1210548 h 6479439"/>
              <a:gd name="connsiteX7423" fmla="*/ 8611165 w 9586368"/>
              <a:gd name="connsiteY7423" fmla="*/ 1200678 h 6479439"/>
              <a:gd name="connsiteX7424" fmla="*/ 8375869 w 9586368"/>
              <a:gd name="connsiteY7424" fmla="*/ 1196639 h 6479439"/>
              <a:gd name="connsiteX7425" fmla="*/ 8385779 w 9586368"/>
              <a:gd name="connsiteY7425" fmla="*/ 1196639 h 6479439"/>
              <a:gd name="connsiteX7426" fmla="*/ 8389799 w 9586368"/>
              <a:gd name="connsiteY7426" fmla="*/ 1200678 h 6479439"/>
              <a:gd name="connsiteX7427" fmla="*/ 8389799 w 9586368"/>
              <a:gd name="connsiteY7427" fmla="*/ 1210549 h 6479439"/>
              <a:gd name="connsiteX7428" fmla="*/ 8385779 w 9586368"/>
              <a:gd name="connsiteY7428" fmla="*/ 1214587 h 6479439"/>
              <a:gd name="connsiteX7429" fmla="*/ 8375869 w 9586368"/>
              <a:gd name="connsiteY7429" fmla="*/ 1214587 h 6479439"/>
              <a:gd name="connsiteX7430" fmla="*/ 8371850 w 9586368"/>
              <a:gd name="connsiteY7430" fmla="*/ 1210549 h 6479439"/>
              <a:gd name="connsiteX7431" fmla="*/ 8371850 w 9586368"/>
              <a:gd name="connsiteY7431" fmla="*/ 1200678 h 6479439"/>
              <a:gd name="connsiteX7432" fmla="*/ 9333125 w 9586368"/>
              <a:gd name="connsiteY7432" fmla="*/ 1196639 h 6479439"/>
              <a:gd name="connsiteX7433" fmla="*/ 9343036 w 9586368"/>
              <a:gd name="connsiteY7433" fmla="*/ 1196639 h 6479439"/>
              <a:gd name="connsiteX7434" fmla="*/ 9347055 w 9586368"/>
              <a:gd name="connsiteY7434" fmla="*/ 1200677 h 6479439"/>
              <a:gd name="connsiteX7435" fmla="*/ 9347055 w 9586368"/>
              <a:gd name="connsiteY7435" fmla="*/ 1210548 h 6479439"/>
              <a:gd name="connsiteX7436" fmla="*/ 9343036 w 9586368"/>
              <a:gd name="connsiteY7436" fmla="*/ 1214587 h 6479439"/>
              <a:gd name="connsiteX7437" fmla="*/ 9333125 w 9586368"/>
              <a:gd name="connsiteY7437" fmla="*/ 1214587 h 6479439"/>
              <a:gd name="connsiteX7438" fmla="*/ 9329106 w 9586368"/>
              <a:gd name="connsiteY7438" fmla="*/ 1210548 h 6479439"/>
              <a:gd name="connsiteX7439" fmla="*/ 9329106 w 9586368"/>
              <a:gd name="connsiteY7439" fmla="*/ 1200677 h 6479439"/>
              <a:gd name="connsiteX7440" fmla="*/ 9093811 w 9586368"/>
              <a:gd name="connsiteY7440" fmla="*/ 1196639 h 6479439"/>
              <a:gd name="connsiteX7441" fmla="*/ 9103722 w 9586368"/>
              <a:gd name="connsiteY7441" fmla="*/ 1196639 h 6479439"/>
              <a:gd name="connsiteX7442" fmla="*/ 9107741 w 9586368"/>
              <a:gd name="connsiteY7442" fmla="*/ 1200677 h 6479439"/>
              <a:gd name="connsiteX7443" fmla="*/ 9107741 w 9586368"/>
              <a:gd name="connsiteY7443" fmla="*/ 1210548 h 6479439"/>
              <a:gd name="connsiteX7444" fmla="*/ 9103722 w 9586368"/>
              <a:gd name="connsiteY7444" fmla="*/ 1214587 h 6479439"/>
              <a:gd name="connsiteX7445" fmla="*/ 9093811 w 9586368"/>
              <a:gd name="connsiteY7445" fmla="*/ 1214587 h 6479439"/>
              <a:gd name="connsiteX7446" fmla="*/ 9089792 w 9586368"/>
              <a:gd name="connsiteY7446" fmla="*/ 1210548 h 6479439"/>
              <a:gd name="connsiteX7447" fmla="*/ 9089792 w 9586368"/>
              <a:gd name="connsiteY7447" fmla="*/ 1200677 h 6479439"/>
              <a:gd name="connsiteX7448" fmla="*/ 8854496 w 9586368"/>
              <a:gd name="connsiteY7448" fmla="*/ 1196639 h 6479439"/>
              <a:gd name="connsiteX7449" fmla="*/ 8864407 w 9586368"/>
              <a:gd name="connsiteY7449" fmla="*/ 1196639 h 6479439"/>
              <a:gd name="connsiteX7450" fmla="*/ 8868426 w 9586368"/>
              <a:gd name="connsiteY7450" fmla="*/ 1200677 h 6479439"/>
              <a:gd name="connsiteX7451" fmla="*/ 8868426 w 9586368"/>
              <a:gd name="connsiteY7451" fmla="*/ 1210548 h 6479439"/>
              <a:gd name="connsiteX7452" fmla="*/ 8864407 w 9586368"/>
              <a:gd name="connsiteY7452" fmla="*/ 1214587 h 6479439"/>
              <a:gd name="connsiteX7453" fmla="*/ 8854496 w 9586368"/>
              <a:gd name="connsiteY7453" fmla="*/ 1214587 h 6479439"/>
              <a:gd name="connsiteX7454" fmla="*/ 8850477 w 9586368"/>
              <a:gd name="connsiteY7454" fmla="*/ 1210548 h 6479439"/>
              <a:gd name="connsiteX7455" fmla="*/ 8850477 w 9586368"/>
              <a:gd name="connsiteY7455" fmla="*/ 1200677 h 6479439"/>
              <a:gd name="connsiteX7456" fmla="*/ 9572438 w 9586368"/>
              <a:gd name="connsiteY7456" fmla="*/ 1196627 h 6479439"/>
              <a:gd name="connsiteX7457" fmla="*/ 9582349 w 9586368"/>
              <a:gd name="connsiteY7457" fmla="*/ 1196627 h 6479439"/>
              <a:gd name="connsiteX7458" fmla="*/ 9586368 w 9586368"/>
              <a:gd name="connsiteY7458" fmla="*/ 1200665 h 6479439"/>
              <a:gd name="connsiteX7459" fmla="*/ 9586368 w 9586368"/>
              <a:gd name="connsiteY7459" fmla="*/ 1210536 h 6479439"/>
              <a:gd name="connsiteX7460" fmla="*/ 9582349 w 9586368"/>
              <a:gd name="connsiteY7460" fmla="*/ 1214575 h 6479439"/>
              <a:gd name="connsiteX7461" fmla="*/ 9572438 w 9586368"/>
              <a:gd name="connsiteY7461" fmla="*/ 1214575 h 6479439"/>
              <a:gd name="connsiteX7462" fmla="*/ 9568419 w 9586368"/>
              <a:gd name="connsiteY7462" fmla="*/ 1210536 h 6479439"/>
              <a:gd name="connsiteX7463" fmla="*/ 9568419 w 9586368"/>
              <a:gd name="connsiteY7463" fmla="*/ 1200665 h 6479439"/>
              <a:gd name="connsiteX7464" fmla="*/ 4035 w 9586368"/>
              <a:gd name="connsiteY7464" fmla="*/ 1196600 h 6479439"/>
              <a:gd name="connsiteX7465" fmla="*/ 13945 w 9586368"/>
              <a:gd name="connsiteY7465" fmla="*/ 1196600 h 6479439"/>
              <a:gd name="connsiteX7466" fmla="*/ 17964 w 9586368"/>
              <a:gd name="connsiteY7466" fmla="*/ 1200638 h 6479439"/>
              <a:gd name="connsiteX7467" fmla="*/ 17964 w 9586368"/>
              <a:gd name="connsiteY7467" fmla="*/ 1210509 h 6479439"/>
              <a:gd name="connsiteX7468" fmla="*/ 13945 w 9586368"/>
              <a:gd name="connsiteY7468" fmla="*/ 1214548 h 6479439"/>
              <a:gd name="connsiteX7469" fmla="*/ 4035 w 9586368"/>
              <a:gd name="connsiteY7469" fmla="*/ 1214548 h 6479439"/>
              <a:gd name="connsiteX7470" fmla="*/ 16 w 9586368"/>
              <a:gd name="connsiteY7470" fmla="*/ 1210509 h 6479439"/>
              <a:gd name="connsiteX7471" fmla="*/ 16 w 9586368"/>
              <a:gd name="connsiteY7471" fmla="*/ 1200638 h 6479439"/>
              <a:gd name="connsiteX7472" fmla="*/ 721974 w 9586368"/>
              <a:gd name="connsiteY7472" fmla="*/ 1196599 h 6479439"/>
              <a:gd name="connsiteX7473" fmla="*/ 731884 w 9586368"/>
              <a:gd name="connsiteY7473" fmla="*/ 1196599 h 6479439"/>
              <a:gd name="connsiteX7474" fmla="*/ 735903 w 9586368"/>
              <a:gd name="connsiteY7474" fmla="*/ 1200638 h 6479439"/>
              <a:gd name="connsiteX7475" fmla="*/ 735903 w 9586368"/>
              <a:gd name="connsiteY7475" fmla="*/ 1210509 h 6479439"/>
              <a:gd name="connsiteX7476" fmla="*/ 731884 w 9586368"/>
              <a:gd name="connsiteY7476" fmla="*/ 1214547 h 6479439"/>
              <a:gd name="connsiteX7477" fmla="*/ 721974 w 9586368"/>
              <a:gd name="connsiteY7477" fmla="*/ 1214547 h 6479439"/>
              <a:gd name="connsiteX7478" fmla="*/ 717955 w 9586368"/>
              <a:gd name="connsiteY7478" fmla="*/ 1210509 h 6479439"/>
              <a:gd name="connsiteX7479" fmla="*/ 717955 w 9586368"/>
              <a:gd name="connsiteY7479" fmla="*/ 1200638 h 6479439"/>
              <a:gd name="connsiteX7480" fmla="*/ 482661 w 9586368"/>
              <a:gd name="connsiteY7480" fmla="*/ 1196599 h 6479439"/>
              <a:gd name="connsiteX7481" fmla="*/ 492572 w 9586368"/>
              <a:gd name="connsiteY7481" fmla="*/ 1196599 h 6479439"/>
              <a:gd name="connsiteX7482" fmla="*/ 496591 w 9586368"/>
              <a:gd name="connsiteY7482" fmla="*/ 1200638 h 6479439"/>
              <a:gd name="connsiteX7483" fmla="*/ 496591 w 9586368"/>
              <a:gd name="connsiteY7483" fmla="*/ 1210509 h 6479439"/>
              <a:gd name="connsiteX7484" fmla="*/ 492572 w 9586368"/>
              <a:gd name="connsiteY7484" fmla="*/ 1214548 h 6479439"/>
              <a:gd name="connsiteX7485" fmla="*/ 482661 w 9586368"/>
              <a:gd name="connsiteY7485" fmla="*/ 1214548 h 6479439"/>
              <a:gd name="connsiteX7486" fmla="*/ 478642 w 9586368"/>
              <a:gd name="connsiteY7486" fmla="*/ 1210509 h 6479439"/>
              <a:gd name="connsiteX7487" fmla="*/ 478642 w 9586368"/>
              <a:gd name="connsiteY7487" fmla="*/ 1200638 h 6479439"/>
              <a:gd name="connsiteX7488" fmla="*/ 243348 w 9586368"/>
              <a:gd name="connsiteY7488" fmla="*/ 1196599 h 6479439"/>
              <a:gd name="connsiteX7489" fmla="*/ 253258 w 9586368"/>
              <a:gd name="connsiteY7489" fmla="*/ 1196599 h 6479439"/>
              <a:gd name="connsiteX7490" fmla="*/ 257278 w 9586368"/>
              <a:gd name="connsiteY7490" fmla="*/ 1200638 h 6479439"/>
              <a:gd name="connsiteX7491" fmla="*/ 257278 w 9586368"/>
              <a:gd name="connsiteY7491" fmla="*/ 1210509 h 6479439"/>
              <a:gd name="connsiteX7492" fmla="*/ 253258 w 9586368"/>
              <a:gd name="connsiteY7492" fmla="*/ 1214548 h 6479439"/>
              <a:gd name="connsiteX7493" fmla="*/ 243348 w 9586368"/>
              <a:gd name="connsiteY7493" fmla="*/ 1214548 h 6479439"/>
              <a:gd name="connsiteX7494" fmla="*/ 239329 w 9586368"/>
              <a:gd name="connsiteY7494" fmla="*/ 1210509 h 6479439"/>
              <a:gd name="connsiteX7495" fmla="*/ 239329 w 9586368"/>
              <a:gd name="connsiteY7495" fmla="*/ 1200638 h 6479439"/>
              <a:gd name="connsiteX7496" fmla="*/ 1439900 w 9586368"/>
              <a:gd name="connsiteY7496" fmla="*/ 1196589 h 6479439"/>
              <a:gd name="connsiteX7497" fmla="*/ 1449810 w 9586368"/>
              <a:gd name="connsiteY7497" fmla="*/ 1196589 h 6479439"/>
              <a:gd name="connsiteX7498" fmla="*/ 1453829 w 9586368"/>
              <a:gd name="connsiteY7498" fmla="*/ 1200628 h 6479439"/>
              <a:gd name="connsiteX7499" fmla="*/ 1453829 w 9586368"/>
              <a:gd name="connsiteY7499" fmla="*/ 1210498 h 6479439"/>
              <a:gd name="connsiteX7500" fmla="*/ 1449810 w 9586368"/>
              <a:gd name="connsiteY7500" fmla="*/ 1214537 h 6479439"/>
              <a:gd name="connsiteX7501" fmla="*/ 1439900 w 9586368"/>
              <a:gd name="connsiteY7501" fmla="*/ 1214537 h 6479439"/>
              <a:gd name="connsiteX7502" fmla="*/ 1435881 w 9586368"/>
              <a:gd name="connsiteY7502" fmla="*/ 1210498 h 6479439"/>
              <a:gd name="connsiteX7503" fmla="*/ 1435881 w 9586368"/>
              <a:gd name="connsiteY7503" fmla="*/ 1200628 h 6479439"/>
              <a:gd name="connsiteX7504" fmla="*/ 1200584 w 9586368"/>
              <a:gd name="connsiteY7504" fmla="*/ 1196589 h 6479439"/>
              <a:gd name="connsiteX7505" fmla="*/ 1210494 w 9586368"/>
              <a:gd name="connsiteY7505" fmla="*/ 1196589 h 6479439"/>
              <a:gd name="connsiteX7506" fmla="*/ 1214512 w 9586368"/>
              <a:gd name="connsiteY7506" fmla="*/ 1200628 h 6479439"/>
              <a:gd name="connsiteX7507" fmla="*/ 1214512 w 9586368"/>
              <a:gd name="connsiteY7507" fmla="*/ 1210498 h 6479439"/>
              <a:gd name="connsiteX7508" fmla="*/ 1210494 w 9586368"/>
              <a:gd name="connsiteY7508" fmla="*/ 1214537 h 6479439"/>
              <a:gd name="connsiteX7509" fmla="*/ 1200584 w 9586368"/>
              <a:gd name="connsiteY7509" fmla="*/ 1214537 h 6479439"/>
              <a:gd name="connsiteX7510" fmla="*/ 1196565 w 9586368"/>
              <a:gd name="connsiteY7510" fmla="*/ 1210498 h 6479439"/>
              <a:gd name="connsiteX7511" fmla="*/ 1196565 w 9586368"/>
              <a:gd name="connsiteY7511" fmla="*/ 1200628 h 6479439"/>
              <a:gd name="connsiteX7512" fmla="*/ 961271 w 9586368"/>
              <a:gd name="connsiteY7512" fmla="*/ 1196589 h 6479439"/>
              <a:gd name="connsiteX7513" fmla="*/ 971181 w 9586368"/>
              <a:gd name="connsiteY7513" fmla="*/ 1196589 h 6479439"/>
              <a:gd name="connsiteX7514" fmla="*/ 975200 w 9586368"/>
              <a:gd name="connsiteY7514" fmla="*/ 1200628 h 6479439"/>
              <a:gd name="connsiteX7515" fmla="*/ 975200 w 9586368"/>
              <a:gd name="connsiteY7515" fmla="*/ 1210499 h 6479439"/>
              <a:gd name="connsiteX7516" fmla="*/ 971181 w 9586368"/>
              <a:gd name="connsiteY7516" fmla="*/ 1214537 h 6479439"/>
              <a:gd name="connsiteX7517" fmla="*/ 961271 w 9586368"/>
              <a:gd name="connsiteY7517" fmla="*/ 1214537 h 6479439"/>
              <a:gd name="connsiteX7518" fmla="*/ 957253 w 9586368"/>
              <a:gd name="connsiteY7518" fmla="*/ 1210499 h 6479439"/>
              <a:gd name="connsiteX7519" fmla="*/ 957253 w 9586368"/>
              <a:gd name="connsiteY7519" fmla="*/ 1200628 h 6479439"/>
              <a:gd name="connsiteX7520" fmla="*/ 1679217 w 9586368"/>
              <a:gd name="connsiteY7520" fmla="*/ 1196589 h 6479439"/>
              <a:gd name="connsiteX7521" fmla="*/ 1689127 w 9586368"/>
              <a:gd name="connsiteY7521" fmla="*/ 1196589 h 6479439"/>
              <a:gd name="connsiteX7522" fmla="*/ 1693146 w 9586368"/>
              <a:gd name="connsiteY7522" fmla="*/ 1200627 h 6479439"/>
              <a:gd name="connsiteX7523" fmla="*/ 1693146 w 9586368"/>
              <a:gd name="connsiteY7523" fmla="*/ 1210498 h 6479439"/>
              <a:gd name="connsiteX7524" fmla="*/ 1689127 w 9586368"/>
              <a:gd name="connsiteY7524" fmla="*/ 1214537 h 6479439"/>
              <a:gd name="connsiteX7525" fmla="*/ 1679217 w 9586368"/>
              <a:gd name="connsiteY7525" fmla="*/ 1214537 h 6479439"/>
              <a:gd name="connsiteX7526" fmla="*/ 1675198 w 9586368"/>
              <a:gd name="connsiteY7526" fmla="*/ 1210498 h 6479439"/>
              <a:gd name="connsiteX7527" fmla="*/ 1675198 w 9586368"/>
              <a:gd name="connsiteY7527" fmla="*/ 1200627 h 6479439"/>
              <a:gd name="connsiteX7528" fmla="*/ 1918514 w 9586368"/>
              <a:gd name="connsiteY7528" fmla="*/ 1196581 h 6479439"/>
              <a:gd name="connsiteX7529" fmla="*/ 1928424 w 9586368"/>
              <a:gd name="connsiteY7529" fmla="*/ 1196581 h 6479439"/>
              <a:gd name="connsiteX7530" fmla="*/ 1932443 w 9586368"/>
              <a:gd name="connsiteY7530" fmla="*/ 1200619 h 6479439"/>
              <a:gd name="connsiteX7531" fmla="*/ 1932443 w 9586368"/>
              <a:gd name="connsiteY7531" fmla="*/ 1210489 h 6479439"/>
              <a:gd name="connsiteX7532" fmla="*/ 1928424 w 9586368"/>
              <a:gd name="connsiteY7532" fmla="*/ 1214528 h 6479439"/>
              <a:gd name="connsiteX7533" fmla="*/ 1918514 w 9586368"/>
              <a:gd name="connsiteY7533" fmla="*/ 1214528 h 6479439"/>
              <a:gd name="connsiteX7534" fmla="*/ 1914495 w 9586368"/>
              <a:gd name="connsiteY7534" fmla="*/ 1210489 h 6479439"/>
              <a:gd name="connsiteX7535" fmla="*/ 1914495 w 9586368"/>
              <a:gd name="connsiteY7535" fmla="*/ 1200619 h 6479439"/>
              <a:gd name="connsiteX7536" fmla="*/ 2157823 w 9586368"/>
              <a:gd name="connsiteY7536" fmla="*/ 1196578 h 6479439"/>
              <a:gd name="connsiteX7537" fmla="*/ 2167733 w 9586368"/>
              <a:gd name="connsiteY7537" fmla="*/ 1196578 h 6479439"/>
              <a:gd name="connsiteX7538" fmla="*/ 2171751 w 9586368"/>
              <a:gd name="connsiteY7538" fmla="*/ 1200617 h 6479439"/>
              <a:gd name="connsiteX7539" fmla="*/ 2171751 w 9586368"/>
              <a:gd name="connsiteY7539" fmla="*/ 1210488 h 6479439"/>
              <a:gd name="connsiteX7540" fmla="*/ 2167733 w 9586368"/>
              <a:gd name="connsiteY7540" fmla="*/ 1214526 h 6479439"/>
              <a:gd name="connsiteX7541" fmla="*/ 2157823 w 9586368"/>
              <a:gd name="connsiteY7541" fmla="*/ 1214526 h 6479439"/>
              <a:gd name="connsiteX7542" fmla="*/ 2153803 w 9586368"/>
              <a:gd name="connsiteY7542" fmla="*/ 1210488 h 6479439"/>
              <a:gd name="connsiteX7543" fmla="*/ 2153803 w 9586368"/>
              <a:gd name="connsiteY7543" fmla="*/ 1200617 h 6479439"/>
              <a:gd name="connsiteX7544" fmla="*/ 3350359 w 9586368"/>
              <a:gd name="connsiteY7544" fmla="*/ 957358 h 6479439"/>
              <a:gd name="connsiteX7545" fmla="*/ 3360268 w 9586368"/>
              <a:gd name="connsiteY7545" fmla="*/ 957358 h 6479439"/>
              <a:gd name="connsiteX7546" fmla="*/ 3364287 w 9586368"/>
              <a:gd name="connsiteY7546" fmla="*/ 961396 h 6479439"/>
              <a:gd name="connsiteX7547" fmla="*/ 3364287 w 9586368"/>
              <a:gd name="connsiteY7547" fmla="*/ 971266 h 6479439"/>
              <a:gd name="connsiteX7548" fmla="*/ 3360268 w 9586368"/>
              <a:gd name="connsiteY7548" fmla="*/ 975304 h 6479439"/>
              <a:gd name="connsiteX7549" fmla="*/ 3350359 w 9586368"/>
              <a:gd name="connsiteY7549" fmla="*/ 975304 h 6479439"/>
              <a:gd name="connsiteX7550" fmla="*/ 3346340 w 9586368"/>
              <a:gd name="connsiteY7550" fmla="*/ 971266 h 6479439"/>
              <a:gd name="connsiteX7551" fmla="*/ 3346340 w 9586368"/>
              <a:gd name="connsiteY7551" fmla="*/ 961396 h 6479439"/>
              <a:gd name="connsiteX7552" fmla="*/ 3111048 w 9586368"/>
              <a:gd name="connsiteY7552" fmla="*/ 957358 h 6479439"/>
              <a:gd name="connsiteX7553" fmla="*/ 3120959 w 9586368"/>
              <a:gd name="connsiteY7553" fmla="*/ 957358 h 6479439"/>
              <a:gd name="connsiteX7554" fmla="*/ 3124977 w 9586368"/>
              <a:gd name="connsiteY7554" fmla="*/ 961396 h 6479439"/>
              <a:gd name="connsiteX7555" fmla="*/ 3124977 w 9586368"/>
              <a:gd name="connsiteY7555" fmla="*/ 971266 h 6479439"/>
              <a:gd name="connsiteX7556" fmla="*/ 3120959 w 9586368"/>
              <a:gd name="connsiteY7556" fmla="*/ 975304 h 6479439"/>
              <a:gd name="connsiteX7557" fmla="*/ 3111048 w 9586368"/>
              <a:gd name="connsiteY7557" fmla="*/ 975304 h 6479439"/>
              <a:gd name="connsiteX7558" fmla="*/ 3107029 w 9586368"/>
              <a:gd name="connsiteY7558" fmla="*/ 971266 h 6479439"/>
              <a:gd name="connsiteX7559" fmla="*/ 3107029 w 9586368"/>
              <a:gd name="connsiteY7559" fmla="*/ 961396 h 6479439"/>
              <a:gd name="connsiteX7560" fmla="*/ 2871737 w 9586368"/>
              <a:gd name="connsiteY7560" fmla="*/ 957358 h 6479439"/>
              <a:gd name="connsiteX7561" fmla="*/ 2881646 w 9586368"/>
              <a:gd name="connsiteY7561" fmla="*/ 957358 h 6479439"/>
              <a:gd name="connsiteX7562" fmla="*/ 2885666 w 9586368"/>
              <a:gd name="connsiteY7562" fmla="*/ 961396 h 6479439"/>
              <a:gd name="connsiteX7563" fmla="*/ 2885666 w 9586368"/>
              <a:gd name="connsiteY7563" fmla="*/ 971266 h 6479439"/>
              <a:gd name="connsiteX7564" fmla="*/ 2881646 w 9586368"/>
              <a:gd name="connsiteY7564" fmla="*/ 975304 h 6479439"/>
              <a:gd name="connsiteX7565" fmla="*/ 2871737 w 9586368"/>
              <a:gd name="connsiteY7565" fmla="*/ 975304 h 6479439"/>
              <a:gd name="connsiteX7566" fmla="*/ 2867717 w 9586368"/>
              <a:gd name="connsiteY7566" fmla="*/ 971266 h 6479439"/>
              <a:gd name="connsiteX7567" fmla="*/ 2867717 w 9586368"/>
              <a:gd name="connsiteY7567" fmla="*/ 961396 h 6479439"/>
              <a:gd name="connsiteX7568" fmla="*/ 2632423 w 9586368"/>
              <a:gd name="connsiteY7568" fmla="*/ 957358 h 6479439"/>
              <a:gd name="connsiteX7569" fmla="*/ 2642334 w 9586368"/>
              <a:gd name="connsiteY7569" fmla="*/ 957358 h 6479439"/>
              <a:gd name="connsiteX7570" fmla="*/ 2646352 w 9586368"/>
              <a:gd name="connsiteY7570" fmla="*/ 961396 h 6479439"/>
              <a:gd name="connsiteX7571" fmla="*/ 2646352 w 9586368"/>
              <a:gd name="connsiteY7571" fmla="*/ 971266 h 6479439"/>
              <a:gd name="connsiteX7572" fmla="*/ 2642334 w 9586368"/>
              <a:gd name="connsiteY7572" fmla="*/ 975305 h 6479439"/>
              <a:gd name="connsiteX7573" fmla="*/ 2632423 w 9586368"/>
              <a:gd name="connsiteY7573" fmla="*/ 975305 h 6479439"/>
              <a:gd name="connsiteX7574" fmla="*/ 2628404 w 9586368"/>
              <a:gd name="connsiteY7574" fmla="*/ 971266 h 6479439"/>
              <a:gd name="connsiteX7575" fmla="*/ 2628404 w 9586368"/>
              <a:gd name="connsiteY7575" fmla="*/ 961396 h 6479439"/>
              <a:gd name="connsiteX7576" fmla="*/ 2393104 w 9586368"/>
              <a:gd name="connsiteY7576" fmla="*/ 957358 h 6479439"/>
              <a:gd name="connsiteX7577" fmla="*/ 2403015 w 9586368"/>
              <a:gd name="connsiteY7577" fmla="*/ 957358 h 6479439"/>
              <a:gd name="connsiteX7578" fmla="*/ 2407034 w 9586368"/>
              <a:gd name="connsiteY7578" fmla="*/ 961396 h 6479439"/>
              <a:gd name="connsiteX7579" fmla="*/ 2407034 w 9586368"/>
              <a:gd name="connsiteY7579" fmla="*/ 971266 h 6479439"/>
              <a:gd name="connsiteX7580" fmla="*/ 2403015 w 9586368"/>
              <a:gd name="connsiteY7580" fmla="*/ 975305 h 6479439"/>
              <a:gd name="connsiteX7581" fmla="*/ 2393104 w 9586368"/>
              <a:gd name="connsiteY7581" fmla="*/ 975305 h 6479439"/>
              <a:gd name="connsiteX7582" fmla="*/ 2389087 w 9586368"/>
              <a:gd name="connsiteY7582" fmla="*/ 971266 h 6479439"/>
              <a:gd name="connsiteX7583" fmla="*/ 2389087 w 9586368"/>
              <a:gd name="connsiteY7583" fmla="*/ 961396 h 6479439"/>
              <a:gd name="connsiteX7584" fmla="*/ 4546929 w 9586368"/>
              <a:gd name="connsiteY7584" fmla="*/ 957347 h 6479439"/>
              <a:gd name="connsiteX7585" fmla="*/ 4556840 w 9586368"/>
              <a:gd name="connsiteY7585" fmla="*/ 957347 h 6479439"/>
              <a:gd name="connsiteX7586" fmla="*/ 4560859 w 9586368"/>
              <a:gd name="connsiteY7586" fmla="*/ 961385 h 6479439"/>
              <a:gd name="connsiteX7587" fmla="*/ 4560859 w 9586368"/>
              <a:gd name="connsiteY7587" fmla="*/ 971255 h 6479439"/>
              <a:gd name="connsiteX7588" fmla="*/ 4556840 w 9586368"/>
              <a:gd name="connsiteY7588" fmla="*/ 975293 h 6479439"/>
              <a:gd name="connsiteX7589" fmla="*/ 4546929 w 9586368"/>
              <a:gd name="connsiteY7589" fmla="*/ 975293 h 6479439"/>
              <a:gd name="connsiteX7590" fmla="*/ 4542910 w 9586368"/>
              <a:gd name="connsiteY7590" fmla="*/ 971255 h 6479439"/>
              <a:gd name="connsiteX7591" fmla="*/ 4542910 w 9586368"/>
              <a:gd name="connsiteY7591" fmla="*/ 961385 h 6479439"/>
              <a:gd name="connsiteX7592" fmla="*/ 4307612 w 9586368"/>
              <a:gd name="connsiteY7592" fmla="*/ 957347 h 6479439"/>
              <a:gd name="connsiteX7593" fmla="*/ 4317523 w 9586368"/>
              <a:gd name="connsiteY7593" fmla="*/ 957347 h 6479439"/>
              <a:gd name="connsiteX7594" fmla="*/ 4321543 w 9586368"/>
              <a:gd name="connsiteY7594" fmla="*/ 961385 h 6479439"/>
              <a:gd name="connsiteX7595" fmla="*/ 4321543 w 9586368"/>
              <a:gd name="connsiteY7595" fmla="*/ 971255 h 6479439"/>
              <a:gd name="connsiteX7596" fmla="*/ 4317523 w 9586368"/>
              <a:gd name="connsiteY7596" fmla="*/ 975293 h 6479439"/>
              <a:gd name="connsiteX7597" fmla="*/ 4307612 w 9586368"/>
              <a:gd name="connsiteY7597" fmla="*/ 975293 h 6479439"/>
              <a:gd name="connsiteX7598" fmla="*/ 4303595 w 9586368"/>
              <a:gd name="connsiteY7598" fmla="*/ 971255 h 6479439"/>
              <a:gd name="connsiteX7599" fmla="*/ 4303595 w 9586368"/>
              <a:gd name="connsiteY7599" fmla="*/ 961385 h 6479439"/>
              <a:gd name="connsiteX7600" fmla="*/ 4068297 w 9586368"/>
              <a:gd name="connsiteY7600" fmla="*/ 957347 h 6479439"/>
              <a:gd name="connsiteX7601" fmla="*/ 4078210 w 9586368"/>
              <a:gd name="connsiteY7601" fmla="*/ 957347 h 6479439"/>
              <a:gd name="connsiteX7602" fmla="*/ 4082229 w 9586368"/>
              <a:gd name="connsiteY7602" fmla="*/ 961385 h 6479439"/>
              <a:gd name="connsiteX7603" fmla="*/ 4082229 w 9586368"/>
              <a:gd name="connsiteY7603" fmla="*/ 971255 h 6479439"/>
              <a:gd name="connsiteX7604" fmla="*/ 4078210 w 9586368"/>
              <a:gd name="connsiteY7604" fmla="*/ 975293 h 6479439"/>
              <a:gd name="connsiteX7605" fmla="*/ 4068297 w 9586368"/>
              <a:gd name="connsiteY7605" fmla="*/ 975293 h 6479439"/>
              <a:gd name="connsiteX7606" fmla="*/ 4064278 w 9586368"/>
              <a:gd name="connsiteY7606" fmla="*/ 971255 h 6479439"/>
              <a:gd name="connsiteX7607" fmla="*/ 4064278 w 9586368"/>
              <a:gd name="connsiteY7607" fmla="*/ 961385 h 6479439"/>
              <a:gd name="connsiteX7608" fmla="*/ 3828990 w 9586368"/>
              <a:gd name="connsiteY7608" fmla="*/ 957347 h 6479439"/>
              <a:gd name="connsiteX7609" fmla="*/ 3838899 w 9586368"/>
              <a:gd name="connsiteY7609" fmla="*/ 957347 h 6479439"/>
              <a:gd name="connsiteX7610" fmla="*/ 3842917 w 9586368"/>
              <a:gd name="connsiteY7610" fmla="*/ 961385 h 6479439"/>
              <a:gd name="connsiteX7611" fmla="*/ 3842917 w 9586368"/>
              <a:gd name="connsiteY7611" fmla="*/ 971255 h 6479439"/>
              <a:gd name="connsiteX7612" fmla="*/ 3838899 w 9586368"/>
              <a:gd name="connsiteY7612" fmla="*/ 975293 h 6479439"/>
              <a:gd name="connsiteX7613" fmla="*/ 3828990 w 9586368"/>
              <a:gd name="connsiteY7613" fmla="*/ 975293 h 6479439"/>
              <a:gd name="connsiteX7614" fmla="*/ 3824971 w 9586368"/>
              <a:gd name="connsiteY7614" fmla="*/ 971255 h 6479439"/>
              <a:gd name="connsiteX7615" fmla="*/ 3824971 w 9586368"/>
              <a:gd name="connsiteY7615" fmla="*/ 961385 h 6479439"/>
              <a:gd name="connsiteX7616" fmla="*/ 3589676 w 9586368"/>
              <a:gd name="connsiteY7616" fmla="*/ 957347 h 6479439"/>
              <a:gd name="connsiteX7617" fmla="*/ 3599585 w 9586368"/>
              <a:gd name="connsiteY7617" fmla="*/ 957347 h 6479439"/>
              <a:gd name="connsiteX7618" fmla="*/ 3603604 w 9586368"/>
              <a:gd name="connsiteY7618" fmla="*/ 961385 h 6479439"/>
              <a:gd name="connsiteX7619" fmla="*/ 3603604 w 9586368"/>
              <a:gd name="connsiteY7619" fmla="*/ 971255 h 6479439"/>
              <a:gd name="connsiteX7620" fmla="*/ 3599585 w 9586368"/>
              <a:gd name="connsiteY7620" fmla="*/ 975293 h 6479439"/>
              <a:gd name="connsiteX7621" fmla="*/ 3589676 w 9586368"/>
              <a:gd name="connsiteY7621" fmla="*/ 975293 h 6479439"/>
              <a:gd name="connsiteX7622" fmla="*/ 3585657 w 9586368"/>
              <a:gd name="connsiteY7622" fmla="*/ 971255 h 6479439"/>
              <a:gd name="connsiteX7623" fmla="*/ 3585657 w 9586368"/>
              <a:gd name="connsiteY7623" fmla="*/ 961385 h 6479439"/>
              <a:gd name="connsiteX7624" fmla="*/ 5743412 w 9586368"/>
              <a:gd name="connsiteY7624" fmla="*/ 957335 h 6479439"/>
              <a:gd name="connsiteX7625" fmla="*/ 5753323 w 9586368"/>
              <a:gd name="connsiteY7625" fmla="*/ 957335 h 6479439"/>
              <a:gd name="connsiteX7626" fmla="*/ 5757342 w 9586368"/>
              <a:gd name="connsiteY7626" fmla="*/ 961373 h 6479439"/>
              <a:gd name="connsiteX7627" fmla="*/ 5757342 w 9586368"/>
              <a:gd name="connsiteY7627" fmla="*/ 971244 h 6479439"/>
              <a:gd name="connsiteX7628" fmla="*/ 5753323 w 9586368"/>
              <a:gd name="connsiteY7628" fmla="*/ 975282 h 6479439"/>
              <a:gd name="connsiteX7629" fmla="*/ 5743412 w 9586368"/>
              <a:gd name="connsiteY7629" fmla="*/ 975282 h 6479439"/>
              <a:gd name="connsiteX7630" fmla="*/ 5739393 w 9586368"/>
              <a:gd name="connsiteY7630" fmla="*/ 971244 h 6479439"/>
              <a:gd name="connsiteX7631" fmla="*/ 5739393 w 9586368"/>
              <a:gd name="connsiteY7631" fmla="*/ 961373 h 6479439"/>
              <a:gd name="connsiteX7632" fmla="*/ 5504099 w 9586368"/>
              <a:gd name="connsiteY7632" fmla="*/ 957335 h 6479439"/>
              <a:gd name="connsiteX7633" fmla="*/ 5514010 w 9586368"/>
              <a:gd name="connsiteY7633" fmla="*/ 957335 h 6479439"/>
              <a:gd name="connsiteX7634" fmla="*/ 5518029 w 9586368"/>
              <a:gd name="connsiteY7634" fmla="*/ 961373 h 6479439"/>
              <a:gd name="connsiteX7635" fmla="*/ 5518029 w 9586368"/>
              <a:gd name="connsiteY7635" fmla="*/ 971244 h 6479439"/>
              <a:gd name="connsiteX7636" fmla="*/ 5514010 w 9586368"/>
              <a:gd name="connsiteY7636" fmla="*/ 975282 h 6479439"/>
              <a:gd name="connsiteX7637" fmla="*/ 5504099 w 9586368"/>
              <a:gd name="connsiteY7637" fmla="*/ 975282 h 6479439"/>
              <a:gd name="connsiteX7638" fmla="*/ 5500080 w 9586368"/>
              <a:gd name="connsiteY7638" fmla="*/ 971244 h 6479439"/>
              <a:gd name="connsiteX7639" fmla="*/ 5500080 w 9586368"/>
              <a:gd name="connsiteY7639" fmla="*/ 961373 h 6479439"/>
              <a:gd name="connsiteX7640" fmla="*/ 5264784 w 9586368"/>
              <a:gd name="connsiteY7640" fmla="*/ 957335 h 6479439"/>
              <a:gd name="connsiteX7641" fmla="*/ 5274694 w 9586368"/>
              <a:gd name="connsiteY7641" fmla="*/ 957335 h 6479439"/>
              <a:gd name="connsiteX7642" fmla="*/ 5278713 w 9586368"/>
              <a:gd name="connsiteY7642" fmla="*/ 961373 h 6479439"/>
              <a:gd name="connsiteX7643" fmla="*/ 5278713 w 9586368"/>
              <a:gd name="connsiteY7643" fmla="*/ 971244 h 6479439"/>
              <a:gd name="connsiteX7644" fmla="*/ 5274694 w 9586368"/>
              <a:gd name="connsiteY7644" fmla="*/ 975282 h 6479439"/>
              <a:gd name="connsiteX7645" fmla="*/ 5264784 w 9586368"/>
              <a:gd name="connsiteY7645" fmla="*/ 975282 h 6479439"/>
              <a:gd name="connsiteX7646" fmla="*/ 5260765 w 9586368"/>
              <a:gd name="connsiteY7646" fmla="*/ 971244 h 6479439"/>
              <a:gd name="connsiteX7647" fmla="*/ 5260765 w 9586368"/>
              <a:gd name="connsiteY7647" fmla="*/ 961373 h 6479439"/>
              <a:gd name="connsiteX7648" fmla="*/ 5025470 w 9586368"/>
              <a:gd name="connsiteY7648" fmla="*/ 957335 h 6479439"/>
              <a:gd name="connsiteX7649" fmla="*/ 5035381 w 9586368"/>
              <a:gd name="connsiteY7649" fmla="*/ 957335 h 6479439"/>
              <a:gd name="connsiteX7650" fmla="*/ 5039400 w 9586368"/>
              <a:gd name="connsiteY7650" fmla="*/ 961373 h 6479439"/>
              <a:gd name="connsiteX7651" fmla="*/ 5039400 w 9586368"/>
              <a:gd name="connsiteY7651" fmla="*/ 971244 h 6479439"/>
              <a:gd name="connsiteX7652" fmla="*/ 5035381 w 9586368"/>
              <a:gd name="connsiteY7652" fmla="*/ 975283 h 6479439"/>
              <a:gd name="connsiteX7653" fmla="*/ 5025470 w 9586368"/>
              <a:gd name="connsiteY7653" fmla="*/ 975283 h 6479439"/>
              <a:gd name="connsiteX7654" fmla="*/ 5021451 w 9586368"/>
              <a:gd name="connsiteY7654" fmla="*/ 971244 h 6479439"/>
              <a:gd name="connsiteX7655" fmla="*/ 5021451 w 9586368"/>
              <a:gd name="connsiteY7655" fmla="*/ 961373 h 6479439"/>
              <a:gd name="connsiteX7656" fmla="*/ 4786241 w 9586368"/>
              <a:gd name="connsiteY7656" fmla="*/ 957335 h 6479439"/>
              <a:gd name="connsiteX7657" fmla="*/ 4796152 w 9586368"/>
              <a:gd name="connsiteY7657" fmla="*/ 957335 h 6479439"/>
              <a:gd name="connsiteX7658" fmla="*/ 4800171 w 9586368"/>
              <a:gd name="connsiteY7658" fmla="*/ 961374 h 6479439"/>
              <a:gd name="connsiteX7659" fmla="*/ 4800171 w 9586368"/>
              <a:gd name="connsiteY7659" fmla="*/ 971244 h 6479439"/>
              <a:gd name="connsiteX7660" fmla="*/ 4796152 w 9586368"/>
              <a:gd name="connsiteY7660" fmla="*/ 975283 h 6479439"/>
              <a:gd name="connsiteX7661" fmla="*/ 4786241 w 9586368"/>
              <a:gd name="connsiteY7661" fmla="*/ 975283 h 6479439"/>
              <a:gd name="connsiteX7662" fmla="*/ 4782224 w 9586368"/>
              <a:gd name="connsiteY7662" fmla="*/ 971244 h 6479439"/>
              <a:gd name="connsiteX7663" fmla="*/ 4782224 w 9586368"/>
              <a:gd name="connsiteY7663" fmla="*/ 961374 h 6479439"/>
              <a:gd name="connsiteX7664" fmla="*/ 6939983 w 9586368"/>
              <a:gd name="connsiteY7664" fmla="*/ 957324 h 6479439"/>
              <a:gd name="connsiteX7665" fmla="*/ 6949894 w 9586368"/>
              <a:gd name="connsiteY7665" fmla="*/ 957324 h 6479439"/>
              <a:gd name="connsiteX7666" fmla="*/ 6953913 w 9586368"/>
              <a:gd name="connsiteY7666" fmla="*/ 961363 h 6479439"/>
              <a:gd name="connsiteX7667" fmla="*/ 6953913 w 9586368"/>
              <a:gd name="connsiteY7667" fmla="*/ 971232 h 6479439"/>
              <a:gd name="connsiteX7668" fmla="*/ 6949894 w 9586368"/>
              <a:gd name="connsiteY7668" fmla="*/ 975271 h 6479439"/>
              <a:gd name="connsiteX7669" fmla="*/ 6939983 w 9586368"/>
              <a:gd name="connsiteY7669" fmla="*/ 975271 h 6479439"/>
              <a:gd name="connsiteX7670" fmla="*/ 6935964 w 9586368"/>
              <a:gd name="connsiteY7670" fmla="*/ 971232 h 6479439"/>
              <a:gd name="connsiteX7671" fmla="*/ 6935964 w 9586368"/>
              <a:gd name="connsiteY7671" fmla="*/ 961363 h 6479439"/>
              <a:gd name="connsiteX7672" fmla="*/ 6700670 w 9586368"/>
              <a:gd name="connsiteY7672" fmla="*/ 957324 h 6479439"/>
              <a:gd name="connsiteX7673" fmla="*/ 6710581 w 9586368"/>
              <a:gd name="connsiteY7673" fmla="*/ 957324 h 6479439"/>
              <a:gd name="connsiteX7674" fmla="*/ 6714600 w 9586368"/>
              <a:gd name="connsiteY7674" fmla="*/ 961363 h 6479439"/>
              <a:gd name="connsiteX7675" fmla="*/ 6714600 w 9586368"/>
              <a:gd name="connsiteY7675" fmla="*/ 971232 h 6479439"/>
              <a:gd name="connsiteX7676" fmla="*/ 6710581 w 9586368"/>
              <a:gd name="connsiteY7676" fmla="*/ 975271 h 6479439"/>
              <a:gd name="connsiteX7677" fmla="*/ 6700670 w 9586368"/>
              <a:gd name="connsiteY7677" fmla="*/ 975271 h 6479439"/>
              <a:gd name="connsiteX7678" fmla="*/ 6696651 w 9586368"/>
              <a:gd name="connsiteY7678" fmla="*/ 971232 h 6479439"/>
              <a:gd name="connsiteX7679" fmla="*/ 6696651 w 9586368"/>
              <a:gd name="connsiteY7679" fmla="*/ 961363 h 6479439"/>
              <a:gd name="connsiteX7680" fmla="*/ 6461356 w 9586368"/>
              <a:gd name="connsiteY7680" fmla="*/ 957324 h 6479439"/>
              <a:gd name="connsiteX7681" fmla="*/ 6471266 w 9586368"/>
              <a:gd name="connsiteY7681" fmla="*/ 957324 h 6479439"/>
              <a:gd name="connsiteX7682" fmla="*/ 6475285 w 9586368"/>
              <a:gd name="connsiteY7682" fmla="*/ 961363 h 6479439"/>
              <a:gd name="connsiteX7683" fmla="*/ 6475285 w 9586368"/>
              <a:gd name="connsiteY7683" fmla="*/ 971232 h 6479439"/>
              <a:gd name="connsiteX7684" fmla="*/ 6471266 w 9586368"/>
              <a:gd name="connsiteY7684" fmla="*/ 975271 h 6479439"/>
              <a:gd name="connsiteX7685" fmla="*/ 6461356 w 9586368"/>
              <a:gd name="connsiteY7685" fmla="*/ 975271 h 6479439"/>
              <a:gd name="connsiteX7686" fmla="*/ 6457337 w 9586368"/>
              <a:gd name="connsiteY7686" fmla="*/ 971232 h 6479439"/>
              <a:gd name="connsiteX7687" fmla="*/ 6457337 w 9586368"/>
              <a:gd name="connsiteY7687" fmla="*/ 961363 h 6479439"/>
              <a:gd name="connsiteX7688" fmla="*/ 6222042 w 9586368"/>
              <a:gd name="connsiteY7688" fmla="*/ 957324 h 6479439"/>
              <a:gd name="connsiteX7689" fmla="*/ 6231952 w 9586368"/>
              <a:gd name="connsiteY7689" fmla="*/ 957324 h 6479439"/>
              <a:gd name="connsiteX7690" fmla="*/ 6235971 w 9586368"/>
              <a:gd name="connsiteY7690" fmla="*/ 961363 h 6479439"/>
              <a:gd name="connsiteX7691" fmla="*/ 6235971 w 9586368"/>
              <a:gd name="connsiteY7691" fmla="*/ 971232 h 6479439"/>
              <a:gd name="connsiteX7692" fmla="*/ 6231952 w 9586368"/>
              <a:gd name="connsiteY7692" fmla="*/ 975271 h 6479439"/>
              <a:gd name="connsiteX7693" fmla="*/ 6222042 w 9586368"/>
              <a:gd name="connsiteY7693" fmla="*/ 975271 h 6479439"/>
              <a:gd name="connsiteX7694" fmla="*/ 6218023 w 9586368"/>
              <a:gd name="connsiteY7694" fmla="*/ 971232 h 6479439"/>
              <a:gd name="connsiteX7695" fmla="*/ 6218023 w 9586368"/>
              <a:gd name="connsiteY7695" fmla="*/ 961363 h 6479439"/>
              <a:gd name="connsiteX7696" fmla="*/ 5982729 w 9586368"/>
              <a:gd name="connsiteY7696" fmla="*/ 957324 h 6479439"/>
              <a:gd name="connsiteX7697" fmla="*/ 5992639 w 9586368"/>
              <a:gd name="connsiteY7697" fmla="*/ 957324 h 6479439"/>
              <a:gd name="connsiteX7698" fmla="*/ 5996658 w 9586368"/>
              <a:gd name="connsiteY7698" fmla="*/ 961363 h 6479439"/>
              <a:gd name="connsiteX7699" fmla="*/ 5996658 w 9586368"/>
              <a:gd name="connsiteY7699" fmla="*/ 971232 h 6479439"/>
              <a:gd name="connsiteX7700" fmla="*/ 5992639 w 9586368"/>
              <a:gd name="connsiteY7700" fmla="*/ 975271 h 6479439"/>
              <a:gd name="connsiteX7701" fmla="*/ 5982729 w 9586368"/>
              <a:gd name="connsiteY7701" fmla="*/ 975271 h 6479439"/>
              <a:gd name="connsiteX7702" fmla="*/ 5978710 w 9586368"/>
              <a:gd name="connsiteY7702" fmla="*/ 971232 h 6479439"/>
              <a:gd name="connsiteX7703" fmla="*/ 5978710 w 9586368"/>
              <a:gd name="connsiteY7703" fmla="*/ 961363 h 6479439"/>
              <a:gd name="connsiteX7704" fmla="*/ 8136553 w 9586368"/>
              <a:gd name="connsiteY7704" fmla="*/ 957313 h 6479439"/>
              <a:gd name="connsiteX7705" fmla="*/ 8146464 w 9586368"/>
              <a:gd name="connsiteY7705" fmla="*/ 957313 h 6479439"/>
              <a:gd name="connsiteX7706" fmla="*/ 8150483 w 9586368"/>
              <a:gd name="connsiteY7706" fmla="*/ 961351 h 6479439"/>
              <a:gd name="connsiteX7707" fmla="*/ 8150483 w 9586368"/>
              <a:gd name="connsiteY7707" fmla="*/ 971222 h 6479439"/>
              <a:gd name="connsiteX7708" fmla="*/ 8146464 w 9586368"/>
              <a:gd name="connsiteY7708" fmla="*/ 975260 h 6479439"/>
              <a:gd name="connsiteX7709" fmla="*/ 8136553 w 9586368"/>
              <a:gd name="connsiteY7709" fmla="*/ 975260 h 6479439"/>
              <a:gd name="connsiteX7710" fmla="*/ 8132534 w 9586368"/>
              <a:gd name="connsiteY7710" fmla="*/ 971222 h 6479439"/>
              <a:gd name="connsiteX7711" fmla="*/ 8132534 w 9586368"/>
              <a:gd name="connsiteY7711" fmla="*/ 961351 h 6479439"/>
              <a:gd name="connsiteX7712" fmla="*/ 7897241 w 9586368"/>
              <a:gd name="connsiteY7712" fmla="*/ 957313 h 6479439"/>
              <a:gd name="connsiteX7713" fmla="*/ 7907151 w 9586368"/>
              <a:gd name="connsiteY7713" fmla="*/ 957313 h 6479439"/>
              <a:gd name="connsiteX7714" fmla="*/ 7911170 w 9586368"/>
              <a:gd name="connsiteY7714" fmla="*/ 961351 h 6479439"/>
              <a:gd name="connsiteX7715" fmla="*/ 7911170 w 9586368"/>
              <a:gd name="connsiteY7715" fmla="*/ 971222 h 6479439"/>
              <a:gd name="connsiteX7716" fmla="*/ 7907151 w 9586368"/>
              <a:gd name="connsiteY7716" fmla="*/ 975260 h 6479439"/>
              <a:gd name="connsiteX7717" fmla="*/ 7897241 w 9586368"/>
              <a:gd name="connsiteY7717" fmla="*/ 975260 h 6479439"/>
              <a:gd name="connsiteX7718" fmla="*/ 7893222 w 9586368"/>
              <a:gd name="connsiteY7718" fmla="*/ 971222 h 6479439"/>
              <a:gd name="connsiteX7719" fmla="*/ 7893222 w 9586368"/>
              <a:gd name="connsiteY7719" fmla="*/ 961351 h 6479439"/>
              <a:gd name="connsiteX7720" fmla="*/ 7657926 w 9586368"/>
              <a:gd name="connsiteY7720" fmla="*/ 957313 h 6479439"/>
              <a:gd name="connsiteX7721" fmla="*/ 7667836 w 9586368"/>
              <a:gd name="connsiteY7721" fmla="*/ 957313 h 6479439"/>
              <a:gd name="connsiteX7722" fmla="*/ 7671855 w 9586368"/>
              <a:gd name="connsiteY7722" fmla="*/ 961351 h 6479439"/>
              <a:gd name="connsiteX7723" fmla="*/ 7671855 w 9586368"/>
              <a:gd name="connsiteY7723" fmla="*/ 971222 h 6479439"/>
              <a:gd name="connsiteX7724" fmla="*/ 7667836 w 9586368"/>
              <a:gd name="connsiteY7724" fmla="*/ 975260 h 6479439"/>
              <a:gd name="connsiteX7725" fmla="*/ 7657926 w 9586368"/>
              <a:gd name="connsiteY7725" fmla="*/ 975260 h 6479439"/>
              <a:gd name="connsiteX7726" fmla="*/ 7653906 w 9586368"/>
              <a:gd name="connsiteY7726" fmla="*/ 971222 h 6479439"/>
              <a:gd name="connsiteX7727" fmla="*/ 7653906 w 9586368"/>
              <a:gd name="connsiteY7727" fmla="*/ 961351 h 6479439"/>
              <a:gd name="connsiteX7728" fmla="*/ 7418611 w 9586368"/>
              <a:gd name="connsiteY7728" fmla="*/ 957313 h 6479439"/>
              <a:gd name="connsiteX7729" fmla="*/ 7428521 w 9586368"/>
              <a:gd name="connsiteY7729" fmla="*/ 957313 h 6479439"/>
              <a:gd name="connsiteX7730" fmla="*/ 7432540 w 9586368"/>
              <a:gd name="connsiteY7730" fmla="*/ 961351 h 6479439"/>
              <a:gd name="connsiteX7731" fmla="*/ 7432540 w 9586368"/>
              <a:gd name="connsiteY7731" fmla="*/ 971222 h 6479439"/>
              <a:gd name="connsiteX7732" fmla="*/ 7428521 w 9586368"/>
              <a:gd name="connsiteY7732" fmla="*/ 975260 h 6479439"/>
              <a:gd name="connsiteX7733" fmla="*/ 7418611 w 9586368"/>
              <a:gd name="connsiteY7733" fmla="*/ 975260 h 6479439"/>
              <a:gd name="connsiteX7734" fmla="*/ 7414592 w 9586368"/>
              <a:gd name="connsiteY7734" fmla="*/ 971222 h 6479439"/>
              <a:gd name="connsiteX7735" fmla="*/ 7414592 w 9586368"/>
              <a:gd name="connsiteY7735" fmla="*/ 961351 h 6479439"/>
              <a:gd name="connsiteX7736" fmla="*/ 7179298 w 9586368"/>
              <a:gd name="connsiteY7736" fmla="*/ 957313 h 6479439"/>
              <a:gd name="connsiteX7737" fmla="*/ 7189209 w 9586368"/>
              <a:gd name="connsiteY7737" fmla="*/ 957313 h 6479439"/>
              <a:gd name="connsiteX7738" fmla="*/ 7193228 w 9586368"/>
              <a:gd name="connsiteY7738" fmla="*/ 961351 h 6479439"/>
              <a:gd name="connsiteX7739" fmla="*/ 7193228 w 9586368"/>
              <a:gd name="connsiteY7739" fmla="*/ 971222 h 6479439"/>
              <a:gd name="connsiteX7740" fmla="*/ 7189209 w 9586368"/>
              <a:gd name="connsiteY7740" fmla="*/ 975260 h 6479439"/>
              <a:gd name="connsiteX7741" fmla="*/ 7179298 w 9586368"/>
              <a:gd name="connsiteY7741" fmla="*/ 975260 h 6479439"/>
              <a:gd name="connsiteX7742" fmla="*/ 7175279 w 9586368"/>
              <a:gd name="connsiteY7742" fmla="*/ 971222 h 6479439"/>
              <a:gd name="connsiteX7743" fmla="*/ 7175279 w 9586368"/>
              <a:gd name="connsiteY7743" fmla="*/ 961351 h 6479439"/>
              <a:gd name="connsiteX7744" fmla="*/ 1679217 w 9586368"/>
              <a:gd name="connsiteY7744" fmla="*/ 957309 h 6479439"/>
              <a:gd name="connsiteX7745" fmla="*/ 1689128 w 9586368"/>
              <a:gd name="connsiteY7745" fmla="*/ 957309 h 6479439"/>
              <a:gd name="connsiteX7746" fmla="*/ 1693147 w 9586368"/>
              <a:gd name="connsiteY7746" fmla="*/ 961347 h 6479439"/>
              <a:gd name="connsiteX7747" fmla="*/ 1693147 w 9586368"/>
              <a:gd name="connsiteY7747" fmla="*/ 971217 h 6479439"/>
              <a:gd name="connsiteX7748" fmla="*/ 1689128 w 9586368"/>
              <a:gd name="connsiteY7748" fmla="*/ 975256 h 6479439"/>
              <a:gd name="connsiteX7749" fmla="*/ 1679217 w 9586368"/>
              <a:gd name="connsiteY7749" fmla="*/ 975256 h 6479439"/>
              <a:gd name="connsiteX7750" fmla="*/ 1675199 w 9586368"/>
              <a:gd name="connsiteY7750" fmla="*/ 971217 h 6479439"/>
              <a:gd name="connsiteX7751" fmla="*/ 1675199 w 9586368"/>
              <a:gd name="connsiteY7751" fmla="*/ 961347 h 6479439"/>
              <a:gd name="connsiteX7752" fmla="*/ 1439901 w 9586368"/>
              <a:gd name="connsiteY7752" fmla="*/ 957309 h 6479439"/>
              <a:gd name="connsiteX7753" fmla="*/ 1449811 w 9586368"/>
              <a:gd name="connsiteY7753" fmla="*/ 957309 h 6479439"/>
              <a:gd name="connsiteX7754" fmla="*/ 1453829 w 9586368"/>
              <a:gd name="connsiteY7754" fmla="*/ 961347 h 6479439"/>
              <a:gd name="connsiteX7755" fmla="*/ 1453829 w 9586368"/>
              <a:gd name="connsiteY7755" fmla="*/ 971217 h 6479439"/>
              <a:gd name="connsiteX7756" fmla="*/ 1449811 w 9586368"/>
              <a:gd name="connsiteY7756" fmla="*/ 975256 h 6479439"/>
              <a:gd name="connsiteX7757" fmla="*/ 1439901 w 9586368"/>
              <a:gd name="connsiteY7757" fmla="*/ 975256 h 6479439"/>
              <a:gd name="connsiteX7758" fmla="*/ 1435881 w 9586368"/>
              <a:gd name="connsiteY7758" fmla="*/ 971217 h 6479439"/>
              <a:gd name="connsiteX7759" fmla="*/ 1435881 w 9586368"/>
              <a:gd name="connsiteY7759" fmla="*/ 961347 h 6479439"/>
              <a:gd name="connsiteX7760" fmla="*/ 1200584 w 9586368"/>
              <a:gd name="connsiteY7760" fmla="*/ 957309 h 6479439"/>
              <a:gd name="connsiteX7761" fmla="*/ 1210495 w 9586368"/>
              <a:gd name="connsiteY7761" fmla="*/ 957309 h 6479439"/>
              <a:gd name="connsiteX7762" fmla="*/ 1214513 w 9586368"/>
              <a:gd name="connsiteY7762" fmla="*/ 961347 h 6479439"/>
              <a:gd name="connsiteX7763" fmla="*/ 1214513 w 9586368"/>
              <a:gd name="connsiteY7763" fmla="*/ 971217 h 6479439"/>
              <a:gd name="connsiteX7764" fmla="*/ 1210495 w 9586368"/>
              <a:gd name="connsiteY7764" fmla="*/ 975256 h 6479439"/>
              <a:gd name="connsiteX7765" fmla="*/ 1200584 w 9586368"/>
              <a:gd name="connsiteY7765" fmla="*/ 975256 h 6479439"/>
              <a:gd name="connsiteX7766" fmla="*/ 1196566 w 9586368"/>
              <a:gd name="connsiteY7766" fmla="*/ 971217 h 6479439"/>
              <a:gd name="connsiteX7767" fmla="*/ 1196566 w 9586368"/>
              <a:gd name="connsiteY7767" fmla="*/ 961347 h 6479439"/>
              <a:gd name="connsiteX7768" fmla="*/ 961271 w 9586368"/>
              <a:gd name="connsiteY7768" fmla="*/ 957309 h 6479439"/>
              <a:gd name="connsiteX7769" fmla="*/ 971182 w 9586368"/>
              <a:gd name="connsiteY7769" fmla="*/ 957309 h 6479439"/>
              <a:gd name="connsiteX7770" fmla="*/ 975201 w 9586368"/>
              <a:gd name="connsiteY7770" fmla="*/ 961347 h 6479439"/>
              <a:gd name="connsiteX7771" fmla="*/ 975201 w 9586368"/>
              <a:gd name="connsiteY7771" fmla="*/ 971218 h 6479439"/>
              <a:gd name="connsiteX7772" fmla="*/ 971182 w 9586368"/>
              <a:gd name="connsiteY7772" fmla="*/ 975256 h 6479439"/>
              <a:gd name="connsiteX7773" fmla="*/ 961271 w 9586368"/>
              <a:gd name="connsiteY7773" fmla="*/ 975256 h 6479439"/>
              <a:gd name="connsiteX7774" fmla="*/ 957253 w 9586368"/>
              <a:gd name="connsiteY7774" fmla="*/ 971218 h 6479439"/>
              <a:gd name="connsiteX7775" fmla="*/ 957253 w 9586368"/>
              <a:gd name="connsiteY7775" fmla="*/ 961347 h 6479439"/>
              <a:gd name="connsiteX7776" fmla="*/ 9333125 w 9586368"/>
              <a:gd name="connsiteY7776" fmla="*/ 957302 h 6479439"/>
              <a:gd name="connsiteX7777" fmla="*/ 9343036 w 9586368"/>
              <a:gd name="connsiteY7777" fmla="*/ 957302 h 6479439"/>
              <a:gd name="connsiteX7778" fmla="*/ 9347055 w 9586368"/>
              <a:gd name="connsiteY7778" fmla="*/ 961340 h 6479439"/>
              <a:gd name="connsiteX7779" fmla="*/ 9347055 w 9586368"/>
              <a:gd name="connsiteY7779" fmla="*/ 971210 h 6479439"/>
              <a:gd name="connsiteX7780" fmla="*/ 9343036 w 9586368"/>
              <a:gd name="connsiteY7780" fmla="*/ 975249 h 6479439"/>
              <a:gd name="connsiteX7781" fmla="*/ 9333125 w 9586368"/>
              <a:gd name="connsiteY7781" fmla="*/ 975249 h 6479439"/>
              <a:gd name="connsiteX7782" fmla="*/ 9329106 w 9586368"/>
              <a:gd name="connsiteY7782" fmla="*/ 971210 h 6479439"/>
              <a:gd name="connsiteX7783" fmla="*/ 9329106 w 9586368"/>
              <a:gd name="connsiteY7783" fmla="*/ 961340 h 6479439"/>
              <a:gd name="connsiteX7784" fmla="*/ 9093811 w 9586368"/>
              <a:gd name="connsiteY7784" fmla="*/ 957302 h 6479439"/>
              <a:gd name="connsiteX7785" fmla="*/ 9103722 w 9586368"/>
              <a:gd name="connsiteY7785" fmla="*/ 957302 h 6479439"/>
              <a:gd name="connsiteX7786" fmla="*/ 9107741 w 9586368"/>
              <a:gd name="connsiteY7786" fmla="*/ 961340 h 6479439"/>
              <a:gd name="connsiteX7787" fmla="*/ 9107741 w 9586368"/>
              <a:gd name="connsiteY7787" fmla="*/ 971210 h 6479439"/>
              <a:gd name="connsiteX7788" fmla="*/ 9103722 w 9586368"/>
              <a:gd name="connsiteY7788" fmla="*/ 975249 h 6479439"/>
              <a:gd name="connsiteX7789" fmla="*/ 9093811 w 9586368"/>
              <a:gd name="connsiteY7789" fmla="*/ 975249 h 6479439"/>
              <a:gd name="connsiteX7790" fmla="*/ 9089792 w 9586368"/>
              <a:gd name="connsiteY7790" fmla="*/ 971210 h 6479439"/>
              <a:gd name="connsiteX7791" fmla="*/ 9089792 w 9586368"/>
              <a:gd name="connsiteY7791" fmla="*/ 961340 h 6479439"/>
              <a:gd name="connsiteX7792" fmla="*/ 8854496 w 9586368"/>
              <a:gd name="connsiteY7792" fmla="*/ 957302 h 6479439"/>
              <a:gd name="connsiteX7793" fmla="*/ 8864407 w 9586368"/>
              <a:gd name="connsiteY7793" fmla="*/ 957302 h 6479439"/>
              <a:gd name="connsiteX7794" fmla="*/ 8868426 w 9586368"/>
              <a:gd name="connsiteY7794" fmla="*/ 961340 h 6479439"/>
              <a:gd name="connsiteX7795" fmla="*/ 8868426 w 9586368"/>
              <a:gd name="connsiteY7795" fmla="*/ 971210 h 6479439"/>
              <a:gd name="connsiteX7796" fmla="*/ 8864407 w 9586368"/>
              <a:gd name="connsiteY7796" fmla="*/ 975249 h 6479439"/>
              <a:gd name="connsiteX7797" fmla="*/ 8854496 w 9586368"/>
              <a:gd name="connsiteY7797" fmla="*/ 975249 h 6479439"/>
              <a:gd name="connsiteX7798" fmla="*/ 8850477 w 9586368"/>
              <a:gd name="connsiteY7798" fmla="*/ 971210 h 6479439"/>
              <a:gd name="connsiteX7799" fmla="*/ 8850477 w 9586368"/>
              <a:gd name="connsiteY7799" fmla="*/ 961340 h 6479439"/>
              <a:gd name="connsiteX7800" fmla="*/ 8615184 w 9586368"/>
              <a:gd name="connsiteY7800" fmla="*/ 957302 h 6479439"/>
              <a:gd name="connsiteX7801" fmla="*/ 8625095 w 9586368"/>
              <a:gd name="connsiteY7801" fmla="*/ 957302 h 6479439"/>
              <a:gd name="connsiteX7802" fmla="*/ 8629114 w 9586368"/>
              <a:gd name="connsiteY7802" fmla="*/ 961340 h 6479439"/>
              <a:gd name="connsiteX7803" fmla="*/ 8629114 w 9586368"/>
              <a:gd name="connsiteY7803" fmla="*/ 971210 h 6479439"/>
              <a:gd name="connsiteX7804" fmla="*/ 8625095 w 9586368"/>
              <a:gd name="connsiteY7804" fmla="*/ 975249 h 6479439"/>
              <a:gd name="connsiteX7805" fmla="*/ 8615184 w 9586368"/>
              <a:gd name="connsiteY7805" fmla="*/ 975249 h 6479439"/>
              <a:gd name="connsiteX7806" fmla="*/ 8611165 w 9586368"/>
              <a:gd name="connsiteY7806" fmla="*/ 971210 h 6479439"/>
              <a:gd name="connsiteX7807" fmla="*/ 8611165 w 9586368"/>
              <a:gd name="connsiteY7807" fmla="*/ 961340 h 6479439"/>
              <a:gd name="connsiteX7808" fmla="*/ 8375869 w 9586368"/>
              <a:gd name="connsiteY7808" fmla="*/ 957302 h 6479439"/>
              <a:gd name="connsiteX7809" fmla="*/ 8385779 w 9586368"/>
              <a:gd name="connsiteY7809" fmla="*/ 957302 h 6479439"/>
              <a:gd name="connsiteX7810" fmla="*/ 8389799 w 9586368"/>
              <a:gd name="connsiteY7810" fmla="*/ 961340 h 6479439"/>
              <a:gd name="connsiteX7811" fmla="*/ 8389799 w 9586368"/>
              <a:gd name="connsiteY7811" fmla="*/ 971210 h 6479439"/>
              <a:gd name="connsiteX7812" fmla="*/ 8385779 w 9586368"/>
              <a:gd name="connsiteY7812" fmla="*/ 975249 h 6479439"/>
              <a:gd name="connsiteX7813" fmla="*/ 8375869 w 9586368"/>
              <a:gd name="connsiteY7813" fmla="*/ 975249 h 6479439"/>
              <a:gd name="connsiteX7814" fmla="*/ 8371850 w 9586368"/>
              <a:gd name="connsiteY7814" fmla="*/ 971210 h 6479439"/>
              <a:gd name="connsiteX7815" fmla="*/ 8371850 w 9586368"/>
              <a:gd name="connsiteY7815" fmla="*/ 961340 h 6479439"/>
              <a:gd name="connsiteX7816" fmla="*/ 1918514 w 9586368"/>
              <a:gd name="connsiteY7816" fmla="*/ 957301 h 6479439"/>
              <a:gd name="connsiteX7817" fmla="*/ 1928424 w 9586368"/>
              <a:gd name="connsiteY7817" fmla="*/ 957301 h 6479439"/>
              <a:gd name="connsiteX7818" fmla="*/ 1932444 w 9586368"/>
              <a:gd name="connsiteY7818" fmla="*/ 961339 h 6479439"/>
              <a:gd name="connsiteX7819" fmla="*/ 1932444 w 9586368"/>
              <a:gd name="connsiteY7819" fmla="*/ 971210 h 6479439"/>
              <a:gd name="connsiteX7820" fmla="*/ 1928424 w 9586368"/>
              <a:gd name="connsiteY7820" fmla="*/ 975249 h 6479439"/>
              <a:gd name="connsiteX7821" fmla="*/ 1918514 w 9586368"/>
              <a:gd name="connsiteY7821" fmla="*/ 975249 h 6479439"/>
              <a:gd name="connsiteX7822" fmla="*/ 1914495 w 9586368"/>
              <a:gd name="connsiteY7822" fmla="*/ 971210 h 6479439"/>
              <a:gd name="connsiteX7823" fmla="*/ 1914495 w 9586368"/>
              <a:gd name="connsiteY7823" fmla="*/ 961339 h 6479439"/>
              <a:gd name="connsiteX7824" fmla="*/ 2157823 w 9586368"/>
              <a:gd name="connsiteY7824" fmla="*/ 957299 h 6479439"/>
              <a:gd name="connsiteX7825" fmla="*/ 2167733 w 9586368"/>
              <a:gd name="connsiteY7825" fmla="*/ 957299 h 6479439"/>
              <a:gd name="connsiteX7826" fmla="*/ 2171751 w 9586368"/>
              <a:gd name="connsiteY7826" fmla="*/ 961337 h 6479439"/>
              <a:gd name="connsiteX7827" fmla="*/ 2171751 w 9586368"/>
              <a:gd name="connsiteY7827" fmla="*/ 971207 h 6479439"/>
              <a:gd name="connsiteX7828" fmla="*/ 2167733 w 9586368"/>
              <a:gd name="connsiteY7828" fmla="*/ 975246 h 6479439"/>
              <a:gd name="connsiteX7829" fmla="*/ 2157823 w 9586368"/>
              <a:gd name="connsiteY7829" fmla="*/ 975246 h 6479439"/>
              <a:gd name="connsiteX7830" fmla="*/ 2153804 w 9586368"/>
              <a:gd name="connsiteY7830" fmla="*/ 971207 h 6479439"/>
              <a:gd name="connsiteX7831" fmla="*/ 2153804 w 9586368"/>
              <a:gd name="connsiteY7831" fmla="*/ 961337 h 6479439"/>
              <a:gd name="connsiteX7832" fmla="*/ 9572438 w 9586368"/>
              <a:gd name="connsiteY7832" fmla="*/ 957291 h 6479439"/>
              <a:gd name="connsiteX7833" fmla="*/ 9582349 w 9586368"/>
              <a:gd name="connsiteY7833" fmla="*/ 957291 h 6479439"/>
              <a:gd name="connsiteX7834" fmla="*/ 9586368 w 9586368"/>
              <a:gd name="connsiteY7834" fmla="*/ 961329 h 6479439"/>
              <a:gd name="connsiteX7835" fmla="*/ 9586368 w 9586368"/>
              <a:gd name="connsiteY7835" fmla="*/ 971199 h 6479439"/>
              <a:gd name="connsiteX7836" fmla="*/ 9582349 w 9586368"/>
              <a:gd name="connsiteY7836" fmla="*/ 975238 h 6479439"/>
              <a:gd name="connsiteX7837" fmla="*/ 9572438 w 9586368"/>
              <a:gd name="connsiteY7837" fmla="*/ 975238 h 6479439"/>
              <a:gd name="connsiteX7838" fmla="*/ 9568419 w 9586368"/>
              <a:gd name="connsiteY7838" fmla="*/ 971199 h 6479439"/>
              <a:gd name="connsiteX7839" fmla="*/ 9568419 w 9586368"/>
              <a:gd name="connsiteY7839" fmla="*/ 961329 h 6479439"/>
              <a:gd name="connsiteX7840" fmla="*/ 721974 w 9586368"/>
              <a:gd name="connsiteY7840" fmla="*/ 957266 h 6479439"/>
              <a:gd name="connsiteX7841" fmla="*/ 731884 w 9586368"/>
              <a:gd name="connsiteY7841" fmla="*/ 957266 h 6479439"/>
              <a:gd name="connsiteX7842" fmla="*/ 735903 w 9586368"/>
              <a:gd name="connsiteY7842" fmla="*/ 961305 h 6479439"/>
              <a:gd name="connsiteX7843" fmla="*/ 735903 w 9586368"/>
              <a:gd name="connsiteY7843" fmla="*/ 971175 h 6479439"/>
              <a:gd name="connsiteX7844" fmla="*/ 731884 w 9586368"/>
              <a:gd name="connsiteY7844" fmla="*/ 975214 h 6479439"/>
              <a:gd name="connsiteX7845" fmla="*/ 721974 w 9586368"/>
              <a:gd name="connsiteY7845" fmla="*/ 975214 h 6479439"/>
              <a:gd name="connsiteX7846" fmla="*/ 717956 w 9586368"/>
              <a:gd name="connsiteY7846" fmla="*/ 971175 h 6479439"/>
              <a:gd name="connsiteX7847" fmla="*/ 717956 w 9586368"/>
              <a:gd name="connsiteY7847" fmla="*/ 961305 h 6479439"/>
              <a:gd name="connsiteX7848" fmla="*/ 482662 w 9586368"/>
              <a:gd name="connsiteY7848" fmla="*/ 957266 h 6479439"/>
              <a:gd name="connsiteX7849" fmla="*/ 492572 w 9586368"/>
              <a:gd name="connsiteY7849" fmla="*/ 957266 h 6479439"/>
              <a:gd name="connsiteX7850" fmla="*/ 496591 w 9586368"/>
              <a:gd name="connsiteY7850" fmla="*/ 961305 h 6479439"/>
              <a:gd name="connsiteX7851" fmla="*/ 496591 w 9586368"/>
              <a:gd name="connsiteY7851" fmla="*/ 971175 h 6479439"/>
              <a:gd name="connsiteX7852" fmla="*/ 492572 w 9586368"/>
              <a:gd name="connsiteY7852" fmla="*/ 975214 h 6479439"/>
              <a:gd name="connsiteX7853" fmla="*/ 482662 w 9586368"/>
              <a:gd name="connsiteY7853" fmla="*/ 975214 h 6479439"/>
              <a:gd name="connsiteX7854" fmla="*/ 478643 w 9586368"/>
              <a:gd name="connsiteY7854" fmla="*/ 971175 h 6479439"/>
              <a:gd name="connsiteX7855" fmla="*/ 478643 w 9586368"/>
              <a:gd name="connsiteY7855" fmla="*/ 961305 h 6479439"/>
              <a:gd name="connsiteX7856" fmla="*/ 243349 w 9586368"/>
              <a:gd name="connsiteY7856" fmla="*/ 957266 h 6479439"/>
              <a:gd name="connsiteX7857" fmla="*/ 253259 w 9586368"/>
              <a:gd name="connsiteY7857" fmla="*/ 957266 h 6479439"/>
              <a:gd name="connsiteX7858" fmla="*/ 257278 w 9586368"/>
              <a:gd name="connsiteY7858" fmla="*/ 961305 h 6479439"/>
              <a:gd name="connsiteX7859" fmla="*/ 257278 w 9586368"/>
              <a:gd name="connsiteY7859" fmla="*/ 971175 h 6479439"/>
              <a:gd name="connsiteX7860" fmla="*/ 253259 w 9586368"/>
              <a:gd name="connsiteY7860" fmla="*/ 975214 h 6479439"/>
              <a:gd name="connsiteX7861" fmla="*/ 243349 w 9586368"/>
              <a:gd name="connsiteY7861" fmla="*/ 975214 h 6479439"/>
              <a:gd name="connsiteX7862" fmla="*/ 239330 w 9586368"/>
              <a:gd name="connsiteY7862" fmla="*/ 971175 h 6479439"/>
              <a:gd name="connsiteX7863" fmla="*/ 239330 w 9586368"/>
              <a:gd name="connsiteY7863" fmla="*/ 961305 h 6479439"/>
              <a:gd name="connsiteX7864" fmla="*/ 4036 w 9586368"/>
              <a:gd name="connsiteY7864" fmla="*/ 957266 h 6479439"/>
              <a:gd name="connsiteX7865" fmla="*/ 13946 w 9586368"/>
              <a:gd name="connsiteY7865" fmla="*/ 957266 h 6479439"/>
              <a:gd name="connsiteX7866" fmla="*/ 17965 w 9586368"/>
              <a:gd name="connsiteY7866" fmla="*/ 961305 h 6479439"/>
              <a:gd name="connsiteX7867" fmla="*/ 17965 w 9586368"/>
              <a:gd name="connsiteY7867" fmla="*/ 971176 h 6479439"/>
              <a:gd name="connsiteX7868" fmla="*/ 13946 w 9586368"/>
              <a:gd name="connsiteY7868" fmla="*/ 975214 h 6479439"/>
              <a:gd name="connsiteX7869" fmla="*/ 4036 w 9586368"/>
              <a:gd name="connsiteY7869" fmla="*/ 975214 h 6479439"/>
              <a:gd name="connsiteX7870" fmla="*/ 16 w 9586368"/>
              <a:gd name="connsiteY7870" fmla="*/ 971176 h 6479439"/>
              <a:gd name="connsiteX7871" fmla="*/ 16 w 9586368"/>
              <a:gd name="connsiteY7871" fmla="*/ 961305 h 6479439"/>
              <a:gd name="connsiteX7872" fmla="*/ 3350359 w 9586368"/>
              <a:gd name="connsiteY7872" fmla="*/ 718040 h 6479439"/>
              <a:gd name="connsiteX7873" fmla="*/ 3360268 w 9586368"/>
              <a:gd name="connsiteY7873" fmla="*/ 718040 h 6479439"/>
              <a:gd name="connsiteX7874" fmla="*/ 3364287 w 9586368"/>
              <a:gd name="connsiteY7874" fmla="*/ 722078 h 6479439"/>
              <a:gd name="connsiteX7875" fmla="*/ 3364287 w 9586368"/>
              <a:gd name="connsiteY7875" fmla="*/ 731948 h 6479439"/>
              <a:gd name="connsiteX7876" fmla="*/ 3360268 w 9586368"/>
              <a:gd name="connsiteY7876" fmla="*/ 735987 h 6479439"/>
              <a:gd name="connsiteX7877" fmla="*/ 3350359 w 9586368"/>
              <a:gd name="connsiteY7877" fmla="*/ 735987 h 6479439"/>
              <a:gd name="connsiteX7878" fmla="*/ 3346340 w 9586368"/>
              <a:gd name="connsiteY7878" fmla="*/ 731948 h 6479439"/>
              <a:gd name="connsiteX7879" fmla="*/ 3346340 w 9586368"/>
              <a:gd name="connsiteY7879" fmla="*/ 722078 h 6479439"/>
              <a:gd name="connsiteX7880" fmla="*/ 3111048 w 9586368"/>
              <a:gd name="connsiteY7880" fmla="*/ 718040 h 6479439"/>
              <a:gd name="connsiteX7881" fmla="*/ 3120959 w 9586368"/>
              <a:gd name="connsiteY7881" fmla="*/ 718040 h 6479439"/>
              <a:gd name="connsiteX7882" fmla="*/ 3124977 w 9586368"/>
              <a:gd name="connsiteY7882" fmla="*/ 722078 h 6479439"/>
              <a:gd name="connsiteX7883" fmla="*/ 3124977 w 9586368"/>
              <a:gd name="connsiteY7883" fmla="*/ 731949 h 6479439"/>
              <a:gd name="connsiteX7884" fmla="*/ 3120959 w 9586368"/>
              <a:gd name="connsiteY7884" fmla="*/ 735987 h 6479439"/>
              <a:gd name="connsiteX7885" fmla="*/ 3111048 w 9586368"/>
              <a:gd name="connsiteY7885" fmla="*/ 735987 h 6479439"/>
              <a:gd name="connsiteX7886" fmla="*/ 3107029 w 9586368"/>
              <a:gd name="connsiteY7886" fmla="*/ 731949 h 6479439"/>
              <a:gd name="connsiteX7887" fmla="*/ 3107029 w 9586368"/>
              <a:gd name="connsiteY7887" fmla="*/ 722078 h 6479439"/>
              <a:gd name="connsiteX7888" fmla="*/ 2871737 w 9586368"/>
              <a:gd name="connsiteY7888" fmla="*/ 718040 h 6479439"/>
              <a:gd name="connsiteX7889" fmla="*/ 2881646 w 9586368"/>
              <a:gd name="connsiteY7889" fmla="*/ 718040 h 6479439"/>
              <a:gd name="connsiteX7890" fmla="*/ 2885666 w 9586368"/>
              <a:gd name="connsiteY7890" fmla="*/ 722078 h 6479439"/>
              <a:gd name="connsiteX7891" fmla="*/ 2885666 w 9586368"/>
              <a:gd name="connsiteY7891" fmla="*/ 731949 h 6479439"/>
              <a:gd name="connsiteX7892" fmla="*/ 2881646 w 9586368"/>
              <a:gd name="connsiteY7892" fmla="*/ 735987 h 6479439"/>
              <a:gd name="connsiteX7893" fmla="*/ 2871737 w 9586368"/>
              <a:gd name="connsiteY7893" fmla="*/ 735987 h 6479439"/>
              <a:gd name="connsiteX7894" fmla="*/ 2867717 w 9586368"/>
              <a:gd name="connsiteY7894" fmla="*/ 731949 h 6479439"/>
              <a:gd name="connsiteX7895" fmla="*/ 2867717 w 9586368"/>
              <a:gd name="connsiteY7895" fmla="*/ 722078 h 6479439"/>
              <a:gd name="connsiteX7896" fmla="*/ 2632423 w 9586368"/>
              <a:gd name="connsiteY7896" fmla="*/ 718040 h 6479439"/>
              <a:gd name="connsiteX7897" fmla="*/ 2642334 w 9586368"/>
              <a:gd name="connsiteY7897" fmla="*/ 718040 h 6479439"/>
              <a:gd name="connsiteX7898" fmla="*/ 2646352 w 9586368"/>
              <a:gd name="connsiteY7898" fmla="*/ 722078 h 6479439"/>
              <a:gd name="connsiteX7899" fmla="*/ 2646352 w 9586368"/>
              <a:gd name="connsiteY7899" fmla="*/ 731949 h 6479439"/>
              <a:gd name="connsiteX7900" fmla="*/ 2642334 w 9586368"/>
              <a:gd name="connsiteY7900" fmla="*/ 735988 h 6479439"/>
              <a:gd name="connsiteX7901" fmla="*/ 2632423 w 9586368"/>
              <a:gd name="connsiteY7901" fmla="*/ 735988 h 6479439"/>
              <a:gd name="connsiteX7902" fmla="*/ 2628404 w 9586368"/>
              <a:gd name="connsiteY7902" fmla="*/ 731949 h 6479439"/>
              <a:gd name="connsiteX7903" fmla="*/ 2628404 w 9586368"/>
              <a:gd name="connsiteY7903" fmla="*/ 722078 h 6479439"/>
              <a:gd name="connsiteX7904" fmla="*/ 2393104 w 9586368"/>
              <a:gd name="connsiteY7904" fmla="*/ 718040 h 6479439"/>
              <a:gd name="connsiteX7905" fmla="*/ 2403015 w 9586368"/>
              <a:gd name="connsiteY7905" fmla="*/ 718040 h 6479439"/>
              <a:gd name="connsiteX7906" fmla="*/ 2407034 w 9586368"/>
              <a:gd name="connsiteY7906" fmla="*/ 722078 h 6479439"/>
              <a:gd name="connsiteX7907" fmla="*/ 2407034 w 9586368"/>
              <a:gd name="connsiteY7907" fmla="*/ 731949 h 6479439"/>
              <a:gd name="connsiteX7908" fmla="*/ 2403015 w 9586368"/>
              <a:gd name="connsiteY7908" fmla="*/ 735988 h 6479439"/>
              <a:gd name="connsiteX7909" fmla="*/ 2393104 w 9586368"/>
              <a:gd name="connsiteY7909" fmla="*/ 735988 h 6479439"/>
              <a:gd name="connsiteX7910" fmla="*/ 2389087 w 9586368"/>
              <a:gd name="connsiteY7910" fmla="*/ 731949 h 6479439"/>
              <a:gd name="connsiteX7911" fmla="*/ 2389087 w 9586368"/>
              <a:gd name="connsiteY7911" fmla="*/ 722078 h 6479439"/>
              <a:gd name="connsiteX7912" fmla="*/ 4546929 w 9586368"/>
              <a:gd name="connsiteY7912" fmla="*/ 718028 h 6479439"/>
              <a:gd name="connsiteX7913" fmla="*/ 4556840 w 9586368"/>
              <a:gd name="connsiteY7913" fmla="*/ 718028 h 6479439"/>
              <a:gd name="connsiteX7914" fmla="*/ 4560859 w 9586368"/>
              <a:gd name="connsiteY7914" fmla="*/ 722066 h 6479439"/>
              <a:gd name="connsiteX7915" fmla="*/ 4560859 w 9586368"/>
              <a:gd name="connsiteY7915" fmla="*/ 731935 h 6479439"/>
              <a:gd name="connsiteX7916" fmla="*/ 4556840 w 9586368"/>
              <a:gd name="connsiteY7916" fmla="*/ 735975 h 6479439"/>
              <a:gd name="connsiteX7917" fmla="*/ 4546929 w 9586368"/>
              <a:gd name="connsiteY7917" fmla="*/ 735975 h 6479439"/>
              <a:gd name="connsiteX7918" fmla="*/ 4542910 w 9586368"/>
              <a:gd name="connsiteY7918" fmla="*/ 731935 h 6479439"/>
              <a:gd name="connsiteX7919" fmla="*/ 4542910 w 9586368"/>
              <a:gd name="connsiteY7919" fmla="*/ 722066 h 6479439"/>
              <a:gd name="connsiteX7920" fmla="*/ 4307612 w 9586368"/>
              <a:gd name="connsiteY7920" fmla="*/ 718028 h 6479439"/>
              <a:gd name="connsiteX7921" fmla="*/ 4317523 w 9586368"/>
              <a:gd name="connsiteY7921" fmla="*/ 718028 h 6479439"/>
              <a:gd name="connsiteX7922" fmla="*/ 4321543 w 9586368"/>
              <a:gd name="connsiteY7922" fmla="*/ 722066 h 6479439"/>
              <a:gd name="connsiteX7923" fmla="*/ 4321543 w 9586368"/>
              <a:gd name="connsiteY7923" fmla="*/ 731936 h 6479439"/>
              <a:gd name="connsiteX7924" fmla="*/ 4317523 w 9586368"/>
              <a:gd name="connsiteY7924" fmla="*/ 735975 h 6479439"/>
              <a:gd name="connsiteX7925" fmla="*/ 4307612 w 9586368"/>
              <a:gd name="connsiteY7925" fmla="*/ 735975 h 6479439"/>
              <a:gd name="connsiteX7926" fmla="*/ 4303595 w 9586368"/>
              <a:gd name="connsiteY7926" fmla="*/ 731936 h 6479439"/>
              <a:gd name="connsiteX7927" fmla="*/ 4303595 w 9586368"/>
              <a:gd name="connsiteY7927" fmla="*/ 722066 h 6479439"/>
              <a:gd name="connsiteX7928" fmla="*/ 4068297 w 9586368"/>
              <a:gd name="connsiteY7928" fmla="*/ 718028 h 6479439"/>
              <a:gd name="connsiteX7929" fmla="*/ 4078210 w 9586368"/>
              <a:gd name="connsiteY7929" fmla="*/ 718028 h 6479439"/>
              <a:gd name="connsiteX7930" fmla="*/ 4082229 w 9586368"/>
              <a:gd name="connsiteY7930" fmla="*/ 722066 h 6479439"/>
              <a:gd name="connsiteX7931" fmla="*/ 4082229 w 9586368"/>
              <a:gd name="connsiteY7931" fmla="*/ 731936 h 6479439"/>
              <a:gd name="connsiteX7932" fmla="*/ 4078210 w 9586368"/>
              <a:gd name="connsiteY7932" fmla="*/ 735975 h 6479439"/>
              <a:gd name="connsiteX7933" fmla="*/ 4068297 w 9586368"/>
              <a:gd name="connsiteY7933" fmla="*/ 735975 h 6479439"/>
              <a:gd name="connsiteX7934" fmla="*/ 4064278 w 9586368"/>
              <a:gd name="connsiteY7934" fmla="*/ 731936 h 6479439"/>
              <a:gd name="connsiteX7935" fmla="*/ 4064278 w 9586368"/>
              <a:gd name="connsiteY7935" fmla="*/ 722066 h 6479439"/>
              <a:gd name="connsiteX7936" fmla="*/ 3828990 w 9586368"/>
              <a:gd name="connsiteY7936" fmla="*/ 718028 h 6479439"/>
              <a:gd name="connsiteX7937" fmla="*/ 3838899 w 9586368"/>
              <a:gd name="connsiteY7937" fmla="*/ 718028 h 6479439"/>
              <a:gd name="connsiteX7938" fmla="*/ 3842917 w 9586368"/>
              <a:gd name="connsiteY7938" fmla="*/ 722066 h 6479439"/>
              <a:gd name="connsiteX7939" fmla="*/ 3842917 w 9586368"/>
              <a:gd name="connsiteY7939" fmla="*/ 731936 h 6479439"/>
              <a:gd name="connsiteX7940" fmla="*/ 3838899 w 9586368"/>
              <a:gd name="connsiteY7940" fmla="*/ 735975 h 6479439"/>
              <a:gd name="connsiteX7941" fmla="*/ 3828990 w 9586368"/>
              <a:gd name="connsiteY7941" fmla="*/ 735975 h 6479439"/>
              <a:gd name="connsiteX7942" fmla="*/ 3824971 w 9586368"/>
              <a:gd name="connsiteY7942" fmla="*/ 731936 h 6479439"/>
              <a:gd name="connsiteX7943" fmla="*/ 3824971 w 9586368"/>
              <a:gd name="connsiteY7943" fmla="*/ 722066 h 6479439"/>
              <a:gd name="connsiteX7944" fmla="*/ 3589676 w 9586368"/>
              <a:gd name="connsiteY7944" fmla="*/ 718028 h 6479439"/>
              <a:gd name="connsiteX7945" fmla="*/ 3599585 w 9586368"/>
              <a:gd name="connsiteY7945" fmla="*/ 718028 h 6479439"/>
              <a:gd name="connsiteX7946" fmla="*/ 3603604 w 9586368"/>
              <a:gd name="connsiteY7946" fmla="*/ 722066 h 6479439"/>
              <a:gd name="connsiteX7947" fmla="*/ 3603604 w 9586368"/>
              <a:gd name="connsiteY7947" fmla="*/ 731936 h 6479439"/>
              <a:gd name="connsiteX7948" fmla="*/ 3599585 w 9586368"/>
              <a:gd name="connsiteY7948" fmla="*/ 735975 h 6479439"/>
              <a:gd name="connsiteX7949" fmla="*/ 3589676 w 9586368"/>
              <a:gd name="connsiteY7949" fmla="*/ 735975 h 6479439"/>
              <a:gd name="connsiteX7950" fmla="*/ 3585657 w 9586368"/>
              <a:gd name="connsiteY7950" fmla="*/ 731936 h 6479439"/>
              <a:gd name="connsiteX7951" fmla="*/ 3585657 w 9586368"/>
              <a:gd name="connsiteY7951" fmla="*/ 722066 h 6479439"/>
              <a:gd name="connsiteX7952" fmla="*/ 5743412 w 9586368"/>
              <a:gd name="connsiteY7952" fmla="*/ 718015 h 6479439"/>
              <a:gd name="connsiteX7953" fmla="*/ 5753323 w 9586368"/>
              <a:gd name="connsiteY7953" fmla="*/ 718015 h 6479439"/>
              <a:gd name="connsiteX7954" fmla="*/ 5757342 w 9586368"/>
              <a:gd name="connsiteY7954" fmla="*/ 722053 h 6479439"/>
              <a:gd name="connsiteX7955" fmla="*/ 5757342 w 9586368"/>
              <a:gd name="connsiteY7955" fmla="*/ 731924 h 6479439"/>
              <a:gd name="connsiteX7956" fmla="*/ 5753323 w 9586368"/>
              <a:gd name="connsiteY7956" fmla="*/ 735963 h 6479439"/>
              <a:gd name="connsiteX7957" fmla="*/ 5743412 w 9586368"/>
              <a:gd name="connsiteY7957" fmla="*/ 735963 h 6479439"/>
              <a:gd name="connsiteX7958" fmla="*/ 5739393 w 9586368"/>
              <a:gd name="connsiteY7958" fmla="*/ 731924 h 6479439"/>
              <a:gd name="connsiteX7959" fmla="*/ 5739393 w 9586368"/>
              <a:gd name="connsiteY7959" fmla="*/ 722053 h 6479439"/>
              <a:gd name="connsiteX7960" fmla="*/ 5504099 w 9586368"/>
              <a:gd name="connsiteY7960" fmla="*/ 718015 h 6479439"/>
              <a:gd name="connsiteX7961" fmla="*/ 5514010 w 9586368"/>
              <a:gd name="connsiteY7961" fmla="*/ 718015 h 6479439"/>
              <a:gd name="connsiteX7962" fmla="*/ 5518029 w 9586368"/>
              <a:gd name="connsiteY7962" fmla="*/ 722053 h 6479439"/>
              <a:gd name="connsiteX7963" fmla="*/ 5518029 w 9586368"/>
              <a:gd name="connsiteY7963" fmla="*/ 731924 h 6479439"/>
              <a:gd name="connsiteX7964" fmla="*/ 5514010 w 9586368"/>
              <a:gd name="connsiteY7964" fmla="*/ 735963 h 6479439"/>
              <a:gd name="connsiteX7965" fmla="*/ 5504099 w 9586368"/>
              <a:gd name="connsiteY7965" fmla="*/ 735963 h 6479439"/>
              <a:gd name="connsiteX7966" fmla="*/ 5500080 w 9586368"/>
              <a:gd name="connsiteY7966" fmla="*/ 731924 h 6479439"/>
              <a:gd name="connsiteX7967" fmla="*/ 5500080 w 9586368"/>
              <a:gd name="connsiteY7967" fmla="*/ 722053 h 6479439"/>
              <a:gd name="connsiteX7968" fmla="*/ 5264784 w 9586368"/>
              <a:gd name="connsiteY7968" fmla="*/ 718015 h 6479439"/>
              <a:gd name="connsiteX7969" fmla="*/ 5274694 w 9586368"/>
              <a:gd name="connsiteY7969" fmla="*/ 718015 h 6479439"/>
              <a:gd name="connsiteX7970" fmla="*/ 5278713 w 9586368"/>
              <a:gd name="connsiteY7970" fmla="*/ 722053 h 6479439"/>
              <a:gd name="connsiteX7971" fmla="*/ 5278713 w 9586368"/>
              <a:gd name="connsiteY7971" fmla="*/ 731924 h 6479439"/>
              <a:gd name="connsiteX7972" fmla="*/ 5274694 w 9586368"/>
              <a:gd name="connsiteY7972" fmla="*/ 735963 h 6479439"/>
              <a:gd name="connsiteX7973" fmla="*/ 5264784 w 9586368"/>
              <a:gd name="connsiteY7973" fmla="*/ 735963 h 6479439"/>
              <a:gd name="connsiteX7974" fmla="*/ 5260765 w 9586368"/>
              <a:gd name="connsiteY7974" fmla="*/ 731924 h 6479439"/>
              <a:gd name="connsiteX7975" fmla="*/ 5260765 w 9586368"/>
              <a:gd name="connsiteY7975" fmla="*/ 722053 h 6479439"/>
              <a:gd name="connsiteX7976" fmla="*/ 5025470 w 9586368"/>
              <a:gd name="connsiteY7976" fmla="*/ 718015 h 6479439"/>
              <a:gd name="connsiteX7977" fmla="*/ 5035381 w 9586368"/>
              <a:gd name="connsiteY7977" fmla="*/ 718015 h 6479439"/>
              <a:gd name="connsiteX7978" fmla="*/ 5039400 w 9586368"/>
              <a:gd name="connsiteY7978" fmla="*/ 722053 h 6479439"/>
              <a:gd name="connsiteX7979" fmla="*/ 5039400 w 9586368"/>
              <a:gd name="connsiteY7979" fmla="*/ 731924 h 6479439"/>
              <a:gd name="connsiteX7980" fmla="*/ 5035381 w 9586368"/>
              <a:gd name="connsiteY7980" fmla="*/ 735963 h 6479439"/>
              <a:gd name="connsiteX7981" fmla="*/ 5025470 w 9586368"/>
              <a:gd name="connsiteY7981" fmla="*/ 735963 h 6479439"/>
              <a:gd name="connsiteX7982" fmla="*/ 5021451 w 9586368"/>
              <a:gd name="connsiteY7982" fmla="*/ 731924 h 6479439"/>
              <a:gd name="connsiteX7983" fmla="*/ 5021451 w 9586368"/>
              <a:gd name="connsiteY7983" fmla="*/ 722053 h 6479439"/>
              <a:gd name="connsiteX7984" fmla="*/ 4786241 w 9586368"/>
              <a:gd name="connsiteY7984" fmla="*/ 718015 h 6479439"/>
              <a:gd name="connsiteX7985" fmla="*/ 4796152 w 9586368"/>
              <a:gd name="connsiteY7985" fmla="*/ 718015 h 6479439"/>
              <a:gd name="connsiteX7986" fmla="*/ 4800171 w 9586368"/>
              <a:gd name="connsiteY7986" fmla="*/ 722053 h 6479439"/>
              <a:gd name="connsiteX7987" fmla="*/ 4800171 w 9586368"/>
              <a:gd name="connsiteY7987" fmla="*/ 731924 h 6479439"/>
              <a:gd name="connsiteX7988" fmla="*/ 4796152 w 9586368"/>
              <a:gd name="connsiteY7988" fmla="*/ 735963 h 6479439"/>
              <a:gd name="connsiteX7989" fmla="*/ 4786241 w 9586368"/>
              <a:gd name="connsiteY7989" fmla="*/ 735963 h 6479439"/>
              <a:gd name="connsiteX7990" fmla="*/ 4782224 w 9586368"/>
              <a:gd name="connsiteY7990" fmla="*/ 731924 h 6479439"/>
              <a:gd name="connsiteX7991" fmla="*/ 4782224 w 9586368"/>
              <a:gd name="connsiteY7991" fmla="*/ 722053 h 6479439"/>
              <a:gd name="connsiteX7992" fmla="*/ 6939983 w 9586368"/>
              <a:gd name="connsiteY7992" fmla="*/ 718003 h 6479439"/>
              <a:gd name="connsiteX7993" fmla="*/ 6949894 w 9586368"/>
              <a:gd name="connsiteY7993" fmla="*/ 718003 h 6479439"/>
              <a:gd name="connsiteX7994" fmla="*/ 6953913 w 9586368"/>
              <a:gd name="connsiteY7994" fmla="*/ 722041 h 6479439"/>
              <a:gd name="connsiteX7995" fmla="*/ 6953913 w 9586368"/>
              <a:gd name="connsiteY7995" fmla="*/ 731911 h 6479439"/>
              <a:gd name="connsiteX7996" fmla="*/ 6949894 w 9586368"/>
              <a:gd name="connsiteY7996" fmla="*/ 735950 h 6479439"/>
              <a:gd name="connsiteX7997" fmla="*/ 6939983 w 9586368"/>
              <a:gd name="connsiteY7997" fmla="*/ 735950 h 6479439"/>
              <a:gd name="connsiteX7998" fmla="*/ 6935964 w 9586368"/>
              <a:gd name="connsiteY7998" fmla="*/ 731911 h 6479439"/>
              <a:gd name="connsiteX7999" fmla="*/ 6935964 w 9586368"/>
              <a:gd name="connsiteY7999" fmla="*/ 722041 h 6479439"/>
              <a:gd name="connsiteX8000" fmla="*/ 6700670 w 9586368"/>
              <a:gd name="connsiteY8000" fmla="*/ 718003 h 6479439"/>
              <a:gd name="connsiteX8001" fmla="*/ 6710581 w 9586368"/>
              <a:gd name="connsiteY8001" fmla="*/ 718003 h 6479439"/>
              <a:gd name="connsiteX8002" fmla="*/ 6714600 w 9586368"/>
              <a:gd name="connsiteY8002" fmla="*/ 722041 h 6479439"/>
              <a:gd name="connsiteX8003" fmla="*/ 6714600 w 9586368"/>
              <a:gd name="connsiteY8003" fmla="*/ 731912 h 6479439"/>
              <a:gd name="connsiteX8004" fmla="*/ 6710581 w 9586368"/>
              <a:gd name="connsiteY8004" fmla="*/ 735950 h 6479439"/>
              <a:gd name="connsiteX8005" fmla="*/ 6700670 w 9586368"/>
              <a:gd name="connsiteY8005" fmla="*/ 735950 h 6479439"/>
              <a:gd name="connsiteX8006" fmla="*/ 6696651 w 9586368"/>
              <a:gd name="connsiteY8006" fmla="*/ 731912 h 6479439"/>
              <a:gd name="connsiteX8007" fmla="*/ 6696651 w 9586368"/>
              <a:gd name="connsiteY8007" fmla="*/ 722041 h 6479439"/>
              <a:gd name="connsiteX8008" fmla="*/ 6461356 w 9586368"/>
              <a:gd name="connsiteY8008" fmla="*/ 718003 h 6479439"/>
              <a:gd name="connsiteX8009" fmla="*/ 6471266 w 9586368"/>
              <a:gd name="connsiteY8009" fmla="*/ 718003 h 6479439"/>
              <a:gd name="connsiteX8010" fmla="*/ 6475285 w 9586368"/>
              <a:gd name="connsiteY8010" fmla="*/ 722041 h 6479439"/>
              <a:gd name="connsiteX8011" fmla="*/ 6475285 w 9586368"/>
              <a:gd name="connsiteY8011" fmla="*/ 731912 h 6479439"/>
              <a:gd name="connsiteX8012" fmla="*/ 6471266 w 9586368"/>
              <a:gd name="connsiteY8012" fmla="*/ 735950 h 6479439"/>
              <a:gd name="connsiteX8013" fmla="*/ 6461356 w 9586368"/>
              <a:gd name="connsiteY8013" fmla="*/ 735950 h 6479439"/>
              <a:gd name="connsiteX8014" fmla="*/ 6457337 w 9586368"/>
              <a:gd name="connsiteY8014" fmla="*/ 731912 h 6479439"/>
              <a:gd name="connsiteX8015" fmla="*/ 6457337 w 9586368"/>
              <a:gd name="connsiteY8015" fmla="*/ 722041 h 6479439"/>
              <a:gd name="connsiteX8016" fmla="*/ 6222042 w 9586368"/>
              <a:gd name="connsiteY8016" fmla="*/ 718003 h 6479439"/>
              <a:gd name="connsiteX8017" fmla="*/ 6231952 w 9586368"/>
              <a:gd name="connsiteY8017" fmla="*/ 718003 h 6479439"/>
              <a:gd name="connsiteX8018" fmla="*/ 6235971 w 9586368"/>
              <a:gd name="connsiteY8018" fmla="*/ 722041 h 6479439"/>
              <a:gd name="connsiteX8019" fmla="*/ 6235971 w 9586368"/>
              <a:gd name="connsiteY8019" fmla="*/ 731912 h 6479439"/>
              <a:gd name="connsiteX8020" fmla="*/ 6231952 w 9586368"/>
              <a:gd name="connsiteY8020" fmla="*/ 735951 h 6479439"/>
              <a:gd name="connsiteX8021" fmla="*/ 6222042 w 9586368"/>
              <a:gd name="connsiteY8021" fmla="*/ 735951 h 6479439"/>
              <a:gd name="connsiteX8022" fmla="*/ 6218023 w 9586368"/>
              <a:gd name="connsiteY8022" fmla="*/ 731912 h 6479439"/>
              <a:gd name="connsiteX8023" fmla="*/ 6218023 w 9586368"/>
              <a:gd name="connsiteY8023" fmla="*/ 722041 h 6479439"/>
              <a:gd name="connsiteX8024" fmla="*/ 5982729 w 9586368"/>
              <a:gd name="connsiteY8024" fmla="*/ 718003 h 6479439"/>
              <a:gd name="connsiteX8025" fmla="*/ 5992639 w 9586368"/>
              <a:gd name="connsiteY8025" fmla="*/ 718003 h 6479439"/>
              <a:gd name="connsiteX8026" fmla="*/ 5996658 w 9586368"/>
              <a:gd name="connsiteY8026" fmla="*/ 722041 h 6479439"/>
              <a:gd name="connsiteX8027" fmla="*/ 5996658 w 9586368"/>
              <a:gd name="connsiteY8027" fmla="*/ 731912 h 6479439"/>
              <a:gd name="connsiteX8028" fmla="*/ 5992639 w 9586368"/>
              <a:gd name="connsiteY8028" fmla="*/ 735951 h 6479439"/>
              <a:gd name="connsiteX8029" fmla="*/ 5982729 w 9586368"/>
              <a:gd name="connsiteY8029" fmla="*/ 735951 h 6479439"/>
              <a:gd name="connsiteX8030" fmla="*/ 5978710 w 9586368"/>
              <a:gd name="connsiteY8030" fmla="*/ 731912 h 6479439"/>
              <a:gd name="connsiteX8031" fmla="*/ 5978710 w 9586368"/>
              <a:gd name="connsiteY8031" fmla="*/ 722041 h 6479439"/>
              <a:gd name="connsiteX8032" fmla="*/ 8136553 w 9586368"/>
              <a:gd name="connsiteY8032" fmla="*/ 717990 h 6479439"/>
              <a:gd name="connsiteX8033" fmla="*/ 8146464 w 9586368"/>
              <a:gd name="connsiteY8033" fmla="*/ 717990 h 6479439"/>
              <a:gd name="connsiteX8034" fmla="*/ 8150483 w 9586368"/>
              <a:gd name="connsiteY8034" fmla="*/ 722028 h 6479439"/>
              <a:gd name="connsiteX8035" fmla="*/ 8150483 w 9586368"/>
              <a:gd name="connsiteY8035" fmla="*/ 731899 h 6479439"/>
              <a:gd name="connsiteX8036" fmla="*/ 8146464 w 9586368"/>
              <a:gd name="connsiteY8036" fmla="*/ 735938 h 6479439"/>
              <a:gd name="connsiteX8037" fmla="*/ 8136553 w 9586368"/>
              <a:gd name="connsiteY8037" fmla="*/ 735938 h 6479439"/>
              <a:gd name="connsiteX8038" fmla="*/ 8132534 w 9586368"/>
              <a:gd name="connsiteY8038" fmla="*/ 731899 h 6479439"/>
              <a:gd name="connsiteX8039" fmla="*/ 8132534 w 9586368"/>
              <a:gd name="connsiteY8039" fmla="*/ 722028 h 6479439"/>
              <a:gd name="connsiteX8040" fmla="*/ 7897241 w 9586368"/>
              <a:gd name="connsiteY8040" fmla="*/ 717990 h 6479439"/>
              <a:gd name="connsiteX8041" fmla="*/ 7907151 w 9586368"/>
              <a:gd name="connsiteY8041" fmla="*/ 717990 h 6479439"/>
              <a:gd name="connsiteX8042" fmla="*/ 7911170 w 9586368"/>
              <a:gd name="connsiteY8042" fmla="*/ 722029 h 6479439"/>
              <a:gd name="connsiteX8043" fmla="*/ 7911170 w 9586368"/>
              <a:gd name="connsiteY8043" fmla="*/ 731899 h 6479439"/>
              <a:gd name="connsiteX8044" fmla="*/ 7907151 w 9586368"/>
              <a:gd name="connsiteY8044" fmla="*/ 735938 h 6479439"/>
              <a:gd name="connsiteX8045" fmla="*/ 7897241 w 9586368"/>
              <a:gd name="connsiteY8045" fmla="*/ 735938 h 6479439"/>
              <a:gd name="connsiteX8046" fmla="*/ 7893222 w 9586368"/>
              <a:gd name="connsiteY8046" fmla="*/ 731899 h 6479439"/>
              <a:gd name="connsiteX8047" fmla="*/ 7893222 w 9586368"/>
              <a:gd name="connsiteY8047" fmla="*/ 722029 h 6479439"/>
              <a:gd name="connsiteX8048" fmla="*/ 7657926 w 9586368"/>
              <a:gd name="connsiteY8048" fmla="*/ 717990 h 6479439"/>
              <a:gd name="connsiteX8049" fmla="*/ 7667836 w 9586368"/>
              <a:gd name="connsiteY8049" fmla="*/ 717990 h 6479439"/>
              <a:gd name="connsiteX8050" fmla="*/ 7671855 w 9586368"/>
              <a:gd name="connsiteY8050" fmla="*/ 722029 h 6479439"/>
              <a:gd name="connsiteX8051" fmla="*/ 7671855 w 9586368"/>
              <a:gd name="connsiteY8051" fmla="*/ 731899 h 6479439"/>
              <a:gd name="connsiteX8052" fmla="*/ 7667836 w 9586368"/>
              <a:gd name="connsiteY8052" fmla="*/ 735938 h 6479439"/>
              <a:gd name="connsiteX8053" fmla="*/ 7657926 w 9586368"/>
              <a:gd name="connsiteY8053" fmla="*/ 735938 h 6479439"/>
              <a:gd name="connsiteX8054" fmla="*/ 7653906 w 9586368"/>
              <a:gd name="connsiteY8054" fmla="*/ 731899 h 6479439"/>
              <a:gd name="connsiteX8055" fmla="*/ 7653906 w 9586368"/>
              <a:gd name="connsiteY8055" fmla="*/ 722029 h 6479439"/>
              <a:gd name="connsiteX8056" fmla="*/ 7418611 w 9586368"/>
              <a:gd name="connsiteY8056" fmla="*/ 717990 h 6479439"/>
              <a:gd name="connsiteX8057" fmla="*/ 7428521 w 9586368"/>
              <a:gd name="connsiteY8057" fmla="*/ 717990 h 6479439"/>
              <a:gd name="connsiteX8058" fmla="*/ 7432540 w 9586368"/>
              <a:gd name="connsiteY8058" fmla="*/ 722029 h 6479439"/>
              <a:gd name="connsiteX8059" fmla="*/ 7432540 w 9586368"/>
              <a:gd name="connsiteY8059" fmla="*/ 731899 h 6479439"/>
              <a:gd name="connsiteX8060" fmla="*/ 7428521 w 9586368"/>
              <a:gd name="connsiteY8060" fmla="*/ 735938 h 6479439"/>
              <a:gd name="connsiteX8061" fmla="*/ 7418611 w 9586368"/>
              <a:gd name="connsiteY8061" fmla="*/ 735938 h 6479439"/>
              <a:gd name="connsiteX8062" fmla="*/ 7414592 w 9586368"/>
              <a:gd name="connsiteY8062" fmla="*/ 731899 h 6479439"/>
              <a:gd name="connsiteX8063" fmla="*/ 7414592 w 9586368"/>
              <a:gd name="connsiteY8063" fmla="*/ 722029 h 6479439"/>
              <a:gd name="connsiteX8064" fmla="*/ 7179298 w 9586368"/>
              <a:gd name="connsiteY8064" fmla="*/ 717990 h 6479439"/>
              <a:gd name="connsiteX8065" fmla="*/ 7189209 w 9586368"/>
              <a:gd name="connsiteY8065" fmla="*/ 717990 h 6479439"/>
              <a:gd name="connsiteX8066" fmla="*/ 7193228 w 9586368"/>
              <a:gd name="connsiteY8066" fmla="*/ 722029 h 6479439"/>
              <a:gd name="connsiteX8067" fmla="*/ 7193228 w 9586368"/>
              <a:gd name="connsiteY8067" fmla="*/ 731899 h 6479439"/>
              <a:gd name="connsiteX8068" fmla="*/ 7189209 w 9586368"/>
              <a:gd name="connsiteY8068" fmla="*/ 735938 h 6479439"/>
              <a:gd name="connsiteX8069" fmla="*/ 7179298 w 9586368"/>
              <a:gd name="connsiteY8069" fmla="*/ 735938 h 6479439"/>
              <a:gd name="connsiteX8070" fmla="*/ 7175279 w 9586368"/>
              <a:gd name="connsiteY8070" fmla="*/ 731899 h 6479439"/>
              <a:gd name="connsiteX8071" fmla="*/ 7175279 w 9586368"/>
              <a:gd name="connsiteY8071" fmla="*/ 722029 h 6479439"/>
              <a:gd name="connsiteX8072" fmla="*/ 961272 w 9586368"/>
              <a:gd name="connsiteY8072" fmla="*/ 717980 h 6479439"/>
              <a:gd name="connsiteX8073" fmla="*/ 971182 w 9586368"/>
              <a:gd name="connsiteY8073" fmla="*/ 717980 h 6479439"/>
              <a:gd name="connsiteX8074" fmla="*/ 975202 w 9586368"/>
              <a:gd name="connsiteY8074" fmla="*/ 722018 h 6479439"/>
              <a:gd name="connsiteX8075" fmla="*/ 975202 w 9586368"/>
              <a:gd name="connsiteY8075" fmla="*/ 731889 h 6479439"/>
              <a:gd name="connsiteX8076" fmla="*/ 971182 w 9586368"/>
              <a:gd name="connsiteY8076" fmla="*/ 735928 h 6479439"/>
              <a:gd name="connsiteX8077" fmla="*/ 961272 w 9586368"/>
              <a:gd name="connsiteY8077" fmla="*/ 735928 h 6479439"/>
              <a:gd name="connsiteX8078" fmla="*/ 957254 w 9586368"/>
              <a:gd name="connsiteY8078" fmla="*/ 731889 h 6479439"/>
              <a:gd name="connsiteX8079" fmla="*/ 957254 w 9586368"/>
              <a:gd name="connsiteY8079" fmla="*/ 722018 h 6479439"/>
              <a:gd name="connsiteX8080" fmla="*/ 1679219 w 9586368"/>
              <a:gd name="connsiteY8080" fmla="*/ 717979 h 6479439"/>
              <a:gd name="connsiteX8081" fmla="*/ 1689128 w 9586368"/>
              <a:gd name="connsiteY8081" fmla="*/ 717979 h 6479439"/>
              <a:gd name="connsiteX8082" fmla="*/ 1693149 w 9586368"/>
              <a:gd name="connsiteY8082" fmla="*/ 722018 h 6479439"/>
              <a:gd name="connsiteX8083" fmla="*/ 1693149 w 9586368"/>
              <a:gd name="connsiteY8083" fmla="*/ 731889 h 6479439"/>
              <a:gd name="connsiteX8084" fmla="*/ 1689128 w 9586368"/>
              <a:gd name="connsiteY8084" fmla="*/ 735927 h 6479439"/>
              <a:gd name="connsiteX8085" fmla="*/ 1679219 w 9586368"/>
              <a:gd name="connsiteY8085" fmla="*/ 735927 h 6479439"/>
              <a:gd name="connsiteX8086" fmla="*/ 1675200 w 9586368"/>
              <a:gd name="connsiteY8086" fmla="*/ 731889 h 6479439"/>
              <a:gd name="connsiteX8087" fmla="*/ 1675200 w 9586368"/>
              <a:gd name="connsiteY8087" fmla="*/ 722018 h 6479439"/>
              <a:gd name="connsiteX8088" fmla="*/ 1439901 w 9586368"/>
              <a:gd name="connsiteY8088" fmla="*/ 717979 h 6479439"/>
              <a:gd name="connsiteX8089" fmla="*/ 1449811 w 9586368"/>
              <a:gd name="connsiteY8089" fmla="*/ 717979 h 6479439"/>
              <a:gd name="connsiteX8090" fmla="*/ 1453831 w 9586368"/>
              <a:gd name="connsiteY8090" fmla="*/ 722018 h 6479439"/>
              <a:gd name="connsiteX8091" fmla="*/ 1453831 w 9586368"/>
              <a:gd name="connsiteY8091" fmla="*/ 731889 h 6479439"/>
              <a:gd name="connsiteX8092" fmla="*/ 1449811 w 9586368"/>
              <a:gd name="connsiteY8092" fmla="*/ 735927 h 6479439"/>
              <a:gd name="connsiteX8093" fmla="*/ 1439901 w 9586368"/>
              <a:gd name="connsiteY8093" fmla="*/ 735927 h 6479439"/>
              <a:gd name="connsiteX8094" fmla="*/ 1435883 w 9586368"/>
              <a:gd name="connsiteY8094" fmla="*/ 731889 h 6479439"/>
              <a:gd name="connsiteX8095" fmla="*/ 1435883 w 9586368"/>
              <a:gd name="connsiteY8095" fmla="*/ 722018 h 6479439"/>
              <a:gd name="connsiteX8096" fmla="*/ 1200585 w 9586368"/>
              <a:gd name="connsiteY8096" fmla="*/ 717979 h 6479439"/>
              <a:gd name="connsiteX8097" fmla="*/ 1210495 w 9586368"/>
              <a:gd name="connsiteY8097" fmla="*/ 717979 h 6479439"/>
              <a:gd name="connsiteX8098" fmla="*/ 1214513 w 9586368"/>
              <a:gd name="connsiteY8098" fmla="*/ 722018 h 6479439"/>
              <a:gd name="connsiteX8099" fmla="*/ 1214513 w 9586368"/>
              <a:gd name="connsiteY8099" fmla="*/ 731889 h 6479439"/>
              <a:gd name="connsiteX8100" fmla="*/ 1210495 w 9586368"/>
              <a:gd name="connsiteY8100" fmla="*/ 735927 h 6479439"/>
              <a:gd name="connsiteX8101" fmla="*/ 1200585 w 9586368"/>
              <a:gd name="connsiteY8101" fmla="*/ 735927 h 6479439"/>
              <a:gd name="connsiteX8102" fmla="*/ 1196566 w 9586368"/>
              <a:gd name="connsiteY8102" fmla="*/ 731889 h 6479439"/>
              <a:gd name="connsiteX8103" fmla="*/ 1196566 w 9586368"/>
              <a:gd name="connsiteY8103" fmla="*/ 722018 h 6479439"/>
              <a:gd name="connsiteX8104" fmla="*/ 9333125 w 9586368"/>
              <a:gd name="connsiteY8104" fmla="*/ 717978 h 6479439"/>
              <a:gd name="connsiteX8105" fmla="*/ 9343036 w 9586368"/>
              <a:gd name="connsiteY8105" fmla="*/ 717978 h 6479439"/>
              <a:gd name="connsiteX8106" fmla="*/ 9347055 w 9586368"/>
              <a:gd name="connsiteY8106" fmla="*/ 722016 h 6479439"/>
              <a:gd name="connsiteX8107" fmla="*/ 9347055 w 9586368"/>
              <a:gd name="connsiteY8107" fmla="*/ 731887 h 6479439"/>
              <a:gd name="connsiteX8108" fmla="*/ 9343036 w 9586368"/>
              <a:gd name="connsiteY8108" fmla="*/ 735926 h 6479439"/>
              <a:gd name="connsiteX8109" fmla="*/ 9333125 w 9586368"/>
              <a:gd name="connsiteY8109" fmla="*/ 735926 h 6479439"/>
              <a:gd name="connsiteX8110" fmla="*/ 9329106 w 9586368"/>
              <a:gd name="connsiteY8110" fmla="*/ 731887 h 6479439"/>
              <a:gd name="connsiteX8111" fmla="*/ 9329106 w 9586368"/>
              <a:gd name="connsiteY8111" fmla="*/ 722016 h 6479439"/>
              <a:gd name="connsiteX8112" fmla="*/ 9093811 w 9586368"/>
              <a:gd name="connsiteY8112" fmla="*/ 717978 h 6479439"/>
              <a:gd name="connsiteX8113" fmla="*/ 9103722 w 9586368"/>
              <a:gd name="connsiteY8113" fmla="*/ 717978 h 6479439"/>
              <a:gd name="connsiteX8114" fmla="*/ 9107741 w 9586368"/>
              <a:gd name="connsiteY8114" fmla="*/ 722016 h 6479439"/>
              <a:gd name="connsiteX8115" fmla="*/ 9107741 w 9586368"/>
              <a:gd name="connsiteY8115" fmla="*/ 731887 h 6479439"/>
              <a:gd name="connsiteX8116" fmla="*/ 9103722 w 9586368"/>
              <a:gd name="connsiteY8116" fmla="*/ 735926 h 6479439"/>
              <a:gd name="connsiteX8117" fmla="*/ 9093811 w 9586368"/>
              <a:gd name="connsiteY8117" fmla="*/ 735926 h 6479439"/>
              <a:gd name="connsiteX8118" fmla="*/ 9089792 w 9586368"/>
              <a:gd name="connsiteY8118" fmla="*/ 731887 h 6479439"/>
              <a:gd name="connsiteX8119" fmla="*/ 9089792 w 9586368"/>
              <a:gd name="connsiteY8119" fmla="*/ 722016 h 6479439"/>
              <a:gd name="connsiteX8120" fmla="*/ 8854496 w 9586368"/>
              <a:gd name="connsiteY8120" fmla="*/ 717978 h 6479439"/>
              <a:gd name="connsiteX8121" fmla="*/ 8864407 w 9586368"/>
              <a:gd name="connsiteY8121" fmla="*/ 717978 h 6479439"/>
              <a:gd name="connsiteX8122" fmla="*/ 8868426 w 9586368"/>
              <a:gd name="connsiteY8122" fmla="*/ 722016 h 6479439"/>
              <a:gd name="connsiteX8123" fmla="*/ 8868426 w 9586368"/>
              <a:gd name="connsiteY8123" fmla="*/ 731887 h 6479439"/>
              <a:gd name="connsiteX8124" fmla="*/ 8864407 w 9586368"/>
              <a:gd name="connsiteY8124" fmla="*/ 735926 h 6479439"/>
              <a:gd name="connsiteX8125" fmla="*/ 8854496 w 9586368"/>
              <a:gd name="connsiteY8125" fmla="*/ 735926 h 6479439"/>
              <a:gd name="connsiteX8126" fmla="*/ 8850477 w 9586368"/>
              <a:gd name="connsiteY8126" fmla="*/ 731887 h 6479439"/>
              <a:gd name="connsiteX8127" fmla="*/ 8850477 w 9586368"/>
              <a:gd name="connsiteY8127" fmla="*/ 722016 h 6479439"/>
              <a:gd name="connsiteX8128" fmla="*/ 8615184 w 9586368"/>
              <a:gd name="connsiteY8128" fmla="*/ 717978 h 6479439"/>
              <a:gd name="connsiteX8129" fmla="*/ 8625095 w 9586368"/>
              <a:gd name="connsiteY8129" fmla="*/ 717978 h 6479439"/>
              <a:gd name="connsiteX8130" fmla="*/ 8629114 w 9586368"/>
              <a:gd name="connsiteY8130" fmla="*/ 722016 h 6479439"/>
              <a:gd name="connsiteX8131" fmla="*/ 8629114 w 9586368"/>
              <a:gd name="connsiteY8131" fmla="*/ 731887 h 6479439"/>
              <a:gd name="connsiteX8132" fmla="*/ 8625095 w 9586368"/>
              <a:gd name="connsiteY8132" fmla="*/ 735926 h 6479439"/>
              <a:gd name="connsiteX8133" fmla="*/ 8615184 w 9586368"/>
              <a:gd name="connsiteY8133" fmla="*/ 735926 h 6479439"/>
              <a:gd name="connsiteX8134" fmla="*/ 8611165 w 9586368"/>
              <a:gd name="connsiteY8134" fmla="*/ 731887 h 6479439"/>
              <a:gd name="connsiteX8135" fmla="*/ 8611165 w 9586368"/>
              <a:gd name="connsiteY8135" fmla="*/ 722016 h 6479439"/>
              <a:gd name="connsiteX8136" fmla="*/ 8375869 w 9586368"/>
              <a:gd name="connsiteY8136" fmla="*/ 717978 h 6479439"/>
              <a:gd name="connsiteX8137" fmla="*/ 8385779 w 9586368"/>
              <a:gd name="connsiteY8137" fmla="*/ 717978 h 6479439"/>
              <a:gd name="connsiteX8138" fmla="*/ 8389799 w 9586368"/>
              <a:gd name="connsiteY8138" fmla="*/ 722016 h 6479439"/>
              <a:gd name="connsiteX8139" fmla="*/ 8389799 w 9586368"/>
              <a:gd name="connsiteY8139" fmla="*/ 731887 h 6479439"/>
              <a:gd name="connsiteX8140" fmla="*/ 8385779 w 9586368"/>
              <a:gd name="connsiteY8140" fmla="*/ 735926 h 6479439"/>
              <a:gd name="connsiteX8141" fmla="*/ 8375869 w 9586368"/>
              <a:gd name="connsiteY8141" fmla="*/ 735926 h 6479439"/>
              <a:gd name="connsiteX8142" fmla="*/ 8371850 w 9586368"/>
              <a:gd name="connsiteY8142" fmla="*/ 731887 h 6479439"/>
              <a:gd name="connsiteX8143" fmla="*/ 8371850 w 9586368"/>
              <a:gd name="connsiteY8143" fmla="*/ 722016 h 6479439"/>
              <a:gd name="connsiteX8144" fmla="*/ 1918514 w 9586368"/>
              <a:gd name="connsiteY8144" fmla="*/ 717970 h 6479439"/>
              <a:gd name="connsiteX8145" fmla="*/ 1928424 w 9586368"/>
              <a:gd name="connsiteY8145" fmla="*/ 717970 h 6479439"/>
              <a:gd name="connsiteX8146" fmla="*/ 1932444 w 9586368"/>
              <a:gd name="connsiteY8146" fmla="*/ 722009 h 6479439"/>
              <a:gd name="connsiteX8147" fmla="*/ 1932444 w 9586368"/>
              <a:gd name="connsiteY8147" fmla="*/ 731879 h 6479439"/>
              <a:gd name="connsiteX8148" fmla="*/ 1928424 w 9586368"/>
              <a:gd name="connsiteY8148" fmla="*/ 735918 h 6479439"/>
              <a:gd name="connsiteX8149" fmla="*/ 1918514 w 9586368"/>
              <a:gd name="connsiteY8149" fmla="*/ 735918 h 6479439"/>
              <a:gd name="connsiteX8150" fmla="*/ 1914495 w 9586368"/>
              <a:gd name="connsiteY8150" fmla="*/ 731879 h 6479439"/>
              <a:gd name="connsiteX8151" fmla="*/ 1914495 w 9586368"/>
              <a:gd name="connsiteY8151" fmla="*/ 722009 h 6479439"/>
              <a:gd name="connsiteX8152" fmla="*/ 2157823 w 9586368"/>
              <a:gd name="connsiteY8152" fmla="*/ 717968 h 6479439"/>
              <a:gd name="connsiteX8153" fmla="*/ 2167733 w 9586368"/>
              <a:gd name="connsiteY8153" fmla="*/ 717968 h 6479439"/>
              <a:gd name="connsiteX8154" fmla="*/ 2171753 w 9586368"/>
              <a:gd name="connsiteY8154" fmla="*/ 722006 h 6479439"/>
              <a:gd name="connsiteX8155" fmla="*/ 2171753 w 9586368"/>
              <a:gd name="connsiteY8155" fmla="*/ 731877 h 6479439"/>
              <a:gd name="connsiteX8156" fmla="*/ 2167733 w 9586368"/>
              <a:gd name="connsiteY8156" fmla="*/ 735916 h 6479439"/>
              <a:gd name="connsiteX8157" fmla="*/ 2157823 w 9586368"/>
              <a:gd name="connsiteY8157" fmla="*/ 735916 h 6479439"/>
              <a:gd name="connsiteX8158" fmla="*/ 2153804 w 9586368"/>
              <a:gd name="connsiteY8158" fmla="*/ 731877 h 6479439"/>
              <a:gd name="connsiteX8159" fmla="*/ 2153804 w 9586368"/>
              <a:gd name="connsiteY8159" fmla="*/ 722006 h 6479439"/>
              <a:gd name="connsiteX8160" fmla="*/ 9572438 w 9586368"/>
              <a:gd name="connsiteY8160" fmla="*/ 717966 h 6479439"/>
              <a:gd name="connsiteX8161" fmla="*/ 9582349 w 9586368"/>
              <a:gd name="connsiteY8161" fmla="*/ 717966 h 6479439"/>
              <a:gd name="connsiteX8162" fmla="*/ 9586368 w 9586368"/>
              <a:gd name="connsiteY8162" fmla="*/ 722004 h 6479439"/>
              <a:gd name="connsiteX8163" fmla="*/ 9586368 w 9586368"/>
              <a:gd name="connsiteY8163" fmla="*/ 731875 h 6479439"/>
              <a:gd name="connsiteX8164" fmla="*/ 9582349 w 9586368"/>
              <a:gd name="connsiteY8164" fmla="*/ 735914 h 6479439"/>
              <a:gd name="connsiteX8165" fmla="*/ 9572438 w 9586368"/>
              <a:gd name="connsiteY8165" fmla="*/ 735914 h 6479439"/>
              <a:gd name="connsiteX8166" fmla="*/ 9568419 w 9586368"/>
              <a:gd name="connsiteY8166" fmla="*/ 731875 h 6479439"/>
              <a:gd name="connsiteX8167" fmla="*/ 9568419 w 9586368"/>
              <a:gd name="connsiteY8167" fmla="*/ 722004 h 6479439"/>
              <a:gd name="connsiteX8168" fmla="*/ 243349 w 9586368"/>
              <a:gd name="connsiteY8168" fmla="*/ 717939 h 6479439"/>
              <a:gd name="connsiteX8169" fmla="*/ 253260 w 9586368"/>
              <a:gd name="connsiteY8169" fmla="*/ 717939 h 6479439"/>
              <a:gd name="connsiteX8170" fmla="*/ 257279 w 9586368"/>
              <a:gd name="connsiteY8170" fmla="*/ 721977 h 6479439"/>
              <a:gd name="connsiteX8171" fmla="*/ 257279 w 9586368"/>
              <a:gd name="connsiteY8171" fmla="*/ 731847 h 6479439"/>
              <a:gd name="connsiteX8172" fmla="*/ 253260 w 9586368"/>
              <a:gd name="connsiteY8172" fmla="*/ 735886 h 6479439"/>
              <a:gd name="connsiteX8173" fmla="*/ 243349 w 9586368"/>
              <a:gd name="connsiteY8173" fmla="*/ 735886 h 6479439"/>
              <a:gd name="connsiteX8174" fmla="*/ 239330 w 9586368"/>
              <a:gd name="connsiteY8174" fmla="*/ 731847 h 6479439"/>
              <a:gd name="connsiteX8175" fmla="*/ 239330 w 9586368"/>
              <a:gd name="connsiteY8175" fmla="*/ 721977 h 6479439"/>
              <a:gd name="connsiteX8176" fmla="*/ 4036 w 9586368"/>
              <a:gd name="connsiteY8176" fmla="*/ 717939 h 6479439"/>
              <a:gd name="connsiteX8177" fmla="*/ 13947 w 9586368"/>
              <a:gd name="connsiteY8177" fmla="*/ 717939 h 6479439"/>
              <a:gd name="connsiteX8178" fmla="*/ 17965 w 9586368"/>
              <a:gd name="connsiteY8178" fmla="*/ 721978 h 6479439"/>
              <a:gd name="connsiteX8179" fmla="*/ 17965 w 9586368"/>
              <a:gd name="connsiteY8179" fmla="*/ 731848 h 6479439"/>
              <a:gd name="connsiteX8180" fmla="*/ 13947 w 9586368"/>
              <a:gd name="connsiteY8180" fmla="*/ 735886 h 6479439"/>
              <a:gd name="connsiteX8181" fmla="*/ 4036 w 9586368"/>
              <a:gd name="connsiteY8181" fmla="*/ 735886 h 6479439"/>
              <a:gd name="connsiteX8182" fmla="*/ 17 w 9586368"/>
              <a:gd name="connsiteY8182" fmla="*/ 731848 h 6479439"/>
              <a:gd name="connsiteX8183" fmla="*/ 17 w 9586368"/>
              <a:gd name="connsiteY8183" fmla="*/ 721978 h 6479439"/>
              <a:gd name="connsiteX8184" fmla="*/ 721975 w 9586368"/>
              <a:gd name="connsiteY8184" fmla="*/ 717939 h 6479439"/>
              <a:gd name="connsiteX8185" fmla="*/ 731885 w 9586368"/>
              <a:gd name="connsiteY8185" fmla="*/ 717939 h 6479439"/>
              <a:gd name="connsiteX8186" fmla="*/ 735904 w 9586368"/>
              <a:gd name="connsiteY8186" fmla="*/ 721977 h 6479439"/>
              <a:gd name="connsiteX8187" fmla="*/ 735904 w 9586368"/>
              <a:gd name="connsiteY8187" fmla="*/ 731847 h 6479439"/>
              <a:gd name="connsiteX8188" fmla="*/ 731885 w 9586368"/>
              <a:gd name="connsiteY8188" fmla="*/ 735886 h 6479439"/>
              <a:gd name="connsiteX8189" fmla="*/ 721975 w 9586368"/>
              <a:gd name="connsiteY8189" fmla="*/ 735886 h 6479439"/>
              <a:gd name="connsiteX8190" fmla="*/ 717956 w 9586368"/>
              <a:gd name="connsiteY8190" fmla="*/ 731847 h 6479439"/>
              <a:gd name="connsiteX8191" fmla="*/ 717956 w 9586368"/>
              <a:gd name="connsiteY8191" fmla="*/ 721977 h 6479439"/>
              <a:gd name="connsiteX8192" fmla="*/ 482663 w 9586368"/>
              <a:gd name="connsiteY8192" fmla="*/ 717939 h 6479439"/>
              <a:gd name="connsiteX8193" fmla="*/ 492573 w 9586368"/>
              <a:gd name="connsiteY8193" fmla="*/ 717939 h 6479439"/>
              <a:gd name="connsiteX8194" fmla="*/ 496593 w 9586368"/>
              <a:gd name="connsiteY8194" fmla="*/ 721977 h 6479439"/>
              <a:gd name="connsiteX8195" fmla="*/ 496593 w 9586368"/>
              <a:gd name="connsiteY8195" fmla="*/ 731847 h 6479439"/>
              <a:gd name="connsiteX8196" fmla="*/ 492573 w 9586368"/>
              <a:gd name="connsiteY8196" fmla="*/ 735886 h 6479439"/>
              <a:gd name="connsiteX8197" fmla="*/ 482663 w 9586368"/>
              <a:gd name="connsiteY8197" fmla="*/ 735886 h 6479439"/>
              <a:gd name="connsiteX8198" fmla="*/ 478643 w 9586368"/>
              <a:gd name="connsiteY8198" fmla="*/ 731847 h 6479439"/>
              <a:gd name="connsiteX8199" fmla="*/ 478643 w 9586368"/>
              <a:gd name="connsiteY8199" fmla="*/ 721977 h 6479439"/>
              <a:gd name="connsiteX8200" fmla="*/ 3350359 w 9586368"/>
              <a:gd name="connsiteY8200" fmla="*/ 478760 h 6479439"/>
              <a:gd name="connsiteX8201" fmla="*/ 3360268 w 9586368"/>
              <a:gd name="connsiteY8201" fmla="*/ 478760 h 6479439"/>
              <a:gd name="connsiteX8202" fmla="*/ 3364287 w 9586368"/>
              <a:gd name="connsiteY8202" fmla="*/ 482801 h 6479439"/>
              <a:gd name="connsiteX8203" fmla="*/ 3364287 w 9586368"/>
              <a:gd name="connsiteY8203" fmla="*/ 492670 h 6479439"/>
              <a:gd name="connsiteX8204" fmla="*/ 3360268 w 9586368"/>
              <a:gd name="connsiteY8204" fmla="*/ 496707 h 6479439"/>
              <a:gd name="connsiteX8205" fmla="*/ 3350359 w 9586368"/>
              <a:gd name="connsiteY8205" fmla="*/ 496707 h 6479439"/>
              <a:gd name="connsiteX8206" fmla="*/ 3346340 w 9586368"/>
              <a:gd name="connsiteY8206" fmla="*/ 492670 h 6479439"/>
              <a:gd name="connsiteX8207" fmla="*/ 3346340 w 9586368"/>
              <a:gd name="connsiteY8207" fmla="*/ 482801 h 6479439"/>
              <a:gd name="connsiteX8208" fmla="*/ 3111048 w 9586368"/>
              <a:gd name="connsiteY8208" fmla="*/ 478760 h 6479439"/>
              <a:gd name="connsiteX8209" fmla="*/ 3120959 w 9586368"/>
              <a:gd name="connsiteY8209" fmla="*/ 478760 h 6479439"/>
              <a:gd name="connsiteX8210" fmla="*/ 3124977 w 9586368"/>
              <a:gd name="connsiteY8210" fmla="*/ 482801 h 6479439"/>
              <a:gd name="connsiteX8211" fmla="*/ 3124977 w 9586368"/>
              <a:gd name="connsiteY8211" fmla="*/ 492670 h 6479439"/>
              <a:gd name="connsiteX8212" fmla="*/ 3120959 w 9586368"/>
              <a:gd name="connsiteY8212" fmla="*/ 496707 h 6479439"/>
              <a:gd name="connsiteX8213" fmla="*/ 3111048 w 9586368"/>
              <a:gd name="connsiteY8213" fmla="*/ 496707 h 6479439"/>
              <a:gd name="connsiteX8214" fmla="*/ 3107029 w 9586368"/>
              <a:gd name="connsiteY8214" fmla="*/ 492670 h 6479439"/>
              <a:gd name="connsiteX8215" fmla="*/ 3107029 w 9586368"/>
              <a:gd name="connsiteY8215" fmla="*/ 482801 h 6479439"/>
              <a:gd name="connsiteX8216" fmla="*/ 2871737 w 9586368"/>
              <a:gd name="connsiteY8216" fmla="*/ 478760 h 6479439"/>
              <a:gd name="connsiteX8217" fmla="*/ 2881646 w 9586368"/>
              <a:gd name="connsiteY8217" fmla="*/ 478760 h 6479439"/>
              <a:gd name="connsiteX8218" fmla="*/ 2885666 w 9586368"/>
              <a:gd name="connsiteY8218" fmla="*/ 482801 h 6479439"/>
              <a:gd name="connsiteX8219" fmla="*/ 2885666 w 9586368"/>
              <a:gd name="connsiteY8219" fmla="*/ 492670 h 6479439"/>
              <a:gd name="connsiteX8220" fmla="*/ 2881646 w 9586368"/>
              <a:gd name="connsiteY8220" fmla="*/ 496707 h 6479439"/>
              <a:gd name="connsiteX8221" fmla="*/ 2871737 w 9586368"/>
              <a:gd name="connsiteY8221" fmla="*/ 496707 h 6479439"/>
              <a:gd name="connsiteX8222" fmla="*/ 2867717 w 9586368"/>
              <a:gd name="connsiteY8222" fmla="*/ 492670 h 6479439"/>
              <a:gd name="connsiteX8223" fmla="*/ 2867717 w 9586368"/>
              <a:gd name="connsiteY8223" fmla="*/ 482801 h 6479439"/>
              <a:gd name="connsiteX8224" fmla="*/ 2632423 w 9586368"/>
              <a:gd name="connsiteY8224" fmla="*/ 478760 h 6479439"/>
              <a:gd name="connsiteX8225" fmla="*/ 2642334 w 9586368"/>
              <a:gd name="connsiteY8225" fmla="*/ 478760 h 6479439"/>
              <a:gd name="connsiteX8226" fmla="*/ 2646352 w 9586368"/>
              <a:gd name="connsiteY8226" fmla="*/ 482801 h 6479439"/>
              <a:gd name="connsiteX8227" fmla="*/ 2646352 w 9586368"/>
              <a:gd name="connsiteY8227" fmla="*/ 492670 h 6479439"/>
              <a:gd name="connsiteX8228" fmla="*/ 2642334 w 9586368"/>
              <a:gd name="connsiteY8228" fmla="*/ 496707 h 6479439"/>
              <a:gd name="connsiteX8229" fmla="*/ 2632423 w 9586368"/>
              <a:gd name="connsiteY8229" fmla="*/ 496707 h 6479439"/>
              <a:gd name="connsiteX8230" fmla="*/ 2628404 w 9586368"/>
              <a:gd name="connsiteY8230" fmla="*/ 492670 h 6479439"/>
              <a:gd name="connsiteX8231" fmla="*/ 2628404 w 9586368"/>
              <a:gd name="connsiteY8231" fmla="*/ 482801 h 6479439"/>
              <a:gd name="connsiteX8232" fmla="*/ 2393104 w 9586368"/>
              <a:gd name="connsiteY8232" fmla="*/ 478760 h 6479439"/>
              <a:gd name="connsiteX8233" fmla="*/ 2403015 w 9586368"/>
              <a:gd name="connsiteY8233" fmla="*/ 478760 h 6479439"/>
              <a:gd name="connsiteX8234" fmla="*/ 2407034 w 9586368"/>
              <a:gd name="connsiteY8234" fmla="*/ 482801 h 6479439"/>
              <a:gd name="connsiteX8235" fmla="*/ 2407034 w 9586368"/>
              <a:gd name="connsiteY8235" fmla="*/ 492670 h 6479439"/>
              <a:gd name="connsiteX8236" fmla="*/ 2403015 w 9586368"/>
              <a:gd name="connsiteY8236" fmla="*/ 496707 h 6479439"/>
              <a:gd name="connsiteX8237" fmla="*/ 2393104 w 9586368"/>
              <a:gd name="connsiteY8237" fmla="*/ 496707 h 6479439"/>
              <a:gd name="connsiteX8238" fmla="*/ 2389087 w 9586368"/>
              <a:gd name="connsiteY8238" fmla="*/ 492670 h 6479439"/>
              <a:gd name="connsiteX8239" fmla="*/ 2389087 w 9586368"/>
              <a:gd name="connsiteY8239" fmla="*/ 482801 h 6479439"/>
              <a:gd name="connsiteX8240" fmla="*/ 4546929 w 9586368"/>
              <a:gd name="connsiteY8240" fmla="*/ 478748 h 6479439"/>
              <a:gd name="connsiteX8241" fmla="*/ 4556840 w 9586368"/>
              <a:gd name="connsiteY8241" fmla="*/ 478748 h 6479439"/>
              <a:gd name="connsiteX8242" fmla="*/ 4560859 w 9586368"/>
              <a:gd name="connsiteY8242" fmla="*/ 482789 h 6479439"/>
              <a:gd name="connsiteX8243" fmla="*/ 4560859 w 9586368"/>
              <a:gd name="connsiteY8243" fmla="*/ 492657 h 6479439"/>
              <a:gd name="connsiteX8244" fmla="*/ 4556840 w 9586368"/>
              <a:gd name="connsiteY8244" fmla="*/ 496695 h 6479439"/>
              <a:gd name="connsiteX8245" fmla="*/ 4546929 w 9586368"/>
              <a:gd name="connsiteY8245" fmla="*/ 496695 h 6479439"/>
              <a:gd name="connsiteX8246" fmla="*/ 4542910 w 9586368"/>
              <a:gd name="connsiteY8246" fmla="*/ 492657 h 6479439"/>
              <a:gd name="connsiteX8247" fmla="*/ 4542910 w 9586368"/>
              <a:gd name="connsiteY8247" fmla="*/ 482789 h 6479439"/>
              <a:gd name="connsiteX8248" fmla="*/ 4307612 w 9586368"/>
              <a:gd name="connsiteY8248" fmla="*/ 478748 h 6479439"/>
              <a:gd name="connsiteX8249" fmla="*/ 4317523 w 9586368"/>
              <a:gd name="connsiteY8249" fmla="*/ 478748 h 6479439"/>
              <a:gd name="connsiteX8250" fmla="*/ 4321543 w 9586368"/>
              <a:gd name="connsiteY8250" fmla="*/ 482789 h 6479439"/>
              <a:gd name="connsiteX8251" fmla="*/ 4321543 w 9586368"/>
              <a:gd name="connsiteY8251" fmla="*/ 492657 h 6479439"/>
              <a:gd name="connsiteX8252" fmla="*/ 4317523 w 9586368"/>
              <a:gd name="connsiteY8252" fmla="*/ 496695 h 6479439"/>
              <a:gd name="connsiteX8253" fmla="*/ 4307612 w 9586368"/>
              <a:gd name="connsiteY8253" fmla="*/ 496695 h 6479439"/>
              <a:gd name="connsiteX8254" fmla="*/ 4303595 w 9586368"/>
              <a:gd name="connsiteY8254" fmla="*/ 492657 h 6479439"/>
              <a:gd name="connsiteX8255" fmla="*/ 4303595 w 9586368"/>
              <a:gd name="connsiteY8255" fmla="*/ 482789 h 6479439"/>
              <a:gd name="connsiteX8256" fmla="*/ 4068297 w 9586368"/>
              <a:gd name="connsiteY8256" fmla="*/ 478748 h 6479439"/>
              <a:gd name="connsiteX8257" fmla="*/ 4078210 w 9586368"/>
              <a:gd name="connsiteY8257" fmla="*/ 478748 h 6479439"/>
              <a:gd name="connsiteX8258" fmla="*/ 4082229 w 9586368"/>
              <a:gd name="connsiteY8258" fmla="*/ 482789 h 6479439"/>
              <a:gd name="connsiteX8259" fmla="*/ 4082229 w 9586368"/>
              <a:gd name="connsiteY8259" fmla="*/ 492657 h 6479439"/>
              <a:gd name="connsiteX8260" fmla="*/ 4078210 w 9586368"/>
              <a:gd name="connsiteY8260" fmla="*/ 496695 h 6479439"/>
              <a:gd name="connsiteX8261" fmla="*/ 4068297 w 9586368"/>
              <a:gd name="connsiteY8261" fmla="*/ 496695 h 6479439"/>
              <a:gd name="connsiteX8262" fmla="*/ 4064278 w 9586368"/>
              <a:gd name="connsiteY8262" fmla="*/ 492657 h 6479439"/>
              <a:gd name="connsiteX8263" fmla="*/ 4064278 w 9586368"/>
              <a:gd name="connsiteY8263" fmla="*/ 482789 h 6479439"/>
              <a:gd name="connsiteX8264" fmla="*/ 3828990 w 9586368"/>
              <a:gd name="connsiteY8264" fmla="*/ 478748 h 6479439"/>
              <a:gd name="connsiteX8265" fmla="*/ 3838899 w 9586368"/>
              <a:gd name="connsiteY8265" fmla="*/ 478748 h 6479439"/>
              <a:gd name="connsiteX8266" fmla="*/ 3842917 w 9586368"/>
              <a:gd name="connsiteY8266" fmla="*/ 482789 h 6479439"/>
              <a:gd name="connsiteX8267" fmla="*/ 3842917 w 9586368"/>
              <a:gd name="connsiteY8267" fmla="*/ 492657 h 6479439"/>
              <a:gd name="connsiteX8268" fmla="*/ 3838899 w 9586368"/>
              <a:gd name="connsiteY8268" fmla="*/ 496695 h 6479439"/>
              <a:gd name="connsiteX8269" fmla="*/ 3828990 w 9586368"/>
              <a:gd name="connsiteY8269" fmla="*/ 496695 h 6479439"/>
              <a:gd name="connsiteX8270" fmla="*/ 3824971 w 9586368"/>
              <a:gd name="connsiteY8270" fmla="*/ 492657 h 6479439"/>
              <a:gd name="connsiteX8271" fmla="*/ 3824971 w 9586368"/>
              <a:gd name="connsiteY8271" fmla="*/ 482789 h 6479439"/>
              <a:gd name="connsiteX8272" fmla="*/ 3589676 w 9586368"/>
              <a:gd name="connsiteY8272" fmla="*/ 478748 h 6479439"/>
              <a:gd name="connsiteX8273" fmla="*/ 3599585 w 9586368"/>
              <a:gd name="connsiteY8273" fmla="*/ 478748 h 6479439"/>
              <a:gd name="connsiteX8274" fmla="*/ 3603604 w 9586368"/>
              <a:gd name="connsiteY8274" fmla="*/ 482789 h 6479439"/>
              <a:gd name="connsiteX8275" fmla="*/ 3603604 w 9586368"/>
              <a:gd name="connsiteY8275" fmla="*/ 492657 h 6479439"/>
              <a:gd name="connsiteX8276" fmla="*/ 3599585 w 9586368"/>
              <a:gd name="connsiteY8276" fmla="*/ 496695 h 6479439"/>
              <a:gd name="connsiteX8277" fmla="*/ 3589676 w 9586368"/>
              <a:gd name="connsiteY8277" fmla="*/ 496695 h 6479439"/>
              <a:gd name="connsiteX8278" fmla="*/ 3585657 w 9586368"/>
              <a:gd name="connsiteY8278" fmla="*/ 492657 h 6479439"/>
              <a:gd name="connsiteX8279" fmla="*/ 3585657 w 9586368"/>
              <a:gd name="connsiteY8279" fmla="*/ 482789 h 6479439"/>
              <a:gd name="connsiteX8280" fmla="*/ 5743412 w 9586368"/>
              <a:gd name="connsiteY8280" fmla="*/ 478736 h 6479439"/>
              <a:gd name="connsiteX8281" fmla="*/ 5753323 w 9586368"/>
              <a:gd name="connsiteY8281" fmla="*/ 478736 h 6479439"/>
              <a:gd name="connsiteX8282" fmla="*/ 5757342 w 9586368"/>
              <a:gd name="connsiteY8282" fmla="*/ 482776 h 6479439"/>
              <a:gd name="connsiteX8283" fmla="*/ 5757342 w 9586368"/>
              <a:gd name="connsiteY8283" fmla="*/ 492645 h 6479439"/>
              <a:gd name="connsiteX8284" fmla="*/ 5753323 w 9586368"/>
              <a:gd name="connsiteY8284" fmla="*/ 496683 h 6479439"/>
              <a:gd name="connsiteX8285" fmla="*/ 5743412 w 9586368"/>
              <a:gd name="connsiteY8285" fmla="*/ 496683 h 6479439"/>
              <a:gd name="connsiteX8286" fmla="*/ 5739393 w 9586368"/>
              <a:gd name="connsiteY8286" fmla="*/ 492645 h 6479439"/>
              <a:gd name="connsiteX8287" fmla="*/ 5739393 w 9586368"/>
              <a:gd name="connsiteY8287" fmla="*/ 482776 h 6479439"/>
              <a:gd name="connsiteX8288" fmla="*/ 5504099 w 9586368"/>
              <a:gd name="connsiteY8288" fmla="*/ 478736 h 6479439"/>
              <a:gd name="connsiteX8289" fmla="*/ 5514010 w 9586368"/>
              <a:gd name="connsiteY8289" fmla="*/ 478736 h 6479439"/>
              <a:gd name="connsiteX8290" fmla="*/ 5518029 w 9586368"/>
              <a:gd name="connsiteY8290" fmla="*/ 482776 h 6479439"/>
              <a:gd name="connsiteX8291" fmla="*/ 5518029 w 9586368"/>
              <a:gd name="connsiteY8291" fmla="*/ 492645 h 6479439"/>
              <a:gd name="connsiteX8292" fmla="*/ 5514010 w 9586368"/>
              <a:gd name="connsiteY8292" fmla="*/ 496683 h 6479439"/>
              <a:gd name="connsiteX8293" fmla="*/ 5504099 w 9586368"/>
              <a:gd name="connsiteY8293" fmla="*/ 496683 h 6479439"/>
              <a:gd name="connsiteX8294" fmla="*/ 5500080 w 9586368"/>
              <a:gd name="connsiteY8294" fmla="*/ 492645 h 6479439"/>
              <a:gd name="connsiteX8295" fmla="*/ 5500080 w 9586368"/>
              <a:gd name="connsiteY8295" fmla="*/ 482776 h 6479439"/>
              <a:gd name="connsiteX8296" fmla="*/ 5264784 w 9586368"/>
              <a:gd name="connsiteY8296" fmla="*/ 478736 h 6479439"/>
              <a:gd name="connsiteX8297" fmla="*/ 5274694 w 9586368"/>
              <a:gd name="connsiteY8297" fmla="*/ 478736 h 6479439"/>
              <a:gd name="connsiteX8298" fmla="*/ 5278713 w 9586368"/>
              <a:gd name="connsiteY8298" fmla="*/ 482776 h 6479439"/>
              <a:gd name="connsiteX8299" fmla="*/ 5278713 w 9586368"/>
              <a:gd name="connsiteY8299" fmla="*/ 492645 h 6479439"/>
              <a:gd name="connsiteX8300" fmla="*/ 5274694 w 9586368"/>
              <a:gd name="connsiteY8300" fmla="*/ 496683 h 6479439"/>
              <a:gd name="connsiteX8301" fmla="*/ 5264784 w 9586368"/>
              <a:gd name="connsiteY8301" fmla="*/ 496683 h 6479439"/>
              <a:gd name="connsiteX8302" fmla="*/ 5260765 w 9586368"/>
              <a:gd name="connsiteY8302" fmla="*/ 492645 h 6479439"/>
              <a:gd name="connsiteX8303" fmla="*/ 5260765 w 9586368"/>
              <a:gd name="connsiteY8303" fmla="*/ 482776 h 6479439"/>
              <a:gd name="connsiteX8304" fmla="*/ 5025470 w 9586368"/>
              <a:gd name="connsiteY8304" fmla="*/ 478736 h 6479439"/>
              <a:gd name="connsiteX8305" fmla="*/ 5035381 w 9586368"/>
              <a:gd name="connsiteY8305" fmla="*/ 478736 h 6479439"/>
              <a:gd name="connsiteX8306" fmla="*/ 5039400 w 9586368"/>
              <a:gd name="connsiteY8306" fmla="*/ 482776 h 6479439"/>
              <a:gd name="connsiteX8307" fmla="*/ 5039400 w 9586368"/>
              <a:gd name="connsiteY8307" fmla="*/ 492645 h 6479439"/>
              <a:gd name="connsiteX8308" fmla="*/ 5035381 w 9586368"/>
              <a:gd name="connsiteY8308" fmla="*/ 496683 h 6479439"/>
              <a:gd name="connsiteX8309" fmla="*/ 5025470 w 9586368"/>
              <a:gd name="connsiteY8309" fmla="*/ 496683 h 6479439"/>
              <a:gd name="connsiteX8310" fmla="*/ 5021451 w 9586368"/>
              <a:gd name="connsiteY8310" fmla="*/ 492645 h 6479439"/>
              <a:gd name="connsiteX8311" fmla="*/ 5021451 w 9586368"/>
              <a:gd name="connsiteY8311" fmla="*/ 482776 h 6479439"/>
              <a:gd name="connsiteX8312" fmla="*/ 4786241 w 9586368"/>
              <a:gd name="connsiteY8312" fmla="*/ 478736 h 6479439"/>
              <a:gd name="connsiteX8313" fmla="*/ 4796152 w 9586368"/>
              <a:gd name="connsiteY8313" fmla="*/ 478736 h 6479439"/>
              <a:gd name="connsiteX8314" fmla="*/ 4800171 w 9586368"/>
              <a:gd name="connsiteY8314" fmla="*/ 482776 h 6479439"/>
              <a:gd name="connsiteX8315" fmla="*/ 4800171 w 9586368"/>
              <a:gd name="connsiteY8315" fmla="*/ 492645 h 6479439"/>
              <a:gd name="connsiteX8316" fmla="*/ 4796152 w 9586368"/>
              <a:gd name="connsiteY8316" fmla="*/ 496683 h 6479439"/>
              <a:gd name="connsiteX8317" fmla="*/ 4786241 w 9586368"/>
              <a:gd name="connsiteY8317" fmla="*/ 496683 h 6479439"/>
              <a:gd name="connsiteX8318" fmla="*/ 4782224 w 9586368"/>
              <a:gd name="connsiteY8318" fmla="*/ 492645 h 6479439"/>
              <a:gd name="connsiteX8319" fmla="*/ 4782224 w 9586368"/>
              <a:gd name="connsiteY8319" fmla="*/ 482776 h 6479439"/>
              <a:gd name="connsiteX8320" fmla="*/ 6939983 w 9586368"/>
              <a:gd name="connsiteY8320" fmla="*/ 478724 h 6479439"/>
              <a:gd name="connsiteX8321" fmla="*/ 6949894 w 9586368"/>
              <a:gd name="connsiteY8321" fmla="*/ 478724 h 6479439"/>
              <a:gd name="connsiteX8322" fmla="*/ 6953913 w 9586368"/>
              <a:gd name="connsiteY8322" fmla="*/ 482764 h 6479439"/>
              <a:gd name="connsiteX8323" fmla="*/ 6953913 w 9586368"/>
              <a:gd name="connsiteY8323" fmla="*/ 492633 h 6479439"/>
              <a:gd name="connsiteX8324" fmla="*/ 6949894 w 9586368"/>
              <a:gd name="connsiteY8324" fmla="*/ 496671 h 6479439"/>
              <a:gd name="connsiteX8325" fmla="*/ 6939983 w 9586368"/>
              <a:gd name="connsiteY8325" fmla="*/ 496671 h 6479439"/>
              <a:gd name="connsiteX8326" fmla="*/ 6935964 w 9586368"/>
              <a:gd name="connsiteY8326" fmla="*/ 492633 h 6479439"/>
              <a:gd name="connsiteX8327" fmla="*/ 6935964 w 9586368"/>
              <a:gd name="connsiteY8327" fmla="*/ 482764 h 6479439"/>
              <a:gd name="connsiteX8328" fmla="*/ 6700670 w 9586368"/>
              <a:gd name="connsiteY8328" fmla="*/ 478724 h 6479439"/>
              <a:gd name="connsiteX8329" fmla="*/ 6710581 w 9586368"/>
              <a:gd name="connsiteY8329" fmla="*/ 478724 h 6479439"/>
              <a:gd name="connsiteX8330" fmla="*/ 6714600 w 9586368"/>
              <a:gd name="connsiteY8330" fmla="*/ 482764 h 6479439"/>
              <a:gd name="connsiteX8331" fmla="*/ 6714600 w 9586368"/>
              <a:gd name="connsiteY8331" fmla="*/ 492633 h 6479439"/>
              <a:gd name="connsiteX8332" fmla="*/ 6710581 w 9586368"/>
              <a:gd name="connsiteY8332" fmla="*/ 496671 h 6479439"/>
              <a:gd name="connsiteX8333" fmla="*/ 6700670 w 9586368"/>
              <a:gd name="connsiteY8333" fmla="*/ 496671 h 6479439"/>
              <a:gd name="connsiteX8334" fmla="*/ 6696651 w 9586368"/>
              <a:gd name="connsiteY8334" fmla="*/ 492633 h 6479439"/>
              <a:gd name="connsiteX8335" fmla="*/ 6696651 w 9586368"/>
              <a:gd name="connsiteY8335" fmla="*/ 482764 h 6479439"/>
              <a:gd name="connsiteX8336" fmla="*/ 6461356 w 9586368"/>
              <a:gd name="connsiteY8336" fmla="*/ 478724 h 6479439"/>
              <a:gd name="connsiteX8337" fmla="*/ 6471266 w 9586368"/>
              <a:gd name="connsiteY8337" fmla="*/ 478724 h 6479439"/>
              <a:gd name="connsiteX8338" fmla="*/ 6475285 w 9586368"/>
              <a:gd name="connsiteY8338" fmla="*/ 482764 h 6479439"/>
              <a:gd name="connsiteX8339" fmla="*/ 6475285 w 9586368"/>
              <a:gd name="connsiteY8339" fmla="*/ 492633 h 6479439"/>
              <a:gd name="connsiteX8340" fmla="*/ 6471266 w 9586368"/>
              <a:gd name="connsiteY8340" fmla="*/ 496671 h 6479439"/>
              <a:gd name="connsiteX8341" fmla="*/ 6461356 w 9586368"/>
              <a:gd name="connsiteY8341" fmla="*/ 496671 h 6479439"/>
              <a:gd name="connsiteX8342" fmla="*/ 6457337 w 9586368"/>
              <a:gd name="connsiteY8342" fmla="*/ 492633 h 6479439"/>
              <a:gd name="connsiteX8343" fmla="*/ 6457337 w 9586368"/>
              <a:gd name="connsiteY8343" fmla="*/ 482764 h 6479439"/>
              <a:gd name="connsiteX8344" fmla="*/ 6222042 w 9586368"/>
              <a:gd name="connsiteY8344" fmla="*/ 478724 h 6479439"/>
              <a:gd name="connsiteX8345" fmla="*/ 6231952 w 9586368"/>
              <a:gd name="connsiteY8345" fmla="*/ 478724 h 6479439"/>
              <a:gd name="connsiteX8346" fmla="*/ 6235971 w 9586368"/>
              <a:gd name="connsiteY8346" fmla="*/ 482764 h 6479439"/>
              <a:gd name="connsiteX8347" fmla="*/ 6235971 w 9586368"/>
              <a:gd name="connsiteY8347" fmla="*/ 492633 h 6479439"/>
              <a:gd name="connsiteX8348" fmla="*/ 6231952 w 9586368"/>
              <a:gd name="connsiteY8348" fmla="*/ 496671 h 6479439"/>
              <a:gd name="connsiteX8349" fmla="*/ 6222042 w 9586368"/>
              <a:gd name="connsiteY8349" fmla="*/ 496671 h 6479439"/>
              <a:gd name="connsiteX8350" fmla="*/ 6218023 w 9586368"/>
              <a:gd name="connsiteY8350" fmla="*/ 492633 h 6479439"/>
              <a:gd name="connsiteX8351" fmla="*/ 6218023 w 9586368"/>
              <a:gd name="connsiteY8351" fmla="*/ 482764 h 6479439"/>
              <a:gd name="connsiteX8352" fmla="*/ 5982729 w 9586368"/>
              <a:gd name="connsiteY8352" fmla="*/ 478724 h 6479439"/>
              <a:gd name="connsiteX8353" fmla="*/ 5992639 w 9586368"/>
              <a:gd name="connsiteY8353" fmla="*/ 478724 h 6479439"/>
              <a:gd name="connsiteX8354" fmla="*/ 5996658 w 9586368"/>
              <a:gd name="connsiteY8354" fmla="*/ 482764 h 6479439"/>
              <a:gd name="connsiteX8355" fmla="*/ 5996658 w 9586368"/>
              <a:gd name="connsiteY8355" fmla="*/ 492633 h 6479439"/>
              <a:gd name="connsiteX8356" fmla="*/ 5992639 w 9586368"/>
              <a:gd name="connsiteY8356" fmla="*/ 496671 h 6479439"/>
              <a:gd name="connsiteX8357" fmla="*/ 5982729 w 9586368"/>
              <a:gd name="connsiteY8357" fmla="*/ 496671 h 6479439"/>
              <a:gd name="connsiteX8358" fmla="*/ 5978710 w 9586368"/>
              <a:gd name="connsiteY8358" fmla="*/ 492633 h 6479439"/>
              <a:gd name="connsiteX8359" fmla="*/ 5978710 w 9586368"/>
              <a:gd name="connsiteY8359" fmla="*/ 482764 h 6479439"/>
              <a:gd name="connsiteX8360" fmla="*/ 7897241 w 9586368"/>
              <a:gd name="connsiteY8360" fmla="*/ 478712 h 6479439"/>
              <a:gd name="connsiteX8361" fmla="*/ 7907151 w 9586368"/>
              <a:gd name="connsiteY8361" fmla="*/ 478712 h 6479439"/>
              <a:gd name="connsiteX8362" fmla="*/ 7911170 w 9586368"/>
              <a:gd name="connsiteY8362" fmla="*/ 482751 h 6479439"/>
              <a:gd name="connsiteX8363" fmla="*/ 7911170 w 9586368"/>
              <a:gd name="connsiteY8363" fmla="*/ 492620 h 6479439"/>
              <a:gd name="connsiteX8364" fmla="*/ 7907151 w 9586368"/>
              <a:gd name="connsiteY8364" fmla="*/ 496658 h 6479439"/>
              <a:gd name="connsiteX8365" fmla="*/ 7897241 w 9586368"/>
              <a:gd name="connsiteY8365" fmla="*/ 496658 h 6479439"/>
              <a:gd name="connsiteX8366" fmla="*/ 7893222 w 9586368"/>
              <a:gd name="connsiteY8366" fmla="*/ 492620 h 6479439"/>
              <a:gd name="connsiteX8367" fmla="*/ 7893222 w 9586368"/>
              <a:gd name="connsiteY8367" fmla="*/ 482751 h 6479439"/>
              <a:gd name="connsiteX8368" fmla="*/ 7657926 w 9586368"/>
              <a:gd name="connsiteY8368" fmla="*/ 478712 h 6479439"/>
              <a:gd name="connsiteX8369" fmla="*/ 7667836 w 9586368"/>
              <a:gd name="connsiteY8369" fmla="*/ 478712 h 6479439"/>
              <a:gd name="connsiteX8370" fmla="*/ 7671855 w 9586368"/>
              <a:gd name="connsiteY8370" fmla="*/ 482751 h 6479439"/>
              <a:gd name="connsiteX8371" fmla="*/ 7671855 w 9586368"/>
              <a:gd name="connsiteY8371" fmla="*/ 492620 h 6479439"/>
              <a:gd name="connsiteX8372" fmla="*/ 7667836 w 9586368"/>
              <a:gd name="connsiteY8372" fmla="*/ 496659 h 6479439"/>
              <a:gd name="connsiteX8373" fmla="*/ 7657926 w 9586368"/>
              <a:gd name="connsiteY8373" fmla="*/ 496659 h 6479439"/>
              <a:gd name="connsiteX8374" fmla="*/ 7653906 w 9586368"/>
              <a:gd name="connsiteY8374" fmla="*/ 492620 h 6479439"/>
              <a:gd name="connsiteX8375" fmla="*/ 7653906 w 9586368"/>
              <a:gd name="connsiteY8375" fmla="*/ 482751 h 6479439"/>
              <a:gd name="connsiteX8376" fmla="*/ 7418611 w 9586368"/>
              <a:gd name="connsiteY8376" fmla="*/ 478712 h 6479439"/>
              <a:gd name="connsiteX8377" fmla="*/ 7428521 w 9586368"/>
              <a:gd name="connsiteY8377" fmla="*/ 478712 h 6479439"/>
              <a:gd name="connsiteX8378" fmla="*/ 7432540 w 9586368"/>
              <a:gd name="connsiteY8378" fmla="*/ 482751 h 6479439"/>
              <a:gd name="connsiteX8379" fmla="*/ 7432540 w 9586368"/>
              <a:gd name="connsiteY8379" fmla="*/ 492620 h 6479439"/>
              <a:gd name="connsiteX8380" fmla="*/ 7428521 w 9586368"/>
              <a:gd name="connsiteY8380" fmla="*/ 496659 h 6479439"/>
              <a:gd name="connsiteX8381" fmla="*/ 7418611 w 9586368"/>
              <a:gd name="connsiteY8381" fmla="*/ 496659 h 6479439"/>
              <a:gd name="connsiteX8382" fmla="*/ 7414592 w 9586368"/>
              <a:gd name="connsiteY8382" fmla="*/ 492620 h 6479439"/>
              <a:gd name="connsiteX8383" fmla="*/ 7414592 w 9586368"/>
              <a:gd name="connsiteY8383" fmla="*/ 482751 h 6479439"/>
              <a:gd name="connsiteX8384" fmla="*/ 7179298 w 9586368"/>
              <a:gd name="connsiteY8384" fmla="*/ 478712 h 6479439"/>
              <a:gd name="connsiteX8385" fmla="*/ 7189209 w 9586368"/>
              <a:gd name="connsiteY8385" fmla="*/ 478712 h 6479439"/>
              <a:gd name="connsiteX8386" fmla="*/ 7193228 w 9586368"/>
              <a:gd name="connsiteY8386" fmla="*/ 482751 h 6479439"/>
              <a:gd name="connsiteX8387" fmla="*/ 7193228 w 9586368"/>
              <a:gd name="connsiteY8387" fmla="*/ 492620 h 6479439"/>
              <a:gd name="connsiteX8388" fmla="*/ 7189209 w 9586368"/>
              <a:gd name="connsiteY8388" fmla="*/ 496659 h 6479439"/>
              <a:gd name="connsiteX8389" fmla="*/ 7179298 w 9586368"/>
              <a:gd name="connsiteY8389" fmla="*/ 496659 h 6479439"/>
              <a:gd name="connsiteX8390" fmla="*/ 7175279 w 9586368"/>
              <a:gd name="connsiteY8390" fmla="*/ 492620 h 6479439"/>
              <a:gd name="connsiteX8391" fmla="*/ 7175279 w 9586368"/>
              <a:gd name="connsiteY8391" fmla="*/ 482751 h 6479439"/>
              <a:gd name="connsiteX8392" fmla="*/ 8136553 w 9586368"/>
              <a:gd name="connsiteY8392" fmla="*/ 478711 h 6479439"/>
              <a:gd name="connsiteX8393" fmla="*/ 8146464 w 9586368"/>
              <a:gd name="connsiteY8393" fmla="*/ 478711 h 6479439"/>
              <a:gd name="connsiteX8394" fmla="*/ 8150483 w 9586368"/>
              <a:gd name="connsiteY8394" fmla="*/ 482751 h 6479439"/>
              <a:gd name="connsiteX8395" fmla="*/ 8150483 w 9586368"/>
              <a:gd name="connsiteY8395" fmla="*/ 492620 h 6479439"/>
              <a:gd name="connsiteX8396" fmla="*/ 8146464 w 9586368"/>
              <a:gd name="connsiteY8396" fmla="*/ 496658 h 6479439"/>
              <a:gd name="connsiteX8397" fmla="*/ 8136553 w 9586368"/>
              <a:gd name="connsiteY8397" fmla="*/ 496658 h 6479439"/>
              <a:gd name="connsiteX8398" fmla="*/ 8132534 w 9586368"/>
              <a:gd name="connsiteY8398" fmla="*/ 492620 h 6479439"/>
              <a:gd name="connsiteX8399" fmla="*/ 8132534 w 9586368"/>
              <a:gd name="connsiteY8399" fmla="*/ 482751 h 6479439"/>
              <a:gd name="connsiteX8400" fmla="*/ 9093811 w 9586368"/>
              <a:gd name="connsiteY8400" fmla="*/ 478699 h 6479439"/>
              <a:gd name="connsiteX8401" fmla="*/ 9103722 w 9586368"/>
              <a:gd name="connsiteY8401" fmla="*/ 478699 h 6479439"/>
              <a:gd name="connsiteX8402" fmla="*/ 9107741 w 9586368"/>
              <a:gd name="connsiteY8402" fmla="*/ 482738 h 6479439"/>
              <a:gd name="connsiteX8403" fmla="*/ 9107741 w 9586368"/>
              <a:gd name="connsiteY8403" fmla="*/ 492608 h 6479439"/>
              <a:gd name="connsiteX8404" fmla="*/ 9103722 w 9586368"/>
              <a:gd name="connsiteY8404" fmla="*/ 496646 h 6479439"/>
              <a:gd name="connsiteX8405" fmla="*/ 9093811 w 9586368"/>
              <a:gd name="connsiteY8405" fmla="*/ 496646 h 6479439"/>
              <a:gd name="connsiteX8406" fmla="*/ 9089792 w 9586368"/>
              <a:gd name="connsiteY8406" fmla="*/ 492608 h 6479439"/>
              <a:gd name="connsiteX8407" fmla="*/ 9089792 w 9586368"/>
              <a:gd name="connsiteY8407" fmla="*/ 482738 h 6479439"/>
              <a:gd name="connsiteX8408" fmla="*/ 8854496 w 9586368"/>
              <a:gd name="connsiteY8408" fmla="*/ 478699 h 6479439"/>
              <a:gd name="connsiteX8409" fmla="*/ 8864407 w 9586368"/>
              <a:gd name="connsiteY8409" fmla="*/ 478699 h 6479439"/>
              <a:gd name="connsiteX8410" fmla="*/ 8868426 w 9586368"/>
              <a:gd name="connsiteY8410" fmla="*/ 482738 h 6479439"/>
              <a:gd name="connsiteX8411" fmla="*/ 8868426 w 9586368"/>
              <a:gd name="connsiteY8411" fmla="*/ 492608 h 6479439"/>
              <a:gd name="connsiteX8412" fmla="*/ 8864407 w 9586368"/>
              <a:gd name="connsiteY8412" fmla="*/ 496647 h 6479439"/>
              <a:gd name="connsiteX8413" fmla="*/ 8854496 w 9586368"/>
              <a:gd name="connsiteY8413" fmla="*/ 496647 h 6479439"/>
              <a:gd name="connsiteX8414" fmla="*/ 8850477 w 9586368"/>
              <a:gd name="connsiteY8414" fmla="*/ 492608 h 6479439"/>
              <a:gd name="connsiteX8415" fmla="*/ 8850477 w 9586368"/>
              <a:gd name="connsiteY8415" fmla="*/ 482738 h 6479439"/>
              <a:gd name="connsiteX8416" fmla="*/ 8615184 w 9586368"/>
              <a:gd name="connsiteY8416" fmla="*/ 478699 h 6479439"/>
              <a:gd name="connsiteX8417" fmla="*/ 8625095 w 9586368"/>
              <a:gd name="connsiteY8417" fmla="*/ 478699 h 6479439"/>
              <a:gd name="connsiteX8418" fmla="*/ 8629114 w 9586368"/>
              <a:gd name="connsiteY8418" fmla="*/ 482739 h 6479439"/>
              <a:gd name="connsiteX8419" fmla="*/ 8629114 w 9586368"/>
              <a:gd name="connsiteY8419" fmla="*/ 492608 h 6479439"/>
              <a:gd name="connsiteX8420" fmla="*/ 8625095 w 9586368"/>
              <a:gd name="connsiteY8420" fmla="*/ 496647 h 6479439"/>
              <a:gd name="connsiteX8421" fmla="*/ 8615184 w 9586368"/>
              <a:gd name="connsiteY8421" fmla="*/ 496647 h 6479439"/>
              <a:gd name="connsiteX8422" fmla="*/ 8611165 w 9586368"/>
              <a:gd name="connsiteY8422" fmla="*/ 492608 h 6479439"/>
              <a:gd name="connsiteX8423" fmla="*/ 8611165 w 9586368"/>
              <a:gd name="connsiteY8423" fmla="*/ 482739 h 6479439"/>
              <a:gd name="connsiteX8424" fmla="*/ 8375869 w 9586368"/>
              <a:gd name="connsiteY8424" fmla="*/ 478699 h 6479439"/>
              <a:gd name="connsiteX8425" fmla="*/ 8385779 w 9586368"/>
              <a:gd name="connsiteY8425" fmla="*/ 478699 h 6479439"/>
              <a:gd name="connsiteX8426" fmla="*/ 8389799 w 9586368"/>
              <a:gd name="connsiteY8426" fmla="*/ 482739 h 6479439"/>
              <a:gd name="connsiteX8427" fmla="*/ 8389799 w 9586368"/>
              <a:gd name="connsiteY8427" fmla="*/ 492608 h 6479439"/>
              <a:gd name="connsiteX8428" fmla="*/ 8385779 w 9586368"/>
              <a:gd name="connsiteY8428" fmla="*/ 496647 h 6479439"/>
              <a:gd name="connsiteX8429" fmla="*/ 8375869 w 9586368"/>
              <a:gd name="connsiteY8429" fmla="*/ 496647 h 6479439"/>
              <a:gd name="connsiteX8430" fmla="*/ 8371850 w 9586368"/>
              <a:gd name="connsiteY8430" fmla="*/ 492608 h 6479439"/>
              <a:gd name="connsiteX8431" fmla="*/ 8371850 w 9586368"/>
              <a:gd name="connsiteY8431" fmla="*/ 482739 h 6479439"/>
              <a:gd name="connsiteX8432" fmla="*/ 9333125 w 9586368"/>
              <a:gd name="connsiteY8432" fmla="*/ 478698 h 6479439"/>
              <a:gd name="connsiteX8433" fmla="*/ 9343036 w 9586368"/>
              <a:gd name="connsiteY8433" fmla="*/ 478698 h 6479439"/>
              <a:gd name="connsiteX8434" fmla="*/ 9347055 w 9586368"/>
              <a:gd name="connsiteY8434" fmla="*/ 482738 h 6479439"/>
              <a:gd name="connsiteX8435" fmla="*/ 9347055 w 9586368"/>
              <a:gd name="connsiteY8435" fmla="*/ 492608 h 6479439"/>
              <a:gd name="connsiteX8436" fmla="*/ 9343036 w 9586368"/>
              <a:gd name="connsiteY8436" fmla="*/ 496646 h 6479439"/>
              <a:gd name="connsiteX8437" fmla="*/ 9333125 w 9586368"/>
              <a:gd name="connsiteY8437" fmla="*/ 496646 h 6479439"/>
              <a:gd name="connsiteX8438" fmla="*/ 9329106 w 9586368"/>
              <a:gd name="connsiteY8438" fmla="*/ 492608 h 6479439"/>
              <a:gd name="connsiteX8439" fmla="*/ 9329106 w 9586368"/>
              <a:gd name="connsiteY8439" fmla="*/ 482738 h 6479439"/>
              <a:gd name="connsiteX8440" fmla="*/ 9572438 w 9586368"/>
              <a:gd name="connsiteY8440" fmla="*/ 478687 h 6479439"/>
              <a:gd name="connsiteX8441" fmla="*/ 9582349 w 9586368"/>
              <a:gd name="connsiteY8441" fmla="*/ 478687 h 6479439"/>
              <a:gd name="connsiteX8442" fmla="*/ 9586368 w 9586368"/>
              <a:gd name="connsiteY8442" fmla="*/ 482726 h 6479439"/>
              <a:gd name="connsiteX8443" fmla="*/ 9586368 w 9586368"/>
              <a:gd name="connsiteY8443" fmla="*/ 492596 h 6479439"/>
              <a:gd name="connsiteX8444" fmla="*/ 9582349 w 9586368"/>
              <a:gd name="connsiteY8444" fmla="*/ 496634 h 6479439"/>
              <a:gd name="connsiteX8445" fmla="*/ 9572438 w 9586368"/>
              <a:gd name="connsiteY8445" fmla="*/ 496634 h 6479439"/>
              <a:gd name="connsiteX8446" fmla="*/ 9568419 w 9586368"/>
              <a:gd name="connsiteY8446" fmla="*/ 492596 h 6479439"/>
              <a:gd name="connsiteX8447" fmla="*/ 9568419 w 9586368"/>
              <a:gd name="connsiteY8447" fmla="*/ 482726 h 6479439"/>
              <a:gd name="connsiteX8448" fmla="*/ 721976 w 9586368"/>
              <a:gd name="connsiteY8448" fmla="*/ 478660 h 6479439"/>
              <a:gd name="connsiteX8449" fmla="*/ 731886 w 9586368"/>
              <a:gd name="connsiteY8449" fmla="*/ 478660 h 6479439"/>
              <a:gd name="connsiteX8450" fmla="*/ 735905 w 9586368"/>
              <a:gd name="connsiteY8450" fmla="*/ 482698 h 6479439"/>
              <a:gd name="connsiteX8451" fmla="*/ 735905 w 9586368"/>
              <a:gd name="connsiteY8451" fmla="*/ 492569 h 6479439"/>
              <a:gd name="connsiteX8452" fmla="*/ 731886 w 9586368"/>
              <a:gd name="connsiteY8452" fmla="*/ 496608 h 6479439"/>
              <a:gd name="connsiteX8453" fmla="*/ 721976 w 9586368"/>
              <a:gd name="connsiteY8453" fmla="*/ 496608 h 6479439"/>
              <a:gd name="connsiteX8454" fmla="*/ 717957 w 9586368"/>
              <a:gd name="connsiteY8454" fmla="*/ 492569 h 6479439"/>
              <a:gd name="connsiteX8455" fmla="*/ 717957 w 9586368"/>
              <a:gd name="connsiteY8455" fmla="*/ 482698 h 6479439"/>
              <a:gd name="connsiteX8456" fmla="*/ 482664 w 9586368"/>
              <a:gd name="connsiteY8456" fmla="*/ 478660 h 6479439"/>
              <a:gd name="connsiteX8457" fmla="*/ 492574 w 9586368"/>
              <a:gd name="connsiteY8457" fmla="*/ 478660 h 6479439"/>
              <a:gd name="connsiteX8458" fmla="*/ 496593 w 9586368"/>
              <a:gd name="connsiteY8458" fmla="*/ 482698 h 6479439"/>
              <a:gd name="connsiteX8459" fmla="*/ 496593 w 9586368"/>
              <a:gd name="connsiteY8459" fmla="*/ 492569 h 6479439"/>
              <a:gd name="connsiteX8460" fmla="*/ 492574 w 9586368"/>
              <a:gd name="connsiteY8460" fmla="*/ 496608 h 6479439"/>
              <a:gd name="connsiteX8461" fmla="*/ 482664 w 9586368"/>
              <a:gd name="connsiteY8461" fmla="*/ 496608 h 6479439"/>
              <a:gd name="connsiteX8462" fmla="*/ 478645 w 9586368"/>
              <a:gd name="connsiteY8462" fmla="*/ 492569 h 6479439"/>
              <a:gd name="connsiteX8463" fmla="*/ 478645 w 9586368"/>
              <a:gd name="connsiteY8463" fmla="*/ 482698 h 6479439"/>
              <a:gd name="connsiteX8464" fmla="*/ 243350 w 9586368"/>
              <a:gd name="connsiteY8464" fmla="*/ 478660 h 6479439"/>
              <a:gd name="connsiteX8465" fmla="*/ 253260 w 9586368"/>
              <a:gd name="connsiteY8465" fmla="*/ 478660 h 6479439"/>
              <a:gd name="connsiteX8466" fmla="*/ 257279 w 9586368"/>
              <a:gd name="connsiteY8466" fmla="*/ 482698 h 6479439"/>
              <a:gd name="connsiteX8467" fmla="*/ 257279 w 9586368"/>
              <a:gd name="connsiteY8467" fmla="*/ 492569 h 6479439"/>
              <a:gd name="connsiteX8468" fmla="*/ 253260 w 9586368"/>
              <a:gd name="connsiteY8468" fmla="*/ 496608 h 6479439"/>
              <a:gd name="connsiteX8469" fmla="*/ 243350 w 9586368"/>
              <a:gd name="connsiteY8469" fmla="*/ 496608 h 6479439"/>
              <a:gd name="connsiteX8470" fmla="*/ 239331 w 9586368"/>
              <a:gd name="connsiteY8470" fmla="*/ 492569 h 6479439"/>
              <a:gd name="connsiteX8471" fmla="*/ 239331 w 9586368"/>
              <a:gd name="connsiteY8471" fmla="*/ 482698 h 6479439"/>
              <a:gd name="connsiteX8472" fmla="*/ 4037 w 9586368"/>
              <a:gd name="connsiteY8472" fmla="*/ 478660 h 6479439"/>
              <a:gd name="connsiteX8473" fmla="*/ 13947 w 9586368"/>
              <a:gd name="connsiteY8473" fmla="*/ 478660 h 6479439"/>
              <a:gd name="connsiteX8474" fmla="*/ 17966 w 9586368"/>
              <a:gd name="connsiteY8474" fmla="*/ 482698 h 6479439"/>
              <a:gd name="connsiteX8475" fmla="*/ 17966 w 9586368"/>
              <a:gd name="connsiteY8475" fmla="*/ 492569 h 6479439"/>
              <a:gd name="connsiteX8476" fmla="*/ 13947 w 9586368"/>
              <a:gd name="connsiteY8476" fmla="*/ 496608 h 6479439"/>
              <a:gd name="connsiteX8477" fmla="*/ 4037 w 9586368"/>
              <a:gd name="connsiteY8477" fmla="*/ 496608 h 6479439"/>
              <a:gd name="connsiteX8478" fmla="*/ 18 w 9586368"/>
              <a:gd name="connsiteY8478" fmla="*/ 492569 h 6479439"/>
              <a:gd name="connsiteX8479" fmla="*/ 18 w 9586368"/>
              <a:gd name="connsiteY8479" fmla="*/ 482698 h 6479439"/>
              <a:gd name="connsiteX8480" fmla="*/ 1679220 w 9586368"/>
              <a:gd name="connsiteY8480" fmla="*/ 478650 h 6479439"/>
              <a:gd name="connsiteX8481" fmla="*/ 1689130 w 9586368"/>
              <a:gd name="connsiteY8481" fmla="*/ 478650 h 6479439"/>
              <a:gd name="connsiteX8482" fmla="*/ 1693149 w 9586368"/>
              <a:gd name="connsiteY8482" fmla="*/ 482688 h 6479439"/>
              <a:gd name="connsiteX8483" fmla="*/ 1693149 w 9586368"/>
              <a:gd name="connsiteY8483" fmla="*/ 492559 h 6479439"/>
              <a:gd name="connsiteX8484" fmla="*/ 1689130 w 9586368"/>
              <a:gd name="connsiteY8484" fmla="*/ 496598 h 6479439"/>
              <a:gd name="connsiteX8485" fmla="*/ 1679220 w 9586368"/>
              <a:gd name="connsiteY8485" fmla="*/ 496598 h 6479439"/>
              <a:gd name="connsiteX8486" fmla="*/ 1675200 w 9586368"/>
              <a:gd name="connsiteY8486" fmla="*/ 492559 h 6479439"/>
              <a:gd name="connsiteX8487" fmla="*/ 1675200 w 9586368"/>
              <a:gd name="connsiteY8487" fmla="*/ 482688 h 6479439"/>
              <a:gd name="connsiteX8488" fmla="*/ 1439902 w 9586368"/>
              <a:gd name="connsiteY8488" fmla="*/ 478650 h 6479439"/>
              <a:gd name="connsiteX8489" fmla="*/ 1449812 w 9586368"/>
              <a:gd name="connsiteY8489" fmla="*/ 478650 h 6479439"/>
              <a:gd name="connsiteX8490" fmla="*/ 1453831 w 9586368"/>
              <a:gd name="connsiteY8490" fmla="*/ 482688 h 6479439"/>
              <a:gd name="connsiteX8491" fmla="*/ 1453831 w 9586368"/>
              <a:gd name="connsiteY8491" fmla="*/ 492559 h 6479439"/>
              <a:gd name="connsiteX8492" fmla="*/ 1449812 w 9586368"/>
              <a:gd name="connsiteY8492" fmla="*/ 496598 h 6479439"/>
              <a:gd name="connsiteX8493" fmla="*/ 1439902 w 9586368"/>
              <a:gd name="connsiteY8493" fmla="*/ 496598 h 6479439"/>
              <a:gd name="connsiteX8494" fmla="*/ 1435883 w 9586368"/>
              <a:gd name="connsiteY8494" fmla="*/ 492559 h 6479439"/>
              <a:gd name="connsiteX8495" fmla="*/ 1435883 w 9586368"/>
              <a:gd name="connsiteY8495" fmla="*/ 482688 h 6479439"/>
              <a:gd name="connsiteX8496" fmla="*/ 1200585 w 9586368"/>
              <a:gd name="connsiteY8496" fmla="*/ 478650 h 6479439"/>
              <a:gd name="connsiteX8497" fmla="*/ 1210496 w 9586368"/>
              <a:gd name="connsiteY8497" fmla="*/ 478650 h 6479439"/>
              <a:gd name="connsiteX8498" fmla="*/ 1214515 w 9586368"/>
              <a:gd name="connsiteY8498" fmla="*/ 482689 h 6479439"/>
              <a:gd name="connsiteX8499" fmla="*/ 1214515 w 9586368"/>
              <a:gd name="connsiteY8499" fmla="*/ 492559 h 6479439"/>
              <a:gd name="connsiteX8500" fmla="*/ 1210496 w 9586368"/>
              <a:gd name="connsiteY8500" fmla="*/ 496598 h 6479439"/>
              <a:gd name="connsiteX8501" fmla="*/ 1200585 w 9586368"/>
              <a:gd name="connsiteY8501" fmla="*/ 496598 h 6479439"/>
              <a:gd name="connsiteX8502" fmla="*/ 1196567 w 9586368"/>
              <a:gd name="connsiteY8502" fmla="*/ 492559 h 6479439"/>
              <a:gd name="connsiteX8503" fmla="*/ 1196567 w 9586368"/>
              <a:gd name="connsiteY8503" fmla="*/ 482689 h 6479439"/>
              <a:gd name="connsiteX8504" fmla="*/ 961273 w 9586368"/>
              <a:gd name="connsiteY8504" fmla="*/ 478650 h 6479439"/>
              <a:gd name="connsiteX8505" fmla="*/ 971183 w 9586368"/>
              <a:gd name="connsiteY8505" fmla="*/ 478650 h 6479439"/>
              <a:gd name="connsiteX8506" fmla="*/ 975202 w 9586368"/>
              <a:gd name="connsiteY8506" fmla="*/ 482689 h 6479439"/>
              <a:gd name="connsiteX8507" fmla="*/ 975202 w 9586368"/>
              <a:gd name="connsiteY8507" fmla="*/ 492559 h 6479439"/>
              <a:gd name="connsiteX8508" fmla="*/ 971183 w 9586368"/>
              <a:gd name="connsiteY8508" fmla="*/ 496598 h 6479439"/>
              <a:gd name="connsiteX8509" fmla="*/ 961273 w 9586368"/>
              <a:gd name="connsiteY8509" fmla="*/ 496598 h 6479439"/>
              <a:gd name="connsiteX8510" fmla="*/ 957254 w 9586368"/>
              <a:gd name="connsiteY8510" fmla="*/ 492559 h 6479439"/>
              <a:gd name="connsiteX8511" fmla="*/ 957254 w 9586368"/>
              <a:gd name="connsiteY8511" fmla="*/ 482689 h 6479439"/>
              <a:gd name="connsiteX8512" fmla="*/ 1918515 w 9586368"/>
              <a:gd name="connsiteY8512" fmla="*/ 478641 h 6479439"/>
              <a:gd name="connsiteX8513" fmla="*/ 1928425 w 9586368"/>
              <a:gd name="connsiteY8513" fmla="*/ 478641 h 6479439"/>
              <a:gd name="connsiteX8514" fmla="*/ 1932444 w 9586368"/>
              <a:gd name="connsiteY8514" fmla="*/ 482679 h 6479439"/>
              <a:gd name="connsiteX8515" fmla="*/ 1932444 w 9586368"/>
              <a:gd name="connsiteY8515" fmla="*/ 492550 h 6479439"/>
              <a:gd name="connsiteX8516" fmla="*/ 1928425 w 9586368"/>
              <a:gd name="connsiteY8516" fmla="*/ 496589 h 6479439"/>
              <a:gd name="connsiteX8517" fmla="*/ 1918515 w 9586368"/>
              <a:gd name="connsiteY8517" fmla="*/ 496589 h 6479439"/>
              <a:gd name="connsiteX8518" fmla="*/ 1914495 w 9586368"/>
              <a:gd name="connsiteY8518" fmla="*/ 492550 h 6479439"/>
              <a:gd name="connsiteX8519" fmla="*/ 1914495 w 9586368"/>
              <a:gd name="connsiteY8519" fmla="*/ 482679 h 6479439"/>
              <a:gd name="connsiteX8520" fmla="*/ 2157823 w 9586368"/>
              <a:gd name="connsiteY8520" fmla="*/ 478638 h 6479439"/>
              <a:gd name="connsiteX8521" fmla="*/ 2167734 w 9586368"/>
              <a:gd name="connsiteY8521" fmla="*/ 478638 h 6479439"/>
              <a:gd name="connsiteX8522" fmla="*/ 2171753 w 9586368"/>
              <a:gd name="connsiteY8522" fmla="*/ 482677 h 6479439"/>
              <a:gd name="connsiteX8523" fmla="*/ 2171753 w 9586368"/>
              <a:gd name="connsiteY8523" fmla="*/ 492548 h 6479439"/>
              <a:gd name="connsiteX8524" fmla="*/ 2167734 w 9586368"/>
              <a:gd name="connsiteY8524" fmla="*/ 496587 h 6479439"/>
              <a:gd name="connsiteX8525" fmla="*/ 2157823 w 9586368"/>
              <a:gd name="connsiteY8525" fmla="*/ 496587 h 6479439"/>
              <a:gd name="connsiteX8526" fmla="*/ 2153804 w 9586368"/>
              <a:gd name="connsiteY8526" fmla="*/ 492548 h 6479439"/>
              <a:gd name="connsiteX8527" fmla="*/ 2153804 w 9586368"/>
              <a:gd name="connsiteY8527" fmla="*/ 482677 h 6479439"/>
              <a:gd name="connsiteX8528" fmla="*/ 2632423 w 9586368"/>
              <a:gd name="connsiteY8528" fmla="*/ 239432 h 6479439"/>
              <a:gd name="connsiteX8529" fmla="*/ 2642334 w 9586368"/>
              <a:gd name="connsiteY8529" fmla="*/ 239432 h 6479439"/>
              <a:gd name="connsiteX8530" fmla="*/ 2646352 w 9586368"/>
              <a:gd name="connsiteY8530" fmla="*/ 243470 h 6479439"/>
              <a:gd name="connsiteX8531" fmla="*/ 2646352 w 9586368"/>
              <a:gd name="connsiteY8531" fmla="*/ 253341 h 6479439"/>
              <a:gd name="connsiteX8532" fmla="*/ 2642334 w 9586368"/>
              <a:gd name="connsiteY8532" fmla="*/ 257380 h 6479439"/>
              <a:gd name="connsiteX8533" fmla="*/ 2632423 w 9586368"/>
              <a:gd name="connsiteY8533" fmla="*/ 257380 h 6479439"/>
              <a:gd name="connsiteX8534" fmla="*/ 2628404 w 9586368"/>
              <a:gd name="connsiteY8534" fmla="*/ 253341 h 6479439"/>
              <a:gd name="connsiteX8535" fmla="*/ 2628404 w 9586368"/>
              <a:gd name="connsiteY8535" fmla="*/ 243470 h 6479439"/>
              <a:gd name="connsiteX8536" fmla="*/ 2393104 w 9586368"/>
              <a:gd name="connsiteY8536" fmla="*/ 239432 h 6479439"/>
              <a:gd name="connsiteX8537" fmla="*/ 2403015 w 9586368"/>
              <a:gd name="connsiteY8537" fmla="*/ 239432 h 6479439"/>
              <a:gd name="connsiteX8538" fmla="*/ 2407034 w 9586368"/>
              <a:gd name="connsiteY8538" fmla="*/ 243470 h 6479439"/>
              <a:gd name="connsiteX8539" fmla="*/ 2407034 w 9586368"/>
              <a:gd name="connsiteY8539" fmla="*/ 253341 h 6479439"/>
              <a:gd name="connsiteX8540" fmla="*/ 2403015 w 9586368"/>
              <a:gd name="connsiteY8540" fmla="*/ 257380 h 6479439"/>
              <a:gd name="connsiteX8541" fmla="*/ 2393104 w 9586368"/>
              <a:gd name="connsiteY8541" fmla="*/ 257380 h 6479439"/>
              <a:gd name="connsiteX8542" fmla="*/ 2389087 w 9586368"/>
              <a:gd name="connsiteY8542" fmla="*/ 253341 h 6479439"/>
              <a:gd name="connsiteX8543" fmla="*/ 2389087 w 9586368"/>
              <a:gd name="connsiteY8543" fmla="*/ 243470 h 6479439"/>
              <a:gd name="connsiteX8544" fmla="*/ 3350359 w 9586368"/>
              <a:gd name="connsiteY8544" fmla="*/ 239432 h 6479439"/>
              <a:gd name="connsiteX8545" fmla="*/ 3360268 w 9586368"/>
              <a:gd name="connsiteY8545" fmla="*/ 239432 h 6479439"/>
              <a:gd name="connsiteX8546" fmla="*/ 3364287 w 9586368"/>
              <a:gd name="connsiteY8546" fmla="*/ 243470 h 6479439"/>
              <a:gd name="connsiteX8547" fmla="*/ 3364287 w 9586368"/>
              <a:gd name="connsiteY8547" fmla="*/ 253341 h 6479439"/>
              <a:gd name="connsiteX8548" fmla="*/ 3360268 w 9586368"/>
              <a:gd name="connsiteY8548" fmla="*/ 257380 h 6479439"/>
              <a:gd name="connsiteX8549" fmla="*/ 3350359 w 9586368"/>
              <a:gd name="connsiteY8549" fmla="*/ 257380 h 6479439"/>
              <a:gd name="connsiteX8550" fmla="*/ 3346340 w 9586368"/>
              <a:gd name="connsiteY8550" fmla="*/ 253341 h 6479439"/>
              <a:gd name="connsiteX8551" fmla="*/ 3346340 w 9586368"/>
              <a:gd name="connsiteY8551" fmla="*/ 243470 h 6479439"/>
              <a:gd name="connsiteX8552" fmla="*/ 3111048 w 9586368"/>
              <a:gd name="connsiteY8552" fmla="*/ 239432 h 6479439"/>
              <a:gd name="connsiteX8553" fmla="*/ 3120959 w 9586368"/>
              <a:gd name="connsiteY8553" fmla="*/ 239432 h 6479439"/>
              <a:gd name="connsiteX8554" fmla="*/ 3124977 w 9586368"/>
              <a:gd name="connsiteY8554" fmla="*/ 243470 h 6479439"/>
              <a:gd name="connsiteX8555" fmla="*/ 3124977 w 9586368"/>
              <a:gd name="connsiteY8555" fmla="*/ 253341 h 6479439"/>
              <a:gd name="connsiteX8556" fmla="*/ 3120959 w 9586368"/>
              <a:gd name="connsiteY8556" fmla="*/ 257380 h 6479439"/>
              <a:gd name="connsiteX8557" fmla="*/ 3111048 w 9586368"/>
              <a:gd name="connsiteY8557" fmla="*/ 257380 h 6479439"/>
              <a:gd name="connsiteX8558" fmla="*/ 3107029 w 9586368"/>
              <a:gd name="connsiteY8558" fmla="*/ 253341 h 6479439"/>
              <a:gd name="connsiteX8559" fmla="*/ 3107029 w 9586368"/>
              <a:gd name="connsiteY8559" fmla="*/ 243470 h 6479439"/>
              <a:gd name="connsiteX8560" fmla="*/ 2871737 w 9586368"/>
              <a:gd name="connsiteY8560" fmla="*/ 239432 h 6479439"/>
              <a:gd name="connsiteX8561" fmla="*/ 2881646 w 9586368"/>
              <a:gd name="connsiteY8561" fmla="*/ 239432 h 6479439"/>
              <a:gd name="connsiteX8562" fmla="*/ 2885666 w 9586368"/>
              <a:gd name="connsiteY8562" fmla="*/ 243470 h 6479439"/>
              <a:gd name="connsiteX8563" fmla="*/ 2885666 w 9586368"/>
              <a:gd name="connsiteY8563" fmla="*/ 253341 h 6479439"/>
              <a:gd name="connsiteX8564" fmla="*/ 2881646 w 9586368"/>
              <a:gd name="connsiteY8564" fmla="*/ 257380 h 6479439"/>
              <a:gd name="connsiteX8565" fmla="*/ 2871737 w 9586368"/>
              <a:gd name="connsiteY8565" fmla="*/ 257380 h 6479439"/>
              <a:gd name="connsiteX8566" fmla="*/ 2867717 w 9586368"/>
              <a:gd name="connsiteY8566" fmla="*/ 253341 h 6479439"/>
              <a:gd name="connsiteX8567" fmla="*/ 2867717 w 9586368"/>
              <a:gd name="connsiteY8567" fmla="*/ 243470 h 6479439"/>
              <a:gd name="connsiteX8568" fmla="*/ 3828990 w 9586368"/>
              <a:gd name="connsiteY8568" fmla="*/ 239420 h 6479439"/>
              <a:gd name="connsiteX8569" fmla="*/ 3838899 w 9586368"/>
              <a:gd name="connsiteY8569" fmla="*/ 239420 h 6479439"/>
              <a:gd name="connsiteX8570" fmla="*/ 3842917 w 9586368"/>
              <a:gd name="connsiteY8570" fmla="*/ 243457 h 6479439"/>
              <a:gd name="connsiteX8571" fmla="*/ 3842917 w 9586368"/>
              <a:gd name="connsiteY8571" fmla="*/ 253328 h 6479439"/>
              <a:gd name="connsiteX8572" fmla="*/ 3838899 w 9586368"/>
              <a:gd name="connsiteY8572" fmla="*/ 257367 h 6479439"/>
              <a:gd name="connsiteX8573" fmla="*/ 3828990 w 9586368"/>
              <a:gd name="connsiteY8573" fmla="*/ 257367 h 6479439"/>
              <a:gd name="connsiteX8574" fmla="*/ 3824971 w 9586368"/>
              <a:gd name="connsiteY8574" fmla="*/ 253328 h 6479439"/>
              <a:gd name="connsiteX8575" fmla="*/ 3824971 w 9586368"/>
              <a:gd name="connsiteY8575" fmla="*/ 243457 h 6479439"/>
              <a:gd name="connsiteX8576" fmla="*/ 3589676 w 9586368"/>
              <a:gd name="connsiteY8576" fmla="*/ 239420 h 6479439"/>
              <a:gd name="connsiteX8577" fmla="*/ 3599585 w 9586368"/>
              <a:gd name="connsiteY8577" fmla="*/ 239420 h 6479439"/>
              <a:gd name="connsiteX8578" fmla="*/ 3603604 w 9586368"/>
              <a:gd name="connsiteY8578" fmla="*/ 243457 h 6479439"/>
              <a:gd name="connsiteX8579" fmla="*/ 3603604 w 9586368"/>
              <a:gd name="connsiteY8579" fmla="*/ 253328 h 6479439"/>
              <a:gd name="connsiteX8580" fmla="*/ 3599585 w 9586368"/>
              <a:gd name="connsiteY8580" fmla="*/ 257367 h 6479439"/>
              <a:gd name="connsiteX8581" fmla="*/ 3589676 w 9586368"/>
              <a:gd name="connsiteY8581" fmla="*/ 257367 h 6479439"/>
              <a:gd name="connsiteX8582" fmla="*/ 3585657 w 9586368"/>
              <a:gd name="connsiteY8582" fmla="*/ 253328 h 6479439"/>
              <a:gd name="connsiteX8583" fmla="*/ 3585657 w 9586368"/>
              <a:gd name="connsiteY8583" fmla="*/ 243457 h 6479439"/>
              <a:gd name="connsiteX8584" fmla="*/ 4546929 w 9586368"/>
              <a:gd name="connsiteY8584" fmla="*/ 239419 h 6479439"/>
              <a:gd name="connsiteX8585" fmla="*/ 4556840 w 9586368"/>
              <a:gd name="connsiteY8585" fmla="*/ 239419 h 6479439"/>
              <a:gd name="connsiteX8586" fmla="*/ 4560859 w 9586368"/>
              <a:gd name="connsiteY8586" fmla="*/ 243457 h 6479439"/>
              <a:gd name="connsiteX8587" fmla="*/ 4560859 w 9586368"/>
              <a:gd name="connsiteY8587" fmla="*/ 253328 h 6479439"/>
              <a:gd name="connsiteX8588" fmla="*/ 4556840 w 9586368"/>
              <a:gd name="connsiteY8588" fmla="*/ 257367 h 6479439"/>
              <a:gd name="connsiteX8589" fmla="*/ 4546929 w 9586368"/>
              <a:gd name="connsiteY8589" fmla="*/ 257367 h 6479439"/>
              <a:gd name="connsiteX8590" fmla="*/ 4542910 w 9586368"/>
              <a:gd name="connsiteY8590" fmla="*/ 253328 h 6479439"/>
              <a:gd name="connsiteX8591" fmla="*/ 4542910 w 9586368"/>
              <a:gd name="connsiteY8591" fmla="*/ 243457 h 6479439"/>
              <a:gd name="connsiteX8592" fmla="*/ 4307612 w 9586368"/>
              <a:gd name="connsiteY8592" fmla="*/ 239419 h 6479439"/>
              <a:gd name="connsiteX8593" fmla="*/ 4317523 w 9586368"/>
              <a:gd name="connsiteY8593" fmla="*/ 239419 h 6479439"/>
              <a:gd name="connsiteX8594" fmla="*/ 4321543 w 9586368"/>
              <a:gd name="connsiteY8594" fmla="*/ 243457 h 6479439"/>
              <a:gd name="connsiteX8595" fmla="*/ 4321543 w 9586368"/>
              <a:gd name="connsiteY8595" fmla="*/ 253328 h 6479439"/>
              <a:gd name="connsiteX8596" fmla="*/ 4317523 w 9586368"/>
              <a:gd name="connsiteY8596" fmla="*/ 257367 h 6479439"/>
              <a:gd name="connsiteX8597" fmla="*/ 4307612 w 9586368"/>
              <a:gd name="connsiteY8597" fmla="*/ 257367 h 6479439"/>
              <a:gd name="connsiteX8598" fmla="*/ 4303595 w 9586368"/>
              <a:gd name="connsiteY8598" fmla="*/ 253328 h 6479439"/>
              <a:gd name="connsiteX8599" fmla="*/ 4303595 w 9586368"/>
              <a:gd name="connsiteY8599" fmla="*/ 243457 h 6479439"/>
              <a:gd name="connsiteX8600" fmla="*/ 4068297 w 9586368"/>
              <a:gd name="connsiteY8600" fmla="*/ 239419 h 6479439"/>
              <a:gd name="connsiteX8601" fmla="*/ 4078210 w 9586368"/>
              <a:gd name="connsiteY8601" fmla="*/ 239419 h 6479439"/>
              <a:gd name="connsiteX8602" fmla="*/ 4082229 w 9586368"/>
              <a:gd name="connsiteY8602" fmla="*/ 243457 h 6479439"/>
              <a:gd name="connsiteX8603" fmla="*/ 4082229 w 9586368"/>
              <a:gd name="connsiteY8603" fmla="*/ 253328 h 6479439"/>
              <a:gd name="connsiteX8604" fmla="*/ 4078210 w 9586368"/>
              <a:gd name="connsiteY8604" fmla="*/ 257367 h 6479439"/>
              <a:gd name="connsiteX8605" fmla="*/ 4068297 w 9586368"/>
              <a:gd name="connsiteY8605" fmla="*/ 257367 h 6479439"/>
              <a:gd name="connsiteX8606" fmla="*/ 4064278 w 9586368"/>
              <a:gd name="connsiteY8606" fmla="*/ 253328 h 6479439"/>
              <a:gd name="connsiteX8607" fmla="*/ 4064278 w 9586368"/>
              <a:gd name="connsiteY8607" fmla="*/ 243457 h 6479439"/>
              <a:gd name="connsiteX8608" fmla="*/ 5025470 w 9586368"/>
              <a:gd name="connsiteY8608" fmla="*/ 239407 h 6479439"/>
              <a:gd name="connsiteX8609" fmla="*/ 5035381 w 9586368"/>
              <a:gd name="connsiteY8609" fmla="*/ 239407 h 6479439"/>
              <a:gd name="connsiteX8610" fmla="*/ 5039400 w 9586368"/>
              <a:gd name="connsiteY8610" fmla="*/ 243445 h 6479439"/>
              <a:gd name="connsiteX8611" fmla="*/ 5039400 w 9586368"/>
              <a:gd name="connsiteY8611" fmla="*/ 253316 h 6479439"/>
              <a:gd name="connsiteX8612" fmla="*/ 5035381 w 9586368"/>
              <a:gd name="connsiteY8612" fmla="*/ 257355 h 6479439"/>
              <a:gd name="connsiteX8613" fmla="*/ 5025470 w 9586368"/>
              <a:gd name="connsiteY8613" fmla="*/ 257355 h 6479439"/>
              <a:gd name="connsiteX8614" fmla="*/ 5021451 w 9586368"/>
              <a:gd name="connsiteY8614" fmla="*/ 253316 h 6479439"/>
              <a:gd name="connsiteX8615" fmla="*/ 5021451 w 9586368"/>
              <a:gd name="connsiteY8615" fmla="*/ 243445 h 6479439"/>
              <a:gd name="connsiteX8616" fmla="*/ 4786241 w 9586368"/>
              <a:gd name="connsiteY8616" fmla="*/ 239407 h 6479439"/>
              <a:gd name="connsiteX8617" fmla="*/ 4796152 w 9586368"/>
              <a:gd name="connsiteY8617" fmla="*/ 239407 h 6479439"/>
              <a:gd name="connsiteX8618" fmla="*/ 4800171 w 9586368"/>
              <a:gd name="connsiteY8618" fmla="*/ 243445 h 6479439"/>
              <a:gd name="connsiteX8619" fmla="*/ 4800171 w 9586368"/>
              <a:gd name="connsiteY8619" fmla="*/ 253316 h 6479439"/>
              <a:gd name="connsiteX8620" fmla="*/ 4796152 w 9586368"/>
              <a:gd name="connsiteY8620" fmla="*/ 257355 h 6479439"/>
              <a:gd name="connsiteX8621" fmla="*/ 4786241 w 9586368"/>
              <a:gd name="connsiteY8621" fmla="*/ 257355 h 6479439"/>
              <a:gd name="connsiteX8622" fmla="*/ 4782224 w 9586368"/>
              <a:gd name="connsiteY8622" fmla="*/ 253316 h 6479439"/>
              <a:gd name="connsiteX8623" fmla="*/ 4782224 w 9586368"/>
              <a:gd name="connsiteY8623" fmla="*/ 243445 h 6479439"/>
              <a:gd name="connsiteX8624" fmla="*/ 5743412 w 9586368"/>
              <a:gd name="connsiteY8624" fmla="*/ 239407 h 6479439"/>
              <a:gd name="connsiteX8625" fmla="*/ 5753323 w 9586368"/>
              <a:gd name="connsiteY8625" fmla="*/ 239407 h 6479439"/>
              <a:gd name="connsiteX8626" fmla="*/ 5757342 w 9586368"/>
              <a:gd name="connsiteY8626" fmla="*/ 243445 h 6479439"/>
              <a:gd name="connsiteX8627" fmla="*/ 5757342 w 9586368"/>
              <a:gd name="connsiteY8627" fmla="*/ 253316 h 6479439"/>
              <a:gd name="connsiteX8628" fmla="*/ 5753323 w 9586368"/>
              <a:gd name="connsiteY8628" fmla="*/ 257355 h 6479439"/>
              <a:gd name="connsiteX8629" fmla="*/ 5743412 w 9586368"/>
              <a:gd name="connsiteY8629" fmla="*/ 257355 h 6479439"/>
              <a:gd name="connsiteX8630" fmla="*/ 5739393 w 9586368"/>
              <a:gd name="connsiteY8630" fmla="*/ 253316 h 6479439"/>
              <a:gd name="connsiteX8631" fmla="*/ 5739393 w 9586368"/>
              <a:gd name="connsiteY8631" fmla="*/ 243445 h 6479439"/>
              <a:gd name="connsiteX8632" fmla="*/ 5504099 w 9586368"/>
              <a:gd name="connsiteY8632" fmla="*/ 239407 h 6479439"/>
              <a:gd name="connsiteX8633" fmla="*/ 5514010 w 9586368"/>
              <a:gd name="connsiteY8633" fmla="*/ 239407 h 6479439"/>
              <a:gd name="connsiteX8634" fmla="*/ 5518029 w 9586368"/>
              <a:gd name="connsiteY8634" fmla="*/ 243445 h 6479439"/>
              <a:gd name="connsiteX8635" fmla="*/ 5518029 w 9586368"/>
              <a:gd name="connsiteY8635" fmla="*/ 253316 h 6479439"/>
              <a:gd name="connsiteX8636" fmla="*/ 5514010 w 9586368"/>
              <a:gd name="connsiteY8636" fmla="*/ 257355 h 6479439"/>
              <a:gd name="connsiteX8637" fmla="*/ 5504099 w 9586368"/>
              <a:gd name="connsiteY8637" fmla="*/ 257355 h 6479439"/>
              <a:gd name="connsiteX8638" fmla="*/ 5500080 w 9586368"/>
              <a:gd name="connsiteY8638" fmla="*/ 253316 h 6479439"/>
              <a:gd name="connsiteX8639" fmla="*/ 5500080 w 9586368"/>
              <a:gd name="connsiteY8639" fmla="*/ 243445 h 6479439"/>
              <a:gd name="connsiteX8640" fmla="*/ 5264784 w 9586368"/>
              <a:gd name="connsiteY8640" fmla="*/ 239407 h 6479439"/>
              <a:gd name="connsiteX8641" fmla="*/ 5274694 w 9586368"/>
              <a:gd name="connsiteY8641" fmla="*/ 239407 h 6479439"/>
              <a:gd name="connsiteX8642" fmla="*/ 5278713 w 9586368"/>
              <a:gd name="connsiteY8642" fmla="*/ 243445 h 6479439"/>
              <a:gd name="connsiteX8643" fmla="*/ 5278713 w 9586368"/>
              <a:gd name="connsiteY8643" fmla="*/ 253316 h 6479439"/>
              <a:gd name="connsiteX8644" fmla="*/ 5274694 w 9586368"/>
              <a:gd name="connsiteY8644" fmla="*/ 257355 h 6479439"/>
              <a:gd name="connsiteX8645" fmla="*/ 5264784 w 9586368"/>
              <a:gd name="connsiteY8645" fmla="*/ 257355 h 6479439"/>
              <a:gd name="connsiteX8646" fmla="*/ 5260765 w 9586368"/>
              <a:gd name="connsiteY8646" fmla="*/ 253316 h 6479439"/>
              <a:gd name="connsiteX8647" fmla="*/ 5260765 w 9586368"/>
              <a:gd name="connsiteY8647" fmla="*/ 243445 h 6479439"/>
              <a:gd name="connsiteX8648" fmla="*/ 6222042 w 9586368"/>
              <a:gd name="connsiteY8648" fmla="*/ 239395 h 6479439"/>
              <a:gd name="connsiteX8649" fmla="*/ 6231952 w 9586368"/>
              <a:gd name="connsiteY8649" fmla="*/ 239395 h 6479439"/>
              <a:gd name="connsiteX8650" fmla="*/ 6235971 w 9586368"/>
              <a:gd name="connsiteY8650" fmla="*/ 243432 h 6479439"/>
              <a:gd name="connsiteX8651" fmla="*/ 6235971 w 9586368"/>
              <a:gd name="connsiteY8651" fmla="*/ 253303 h 6479439"/>
              <a:gd name="connsiteX8652" fmla="*/ 6231952 w 9586368"/>
              <a:gd name="connsiteY8652" fmla="*/ 257342 h 6479439"/>
              <a:gd name="connsiteX8653" fmla="*/ 6222042 w 9586368"/>
              <a:gd name="connsiteY8653" fmla="*/ 257342 h 6479439"/>
              <a:gd name="connsiteX8654" fmla="*/ 6218023 w 9586368"/>
              <a:gd name="connsiteY8654" fmla="*/ 253303 h 6479439"/>
              <a:gd name="connsiteX8655" fmla="*/ 6218023 w 9586368"/>
              <a:gd name="connsiteY8655" fmla="*/ 243432 h 6479439"/>
              <a:gd name="connsiteX8656" fmla="*/ 5982729 w 9586368"/>
              <a:gd name="connsiteY8656" fmla="*/ 239395 h 6479439"/>
              <a:gd name="connsiteX8657" fmla="*/ 5992639 w 9586368"/>
              <a:gd name="connsiteY8657" fmla="*/ 239395 h 6479439"/>
              <a:gd name="connsiteX8658" fmla="*/ 5996658 w 9586368"/>
              <a:gd name="connsiteY8658" fmla="*/ 243433 h 6479439"/>
              <a:gd name="connsiteX8659" fmla="*/ 5996658 w 9586368"/>
              <a:gd name="connsiteY8659" fmla="*/ 253303 h 6479439"/>
              <a:gd name="connsiteX8660" fmla="*/ 5992639 w 9586368"/>
              <a:gd name="connsiteY8660" fmla="*/ 257342 h 6479439"/>
              <a:gd name="connsiteX8661" fmla="*/ 5982729 w 9586368"/>
              <a:gd name="connsiteY8661" fmla="*/ 257342 h 6479439"/>
              <a:gd name="connsiteX8662" fmla="*/ 5978710 w 9586368"/>
              <a:gd name="connsiteY8662" fmla="*/ 253303 h 6479439"/>
              <a:gd name="connsiteX8663" fmla="*/ 5978710 w 9586368"/>
              <a:gd name="connsiteY8663" fmla="*/ 243433 h 6479439"/>
              <a:gd name="connsiteX8664" fmla="*/ 6939983 w 9586368"/>
              <a:gd name="connsiteY8664" fmla="*/ 239394 h 6479439"/>
              <a:gd name="connsiteX8665" fmla="*/ 6949894 w 9586368"/>
              <a:gd name="connsiteY8665" fmla="*/ 239394 h 6479439"/>
              <a:gd name="connsiteX8666" fmla="*/ 6953913 w 9586368"/>
              <a:gd name="connsiteY8666" fmla="*/ 243432 h 6479439"/>
              <a:gd name="connsiteX8667" fmla="*/ 6953913 w 9586368"/>
              <a:gd name="connsiteY8667" fmla="*/ 253303 h 6479439"/>
              <a:gd name="connsiteX8668" fmla="*/ 6949894 w 9586368"/>
              <a:gd name="connsiteY8668" fmla="*/ 257342 h 6479439"/>
              <a:gd name="connsiteX8669" fmla="*/ 6939983 w 9586368"/>
              <a:gd name="connsiteY8669" fmla="*/ 257342 h 6479439"/>
              <a:gd name="connsiteX8670" fmla="*/ 6935964 w 9586368"/>
              <a:gd name="connsiteY8670" fmla="*/ 253303 h 6479439"/>
              <a:gd name="connsiteX8671" fmla="*/ 6935964 w 9586368"/>
              <a:gd name="connsiteY8671" fmla="*/ 243432 h 6479439"/>
              <a:gd name="connsiteX8672" fmla="*/ 6700670 w 9586368"/>
              <a:gd name="connsiteY8672" fmla="*/ 239394 h 6479439"/>
              <a:gd name="connsiteX8673" fmla="*/ 6710581 w 9586368"/>
              <a:gd name="connsiteY8673" fmla="*/ 239394 h 6479439"/>
              <a:gd name="connsiteX8674" fmla="*/ 6714600 w 9586368"/>
              <a:gd name="connsiteY8674" fmla="*/ 243432 h 6479439"/>
              <a:gd name="connsiteX8675" fmla="*/ 6714600 w 9586368"/>
              <a:gd name="connsiteY8675" fmla="*/ 253303 h 6479439"/>
              <a:gd name="connsiteX8676" fmla="*/ 6710581 w 9586368"/>
              <a:gd name="connsiteY8676" fmla="*/ 257342 h 6479439"/>
              <a:gd name="connsiteX8677" fmla="*/ 6700670 w 9586368"/>
              <a:gd name="connsiteY8677" fmla="*/ 257342 h 6479439"/>
              <a:gd name="connsiteX8678" fmla="*/ 6696651 w 9586368"/>
              <a:gd name="connsiteY8678" fmla="*/ 253303 h 6479439"/>
              <a:gd name="connsiteX8679" fmla="*/ 6696651 w 9586368"/>
              <a:gd name="connsiteY8679" fmla="*/ 243432 h 6479439"/>
              <a:gd name="connsiteX8680" fmla="*/ 6461356 w 9586368"/>
              <a:gd name="connsiteY8680" fmla="*/ 239394 h 6479439"/>
              <a:gd name="connsiteX8681" fmla="*/ 6471266 w 9586368"/>
              <a:gd name="connsiteY8681" fmla="*/ 239394 h 6479439"/>
              <a:gd name="connsiteX8682" fmla="*/ 6475285 w 9586368"/>
              <a:gd name="connsiteY8682" fmla="*/ 243432 h 6479439"/>
              <a:gd name="connsiteX8683" fmla="*/ 6475285 w 9586368"/>
              <a:gd name="connsiteY8683" fmla="*/ 253303 h 6479439"/>
              <a:gd name="connsiteX8684" fmla="*/ 6471266 w 9586368"/>
              <a:gd name="connsiteY8684" fmla="*/ 257342 h 6479439"/>
              <a:gd name="connsiteX8685" fmla="*/ 6461356 w 9586368"/>
              <a:gd name="connsiteY8685" fmla="*/ 257342 h 6479439"/>
              <a:gd name="connsiteX8686" fmla="*/ 6457337 w 9586368"/>
              <a:gd name="connsiteY8686" fmla="*/ 253303 h 6479439"/>
              <a:gd name="connsiteX8687" fmla="*/ 6457337 w 9586368"/>
              <a:gd name="connsiteY8687" fmla="*/ 243432 h 6479439"/>
              <a:gd name="connsiteX8688" fmla="*/ 7418611 w 9586368"/>
              <a:gd name="connsiteY8688" fmla="*/ 239382 h 6479439"/>
              <a:gd name="connsiteX8689" fmla="*/ 7428521 w 9586368"/>
              <a:gd name="connsiteY8689" fmla="*/ 239382 h 6479439"/>
              <a:gd name="connsiteX8690" fmla="*/ 7432540 w 9586368"/>
              <a:gd name="connsiteY8690" fmla="*/ 243420 h 6479439"/>
              <a:gd name="connsiteX8691" fmla="*/ 7432540 w 9586368"/>
              <a:gd name="connsiteY8691" fmla="*/ 253291 h 6479439"/>
              <a:gd name="connsiteX8692" fmla="*/ 7428521 w 9586368"/>
              <a:gd name="connsiteY8692" fmla="*/ 257330 h 6479439"/>
              <a:gd name="connsiteX8693" fmla="*/ 7418611 w 9586368"/>
              <a:gd name="connsiteY8693" fmla="*/ 257330 h 6479439"/>
              <a:gd name="connsiteX8694" fmla="*/ 7414592 w 9586368"/>
              <a:gd name="connsiteY8694" fmla="*/ 253291 h 6479439"/>
              <a:gd name="connsiteX8695" fmla="*/ 7414592 w 9586368"/>
              <a:gd name="connsiteY8695" fmla="*/ 243420 h 6479439"/>
              <a:gd name="connsiteX8696" fmla="*/ 7179298 w 9586368"/>
              <a:gd name="connsiteY8696" fmla="*/ 239382 h 6479439"/>
              <a:gd name="connsiteX8697" fmla="*/ 7189209 w 9586368"/>
              <a:gd name="connsiteY8697" fmla="*/ 239382 h 6479439"/>
              <a:gd name="connsiteX8698" fmla="*/ 7193228 w 9586368"/>
              <a:gd name="connsiteY8698" fmla="*/ 243421 h 6479439"/>
              <a:gd name="connsiteX8699" fmla="*/ 7193228 w 9586368"/>
              <a:gd name="connsiteY8699" fmla="*/ 253292 h 6479439"/>
              <a:gd name="connsiteX8700" fmla="*/ 7189209 w 9586368"/>
              <a:gd name="connsiteY8700" fmla="*/ 257330 h 6479439"/>
              <a:gd name="connsiteX8701" fmla="*/ 7179298 w 9586368"/>
              <a:gd name="connsiteY8701" fmla="*/ 257330 h 6479439"/>
              <a:gd name="connsiteX8702" fmla="*/ 7175279 w 9586368"/>
              <a:gd name="connsiteY8702" fmla="*/ 253292 h 6479439"/>
              <a:gd name="connsiteX8703" fmla="*/ 7175279 w 9586368"/>
              <a:gd name="connsiteY8703" fmla="*/ 243421 h 6479439"/>
              <a:gd name="connsiteX8704" fmla="*/ 8136553 w 9586368"/>
              <a:gd name="connsiteY8704" fmla="*/ 239382 h 6479439"/>
              <a:gd name="connsiteX8705" fmla="*/ 8146464 w 9586368"/>
              <a:gd name="connsiteY8705" fmla="*/ 239382 h 6479439"/>
              <a:gd name="connsiteX8706" fmla="*/ 8150483 w 9586368"/>
              <a:gd name="connsiteY8706" fmla="*/ 243420 h 6479439"/>
              <a:gd name="connsiteX8707" fmla="*/ 8150483 w 9586368"/>
              <a:gd name="connsiteY8707" fmla="*/ 253291 h 6479439"/>
              <a:gd name="connsiteX8708" fmla="*/ 8146464 w 9586368"/>
              <a:gd name="connsiteY8708" fmla="*/ 257330 h 6479439"/>
              <a:gd name="connsiteX8709" fmla="*/ 8136553 w 9586368"/>
              <a:gd name="connsiteY8709" fmla="*/ 257330 h 6479439"/>
              <a:gd name="connsiteX8710" fmla="*/ 8132534 w 9586368"/>
              <a:gd name="connsiteY8710" fmla="*/ 253291 h 6479439"/>
              <a:gd name="connsiteX8711" fmla="*/ 8132534 w 9586368"/>
              <a:gd name="connsiteY8711" fmla="*/ 243420 h 6479439"/>
              <a:gd name="connsiteX8712" fmla="*/ 7897241 w 9586368"/>
              <a:gd name="connsiteY8712" fmla="*/ 239382 h 6479439"/>
              <a:gd name="connsiteX8713" fmla="*/ 7907151 w 9586368"/>
              <a:gd name="connsiteY8713" fmla="*/ 239382 h 6479439"/>
              <a:gd name="connsiteX8714" fmla="*/ 7911170 w 9586368"/>
              <a:gd name="connsiteY8714" fmla="*/ 243420 h 6479439"/>
              <a:gd name="connsiteX8715" fmla="*/ 7911170 w 9586368"/>
              <a:gd name="connsiteY8715" fmla="*/ 253291 h 6479439"/>
              <a:gd name="connsiteX8716" fmla="*/ 7907151 w 9586368"/>
              <a:gd name="connsiteY8716" fmla="*/ 257330 h 6479439"/>
              <a:gd name="connsiteX8717" fmla="*/ 7897241 w 9586368"/>
              <a:gd name="connsiteY8717" fmla="*/ 257330 h 6479439"/>
              <a:gd name="connsiteX8718" fmla="*/ 7893222 w 9586368"/>
              <a:gd name="connsiteY8718" fmla="*/ 253291 h 6479439"/>
              <a:gd name="connsiteX8719" fmla="*/ 7893222 w 9586368"/>
              <a:gd name="connsiteY8719" fmla="*/ 243420 h 6479439"/>
              <a:gd name="connsiteX8720" fmla="*/ 7657926 w 9586368"/>
              <a:gd name="connsiteY8720" fmla="*/ 239382 h 6479439"/>
              <a:gd name="connsiteX8721" fmla="*/ 7667836 w 9586368"/>
              <a:gd name="connsiteY8721" fmla="*/ 239382 h 6479439"/>
              <a:gd name="connsiteX8722" fmla="*/ 7671855 w 9586368"/>
              <a:gd name="connsiteY8722" fmla="*/ 243420 h 6479439"/>
              <a:gd name="connsiteX8723" fmla="*/ 7671855 w 9586368"/>
              <a:gd name="connsiteY8723" fmla="*/ 253291 h 6479439"/>
              <a:gd name="connsiteX8724" fmla="*/ 7667836 w 9586368"/>
              <a:gd name="connsiteY8724" fmla="*/ 257330 h 6479439"/>
              <a:gd name="connsiteX8725" fmla="*/ 7657926 w 9586368"/>
              <a:gd name="connsiteY8725" fmla="*/ 257330 h 6479439"/>
              <a:gd name="connsiteX8726" fmla="*/ 7653906 w 9586368"/>
              <a:gd name="connsiteY8726" fmla="*/ 253291 h 6479439"/>
              <a:gd name="connsiteX8727" fmla="*/ 7653906 w 9586368"/>
              <a:gd name="connsiteY8727" fmla="*/ 243420 h 6479439"/>
              <a:gd name="connsiteX8728" fmla="*/ 1679220 w 9586368"/>
              <a:gd name="connsiteY8728" fmla="*/ 239371 h 6479439"/>
              <a:gd name="connsiteX8729" fmla="*/ 1689131 w 9586368"/>
              <a:gd name="connsiteY8729" fmla="*/ 239371 h 6479439"/>
              <a:gd name="connsiteX8730" fmla="*/ 1693150 w 9586368"/>
              <a:gd name="connsiteY8730" fmla="*/ 243409 h 6479439"/>
              <a:gd name="connsiteX8731" fmla="*/ 1693150 w 9586368"/>
              <a:gd name="connsiteY8731" fmla="*/ 253280 h 6479439"/>
              <a:gd name="connsiteX8732" fmla="*/ 1689131 w 9586368"/>
              <a:gd name="connsiteY8732" fmla="*/ 257319 h 6479439"/>
              <a:gd name="connsiteX8733" fmla="*/ 1679220 w 9586368"/>
              <a:gd name="connsiteY8733" fmla="*/ 257319 h 6479439"/>
              <a:gd name="connsiteX8734" fmla="*/ 1675202 w 9586368"/>
              <a:gd name="connsiteY8734" fmla="*/ 253280 h 6479439"/>
              <a:gd name="connsiteX8735" fmla="*/ 1675202 w 9586368"/>
              <a:gd name="connsiteY8735" fmla="*/ 243409 h 6479439"/>
              <a:gd name="connsiteX8736" fmla="*/ 1439902 w 9586368"/>
              <a:gd name="connsiteY8736" fmla="*/ 239371 h 6479439"/>
              <a:gd name="connsiteX8737" fmla="*/ 1449813 w 9586368"/>
              <a:gd name="connsiteY8737" fmla="*/ 239371 h 6479439"/>
              <a:gd name="connsiteX8738" fmla="*/ 1453832 w 9586368"/>
              <a:gd name="connsiteY8738" fmla="*/ 243409 h 6479439"/>
              <a:gd name="connsiteX8739" fmla="*/ 1453832 w 9586368"/>
              <a:gd name="connsiteY8739" fmla="*/ 253280 h 6479439"/>
              <a:gd name="connsiteX8740" fmla="*/ 1449813 w 9586368"/>
              <a:gd name="connsiteY8740" fmla="*/ 257319 h 6479439"/>
              <a:gd name="connsiteX8741" fmla="*/ 1439902 w 9586368"/>
              <a:gd name="connsiteY8741" fmla="*/ 257319 h 6479439"/>
              <a:gd name="connsiteX8742" fmla="*/ 1435884 w 9586368"/>
              <a:gd name="connsiteY8742" fmla="*/ 253280 h 6479439"/>
              <a:gd name="connsiteX8743" fmla="*/ 1435884 w 9586368"/>
              <a:gd name="connsiteY8743" fmla="*/ 243409 h 6479439"/>
              <a:gd name="connsiteX8744" fmla="*/ 1200587 w 9586368"/>
              <a:gd name="connsiteY8744" fmla="*/ 239371 h 6479439"/>
              <a:gd name="connsiteX8745" fmla="*/ 1210496 w 9586368"/>
              <a:gd name="connsiteY8745" fmla="*/ 239371 h 6479439"/>
              <a:gd name="connsiteX8746" fmla="*/ 1214515 w 9586368"/>
              <a:gd name="connsiteY8746" fmla="*/ 243409 h 6479439"/>
              <a:gd name="connsiteX8747" fmla="*/ 1214515 w 9586368"/>
              <a:gd name="connsiteY8747" fmla="*/ 253280 h 6479439"/>
              <a:gd name="connsiteX8748" fmla="*/ 1210496 w 9586368"/>
              <a:gd name="connsiteY8748" fmla="*/ 257319 h 6479439"/>
              <a:gd name="connsiteX8749" fmla="*/ 1200587 w 9586368"/>
              <a:gd name="connsiteY8749" fmla="*/ 257319 h 6479439"/>
              <a:gd name="connsiteX8750" fmla="*/ 1196567 w 9586368"/>
              <a:gd name="connsiteY8750" fmla="*/ 253280 h 6479439"/>
              <a:gd name="connsiteX8751" fmla="*/ 1196567 w 9586368"/>
              <a:gd name="connsiteY8751" fmla="*/ 243409 h 6479439"/>
              <a:gd name="connsiteX8752" fmla="*/ 961273 w 9586368"/>
              <a:gd name="connsiteY8752" fmla="*/ 239371 h 6479439"/>
              <a:gd name="connsiteX8753" fmla="*/ 971184 w 9586368"/>
              <a:gd name="connsiteY8753" fmla="*/ 239371 h 6479439"/>
              <a:gd name="connsiteX8754" fmla="*/ 975203 w 9586368"/>
              <a:gd name="connsiteY8754" fmla="*/ 243409 h 6479439"/>
              <a:gd name="connsiteX8755" fmla="*/ 975203 w 9586368"/>
              <a:gd name="connsiteY8755" fmla="*/ 253280 h 6479439"/>
              <a:gd name="connsiteX8756" fmla="*/ 971184 w 9586368"/>
              <a:gd name="connsiteY8756" fmla="*/ 257319 h 6479439"/>
              <a:gd name="connsiteX8757" fmla="*/ 961273 w 9586368"/>
              <a:gd name="connsiteY8757" fmla="*/ 257319 h 6479439"/>
              <a:gd name="connsiteX8758" fmla="*/ 957255 w 9586368"/>
              <a:gd name="connsiteY8758" fmla="*/ 253280 h 6479439"/>
              <a:gd name="connsiteX8759" fmla="*/ 957255 w 9586368"/>
              <a:gd name="connsiteY8759" fmla="*/ 243409 h 6479439"/>
              <a:gd name="connsiteX8760" fmla="*/ 8615184 w 9586368"/>
              <a:gd name="connsiteY8760" fmla="*/ 239370 h 6479439"/>
              <a:gd name="connsiteX8761" fmla="*/ 8625095 w 9586368"/>
              <a:gd name="connsiteY8761" fmla="*/ 239370 h 6479439"/>
              <a:gd name="connsiteX8762" fmla="*/ 8629114 w 9586368"/>
              <a:gd name="connsiteY8762" fmla="*/ 243408 h 6479439"/>
              <a:gd name="connsiteX8763" fmla="*/ 8629114 w 9586368"/>
              <a:gd name="connsiteY8763" fmla="*/ 253278 h 6479439"/>
              <a:gd name="connsiteX8764" fmla="*/ 8625095 w 9586368"/>
              <a:gd name="connsiteY8764" fmla="*/ 257317 h 6479439"/>
              <a:gd name="connsiteX8765" fmla="*/ 8615184 w 9586368"/>
              <a:gd name="connsiteY8765" fmla="*/ 257317 h 6479439"/>
              <a:gd name="connsiteX8766" fmla="*/ 8611165 w 9586368"/>
              <a:gd name="connsiteY8766" fmla="*/ 253278 h 6479439"/>
              <a:gd name="connsiteX8767" fmla="*/ 8611165 w 9586368"/>
              <a:gd name="connsiteY8767" fmla="*/ 243408 h 6479439"/>
              <a:gd name="connsiteX8768" fmla="*/ 8375869 w 9586368"/>
              <a:gd name="connsiteY8768" fmla="*/ 239370 h 6479439"/>
              <a:gd name="connsiteX8769" fmla="*/ 8385779 w 9586368"/>
              <a:gd name="connsiteY8769" fmla="*/ 239370 h 6479439"/>
              <a:gd name="connsiteX8770" fmla="*/ 8389799 w 9586368"/>
              <a:gd name="connsiteY8770" fmla="*/ 243408 h 6479439"/>
              <a:gd name="connsiteX8771" fmla="*/ 8389799 w 9586368"/>
              <a:gd name="connsiteY8771" fmla="*/ 253279 h 6479439"/>
              <a:gd name="connsiteX8772" fmla="*/ 8385779 w 9586368"/>
              <a:gd name="connsiteY8772" fmla="*/ 257318 h 6479439"/>
              <a:gd name="connsiteX8773" fmla="*/ 8375869 w 9586368"/>
              <a:gd name="connsiteY8773" fmla="*/ 257318 h 6479439"/>
              <a:gd name="connsiteX8774" fmla="*/ 8371850 w 9586368"/>
              <a:gd name="connsiteY8774" fmla="*/ 253279 h 6479439"/>
              <a:gd name="connsiteX8775" fmla="*/ 8371850 w 9586368"/>
              <a:gd name="connsiteY8775" fmla="*/ 243408 h 6479439"/>
              <a:gd name="connsiteX8776" fmla="*/ 9333125 w 9586368"/>
              <a:gd name="connsiteY8776" fmla="*/ 239369 h 6479439"/>
              <a:gd name="connsiteX8777" fmla="*/ 9343036 w 9586368"/>
              <a:gd name="connsiteY8777" fmla="*/ 239369 h 6479439"/>
              <a:gd name="connsiteX8778" fmla="*/ 9347055 w 9586368"/>
              <a:gd name="connsiteY8778" fmla="*/ 243407 h 6479439"/>
              <a:gd name="connsiteX8779" fmla="*/ 9347055 w 9586368"/>
              <a:gd name="connsiteY8779" fmla="*/ 253278 h 6479439"/>
              <a:gd name="connsiteX8780" fmla="*/ 9343036 w 9586368"/>
              <a:gd name="connsiteY8780" fmla="*/ 257317 h 6479439"/>
              <a:gd name="connsiteX8781" fmla="*/ 9333125 w 9586368"/>
              <a:gd name="connsiteY8781" fmla="*/ 257317 h 6479439"/>
              <a:gd name="connsiteX8782" fmla="*/ 9329106 w 9586368"/>
              <a:gd name="connsiteY8782" fmla="*/ 253278 h 6479439"/>
              <a:gd name="connsiteX8783" fmla="*/ 9329106 w 9586368"/>
              <a:gd name="connsiteY8783" fmla="*/ 243407 h 6479439"/>
              <a:gd name="connsiteX8784" fmla="*/ 9093811 w 9586368"/>
              <a:gd name="connsiteY8784" fmla="*/ 239369 h 6479439"/>
              <a:gd name="connsiteX8785" fmla="*/ 9103722 w 9586368"/>
              <a:gd name="connsiteY8785" fmla="*/ 239369 h 6479439"/>
              <a:gd name="connsiteX8786" fmla="*/ 9107741 w 9586368"/>
              <a:gd name="connsiteY8786" fmla="*/ 243407 h 6479439"/>
              <a:gd name="connsiteX8787" fmla="*/ 9107741 w 9586368"/>
              <a:gd name="connsiteY8787" fmla="*/ 253278 h 6479439"/>
              <a:gd name="connsiteX8788" fmla="*/ 9103722 w 9586368"/>
              <a:gd name="connsiteY8788" fmla="*/ 257317 h 6479439"/>
              <a:gd name="connsiteX8789" fmla="*/ 9093811 w 9586368"/>
              <a:gd name="connsiteY8789" fmla="*/ 257317 h 6479439"/>
              <a:gd name="connsiteX8790" fmla="*/ 9089792 w 9586368"/>
              <a:gd name="connsiteY8790" fmla="*/ 253278 h 6479439"/>
              <a:gd name="connsiteX8791" fmla="*/ 9089792 w 9586368"/>
              <a:gd name="connsiteY8791" fmla="*/ 243407 h 6479439"/>
              <a:gd name="connsiteX8792" fmla="*/ 8854496 w 9586368"/>
              <a:gd name="connsiteY8792" fmla="*/ 239369 h 6479439"/>
              <a:gd name="connsiteX8793" fmla="*/ 8864407 w 9586368"/>
              <a:gd name="connsiteY8793" fmla="*/ 239369 h 6479439"/>
              <a:gd name="connsiteX8794" fmla="*/ 8868426 w 9586368"/>
              <a:gd name="connsiteY8794" fmla="*/ 243407 h 6479439"/>
              <a:gd name="connsiteX8795" fmla="*/ 8868426 w 9586368"/>
              <a:gd name="connsiteY8795" fmla="*/ 253278 h 6479439"/>
              <a:gd name="connsiteX8796" fmla="*/ 8864407 w 9586368"/>
              <a:gd name="connsiteY8796" fmla="*/ 257317 h 6479439"/>
              <a:gd name="connsiteX8797" fmla="*/ 8854496 w 9586368"/>
              <a:gd name="connsiteY8797" fmla="*/ 257317 h 6479439"/>
              <a:gd name="connsiteX8798" fmla="*/ 8850477 w 9586368"/>
              <a:gd name="connsiteY8798" fmla="*/ 253278 h 6479439"/>
              <a:gd name="connsiteX8799" fmla="*/ 8850477 w 9586368"/>
              <a:gd name="connsiteY8799" fmla="*/ 243407 h 6479439"/>
              <a:gd name="connsiteX8800" fmla="*/ 1918515 w 9586368"/>
              <a:gd name="connsiteY8800" fmla="*/ 239361 h 6479439"/>
              <a:gd name="connsiteX8801" fmla="*/ 1928425 w 9586368"/>
              <a:gd name="connsiteY8801" fmla="*/ 239361 h 6479439"/>
              <a:gd name="connsiteX8802" fmla="*/ 1932444 w 9586368"/>
              <a:gd name="connsiteY8802" fmla="*/ 243400 h 6479439"/>
              <a:gd name="connsiteX8803" fmla="*/ 1932444 w 9586368"/>
              <a:gd name="connsiteY8803" fmla="*/ 253271 h 6479439"/>
              <a:gd name="connsiteX8804" fmla="*/ 1928425 w 9586368"/>
              <a:gd name="connsiteY8804" fmla="*/ 257310 h 6479439"/>
              <a:gd name="connsiteX8805" fmla="*/ 1918515 w 9586368"/>
              <a:gd name="connsiteY8805" fmla="*/ 257310 h 6479439"/>
              <a:gd name="connsiteX8806" fmla="*/ 1914495 w 9586368"/>
              <a:gd name="connsiteY8806" fmla="*/ 253271 h 6479439"/>
              <a:gd name="connsiteX8807" fmla="*/ 1914495 w 9586368"/>
              <a:gd name="connsiteY8807" fmla="*/ 243400 h 6479439"/>
              <a:gd name="connsiteX8808" fmla="*/ 2157824 w 9586368"/>
              <a:gd name="connsiteY8808" fmla="*/ 239359 h 6479439"/>
              <a:gd name="connsiteX8809" fmla="*/ 2167734 w 9586368"/>
              <a:gd name="connsiteY8809" fmla="*/ 239359 h 6479439"/>
              <a:gd name="connsiteX8810" fmla="*/ 2171753 w 9586368"/>
              <a:gd name="connsiteY8810" fmla="*/ 243397 h 6479439"/>
              <a:gd name="connsiteX8811" fmla="*/ 2171753 w 9586368"/>
              <a:gd name="connsiteY8811" fmla="*/ 253268 h 6479439"/>
              <a:gd name="connsiteX8812" fmla="*/ 2167734 w 9586368"/>
              <a:gd name="connsiteY8812" fmla="*/ 257307 h 6479439"/>
              <a:gd name="connsiteX8813" fmla="*/ 2157824 w 9586368"/>
              <a:gd name="connsiteY8813" fmla="*/ 257307 h 6479439"/>
              <a:gd name="connsiteX8814" fmla="*/ 2153804 w 9586368"/>
              <a:gd name="connsiteY8814" fmla="*/ 253268 h 6479439"/>
              <a:gd name="connsiteX8815" fmla="*/ 2153804 w 9586368"/>
              <a:gd name="connsiteY8815" fmla="*/ 243397 h 6479439"/>
              <a:gd name="connsiteX8816" fmla="*/ 9572438 w 9586368"/>
              <a:gd name="connsiteY8816" fmla="*/ 239357 h 6479439"/>
              <a:gd name="connsiteX8817" fmla="*/ 9582349 w 9586368"/>
              <a:gd name="connsiteY8817" fmla="*/ 239357 h 6479439"/>
              <a:gd name="connsiteX8818" fmla="*/ 9586368 w 9586368"/>
              <a:gd name="connsiteY8818" fmla="*/ 243395 h 6479439"/>
              <a:gd name="connsiteX8819" fmla="*/ 9586368 w 9586368"/>
              <a:gd name="connsiteY8819" fmla="*/ 253267 h 6479439"/>
              <a:gd name="connsiteX8820" fmla="*/ 9582349 w 9586368"/>
              <a:gd name="connsiteY8820" fmla="*/ 257306 h 6479439"/>
              <a:gd name="connsiteX8821" fmla="*/ 9572438 w 9586368"/>
              <a:gd name="connsiteY8821" fmla="*/ 257306 h 6479439"/>
              <a:gd name="connsiteX8822" fmla="*/ 9568419 w 9586368"/>
              <a:gd name="connsiteY8822" fmla="*/ 253267 h 6479439"/>
              <a:gd name="connsiteX8823" fmla="*/ 9568419 w 9586368"/>
              <a:gd name="connsiteY8823" fmla="*/ 243395 h 6479439"/>
              <a:gd name="connsiteX8824" fmla="*/ 721976 w 9586368"/>
              <a:gd name="connsiteY8824" fmla="*/ 239330 h 6479439"/>
              <a:gd name="connsiteX8825" fmla="*/ 731887 w 9586368"/>
              <a:gd name="connsiteY8825" fmla="*/ 239330 h 6479439"/>
              <a:gd name="connsiteX8826" fmla="*/ 735906 w 9586368"/>
              <a:gd name="connsiteY8826" fmla="*/ 243368 h 6479439"/>
              <a:gd name="connsiteX8827" fmla="*/ 735906 w 9586368"/>
              <a:gd name="connsiteY8827" fmla="*/ 253239 h 6479439"/>
              <a:gd name="connsiteX8828" fmla="*/ 731887 w 9586368"/>
              <a:gd name="connsiteY8828" fmla="*/ 257278 h 6479439"/>
              <a:gd name="connsiteX8829" fmla="*/ 721976 w 9586368"/>
              <a:gd name="connsiteY8829" fmla="*/ 257278 h 6479439"/>
              <a:gd name="connsiteX8830" fmla="*/ 717958 w 9586368"/>
              <a:gd name="connsiteY8830" fmla="*/ 253239 h 6479439"/>
              <a:gd name="connsiteX8831" fmla="*/ 717958 w 9586368"/>
              <a:gd name="connsiteY8831" fmla="*/ 243368 h 6479439"/>
              <a:gd name="connsiteX8832" fmla="*/ 482664 w 9586368"/>
              <a:gd name="connsiteY8832" fmla="*/ 239330 h 6479439"/>
              <a:gd name="connsiteX8833" fmla="*/ 492575 w 9586368"/>
              <a:gd name="connsiteY8833" fmla="*/ 239330 h 6479439"/>
              <a:gd name="connsiteX8834" fmla="*/ 496594 w 9586368"/>
              <a:gd name="connsiteY8834" fmla="*/ 243368 h 6479439"/>
              <a:gd name="connsiteX8835" fmla="*/ 496594 w 9586368"/>
              <a:gd name="connsiteY8835" fmla="*/ 253239 h 6479439"/>
              <a:gd name="connsiteX8836" fmla="*/ 492575 w 9586368"/>
              <a:gd name="connsiteY8836" fmla="*/ 257278 h 6479439"/>
              <a:gd name="connsiteX8837" fmla="*/ 482664 w 9586368"/>
              <a:gd name="connsiteY8837" fmla="*/ 257278 h 6479439"/>
              <a:gd name="connsiteX8838" fmla="*/ 478645 w 9586368"/>
              <a:gd name="connsiteY8838" fmla="*/ 253239 h 6479439"/>
              <a:gd name="connsiteX8839" fmla="*/ 478645 w 9586368"/>
              <a:gd name="connsiteY8839" fmla="*/ 243368 h 6479439"/>
              <a:gd name="connsiteX8840" fmla="*/ 243350 w 9586368"/>
              <a:gd name="connsiteY8840" fmla="*/ 239330 h 6479439"/>
              <a:gd name="connsiteX8841" fmla="*/ 253261 w 9586368"/>
              <a:gd name="connsiteY8841" fmla="*/ 239330 h 6479439"/>
              <a:gd name="connsiteX8842" fmla="*/ 257280 w 9586368"/>
              <a:gd name="connsiteY8842" fmla="*/ 243368 h 6479439"/>
              <a:gd name="connsiteX8843" fmla="*/ 257280 w 9586368"/>
              <a:gd name="connsiteY8843" fmla="*/ 253239 h 6479439"/>
              <a:gd name="connsiteX8844" fmla="*/ 253261 w 9586368"/>
              <a:gd name="connsiteY8844" fmla="*/ 257278 h 6479439"/>
              <a:gd name="connsiteX8845" fmla="*/ 243350 w 9586368"/>
              <a:gd name="connsiteY8845" fmla="*/ 257278 h 6479439"/>
              <a:gd name="connsiteX8846" fmla="*/ 239332 w 9586368"/>
              <a:gd name="connsiteY8846" fmla="*/ 253239 h 6479439"/>
              <a:gd name="connsiteX8847" fmla="*/ 239332 w 9586368"/>
              <a:gd name="connsiteY8847" fmla="*/ 243368 h 6479439"/>
              <a:gd name="connsiteX8848" fmla="*/ 4037 w 9586368"/>
              <a:gd name="connsiteY8848" fmla="*/ 239330 h 6479439"/>
              <a:gd name="connsiteX8849" fmla="*/ 13948 w 9586368"/>
              <a:gd name="connsiteY8849" fmla="*/ 239330 h 6479439"/>
              <a:gd name="connsiteX8850" fmla="*/ 17967 w 9586368"/>
              <a:gd name="connsiteY8850" fmla="*/ 243368 h 6479439"/>
              <a:gd name="connsiteX8851" fmla="*/ 17967 w 9586368"/>
              <a:gd name="connsiteY8851" fmla="*/ 253239 h 6479439"/>
              <a:gd name="connsiteX8852" fmla="*/ 13948 w 9586368"/>
              <a:gd name="connsiteY8852" fmla="*/ 257278 h 6479439"/>
              <a:gd name="connsiteX8853" fmla="*/ 4037 w 9586368"/>
              <a:gd name="connsiteY8853" fmla="*/ 257278 h 6479439"/>
              <a:gd name="connsiteX8854" fmla="*/ 18 w 9586368"/>
              <a:gd name="connsiteY8854" fmla="*/ 253239 h 6479439"/>
              <a:gd name="connsiteX8855" fmla="*/ 18 w 9586368"/>
              <a:gd name="connsiteY8855" fmla="*/ 243368 h 6479439"/>
              <a:gd name="connsiteX8856" fmla="*/ 3111048 w 9586368"/>
              <a:gd name="connsiteY8856" fmla="*/ 106 h 6479439"/>
              <a:gd name="connsiteX8857" fmla="*/ 3120959 w 9586368"/>
              <a:gd name="connsiteY8857" fmla="*/ 106 h 6479439"/>
              <a:gd name="connsiteX8858" fmla="*/ 3124977 w 9586368"/>
              <a:gd name="connsiteY8858" fmla="*/ 4144 h 6479439"/>
              <a:gd name="connsiteX8859" fmla="*/ 3124977 w 9586368"/>
              <a:gd name="connsiteY8859" fmla="*/ 14015 h 6479439"/>
              <a:gd name="connsiteX8860" fmla="*/ 3120959 w 9586368"/>
              <a:gd name="connsiteY8860" fmla="*/ 18054 h 6479439"/>
              <a:gd name="connsiteX8861" fmla="*/ 3111048 w 9586368"/>
              <a:gd name="connsiteY8861" fmla="*/ 18054 h 6479439"/>
              <a:gd name="connsiteX8862" fmla="*/ 3107029 w 9586368"/>
              <a:gd name="connsiteY8862" fmla="*/ 14015 h 6479439"/>
              <a:gd name="connsiteX8863" fmla="*/ 3107029 w 9586368"/>
              <a:gd name="connsiteY8863" fmla="*/ 4144 h 6479439"/>
              <a:gd name="connsiteX8864" fmla="*/ 2871737 w 9586368"/>
              <a:gd name="connsiteY8864" fmla="*/ 106 h 6479439"/>
              <a:gd name="connsiteX8865" fmla="*/ 2881646 w 9586368"/>
              <a:gd name="connsiteY8865" fmla="*/ 106 h 6479439"/>
              <a:gd name="connsiteX8866" fmla="*/ 2885666 w 9586368"/>
              <a:gd name="connsiteY8866" fmla="*/ 4145 h 6479439"/>
              <a:gd name="connsiteX8867" fmla="*/ 2885666 w 9586368"/>
              <a:gd name="connsiteY8867" fmla="*/ 14015 h 6479439"/>
              <a:gd name="connsiteX8868" fmla="*/ 2881646 w 9586368"/>
              <a:gd name="connsiteY8868" fmla="*/ 18054 h 6479439"/>
              <a:gd name="connsiteX8869" fmla="*/ 2871737 w 9586368"/>
              <a:gd name="connsiteY8869" fmla="*/ 18054 h 6479439"/>
              <a:gd name="connsiteX8870" fmla="*/ 2867717 w 9586368"/>
              <a:gd name="connsiteY8870" fmla="*/ 14015 h 6479439"/>
              <a:gd name="connsiteX8871" fmla="*/ 2867717 w 9586368"/>
              <a:gd name="connsiteY8871" fmla="*/ 4145 h 6479439"/>
              <a:gd name="connsiteX8872" fmla="*/ 2632423 w 9586368"/>
              <a:gd name="connsiteY8872" fmla="*/ 106 h 6479439"/>
              <a:gd name="connsiteX8873" fmla="*/ 2642334 w 9586368"/>
              <a:gd name="connsiteY8873" fmla="*/ 106 h 6479439"/>
              <a:gd name="connsiteX8874" fmla="*/ 2646352 w 9586368"/>
              <a:gd name="connsiteY8874" fmla="*/ 4145 h 6479439"/>
              <a:gd name="connsiteX8875" fmla="*/ 2646352 w 9586368"/>
              <a:gd name="connsiteY8875" fmla="*/ 14016 h 6479439"/>
              <a:gd name="connsiteX8876" fmla="*/ 2642334 w 9586368"/>
              <a:gd name="connsiteY8876" fmla="*/ 18055 h 6479439"/>
              <a:gd name="connsiteX8877" fmla="*/ 2632423 w 9586368"/>
              <a:gd name="connsiteY8877" fmla="*/ 18055 h 6479439"/>
              <a:gd name="connsiteX8878" fmla="*/ 2628404 w 9586368"/>
              <a:gd name="connsiteY8878" fmla="*/ 14016 h 6479439"/>
              <a:gd name="connsiteX8879" fmla="*/ 2628404 w 9586368"/>
              <a:gd name="connsiteY8879" fmla="*/ 4145 h 6479439"/>
              <a:gd name="connsiteX8880" fmla="*/ 2393104 w 9586368"/>
              <a:gd name="connsiteY8880" fmla="*/ 106 h 6479439"/>
              <a:gd name="connsiteX8881" fmla="*/ 2403015 w 9586368"/>
              <a:gd name="connsiteY8881" fmla="*/ 106 h 6479439"/>
              <a:gd name="connsiteX8882" fmla="*/ 2407034 w 9586368"/>
              <a:gd name="connsiteY8882" fmla="*/ 4145 h 6479439"/>
              <a:gd name="connsiteX8883" fmla="*/ 2407034 w 9586368"/>
              <a:gd name="connsiteY8883" fmla="*/ 14016 h 6479439"/>
              <a:gd name="connsiteX8884" fmla="*/ 2403015 w 9586368"/>
              <a:gd name="connsiteY8884" fmla="*/ 18055 h 6479439"/>
              <a:gd name="connsiteX8885" fmla="*/ 2393104 w 9586368"/>
              <a:gd name="connsiteY8885" fmla="*/ 18055 h 6479439"/>
              <a:gd name="connsiteX8886" fmla="*/ 2389087 w 9586368"/>
              <a:gd name="connsiteY8886" fmla="*/ 14016 h 6479439"/>
              <a:gd name="connsiteX8887" fmla="*/ 2389087 w 9586368"/>
              <a:gd name="connsiteY8887" fmla="*/ 4145 h 6479439"/>
              <a:gd name="connsiteX8888" fmla="*/ 3350359 w 9586368"/>
              <a:gd name="connsiteY8888" fmla="*/ 106 h 6479439"/>
              <a:gd name="connsiteX8889" fmla="*/ 3360268 w 9586368"/>
              <a:gd name="connsiteY8889" fmla="*/ 106 h 6479439"/>
              <a:gd name="connsiteX8890" fmla="*/ 3364287 w 9586368"/>
              <a:gd name="connsiteY8890" fmla="*/ 4144 h 6479439"/>
              <a:gd name="connsiteX8891" fmla="*/ 3364287 w 9586368"/>
              <a:gd name="connsiteY8891" fmla="*/ 14015 h 6479439"/>
              <a:gd name="connsiteX8892" fmla="*/ 3360268 w 9586368"/>
              <a:gd name="connsiteY8892" fmla="*/ 18054 h 6479439"/>
              <a:gd name="connsiteX8893" fmla="*/ 3350359 w 9586368"/>
              <a:gd name="connsiteY8893" fmla="*/ 18054 h 6479439"/>
              <a:gd name="connsiteX8894" fmla="*/ 3346340 w 9586368"/>
              <a:gd name="connsiteY8894" fmla="*/ 14015 h 6479439"/>
              <a:gd name="connsiteX8895" fmla="*/ 3346340 w 9586368"/>
              <a:gd name="connsiteY8895" fmla="*/ 4144 h 6479439"/>
              <a:gd name="connsiteX8896" fmla="*/ 4546929 w 9586368"/>
              <a:gd name="connsiteY8896" fmla="*/ 93 h 6479439"/>
              <a:gd name="connsiteX8897" fmla="*/ 4556840 w 9586368"/>
              <a:gd name="connsiteY8897" fmla="*/ 93 h 6479439"/>
              <a:gd name="connsiteX8898" fmla="*/ 4560859 w 9586368"/>
              <a:gd name="connsiteY8898" fmla="*/ 4132 h 6479439"/>
              <a:gd name="connsiteX8899" fmla="*/ 4560859 w 9586368"/>
              <a:gd name="connsiteY8899" fmla="*/ 14002 h 6479439"/>
              <a:gd name="connsiteX8900" fmla="*/ 4556840 w 9586368"/>
              <a:gd name="connsiteY8900" fmla="*/ 18041 h 6479439"/>
              <a:gd name="connsiteX8901" fmla="*/ 4546929 w 9586368"/>
              <a:gd name="connsiteY8901" fmla="*/ 18041 h 6479439"/>
              <a:gd name="connsiteX8902" fmla="*/ 4542910 w 9586368"/>
              <a:gd name="connsiteY8902" fmla="*/ 14002 h 6479439"/>
              <a:gd name="connsiteX8903" fmla="*/ 4542910 w 9586368"/>
              <a:gd name="connsiteY8903" fmla="*/ 4132 h 6479439"/>
              <a:gd name="connsiteX8904" fmla="*/ 4307612 w 9586368"/>
              <a:gd name="connsiteY8904" fmla="*/ 93 h 6479439"/>
              <a:gd name="connsiteX8905" fmla="*/ 4317523 w 9586368"/>
              <a:gd name="connsiteY8905" fmla="*/ 93 h 6479439"/>
              <a:gd name="connsiteX8906" fmla="*/ 4321543 w 9586368"/>
              <a:gd name="connsiteY8906" fmla="*/ 4132 h 6479439"/>
              <a:gd name="connsiteX8907" fmla="*/ 4321543 w 9586368"/>
              <a:gd name="connsiteY8907" fmla="*/ 14003 h 6479439"/>
              <a:gd name="connsiteX8908" fmla="*/ 4317523 w 9586368"/>
              <a:gd name="connsiteY8908" fmla="*/ 18042 h 6479439"/>
              <a:gd name="connsiteX8909" fmla="*/ 4307612 w 9586368"/>
              <a:gd name="connsiteY8909" fmla="*/ 18042 h 6479439"/>
              <a:gd name="connsiteX8910" fmla="*/ 4303595 w 9586368"/>
              <a:gd name="connsiteY8910" fmla="*/ 14003 h 6479439"/>
              <a:gd name="connsiteX8911" fmla="*/ 4303595 w 9586368"/>
              <a:gd name="connsiteY8911" fmla="*/ 4132 h 6479439"/>
              <a:gd name="connsiteX8912" fmla="*/ 4068297 w 9586368"/>
              <a:gd name="connsiteY8912" fmla="*/ 93 h 6479439"/>
              <a:gd name="connsiteX8913" fmla="*/ 4078210 w 9586368"/>
              <a:gd name="connsiteY8913" fmla="*/ 93 h 6479439"/>
              <a:gd name="connsiteX8914" fmla="*/ 4082229 w 9586368"/>
              <a:gd name="connsiteY8914" fmla="*/ 4132 h 6479439"/>
              <a:gd name="connsiteX8915" fmla="*/ 4082229 w 9586368"/>
              <a:gd name="connsiteY8915" fmla="*/ 14003 h 6479439"/>
              <a:gd name="connsiteX8916" fmla="*/ 4078210 w 9586368"/>
              <a:gd name="connsiteY8916" fmla="*/ 18042 h 6479439"/>
              <a:gd name="connsiteX8917" fmla="*/ 4068297 w 9586368"/>
              <a:gd name="connsiteY8917" fmla="*/ 18042 h 6479439"/>
              <a:gd name="connsiteX8918" fmla="*/ 4064278 w 9586368"/>
              <a:gd name="connsiteY8918" fmla="*/ 14003 h 6479439"/>
              <a:gd name="connsiteX8919" fmla="*/ 4064278 w 9586368"/>
              <a:gd name="connsiteY8919" fmla="*/ 4132 h 6479439"/>
              <a:gd name="connsiteX8920" fmla="*/ 3828990 w 9586368"/>
              <a:gd name="connsiteY8920" fmla="*/ 93 h 6479439"/>
              <a:gd name="connsiteX8921" fmla="*/ 3838899 w 9586368"/>
              <a:gd name="connsiteY8921" fmla="*/ 93 h 6479439"/>
              <a:gd name="connsiteX8922" fmla="*/ 3842917 w 9586368"/>
              <a:gd name="connsiteY8922" fmla="*/ 4132 h 6479439"/>
              <a:gd name="connsiteX8923" fmla="*/ 3842917 w 9586368"/>
              <a:gd name="connsiteY8923" fmla="*/ 14003 h 6479439"/>
              <a:gd name="connsiteX8924" fmla="*/ 3838899 w 9586368"/>
              <a:gd name="connsiteY8924" fmla="*/ 18042 h 6479439"/>
              <a:gd name="connsiteX8925" fmla="*/ 3828990 w 9586368"/>
              <a:gd name="connsiteY8925" fmla="*/ 18042 h 6479439"/>
              <a:gd name="connsiteX8926" fmla="*/ 3824971 w 9586368"/>
              <a:gd name="connsiteY8926" fmla="*/ 14003 h 6479439"/>
              <a:gd name="connsiteX8927" fmla="*/ 3824971 w 9586368"/>
              <a:gd name="connsiteY8927" fmla="*/ 4132 h 6479439"/>
              <a:gd name="connsiteX8928" fmla="*/ 3589676 w 9586368"/>
              <a:gd name="connsiteY8928" fmla="*/ 93 h 6479439"/>
              <a:gd name="connsiteX8929" fmla="*/ 3599585 w 9586368"/>
              <a:gd name="connsiteY8929" fmla="*/ 93 h 6479439"/>
              <a:gd name="connsiteX8930" fmla="*/ 3603604 w 9586368"/>
              <a:gd name="connsiteY8930" fmla="*/ 4132 h 6479439"/>
              <a:gd name="connsiteX8931" fmla="*/ 3603604 w 9586368"/>
              <a:gd name="connsiteY8931" fmla="*/ 14003 h 6479439"/>
              <a:gd name="connsiteX8932" fmla="*/ 3599585 w 9586368"/>
              <a:gd name="connsiteY8932" fmla="*/ 18042 h 6479439"/>
              <a:gd name="connsiteX8933" fmla="*/ 3589676 w 9586368"/>
              <a:gd name="connsiteY8933" fmla="*/ 18042 h 6479439"/>
              <a:gd name="connsiteX8934" fmla="*/ 3585657 w 9586368"/>
              <a:gd name="connsiteY8934" fmla="*/ 14003 h 6479439"/>
              <a:gd name="connsiteX8935" fmla="*/ 3585657 w 9586368"/>
              <a:gd name="connsiteY8935" fmla="*/ 4132 h 6479439"/>
              <a:gd name="connsiteX8936" fmla="*/ 4786241 w 9586368"/>
              <a:gd name="connsiteY8936" fmla="*/ 81 h 6479439"/>
              <a:gd name="connsiteX8937" fmla="*/ 4796152 w 9586368"/>
              <a:gd name="connsiteY8937" fmla="*/ 81 h 6479439"/>
              <a:gd name="connsiteX8938" fmla="*/ 4800171 w 9586368"/>
              <a:gd name="connsiteY8938" fmla="*/ 4119 h 6479439"/>
              <a:gd name="connsiteX8939" fmla="*/ 4800171 w 9586368"/>
              <a:gd name="connsiteY8939" fmla="*/ 13990 h 6479439"/>
              <a:gd name="connsiteX8940" fmla="*/ 4796152 w 9586368"/>
              <a:gd name="connsiteY8940" fmla="*/ 18029 h 6479439"/>
              <a:gd name="connsiteX8941" fmla="*/ 4786241 w 9586368"/>
              <a:gd name="connsiteY8941" fmla="*/ 18029 h 6479439"/>
              <a:gd name="connsiteX8942" fmla="*/ 4782224 w 9586368"/>
              <a:gd name="connsiteY8942" fmla="*/ 13990 h 6479439"/>
              <a:gd name="connsiteX8943" fmla="*/ 4782224 w 9586368"/>
              <a:gd name="connsiteY8943" fmla="*/ 4119 h 6479439"/>
              <a:gd name="connsiteX8944" fmla="*/ 5743412 w 9586368"/>
              <a:gd name="connsiteY8944" fmla="*/ 80 h 6479439"/>
              <a:gd name="connsiteX8945" fmla="*/ 5753323 w 9586368"/>
              <a:gd name="connsiteY8945" fmla="*/ 80 h 6479439"/>
              <a:gd name="connsiteX8946" fmla="*/ 5757342 w 9586368"/>
              <a:gd name="connsiteY8946" fmla="*/ 4119 h 6479439"/>
              <a:gd name="connsiteX8947" fmla="*/ 5757342 w 9586368"/>
              <a:gd name="connsiteY8947" fmla="*/ 13990 h 6479439"/>
              <a:gd name="connsiteX8948" fmla="*/ 5753323 w 9586368"/>
              <a:gd name="connsiteY8948" fmla="*/ 18029 h 6479439"/>
              <a:gd name="connsiteX8949" fmla="*/ 5743412 w 9586368"/>
              <a:gd name="connsiteY8949" fmla="*/ 18029 h 6479439"/>
              <a:gd name="connsiteX8950" fmla="*/ 5739393 w 9586368"/>
              <a:gd name="connsiteY8950" fmla="*/ 13990 h 6479439"/>
              <a:gd name="connsiteX8951" fmla="*/ 5739393 w 9586368"/>
              <a:gd name="connsiteY8951" fmla="*/ 4119 h 6479439"/>
              <a:gd name="connsiteX8952" fmla="*/ 5504099 w 9586368"/>
              <a:gd name="connsiteY8952" fmla="*/ 80 h 6479439"/>
              <a:gd name="connsiteX8953" fmla="*/ 5514010 w 9586368"/>
              <a:gd name="connsiteY8953" fmla="*/ 80 h 6479439"/>
              <a:gd name="connsiteX8954" fmla="*/ 5518029 w 9586368"/>
              <a:gd name="connsiteY8954" fmla="*/ 4119 h 6479439"/>
              <a:gd name="connsiteX8955" fmla="*/ 5518029 w 9586368"/>
              <a:gd name="connsiteY8955" fmla="*/ 13990 h 6479439"/>
              <a:gd name="connsiteX8956" fmla="*/ 5514010 w 9586368"/>
              <a:gd name="connsiteY8956" fmla="*/ 18029 h 6479439"/>
              <a:gd name="connsiteX8957" fmla="*/ 5504099 w 9586368"/>
              <a:gd name="connsiteY8957" fmla="*/ 18029 h 6479439"/>
              <a:gd name="connsiteX8958" fmla="*/ 5500080 w 9586368"/>
              <a:gd name="connsiteY8958" fmla="*/ 13990 h 6479439"/>
              <a:gd name="connsiteX8959" fmla="*/ 5500080 w 9586368"/>
              <a:gd name="connsiteY8959" fmla="*/ 4119 h 6479439"/>
              <a:gd name="connsiteX8960" fmla="*/ 5264784 w 9586368"/>
              <a:gd name="connsiteY8960" fmla="*/ 80 h 6479439"/>
              <a:gd name="connsiteX8961" fmla="*/ 5274694 w 9586368"/>
              <a:gd name="connsiteY8961" fmla="*/ 80 h 6479439"/>
              <a:gd name="connsiteX8962" fmla="*/ 5278713 w 9586368"/>
              <a:gd name="connsiteY8962" fmla="*/ 4119 h 6479439"/>
              <a:gd name="connsiteX8963" fmla="*/ 5278713 w 9586368"/>
              <a:gd name="connsiteY8963" fmla="*/ 13990 h 6479439"/>
              <a:gd name="connsiteX8964" fmla="*/ 5274694 w 9586368"/>
              <a:gd name="connsiteY8964" fmla="*/ 18029 h 6479439"/>
              <a:gd name="connsiteX8965" fmla="*/ 5264784 w 9586368"/>
              <a:gd name="connsiteY8965" fmla="*/ 18029 h 6479439"/>
              <a:gd name="connsiteX8966" fmla="*/ 5260765 w 9586368"/>
              <a:gd name="connsiteY8966" fmla="*/ 13990 h 6479439"/>
              <a:gd name="connsiteX8967" fmla="*/ 5260765 w 9586368"/>
              <a:gd name="connsiteY8967" fmla="*/ 4119 h 6479439"/>
              <a:gd name="connsiteX8968" fmla="*/ 5025470 w 9586368"/>
              <a:gd name="connsiteY8968" fmla="*/ 80 h 6479439"/>
              <a:gd name="connsiteX8969" fmla="*/ 5035381 w 9586368"/>
              <a:gd name="connsiteY8969" fmla="*/ 80 h 6479439"/>
              <a:gd name="connsiteX8970" fmla="*/ 5039400 w 9586368"/>
              <a:gd name="connsiteY8970" fmla="*/ 4119 h 6479439"/>
              <a:gd name="connsiteX8971" fmla="*/ 5039400 w 9586368"/>
              <a:gd name="connsiteY8971" fmla="*/ 13990 h 6479439"/>
              <a:gd name="connsiteX8972" fmla="*/ 5035381 w 9586368"/>
              <a:gd name="connsiteY8972" fmla="*/ 18029 h 6479439"/>
              <a:gd name="connsiteX8973" fmla="*/ 5025470 w 9586368"/>
              <a:gd name="connsiteY8973" fmla="*/ 18029 h 6479439"/>
              <a:gd name="connsiteX8974" fmla="*/ 5021451 w 9586368"/>
              <a:gd name="connsiteY8974" fmla="*/ 13990 h 6479439"/>
              <a:gd name="connsiteX8975" fmla="*/ 5021451 w 9586368"/>
              <a:gd name="connsiteY8975" fmla="*/ 4119 h 6479439"/>
              <a:gd name="connsiteX8976" fmla="*/ 6461356 w 9586368"/>
              <a:gd name="connsiteY8976" fmla="*/ 68 h 6479439"/>
              <a:gd name="connsiteX8977" fmla="*/ 6471266 w 9586368"/>
              <a:gd name="connsiteY8977" fmla="*/ 68 h 6479439"/>
              <a:gd name="connsiteX8978" fmla="*/ 6475285 w 9586368"/>
              <a:gd name="connsiteY8978" fmla="*/ 4106 h 6479439"/>
              <a:gd name="connsiteX8979" fmla="*/ 6475285 w 9586368"/>
              <a:gd name="connsiteY8979" fmla="*/ 13976 h 6479439"/>
              <a:gd name="connsiteX8980" fmla="*/ 6471266 w 9586368"/>
              <a:gd name="connsiteY8980" fmla="*/ 18015 h 6479439"/>
              <a:gd name="connsiteX8981" fmla="*/ 6461356 w 9586368"/>
              <a:gd name="connsiteY8981" fmla="*/ 18015 h 6479439"/>
              <a:gd name="connsiteX8982" fmla="*/ 6457337 w 9586368"/>
              <a:gd name="connsiteY8982" fmla="*/ 13976 h 6479439"/>
              <a:gd name="connsiteX8983" fmla="*/ 6457337 w 9586368"/>
              <a:gd name="connsiteY8983" fmla="*/ 4106 h 6479439"/>
              <a:gd name="connsiteX8984" fmla="*/ 6222042 w 9586368"/>
              <a:gd name="connsiteY8984" fmla="*/ 68 h 6479439"/>
              <a:gd name="connsiteX8985" fmla="*/ 6231952 w 9586368"/>
              <a:gd name="connsiteY8985" fmla="*/ 68 h 6479439"/>
              <a:gd name="connsiteX8986" fmla="*/ 6235971 w 9586368"/>
              <a:gd name="connsiteY8986" fmla="*/ 4106 h 6479439"/>
              <a:gd name="connsiteX8987" fmla="*/ 6235971 w 9586368"/>
              <a:gd name="connsiteY8987" fmla="*/ 13977 h 6479439"/>
              <a:gd name="connsiteX8988" fmla="*/ 6231952 w 9586368"/>
              <a:gd name="connsiteY8988" fmla="*/ 18016 h 6479439"/>
              <a:gd name="connsiteX8989" fmla="*/ 6222042 w 9586368"/>
              <a:gd name="connsiteY8989" fmla="*/ 18016 h 6479439"/>
              <a:gd name="connsiteX8990" fmla="*/ 6218023 w 9586368"/>
              <a:gd name="connsiteY8990" fmla="*/ 13977 h 6479439"/>
              <a:gd name="connsiteX8991" fmla="*/ 6218023 w 9586368"/>
              <a:gd name="connsiteY8991" fmla="*/ 4106 h 6479439"/>
              <a:gd name="connsiteX8992" fmla="*/ 5982729 w 9586368"/>
              <a:gd name="connsiteY8992" fmla="*/ 68 h 6479439"/>
              <a:gd name="connsiteX8993" fmla="*/ 5992639 w 9586368"/>
              <a:gd name="connsiteY8993" fmla="*/ 68 h 6479439"/>
              <a:gd name="connsiteX8994" fmla="*/ 5996658 w 9586368"/>
              <a:gd name="connsiteY8994" fmla="*/ 4106 h 6479439"/>
              <a:gd name="connsiteX8995" fmla="*/ 5996658 w 9586368"/>
              <a:gd name="connsiteY8995" fmla="*/ 13977 h 6479439"/>
              <a:gd name="connsiteX8996" fmla="*/ 5992639 w 9586368"/>
              <a:gd name="connsiteY8996" fmla="*/ 18016 h 6479439"/>
              <a:gd name="connsiteX8997" fmla="*/ 5982729 w 9586368"/>
              <a:gd name="connsiteY8997" fmla="*/ 18016 h 6479439"/>
              <a:gd name="connsiteX8998" fmla="*/ 5978710 w 9586368"/>
              <a:gd name="connsiteY8998" fmla="*/ 13977 h 6479439"/>
              <a:gd name="connsiteX8999" fmla="*/ 5978710 w 9586368"/>
              <a:gd name="connsiteY8999" fmla="*/ 4106 h 6479439"/>
              <a:gd name="connsiteX9000" fmla="*/ 6939983 w 9586368"/>
              <a:gd name="connsiteY9000" fmla="*/ 67 h 6479439"/>
              <a:gd name="connsiteX9001" fmla="*/ 6949894 w 9586368"/>
              <a:gd name="connsiteY9001" fmla="*/ 67 h 6479439"/>
              <a:gd name="connsiteX9002" fmla="*/ 6953913 w 9586368"/>
              <a:gd name="connsiteY9002" fmla="*/ 4105 h 6479439"/>
              <a:gd name="connsiteX9003" fmla="*/ 6953913 w 9586368"/>
              <a:gd name="connsiteY9003" fmla="*/ 13976 h 6479439"/>
              <a:gd name="connsiteX9004" fmla="*/ 6949894 w 9586368"/>
              <a:gd name="connsiteY9004" fmla="*/ 18015 h 6479439"/>
              <a:gd name="connsiteX9005" fmla="*/ 6939983 w 9586368"/>
              <a:gd name="connsiteY9005" fmla="*/ 18015 h 6479439"/>
              <a:gd name="connsiteX9006" fmla="*/ 6935964 w 9586368"/>
              <a:gd name="connsiteY9006" fmla="*/ 13976 h 6479439"/>
              <a:gd name="connsiteX9007" fmla="*/ 6935964 w 9586368"/>
              <a:gd name="connsiteY9007" fmla="*/ 4105 h 6479439"/>
              <a:gd name="connsiteX9008" fmla="*/ 6700670 w 9586368"/>
              <a:gd name="connsiteY9008" fmla="*/ 67 h 6479439"/>
              <a:gd name="connsiteX9009" fmla="*/ 6710581 w 9586368"/>
              <a:gd name="connsiteY9009" fmla="*/ 67 h 6479439"/>
              <a:gd name="connsiteX9010" fmla="*/ 6714600 w 9586368"/>
              <a:gd name="connsiteY9010" fmla="*/ 4105 h 6479439"/>
              <a:gd name="connsiteX9011" fmla="*/ 6714600 w 9586368"/>
              <a:gd name="connsiteY9011" fmla="*/ 13976 h 6479439"/>
              <a:gd name="connsiteX9012" fmla="*/ 6710581 w 9586368"/>
              <a:gd name="connsiteY9012" fmla="*/ 18015 h 6479439"/>
              <a:gd name="connsiteX9013" fmla="*/ 6700670 w 9586368"/>
              <a:gd name="connsiteY9013" fmla="*/ 18015 h 6479439"/>
              <a:gd name="connsiteX9014" fmla="*/ 6696651 w 9586368"/>
              <a:gd name="connsiteY9014" fmla="*/ 13976 h 6479439"/>
              <a:gd name="connsiteX9015" fmla="*/ 6696651 w 9586368"/>
              <a:gd name="connsiteY9015" fmla="*/ 4105 h 6479439"/>
              <a:gd name="connsiteX9016" fmla="*/ 8136553 w 9586368"/>
              <a:gd name="connsiteY9016" fmla="*/ 54 h 6479439"/>
              <a:gd name="connsiteX9017" fmla="*/ 8146464 w 9586368"/>
              <a:gd name="connsiteY9017" fmla="*/ 54 h 6479439"/>
              <a:gd name="connsiteX9018" fmla="*/ 8150483 w 9586368"/>
              <a:gd name="connsiteY9018" fmla="*/ 4093 h 6479439"/>
              <a:gd name="connsiteX9019" fmla="*/ 8150483 w 9586368"/>
              <a:gd name="connsiteY9019" fmla="*/ 13963 h 6479439"/>
              <a:gd name="connsiteX9020" fmla="*/ 8146464 w 9586368"/>
              <a:gd name="connsiteY9020" fmla="*/ 18002 h 6479439"/>
              <a:gd name="connsiteX9021" fmla="*/ 8136553 w 9586368"/>
              <a:gd name="connsiteY9021" fmla="*/ 18002 h 6479439"/>
              <a:gd name="connsiteX9022" fmla="*/ 8132534 w 9586368"/>
              <a:gd name="connsiteY9022" fmla="*/ 13963 h 6479439"/>
              <a:gd name="connsiteX9023" fmla="*/ 8132534 w 9586368"/>
              <a:gd name="connsiteY9023" fmla="*/ 4093 h 6479439"/>
              <a:gd name="connsiteX9024" fmla="*/ 7897241 w 9586368"/>
              <a:gd name="connsiteY9024" fmla="*/ 54 h 6479439"/>
              <a:gd name="connsiteX9025" fmla="*/ 7907151 w 9586368"/>
              <a:gd name="connsiteY9025" fmla="*/ 54 h 6479439"/>
              <a:gd name="connsiteX9026" fmla="*/ 7911170 w 9586368"/>
              <a:gd name="connsiteY9026" fmla="*/ 4093 h 6479439"/>
              <a:gd name="connsiteX9027" fmla="*/ 7911170 w 9586368"/>
              <a:gd name="connsiteY9027" fmla="*/ 13964 h 6479439"/>
              <a:gd name="connsiteX9028" fmla="*/ 7907151 w 9586368"/>
              <a:gd name="connsiteY9028" fmla="*/ 18003 h 6479439"/>
              <a:gd name="connsiteX9029" fmla="*/ 7897241 w 9586368"/>
              <a:gd name="connsiteY9029" fmla="*/ 18003 h 6479439"/>
              <a:gd name="connsiteX9030" fmla="*/ 7893222 w 9586368"/>
              <a:gd name="connsiteY9030" fmla="*/ 13964 h 6479439"/>
              <a:gd name="connsiteX9031" fmla="*/ 7893222 w 9586368"/>
              <a:gd name="connsiteY9031" fmla="*/ 4093 h 6479439"/>
              <a:gd name="connsiteX9032" fmla="*/ 7657926 w 9586368"/>
              <a:gd name="connsiteY9032" fmla="*/ 54 h 6479439"/>
              <a:gd name="connsiteX9033" fmla="*/ 7667836 w 9586368"/>
              <a:gd name="connsiteY9033" fmla="*/ 54 h 6479439"/>
              <a:gd name="connsiteX9034" fmla="*/ 7671855 w 9586368"/>
              <a:gd name="connsiteY9034" fmla="*/ 4093 h 6479439"/>
              <a:gd name="connsiteX9035" fmla="*/ 7671855 w 9586368"/>
              <a:gd name="connsiteY9035" fmla="*/ 13964 h 6479439"/>
              <a:gd name="connsiteX9036" fmla="*/ 7667836 w 9586368"/>
              <a:gd name="connsiteY9036" fmla="*/ 18003 h 6479439"/>
              <a:gd name="connsiteX9037" fmla="*/ 7657926 w 9586368"/>
              <a:gd name="connsiteY9037" fmla="*/ 18003 h 6479439"/>
              <a:gd name="connsiteX9038" fmla="*/ 7653906 w 9586368"/>
              <a:gd name="connsiteY9038" fmla="*/ 13964 h 6479439"/>
              <a:gd name="connsiteX9039" fmla="*/ 7653906 w 9586368"/>
              <a:gd name="connsiteY9039" fmla="*/ 4093 h 6479439"/>
              <a:gd name="connsiteX9040" fmla="*/ 7418611 w 9586368"/>
              <a:gd name="connsiteY9040" fmla="*/ 54 h 6479439"/>
              <a:gd name="connsiteX9041" fmla="*/ 7428521 w 9586368"/>
              <a:gd name="connsiteY9041" fmla="*/ 54 h 6479439"/>
              <a:gd name="connsiteX9042" fmla="*/ 7432540 w 9586368"/>
              <a:gd name="connsiteY9042" fmla="*/ 4093 h 6479439"/>
              <a:gd name="connsiteX9043" fmla="*/ 7432540 w 9586368"/>
              <a:gd name="connsiteY9043" fmla="*/ 13964 h 6479439"/>
              <a:gd name="connsiteX9044" fmla="*/ 7428521 w 9586368"/>
              <a:gd name="connsiteY9044" fmla="*/ 18003 h 6479439"/>
              <a:gd name="connsiteX9045" fmla="*/ 7418611 w 9586368"/>
              <a:gd name="connsiteY9045" fmla="*/ 18003 h 6479439"/>
              <a:gd name="connsiteX9046" fmla="*/ 7414592 w 9586368"/>
              <a:gd name="connsiteY9046" fmla="*/ 13964 h 6479439"/>
              <a:gd name="connsiteX9047" fmla="*/ 7414592 w 9586368"/>
              <a:gd name="connsiteY9047" fmla="*/ 4093 h 6479439"/>
              <a:gd name="connsiteX9048" fmla="*/ 7179298 w 9586368"/>
              <a:gd name="connsiteY9048" fmla="*/ 54 h 6479439"/>
              <a:gd name="connsiteX9049" fmla="*/ 7189209 w 9586368"/>
              <a:gd name="connsiteY9049" fmla="*/ 54 h 6479439"/>
              <a:gd name="connsiteX9050" fmla="*/ 7193228 w 9586368"/>
              <a:gd name="connsiteY9050" fmla="*/ 4093 h 6479439"/>
              <a:gd name="connsiteX9051" fmla="*/ 7193228 w 9586368"/>
              <a:gd name="connsiteY9051" fmla="*/ 13964 h 6479439"/>
              <a:gd name="connsiteX9052" fmla="*/ 7189209 w 9586368"/>
              <a:gd name="connsiteY9052" fmla="*/ 18003 h 6479439"/>
              <a:gd name="connsiteX9053" fmla="*/ 7179298 w 9586368"/>
              <a:gd name="connsiteY9053" fmla="*/ 18003 h 6479439"/>
              <a:gd name="connsiteX9054" fmla="*/ 7175279 w 9586368"/>
              <a:gd name="connsiteY9054" fmla="*/ 13964 h 6479439"/>
              <a:gd name="connsiteX9055" fmla="*/ 7175279 w 9586368"/>
              <a:gd name="connsiteY9055" fmla="*/ 4093 h 6479439"/>
              <a:gd name="connsiteX9056" fmla="*/ 8375869 w 9586368"/>
              <a:gd name="connsiteY9056" fmla="*/ 42 h 6479439"/>
              <a:gd name="connsiteX9057" fmla="*/ 8385779 w 9586368"/>
              <a:gd name="connsiteY9057" fmla="*/ 42 h 6479439"/>
              <a:gd name="connsiteX9058" fmla="*/ 8389799 w 9586368"/>
              <a:gd name="connsiteY9058" fmla="*/ 4080 h 6479439"/>
              <a:gd name="connsiteX9059" fmla="*/ 8389799 w 9586368"/>
              <a:gd name="connsiteY9059" fmla="*/ 13951 h 6479439"/>
              <a:gd name="connsiteX9060" fmla="*/ 8385779 w 9586368"/>
              <a:gd name="connsiteY9060" fmla="*/ 17990 h 6479439"/>
              <a:gd name="connsiteX9061" fmla="*/ 8375869 w 9586368"/>
              <a:gd name="connsiteY9061" fmla="*/ 17990 h 6479439"/>
              <a:gd name="connsiteX9062" fmla="*/ 8371850 w 9586368"/>
              <a:gd name="connsiteY9062" fmla="*/ 13951 h 6479439"/>
              <a:gd name="connsiteX9063" fmla="*/ 8371850 w 9586368"/>
              <a:gd name="connsiteY9063" fmla="*/ 4080 h 6479439"/>
              <a:gd name="connsiteX9064" fmla="*/ 9333125 w 9586368"/>
              <a:gd name="connsiteY9064" fmla="*/ 41 h 6479439"/>
              <a:gd name="connsiteX9065" fmla="*/ 9343036 w 9586368"/>
              <a:gd name="connsiteY9065" fmla="*/ 41 h 6479439"/>
              <a:gd name="connsiteX9066" fmla="*/ 9347055 w 9586368"/>
              <a:gd name="connsiteY9066" fmla="*/ 4080 h 6479439"/>
              <a:gd name="connsiteX9067" fmla="*/ 9347055 w 9586368"/>
              <a:gd name="connsiteY9067" fmla="*/ 13951 h 6479439"/>
              <a:gd name="connsiteX9068" fmla="*/ 9343036 w 9586368"/>
              <a:gd name="connsiteY9068" fmla="*/ 17990 h 6479439"/>
              <a:gd name="connsiteX9069" fmla="*/ 9333125 w 9586368"/>
              <a:gd name="connsiteY9069" fmla="*/ 17990 h 6479439"/>
              <a:gd name="connsiteX9070" fmla="*/ 9329106 w 9586368"/>
              <a:gd name="connsiteY9070" fmla="*/ 13951 h 6479439"/>
              <a:gd name="connsiteX9071" fmla="*/ 9329106 w 9586368"/>
              <a:gd name="connsiteY9071" fmla="*/ 4080 h 6479439"/>
              <a:gd name="connsiteX9072" fmla="*/ 9093811 w 9586368"/>
              <a:gd name="connsiteY9072" fmla="*/ 41 h 6479439"/>
              <a:gd name="connsiteX9073" fmla="*/ 9103722 w 9586368"/>
              <a:gd name="connsiteY9073" fmla="*/ 41 h 6479439"/>
              <a:gd name="connsiteX9074" fmla="*/ 9107741 w 9586368"/>
              <a:gd name="connsiteY9074" fmla="*/ 4080 h 6479439"/>
              <a:gd name="connsiteX9075" fmla="*/ 9107741 w 9586368"/>
              <a:gd name="connsiteY9075" fmla="*/ 13951 h 6479439"/>
              <a:gd name="connsiteX9076" fmla="*/ 9103722 w 9586368"/>
              <a:gd name="connsiteY9076" fmla="*/ 17990 h 6479439"/>
              <a:gd name="connsiteX9077" fmla="*/ 9093811 w 9586368"/>
              <a:gd name="connsiteY9077" fmla="*/ 17990 h 6479439"/>
              <a:gd name="connsiteX9078" fmla="*/ 9089792 w 9586368"/>
              <a:gd name="connsiteY9078" fmla="*/ 13951 h 6479439"/>
              <a:gd name="connsiteX9079" fmla="*/ 9089792 w 9586368"/>
              <a:gd name="connsiteY9079" fmla="*/ 4080 h 6479439"/>
              <a:gd name="connsiteX9080" fmla="*/ 8854496 w 9586368"/>
              <a:gd name="connsiteY9080" fmla="*/ 41 h 6479439"/>
              <a:gd name="connsiteX9081" fmla="*/ 8864407 w 9586368"/>
              <a:gd name="connsiteY9081" fmla="*/ 41 h 6479439"/>
              <a:gd name="connsiteX9082" fmla="*/ 8868426 w 9586368"/>
              <a:gd name="connsiteY9082" fmla="*/ 4080 h 6479439"/>
              <a:gd name="connsiteX9083" fmla="*/ 8868426 w 9586368"/>
              <a:gd name="connsiteY9083" fmla="*/ 13951 h 6479439"/>
              <a:gd name="connsiteX9084" fmla="*/ 8864407 w 9586368"/>
              <a:gd name="connsiteY9084" fmla="*/ 17990 h 6479439"/>
              <a:gd name="connsiteX9085" fmla="*/ 8854496 w 9586368"/>
              <a:gd name="connsiteY9085" fmla="*/ 17990 h 6479439"/>
              <a:gd name="connsiteX9086" fmla="*/ 8850477 w 9586368"/>
              <a:gd name="connsiteY9086" fmla="*/ 13951 h 6479439"/>
              <a:gd name="connsiteX9087" fmla="*/ 8850477 w 9586368"/>
              <a:gd name="connsiteY9087" fmla="*/ 4080 h 6479439"/>
              <a:gd name="connsiteX9088" fmla="*/ 8615184 w 9586368"/>
              <a:gd name="connsiteY9088" fmla="*/ 41 h 6479439"/>
              <a:gd name="connsiteX9089" fmla="*/ 8625095 w 9586368"/>
              <a:gd name="connsiteY9089" fmla="*/ 41 h 6479439"/>
              <a:gd name="connsiteX9090" fmla="*/ 8629114 w 9586368"/>
              <a:gd name="connsiteY9090" fmla="*/ 4080 h 6479439"/>
              <a:gd name="connsiteX9091" fmla="*/ 8629114 w 9586368"/>
              <a:gd name="connsiteY9091" fmla="*/ 13951 h 6479439"/>
              <a:gd name="connsiteX9092" fmla="*/ 8625095 w 9586368"/>
              <a:gd name="connsiteY9092" fmla="*/ 17990 h 6479439"/>
              <a:gd name="connsiteX9093" fmla="*/ 8615184 w 9586368"/>
              <a:gd name="connsiteY9093" fmla="*/ 17990 h 6479439"/>
              <a:gd name="connsiteX9094" fmla="*/ 8611165 w 9586368"/>
              <a:gd name="connsiteY9094" fmla="*/ 13951 h 6479439"/>
              <a:gd name="connsiteX9095" fmla="*/ 8611165 w 9586368"/>
              <a:gd name="connsiteY9095" fmla="*/ 4080 h 6479439"/>
              <a:gd name="connsiteX9096" fmla="*/ 961275 w 9586368"/>
              <a:gd name="connsiteY9096" fmla="*/ 41 h 6479439"/>
              <a:gd name="connsiteX9097" fmla="*/ 971184 w 9586368"/>
              <a:gd name="connsiteY9097" fmla="*/ 41 h 6479439"/>
              <a:gd name="connsiteX9098" fmla="*/ 975204 w 9586368"/>
              <a:gd name="connsiteY9098" fmla="*/ 4080 h 6479439"/>
              <a:gd name="connsiteX9099" fmla="*/ 975204 w 9586368"/>
              <a:gd name="connsiteY9099" fmla="*/ 13951 h 6479439"/>
              <a:gd name="connsiteX9100" fmla="*/ 971184 w 9586368"/>
              <a:gd name="connsiteY9100" fmla="*/ 17990 h 6479439"/>
              <a:gd name="connsiteX9101" fmla="*/ 961275 w 9586368"/>
              <a:gd name="connsiteY9101" fmla="*/ 17990 h 6479439"/>
              <a:gd name="connsiteX9102" fmla="*/ 957256 w 9586368"/>
              <a:gd name="connsiteY9102" fmla="*/ 13951 h 6479439"/>
              <a:gd name="connsiteX9103" fmla="*/ 957256 w 9586368"/>
              <a:gd name="connsiteY9103" fmla="*/ 4080 h 6479439"/>
              <a:gd name="connsiteX9104" fmla="*/ 1679221 w 9586368"/>
              <a:gd name="connsiteY9104" fmla="*/ 41 h 6479439"/>
              <a:gd name="connsiteX9105" fmla="*/ 1689131 w 9586368"/>
              <a:gd name="connsiteY9105" fmla="*/ 41 h 6479439"/>
              <a:gd name="connsiteX9106" fmla="*/ 1693151 w 9586368"/>
              <a:gd name="connsiteY9106" fmla="*/ 4079 h 6479439"/>
              <a:gd name="connsiteX9107" fmla="*/ 1693151 w 9586368"/>
              <a:gd name="connsiteY9107" fmla="*/ 13950 h 6479439"/>
              <a:gd name="connsiteX9108" fmla="*/ 1689131 w 9586368"/>
              <a:gd name="connsiteY9108" fmla="*/ 17989 h 6479439"/>
              <a:gd name="connsiteX9109" fmla="*/ 1679221 w 9586368"/>
              <a:gd name="connsiteY9109" fmla="*/ 17989 h 6479439"/>
              <a:gd name="connsiteX9110" fmla="*/ 1675203 w 9586368"/>
              <a:gd name="connsiteY9110" fmla="*/ 13950 h 6479439"/>
              <a:gd name="connsiteX9111" fmla="*/ 1675203 w 9586368"/>
              <a:gd name="connsiteY9111" fmla="*/ 4079 h 6479439"/>
              <a:gd name="connsiteX9112" fmla="*/ 1439904 w 9586368"/>
              <a:gd name="connsiteY9112" fmla="*/ 41 h 6479439"/>
              <a:gd name="connsiteX9113" fmla="*/ 1449813 w 9586368"/>
              <a:gd name="connsiteY9113" fmla="*/ 41 h 6479439"/>
              <a:gd name="connsiteX9114" fmla="*/ 1453833 w 9586368"/>
              <a:gd name="connsiteY9114" fmla="*/ 4079 h 6479439"/>
              <a:gd name="connsiteX9115" fmla="*/ 1453833 w 9586368"/>
              <a:gd name="connsiteY9115" fmla="*/ 13950 h 6479439"/>
              <a:gd name="connsiteX9116" fmla="*/ 1449813 w 9586368"/>
              <a:gd name="connsiteY9116" fmla="*/ 17989 h 6479439"/>
              <a:gd name="connsiteX9117" fmla="*/ 1439904 w 9586368"/>
              <a:gd name="connsiteY9117" fmla="*/ 17989 h 6479439"/>
              <a:gd name="connsiteX9118" fmla="*/ 1435885 w 9586368"/>
              <a:gd name="connsiteY9118" fmla="*/ 13950 h 6479439"/>
              <a:gd name="connsiteX9119" fmla="*/ 1435885 w 9586368"/>
              <a:gd name="connsiteY9119" fmla="*/ 4079 h 6479439"/>
              <a:gd name="connsiteX9120" fmla="*/ 1200587 w 9586368"/>
              <a:gd name="connsiteY9120" fmla="*/ 41 h 6479439"/>
              <a:gd name="connsiteX9121" fmla="*/ 1210497 w 9586368"/>
              <a:gd name="connsiteY9121" fmla="*/ 41 h 6479439"/>
              <a:gd name="connsiteX9122" fmla="*/ 1214516 w 9586368"/>
              <a:gd name="connsiteY9122" fmla="*/ 4080 h 6479439"/>
              <a:gd name="connsiteX9123" fmla="*/ 1214516 w 9586368"/>
              <a:gd name="connsiteY9123" fmla="*/ 13951 h 6479439"/>
              <a:gd name="connsiteX9124" fmla="*/ 1210497 w 9586368"/>
              <a:gd name="connsiteY9124" fmla="*/ 17989 h 6479439"/>
              <a:gd name="connsiteX9125" fmla="*/ 1200587 w 9586368"/>
              <a:gd name="connsiteY9125" fmla="*/ 17989 h 6479439"/>
              <a:gd name="connsiteX9126" fmla="*/ 1196568 w 9586368"/>
              <a:gd name="connsiteY9126" fmla="*/ 13951 h 6479439"/>
              <a:gd name="connsiteX9127" fmla="*/ 1196568 w 9586368"/>
              <a:gd name="connsiteY9127" fmla="*/ 4080 h 6479439"/>
              <a:gd name="connsiteX9128" fmla="*/ 1918515 w 9586368"/>
              <a:gd name="connsiteY9128" fmla="*/ 31 h 6479439"/>
              <a:gd name="connsiteX9129" fmla="*/ 1928425 w 9586368"/>
              <a:gd name="connsiteY9129" fmla="*/ 31 h 6479439"/>
              <a:gd name="connsiteX9130" fmla="*/ 1932444 w 9586368"/>
              <a:gd name="connsiteY9130" fmla="*/ 4069 h 6479439"/>
              <a:gd name="connsiteX9131" fmla="*/ 1932444 w 9586368"/>
              <a:gd name="connsiteY9131" fmla="*/ 13940 h 6479439"/>
              <a:gd name="connsiteX9132" fmla="*/ 1928425 w 9586368"/>
              <a:gd name="connsiteY9132" fmla="*/ 17979 h 6479439"/>
              <a:gd name="connsiteX9133" fmla="*/ 1918515 w 9586368"/>
              <a:gd name="connsiteY9133" fmla="*/ 17979 h 6479439"/>
              <a:gd name="connsiteX9134" fmla="*/ 1914497 w 9586368"/>
              <a:gd name="connsiteY9134" fmla="*/ 13940 h 6479439"/>
              <a:gd name="connsiteX9135" fmla="*/ 1914497 w 9586368"/>
              <a:gd name="connsiteY9135" fmla="*/ 4069 h 6479439"/>
              <a:gd name="connsiteX9136" fmla="*/ 9572438 w 9586368"/>
              <a:gd name="connsiteY9136" fmla="*/ 29 h 6479439"/>
              <a:gd name="connsiteX9137" fmla="*/ 9582349 w 9586368"/>
              <a:gd name="connsiteY9137" fmla="*/ 29 h 6479439"/>
              <a:gd name="connsiteX9138" fmla="*/ 9586368 w 9586368"/>
              <a:gd name="connsiteY9138" fmla="*/ 4067 h 6479439"/>
              <a:gd name="connsiteX9139" fmla="*/ 9586368 w 9586368"/>
              <a:gd name="connsiteY9139" fmla="*/ 13938 h 6479439"/>
              <a:gd name="connsiteX9140" fmla="*/ 9582349 w 9586368"/>
              <a:gd name="connsiteY9140" fmla="*/ 17977 h 6479439"/>
              <a:gd name="connsiteX9141" fmla="*/ 9572438 w 9586368"/>
              <a:gd name="connsiteY9141" fmla="*/ 17977 h 6479439"/>
              <a:gd name="connsiteX9142" fmla="*/ 9568419 w 9586368"/>
              <a:gd name="connsiteY9142" fmla="*/ 13938 h 6479439"/>
              <a:gd name="connsiteX9143" fmla="*/ 9568419 w 9586368"/>
              <a:gd name="connsiteY9143" fmla="*/ 4067 h 6479439"/>
              <a:gd name="connsiteX9144" fmla="*/ 2157824 w 9586368"/>
              <a:gd name="connsiteY9144" fmla="*/ 28 h 6479439"/>
              <a:gd name="connsiteX9145" fmla="*/ 2167734 w 9586368"/>
              <a:gd name="connsiteY9145" fmla="*/ 28 h 6479439"/>
              <a:gd name="connsiteX9146" fmla="*/ 2171753 w 9586368"/>
              <a:gd name="connsiteY9146" fmla="*/ 4067 h 6479439"/>
              <a:gd name="connsiteX9147" fmla="*/ 2171753 w 9586368"/>
              <a:gd name="connsiteY9147" fmla="*/ 13938 h 6479439"/>
              <a:gd name="connsiteX9148" fmla="*/ 2167734 w 9586368"/>
              <a:gd name="connsiteY9148" fmla="*/ 17977 h 6479439"/>
              <a:gd name="connsiteX9149" fmla="*/ 2157824 w 9586368"/>
              <a:gd name="connsiteY9149" fmla="*/ 17977 h 6479439"/>
              <a:gd name="connsiteX9150" fmla="*/ 2153804 w 9586368"/>
              <a:gd name="connsiteY9150" fmla="*/ 13938 h 6479439"/>
              <a:gd name="connsiteX9151" fmla="*/ 2153804 w 9586368"/>
              <a:gd name="connsiteY9151" fmla="*/ 4067 h 6479439"/>
              <a:gd name="connsiteX9152" fmla="*/ 721977 w 9586368"/>
              <a:gd name="connsiteY9152" fmla="*/ 0 h 6479439"/>
              <a:gd name="connsiteX9153" fmla="*/ 731887 w 9586368"/>
              <a:gd name="connsiteY9153" fmla="*/ 0 h 6479439"/>
              <a:gd name="connsiteX9154" fmla="*/ 735906 w 9586368"/>
              <a:gd name="connsiteY9154" fmla="*/ 4039 h 6479439"/>
              <a:gd name="connsiteX9155" fmla="*/ 735906 w 9586368"/>
              <a:gd name="connsiteY9155" fmla="*/ 13910 h 6479439"/>
              <a:gd name="connsiteX9156" fmla="*/ 731887 w 9586368"/>
              <a:gd name="connsiteY9156" fmla="*/ 17949 h 6479439"/>
              <a:gd name="connsiteX9157" fmla="*/ 721977 w 9586368"/>
              <a:gd name="connsiteY9157" fmla="*/ 17949 h 6479439"/>
              <a:gd name="connsiteX9158" fmla="*/ 717959 w 9586368"/>
              <a:gd name="connsiteY9158" fmla="*/ 13910 h 6479439"/>
              <a:gd name="connsiteX9159" fmla="*/ 717959 w 9586368"/>
              <a:gd name="connsiteY9159" fmla="*/ 4039 h 6479439"/>
              <a:gd name="connsiteX9160" fmla="*/ 482665 w 9586368"/>
              <a:gd name="connsiteY9160" fmla="*/ 0 h 6479439"/>
              <a:gd name="connsiteX9161" fmla="*/ 492575 w 9586368"/>
              <a:gd name="connsiteY9161" fmla="*/ 0 h 6479439"/>
              <a:gd name="connsiteX9162" fmla="*/ 496594 w 9586368"/>
              <a:gd name="connsiteY9162" fmla="*/ 4039 h 6479439"/>
              <a:gd name="connsiteX9163" fmla="*/ 496594 w 9586368"/>
              <a:gd name="connsiteY9163" fmla="*/ 13910 h 6479439"/>
              <a:gd name="connsiteX9164" fmla="*/ 492575 w 9586368"/>
              <a:gd name="connsiteY9164" fmla="*/ 17949 h 6479439"/>
              <a:gd name="connsiteX9165" fmla="*/ 482665 w 9586368"/>
              <a:gd name="connsiteY9165" fmla="*/ 17949 h 6479439"/>
              <a:gd name="connsiteX9166" fmla="*/ 478646 w 9586368"/>
              <a:gd name="connsiteY9166" fmla="*/ 13910 h 6479439"/>
              <a:gd name="connsiteX9167" fmla="*/ 478646 w 9586368"/>
              <a:gd name="connsiteY9167" fmla="*/ 4039 h 6479439"/>
              <a:gd name="connsiteX9168" fmla="*/ 243351 w 9586368"/>
              <a:gd name="connsiteY9168" fmla="*/ 0 h 6479439"/>
              <a:gd name="connsiteX9169" fmla="*/ 253261 w 9586368"/>
              <a:gd name="connsiteY9169" fmla="*/ 0 h 6479439"/>
              <a:gd name="connsiteX9170" fmla="*/ 257281 w 9586368"/>
              <a:gd name="connsiteY9170" fmla="*/ 4039 h 6479439"/>
              <a:gd name="connsiteX9171" fmla="*/ 257281 w 9586368"/>
              <a:gd name="connsiteY9171" fmla="*/ 13910 h 6479439"/>
              <a:gd name="connsiteX9172" fmla="*/ 253261 w 9586368"/>
              <a:gd name="connsiteY9172" fmla="*/ 17949 h 6479439"/>
              <a:gd name="connsiteX9173" fmla="*/ 243351 w 9586368"/>
              <a:gd name="connsiteY9173" fmla="*/ 17949 h 6479439"/>
              <a:gd name="connsiteX9174" fmla="*/ 239332 w 9586368"/>
              <a:gd name="connsiteY9174" fmla="*/ 13910 h 6479439"/>
              <a:gd name="connsiteX9175" fmla="*/ 239332 w 9586368"/>
              <a:gd name="connsiteY9175" fmla="*/ 4039 h 6479439"/>
              <a:gd name="connsiteX9176" fmla="*/ 4039 w 9586368"/>
              <a:gd name="connsiteY9176" fmla="*/ 0 h 6479439"/>
              <a:gd name="connsiteX9177" fmla="*/ 13948 w 9586368"/>
              <a:gd name="connsiteY9177" fmla="*/ 0 h 6479439"/>
              <a:gd name="connsiteX9178" fmla="*/ 17967 w 9586368"/>
              <a:gd name="connsiteY9178" fmla="*/ 4039 h 6479439"/>
              <a:gd name="connsiteX9179" fmla="*/ 17967 w 9586368"/>
              <a:gd name="connsiteY9179" fmla="*/ 13910 h 6479439"/>
              <a:gd name="connsiteX9180" fmla="*/ 13948 w 9586368"/>
              <a:gd name="connsiteY9180" fmla="*/ 17949 h 6479439"/>
              <a:gd name="connsiteX9181" fmla="*/ 4039 w 9586368"/>
              <a:gd name="connsiteY9181" fmla="*/ 17949 h 6479439"/>
              <a:gd name="connsiteX9182" fmla="*/ 19 w 9586368"/>
              <a:gd name="connsiteY9182" fmla="*/ 13910 h 6479439"/>
              <a:gd name="connsiteX9183" fmla="*/ 19 w 9586368"/>
              <a:gd name="connsiteY9183" fmla="*/ 4039 h 6479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  <a:cxn ang="0">
                <a:pos x="connsiteX3945" y="connsiteY3945"/>
              </a:cxn>
              <a:cxn ang="0">
                <a:pos x="connsiteX3946" y="connsiteY3946"/>
              </a:cxn>
              <a:cxn ang="0">
                <a:pos x="connsiteX3947" y="connsiteY3947"/>
              </a:cxn>
              <a:cxn ang="0">
                <a:pos x="connsiteX3948" y="connsiteY3948"/>
              </a:cxn>
              <a:cxn ang="0">
                <a:pos x="connsiteX3949" y="connsiteY3949"/>
              </a:cxn>
              <a:cxn ang="0">
                <a:pos x="connsiteX3950" y="connsiteY3950"/>
              </a:cxn>
              <a:cxn ang="0">
                <a:pos x="connsiteX3951" y="connsiteY3951"/>
              </a:cxn>
              <a:cxn ang="0">
                <a:pos x="connsiteX3952" y="connsiteY3952"/>
              </a:cxn>
              <a:cxn ang="0">
                <a:pos x="connsiteX3953" y="connsiteY3953"/>
              </a:cxn>
              <a:cxn ang="0">
                <a:pos x="connsiteX3954" y="connsiteY3954"/>
              </a:cxn>
              <a:cxn ang="0">
                <a:pos x="connsiteX3955" y="connsiteY3955"/>
              </a:cxn>
              <a:cxn ang="0">
                <a:pos x="connsiteX3956" y="connsiteY3956"/>
              </a:cxn>
              <a:cxn ang="0">
                <a:pos x="connsiteX3957" y="connsiteY3957"/>
              </a:cxn>
              <a:cxn ang="0">
                <a:pos x="connsiteX3958" y="connsiteY3958"/>
              </a:cxn>
              <a:cxn ang="0">
                <a:pos x="connsiteX3959" y="connsiteY3959"/>
              </a:cxn>
              <a:cxn ang="0">
                <a:pos x="connsiteX3960" y="connsiteY3960"/>
              </a:cxn>
              <a:cxn ang="0">
                <a:pos x="connsiteX3961" y="connsiteY3961"/>
              </a:cxn>
              <a:cxn ang="0">
                <a:pos x="connsiteX3962" y="connsiteY3962"/>
              </a:cxn>
              <a:cxn ang="0">
                <a:pos x="connsiteX3963" y="connsiteY3963"/>
              </a:cxn>
              <a:cxn ang="0">
                <a:pos x="connsiteX3964" y="connsiteY3964"/>
              </a:cxn>
              <a:cxn ang="0">
                <a:pos x="connsiteX3965" y="connsiteY3965"/>
              </a:cxn>
              <a:cxn ang="0">
                <a:pos x="connsiteX3966" y="connsiteY3966"/>
              </a:cxn>
              <a:cxn ang="0">
                <a:pos x="connsiteX3967" y="connsiteY3967"/>
              </a:cxn>
              <a:cxn ang="0">
                <a:pos x="connsiteX3968" y="connsiteY3968"/>
              </a:cxn>
              <a:cxn ang="0">
                <a:pos x="connsiteX3969" y="connsiteY3969"/>
              </a:cxn>
              <a:cxn ang="0">
                <a:pos x="connsiteX3970" y="connsiteY3970"/>
              </a:cxn>
              <a:cxn ang="0">
                <a:pos x="connsiteX3971" y="connsiteY3971"/>
              </a:cxn>
              <a:cxn ang="0">
                <a:pos x="connsiteX3972" y="connsiteY3972"/>
              </a:cxn>
              <a:cxn ang="0">
                <a:pos x="connsiteX3973" y="connsiteY3973"/>
              </a:cxn>
              <a:cxn ang="0">
                <a:pos x="connsiteX3974" y="connsiteY3974"/>
              </a:cxn>
              <a:cxn ang="0">
                <a:pos x="connsiteX3975" y="connsiteY3975"/>
              </a:cxn>
              <a:cxn ang="0">
                <a:pos x="connsiteX3976" y="connsiteY3976"/>
              </a:cxn>
              <a:cxn ang="0">
                <a:pos x="connsiteX3977" y="connsiteY3977"/>
              </a:cxn>
              <a:cxn ang="0">
                <a:pos x="connsiteX3978" y="connsiteY3978"/>
              </a:cxn>
              <a:cxn ang="0">
                <a:pos x="connsiteX3979" y="connsiteY3979"/>
              </a:cxn>
              <a:cxn ang="0">
                <a:pos x="connsiteX3980" y="connsiteY3980"/>
              </a:cxn>
              <a:cxn ang="0">
                <a:pos x="connsiteX3981" y="connsiteY3981"/>
              </a:cxn>
              <a:cxn ang="0">
                <a:pos x="connsiteX3982" y="connsiteY3982"/>
              </a:cxn>
              <a:cxn ang="0">
                <a:pos x="connsiteX3983" y="connsiteY3983"/>
              </a:cxn>
              <a:cxn ang="0">
                <a:pos x="connsiteX3984" y="connsiteY3984"/>
              </a:cxn>
              <a:cxn ang="0">
                <a:pos x="connsiteX3985" y="connsiteY3985"/>
              </a:cxn>
              <a:cxn ang="0">
                <a:pos x="connsiteX3986" y="connsiteY3986"/>
              </a:cxn>
              <a:cxn ang="0">
                <a:pos x="connsiteX3987" y="connsiteY3987"/>
              </a:cxn>
              <a:cxn ang="0">
                <a:pos x="connsiteX3988" y="connsiteY3988"/>
              </a:cxn>
              <a:cxn ang="0">
                <a:pos x="connsiteX3989" y="connsiteY3989"/>
              </a:cxn>
              <a:cxn ang="0">
                <a:pos x="connsiteX3990" y="connsiteY3990"/>
              </a:cxn>
              <a:cxn ang="0">
                <a:pos x="connsiteX3991" y="connsiteY3991"/>
              </a:cxn>
              <a:cxn ang="0">
                <a:pos x="connsiteX3992" y="connsiteY3992"/>
              </a:cxn>
              <a:cxn ang="0">
                <a:pos x="connsiteX3993" y="connsiteY3993"/>
              </a:cxn>
              <a:cxn ang="0">
                <a:pos x="connsiteX3994" y="connsiteY3994"/>
              </a:cxn>
              <a:cxn ang="0">
                <a:pos x="connsiteX3995" y="connsiteY3995"/>
              </a:cxn>
              <a:cxn ang="0">
                <a:pos x="connsiteX3996" y="connsiteY3996"/>
              </a:cxn>
              <a:cxn ang="0">
                <a:pos x="connsiteX3997" y="connsiteY3997"/>
              </a:cxn>
              <a:cxn ang="0">
                <a:pos x="connsiteX3998" y="connsiteY3998"/>
              </a:cxn>
              <a:cxn ang="0">
                <a:pos x="connsiteX3999" y="connsiteY3999"/>
              </a:cxn>
              <a:cxn ang="0">
                <a:pos x="connsiteX4000" y="connsiteY4000"/>
              </a:cxn>
              <a:cxn ang="0">
                <a:pos x="connsiteX4001" y="connsiteY4001"/>
              </a:cxn>
              <a:cxn ang="0">
                <a:pos x="connsiteX4002" y="connsiteY4002"/>
              </a:cxn>
              <a:cxn ang="0">
                <a:pos x="connsiteX4003" y="connsiteY4003"/>
              </a:cxn>
              <a:cxn ang="0">
                <a:pos x="connsiteX4004" y="connsiteY4004"/>
              </a:cxn>
              <a:cxn ang="0">
                <a:pos x="connsiteX4005" y="connsiteY4005"/>
              </a:cxn>
              <a:cxn ang="0">
                <a:pos x="connsiteX4006" y="connsiteY4006"/>
              </a:cxn>
              <a:cxn ang="0">
                <a:pos x="connsiteX4007" y="connsiteY4007"/>
              </a:cxn>
              <a:cxn ang="0">
                <a:pos x="connsiteX4008" y="connsiteY4008"/>
              </a:cxn>
              <a:cxn ang="0">
                <a:pos x="connsiteX4009" y="connsiteY4009"/>
              </a:cxn>
              <a:cxn ang="0">
                <a:pos x="connsiteX4010" y="connsiteY4010"/>
              </a:cxn>
              <a:cxn ang="0">
                <a:pos x="connsiteX4011" y="connsiteY4011"/>
              </a:cxn>
              <a:cxn ang="0">
                <a:pos x="connsiteX4012" y="connsiteY4012"/>
              </a:cxn>
              <a:cxn ang="0">
                <a:pos x="connsiteX4013" y="connsiteY4013"/>
              </a:cxn>
              <a:cxn ang="0">
                <a:pos x="connsiteX4014" y="connsiteY4014"/>
              </a:cxn>
              <a:cxn ang="0">
                <a:pos x="connsiteX4015" y="connsiteY4015"/>
              </a:cxn>
              <a:cxn ang="0">
                <a:pos x="connsiteX4016" y="connsiteY4016"/>
              </a:cxn>
              <a:cxn ang="0">
                <a:pos x="connsiteX4017" y="connsiteY4017"/>
              </a:cxn>
              <a:cxn ang="0">
                <a:pos x="connsiteX4018" y="connsiteY4018"/>
              </a:cxn>
              <a:cxn ang="0">
                <a:pos x="connsiteX4019" y="connsiteY4019"/>
              </a:cxn>
              <a:cxn ang="0">
                <a:pos x="connsiteX4020" y="connsiteY4020"/>
              </a:cxn>
              <a:cxn ang="0">
                <a:pos x="connsiteX4021" y="connsiteY4021"/>
              </a:cxn>
              <a:cxn ang="0">
                <a:pos x="connsiteX4022" y="connsiteY4022"/>
              </a:cxn>
              <a:cxn ang="0">
                <a:pos x="connsiteX4023" y="connsiteY4023"/>
              </a:cxn>
              <a:cxn ang="0">
                <a:pos x="connsiteX4024" y="connsiteY4024"/>
              </a:cxn>
              <a:cxn ang="0">
                <a:pos x="connsiteX4025" y="connsiteY4025"/>
              </a:cxn>
              <a:cxn ang="0">
                <a:pos x="connsiteX4026" y="connsiteY4026"/>
              </a:cxn>
              <a:cxn ang="0">
                <a:pos x="connsiteX4027" y="connsiteY4027"/>
              </a:cxn>
              <a:cxn ang="0">
                <a:pos x="connsiteX4028" y="connsiteY4028"/>
              </a:cxn>
              <a:cxn ang="0">
                <a:pos x="connsiteX4029" y="connsiteY4029"/>
              </a:cxn>
              <a:cxn ang="0">
                <a:pos x="connsiteX4030" y="connsiteY4030"/>
              </a:cxn>
              <a:cxn ang="0">
                <a:pos x="connsiteX4031" y="connsiteY4031"/>
              </a:cxn>
              <a:cxn ang="0">
                <a:pos x="connsiteX4032" y="connsiteY4032"/>
              </a:cxn>
              <a:cxn ang="0">
                <a:pos x="connsiteX4033" y="connsiteY4033"/>
              </a:cxn>
              <a:cxn ang="0">
                <a:pos x="connsiteX4034" y="connsiteY4034"/>
              </a:cxn>
              <a:cxn ang="0">
                <a:pos x="connsiteX4035" y="connsiteY4035"/>
              </a:cxn>
              <a:cxn ang="0">
                <a:pos x="connsiteX4036" y="connsiteY4036"/>
              </a:cxn>
              <a:cxn ang="0">
                <a:pos x="connsiteX4037" y="connsiteY4037"/>
              </a:cxn>
              <a:cxn ang="0">
                <a:pos x="connsiteX4038" y="connsiteY4038"/>
              </a:cxn>
              <a:cxn ang="0">
                <a:pos x="connsiteX4039" y="connsiteY4039"/>
              </a:cxn>
              <a:cxn ang="0">
                <a:pos x="connsiteX4040" y="connsiteY4040"/>
              </a:cxn>
              <a:cxn ang="0">
                <a:pos x="connsiteX4041" y="connsiteY4041"/>
              </a:cxn>
              <a:cxn ang="0">
                <a:pos x="connsiteX4042" y="connsiteY4042"/>
              </a:cxn>
              <a:cxn ang="0">
                <a:pos x="connsiteX4043" y="connsiteY4043"/>
              </a:cxn>
              <a:cxn ang="0">
                <a:pos x="connsiteX4044" y="connsiteY4044"/>
              </a:cxn>
              <a:cxn ang="0">
                <a:pos x="connsiteX4045" y="connsiteY4045"/>
              </a:cxn>
              <a:cxn ang="0">
                <a:pos x="connsiteX4046" y="connsiteY4046"/>
              </a:cxn>
              <a:cxn ang="0">
                <a:pos x="connsiteX4047" y="connsiteY4047"/>
              </a:cxn>
              <a:cxn ang="0">
                <a:pos x="connsiteX4048" y="connsiteY4048"/>
              </a:cxn>
              <a:cxn ang="0">
                <a:pos x="connsiteX4049" y="connsiteY4049"/>
              </a:cxn>
              <a:cxn ang="0">
                <a:pos x="connsiteX4050" y="connsiteY4050"/>
              </a:cxn>
              <a:cxn ang="0">
                <a:pos x="connsiteX4051" y="connsiteY4051"/>
              </a:cxn>
              <a:cxn ang="0">
                <a:pos x="connsiteX4052" y="connsiteY4052"/>
              </a:cxn>
              <a:cxn ang="0">
                <a:pos x="connsiteX4053" y="connsiteY4053"/>
              </a:cxn>
              <a:cxn ang="0">
                <a:pos x="connsiteX4054" y="connsiteY4054"/>
              </a:cxn>
              <a:cxn ang="0">
                <a:pos x="connsiteX4055" y="connsiteY4055"/>
              </a:cxn>
              <a:cxn ang="0">
                <a:pos x="connsiteX4056" y="connsiteY4056"/>
              </a:cxn>
              <a:cxn ang="0">
                <a:pos x="connsiteX4057" y="connsiteY4057"/>
              </a:cxn>
              <a:cxn ang="0">
                <a:pos x="connsiteX4058" y="connsiteY4058"/>
              </a:cxn>
              <a:cxn ang="0">
                <a:pos x="connsiteX4059" y="connsiteY4059"/>
              </a:cxn>
              <a:cxn ang="0">
                <a:pos x="connsiteX4060" y="connsiteY4060"/>
              </a:cxn>
              <a:cxn ang="0">
                <a:pos x="connsiteX4061" y="connsiteY4061"/>
              </a:cxn>
              <a:cxn ang="0">
                <a:pos x="connsiteX4062" y="connsiteY4062"/>
              </a:cxn>
              <a:cxn ang="0">
                <a:pos x="connsiteX4063" y="connsiteY4063"/>
              </a:cxn>
              <a:cxn ang="0">
                <a:pos x="connsiteX4064" y="connsiteY4064"/>
              </a:cxn>
              <a:cxn ang="0">
                <a:pos x="connsiteX4065" y="connsiteY4065"/>
              </a:cxn>
              <a:cxn ang="0">
                <a:pos x="connsiteX4066" y="connsiteY4066"/>
              </a:cxn>
              <a:cxn ang="0">
                <a:pos x="connsiteX4067" y="connsiteY4067"/>
              </a:cxn>
              <a:cxn ang="0">
                <a:pos x="connsiteX4068" y="connsiteY4068"/>
              </a:cxn>
              <a:cxn ang="0">
                <a:pos x="connsiteX4069" y="connsiteY4069"/>
              </a:cxn>
              <a:cxn ang="0">
                <a:pos x="connsiteX4070" y="connsiteY4070"/>
              </a:cxn>
              <a:cxn ang="0">
                <a:pos x="connsiteX4071" y="connsiteY4071"/>
              </a:cxn>
              <a:cxn ang="0">
                <a:pos x="connsiteX4072" y="connsiteY4072"/>
              </a:cxn>
              <a:cxn ang="0">
                <a:pos x="connsiteX4073" y="connsiteY4073"/>
              </a:cxn>
              <a:cxn ang="0">
                <a:pos x="connsiteX4074" y="connsiteY4074"/>
              </a:cxn>
              <a:cxn ang="0">
                <a:pos x="connsiteX4075" y="connsiteY4075"/>
              </a:cxn>
              <a:cxn ang="0">
                <a:pos x="connsiteX4076" y="connsiteY4076"/>
              </a:cxn>
              <a:cxn ang="0">
                <a:pos x="connsiteX4077" y="connsiteY4077"/>
              </a:cxn>
              <a:cxn ang="0">
                <a:pos x="connsiteX4078" y="connsiteY4078"/>
              </a:cxn>
              <a:cxn ang="0">
                <a:pos x="connsiteX4079" y="connsiteY4079"/>
              </a:cxn>
              <a:cxn ang="0">
                <a:pos x="connsiteX4080" y="connsiteY4080"/>
              </a:cxn>
              <a:cxn ang="0">
                <a:pos x="connsiteX4081" y="connsiteY4081"/>
              </a:cxn>
              <a:cxn ang="0">
                <a:pos x="connsiteX4082" y="connsiteY4082"/>
              </a:cxn>
              <a:cxn ang="0">
                <a:pos x="connsiteX4083" y="connsiteY4083"/>
              </a:cxn>
              <a:cxn ang="0">
                <a:pos x="connsiteX4084" y="connsiteY4084"/>
              </a:cxn>
              <a:cxn ang="0">
                <a:pos x="connsiteX4085" y="connsiteY4085"/>
              </a:cxn>
              <a:cxn ang="0">
                <a:pos x="connsiteX4086" y="connsiteY4086"/>
              </a:cxn>
              <a:cxn ang="0">
                <a:pos x="connsiteX4087" y="connsiteY4087"/>
              </a:cxn>
              <a:cxn ang="0">
                <a:pos x="connsiteX4088" y="connsiteY4088"/>
              </a:cxn>
              <a:cxn ang="0">
                <a:pos x="connsiteX4089" y="connsiteY4089"/>
              </a:cxn>
              <a:cxn ang="0">
                <a:pos x="connsiteX4090" y="connsiteY4090"/>
              </a:cxn>
              <a:cxn ang="0">
                <a:pos x="connsiteX4091" y="connsiteY4091"/>
              </a:cxn>
              <a:cxn ang="0">
                <a:pos x="connsiteX4092" y="connsiteY4092"/>
              </a:cxn>
              <a:cxn ang="0">
                <a:pos x="connsiteX4093" y="connsiteY4093"/>
              </a:cxn>
              <a:cxn ang="0">
                <a:pos x="connsiteX4094" y="connsiteY4094"/>
              </a:cxn>
              <a:cxn ang="0">
                <a:pos x="connsiteX4095" y="connsiteY4095"/>
              </a:cxn>
              <a:cxn ang="0">
                <a:pos x="connsiteX4096" y="connsiteY4096"/>
              </a:cxn>
              <a:cxn ang="0">
                <a:pos x="connsiteX4097" y="connsiteY4097"/>
              </a:cxn>
              <a:cxn ang="0">
                <a:pos x="connsiteX4098" y="connsiteY4098"/>
              </a:cxn>
              <a:cxn ang="0">
                <a:pos x="connsiteX4099" y="connsiteY4099"/>
              </a:cxn>
              <a:cxn ang="0">
                <a:pos x="connsiteX4100" y="connsiteY4100"/>
              </a:cxn>
              <a:cxn ang="0">
                <a:pos x="connsiteX4101" y="connsiteY4101"/>
              </a:cxn>
              <a:cxn ang="0">
                <a:pos x="connsiteX4102" y="connsiteY4102"/>
              </a:cxn>
              <a:cxn ang="0">
                <a:pos x="connsiteX4103" y="connsiteY4103"/>
              </a:cxn>
              <a:cxn ang="0">
                <a:pos x="connsiteX4104" y="connsiteY4104"/>
              </a:cxn>
              <a:cxn ang="0">
                <a:pos x="connsiteX4105" y="connsiteY4105"/>
              </a:cxn>
              <a:cxn ang="0">
                <a:pos x="connsiteX4106" y="connsiteY4106"/>
              </a:cxn>
              <a:cxn ang="0">
                <a:pos x="connsiteX4107" y="connsiteY4107"/>
              </a:cxn>
              <a:cxn ang="0">
                <a:pos x="connsiteX4108" y="connsiteY4108"/>
              </a:cxn>
              <a:cxn ang="0">
                <a:pos x="connsiteX4109" y="connsiteY4109"/>
              </a:cxn>
              <a:cxn ang="0">
                <a:pos x="connsiteX4110" y="connsiteY4110"/>
              </a:cxn>
              <a:cxn ang="0">
                <a:pos x="connsiteX4111" y="connsiteY4111"/>
              </a:cxn>
              <a:cxn ang="0">
                <a:pos x="connsiteX4112" y="connsiteY4112"/>
              </a:cxn>
              <a:cxn ang="0">
                <a:pos x="connsiteX4113" y="connsiteY4113"/>
              </a:cxn>
              <a:cxn ang="0">
                <a:pos x="connsiteX4114" y="connsiteY4114"/>
              </a:cxn>
              <a:cxn ang="0">
                <a:pos x="connsiteX4115" y="connsiteY4115"/>
              </a:cxn>
              <a:cxn ang="0">
                <a:pos x="connsiteX4116" y="connsiteY4116"/>
              </a:cxn>
              <a:cxn ang="0">
                <a:pos x="connsiteX4117" y="connsiteY4117"/>
              </a:cxn>
              <a:cxn ang="0">
                <a:pos x="connsiteX4118" y="connsiteY4118"/>
              </a:cxn>
              <a:cxn ang="0">
                <a:pos x="connsiteX4119" y="connsiteY4119"/>
              </a:cxn>
              <a:cxn ang="0">
                <a:pos x="connsiteX4120" y="connsiteY4120"/>
              </a:cxn>
              <a:cxn ang="0">
                <a:pos x="connsiteX4121" y="connsiteY4121"/>
              </a:cxn>
              <a:cxn ang="0">
                <a:pos x="connsiteX4122" y="connsiteY4122"/>
              </a:cxn>
              <a:cxn ang="0">
                <a:pos x="connsiteX4123" y="connsiteY4123"/>
              </a:cxn>
              <a:cxn ang="0">
                <a:pos x="connsiteX4124" y="connsiteY4124"/>
              </a:cxn>
              <a:cxn ang="0">
                <a:pos x="connsiteX4125" y="connsiteY4125"/>
              </a:cxn>
              <a:cxn ang="0">
                <a:pos x="connsiteX4126" y="connsiteY4126"/>
              </a:cxn>
              <a:cxn ang="0">
                <a:pos x="connsiteX4127" y="connsiteY4127"/>
              </a:cxn>
              <a:cxn ang="0">
                <a:pos x="connsiteX4128" y="connsiteY4128"/>
              </a:cxn>
              <a:cxn ang="0">
                <a:pos x="connsiteX4129" y="connsiteY4129"/>
              </a:cxn>
              <a:cxn ang="0">
                <a:pos x="connsiteX4130" y="connsiteY4130"/>
              </a:cxn>
              <a:cxn ang="0">
                <a:pos x="connsiteX4131" y="connsiteY4131"/>
              </a:cxn>
              <a:cxn ang="0">
                <a:pos x="connsiteX4132" y="connsiteY4132"/>
              </a:cxn>
              <a:cxn ang="0">
                <a:pos x="connsiteX4133" y="connsiteY4133"/>
              </a:cxn>
              <a:cxn ang="0">
                <a:pos x="connsiteX4134" y="connsiteY4134"/>
              </a:cxn>
              <a:cxn ang="0">
                <a:pos x="connsiteX4135" y="connsiteY4135"/>
              </a:cxn>
              <a:cxn ang="0">
                <a:pos x="connsiteX4136" y="connsiteY4136"/>
              </a:cxn>
              <a:cxn ang="0">
                <a:pos x="connsiteX4137" y="connsiteY4137"/>
              </a:cxn>
              <a:cxn ang="0">
                <a:pos x="connsiteX4138" y="connsiteY4138"/>
              </a:cxn>
              <a:cxn ang="0">
                <a:pos x="connsiteX4139" y="connsiteY4139"/>
              </a:cxn>
              <a:cxn ang="0">
                <a:pos x="connsiteX4140" y="connsiteY4140"/>
              </a:cxn>
              <a:cxn ang="0">
                <a:pos x="connsiteX4141" y="connsiteY4141"/>
              </a:cxn>
              <a:cxn ang="0">
                <a:pos x="connsiteX4142" y="connsiteY4142"/>
              </a:cxn>
              <a:cxn ang="0">
                <a:pos x="connsiteX4143" y="connsiteY4143"/>
              </a:cxn>
              <a:cxn ang="0">
                <a:pos x="connsiteX4144" y="connsiteY4144"/>
              </a:cxn>
              <a:cxn ang="0">
                <a:pos x="connsiteX4145" y="connsiteY4145"/>
              </a:cxn>
              <a:cxn ang="0">
                <a:pos x="connsiteX4146" y="connsiteY4146"/>
              </a:cxn>
              <a:cxn ang="0">
                <a:pos x="connsiteX4147" y="connsiteY4147"/>
              </a:cxn>
              <a:cxn ang="0">
                <a:pos x="connsiteX4148" y="connsiteY4148"/>
              </a:cxn>
              <a:cxn ang="0">
                <a:pos x="connsiteX4149" y="connsiteY4149"/>
              </a:cxn>
              <a:cxn ang="0">
                <a:pos x="connsiteX4150" y="connsiteY4150"/>
              </a:cxn>
              <a:cxn ang="0">
                <a:pos x="connsiteX4151" y="connsiteY4151"/>
              </a:cxn>
              <a:cxn ang="0">
                <a:pos x="connsiteX4152" y="connsiteY4152"/>
              </a:cxn>
              <a:cxn ang="0">
                <a:pos x="connsiteX4153" y="connsiteY4153"/>
              </a:cxn>
              <a:cxn ang="0">
                <a:pos x="connsiteX4154" y="connsiteY4154"/>
              </a:cxn>
              <a:cxn ang="0">
                <a:pos x="connsiteX4155" y="connsiteY4155"/>
              </a:cxn>
              <a:cxn ang="0">
                <a:pos x="connsiteX4156" y="connsiteY4156"/>
              </a:cxn>
              <a:cxn ang="0">
                <a:pos x="connsiteX4157" y="connsiteY4157"/>
              </a:cxn>
              <a:cxn ang="0">
                <a:pos x="connsiteX4158" y="connsiteY4158"/>
              </a:cxn>
              <a:cxn ang="0">
                <a:pos x="connsiteX4159" y="connsiteY4159"/>
              </a:cxn>
              <a:cxn ang="0">
                <a:pos x="connsiteX4160" y="connsiteY4160"/>
              </a:cxn>
              <a:cxn ang="0">
                <a:pos x="connsiteX4161" y="connsiteY4161"/>
              </a:cxn>
              <a:cxn ang="0">
                <a:pos x="connsiteX4162" y="connsiteY4162"/>
              </a:cxn>
              <a:cxn ang="0">
                <a:pos x="connsiteX4163" y="connsiteY4163"/>
              </a:cxn>
              <a:cxn ang="0">
                <a:pos x="connsiteX4164" y="connsiteY4164"/>
              </a:cxn>
              <a:cxn ang="0">
                <a:pos x="connsiteX4165" y="connsiteY4165"/>
              </a:cxn>
              <a:cxn ang="0">
                <a:pos x="connsiteX4166" y="connsiteY4166"/>
              </a:cxn>
              <a:cxn ang="0">
                <a:pos x="connsiteX4167" y="connsiteY4167"/>
              </a:cxn>
              <a:cxn ang="0">
                <a:pos x="connsiteX4168" y="connsiteY4168"/>
              </a:cxn>
              <a:cxn ang="0">
                <a:pos x="connsiteX4169" y="connsiteY4169"/>
              </a:cxn>
              <a:cxn ang="0">
                <a:pos x="connsiteX4170" y="connsiteY4170"/>
              </a:cxn>
              <a:cxn ang="0">
                <a:pos x="connsiteX4171" y="connsiteY4171"/>
              </a:cxn>
              <a:cxn ang="0">
                <a:pos x="connsiteX4172" y="connsiteY4172"/>
              </a:cxn>
              <a:cxn ang="0">
                <a:pos x="connsiteX4173" y="connsiteY4173"/>
              </a:cxn>
              <a:cxn ang="0">
                <a:pos x="connsiteX4174" y="connsiteY4174"/>
              </a:cxn>
              <a:cxn ang="0">
                <a:pos x="connsiteX4175" y="connsiteY4175"/>
              </a:cxn>
              <a:cxn ang="0">
                <a:pos x="connsiteX4176" y="connsiteY4176"/>
              </a:cxn>
              <a:cxn ang="0">
                <a:pos x="connsiteX4177" y="connsiteY4177"/>
              </a:cxn>
              <a:cxn ang="0">
                <a:pos x="connsiteX4178" y="connsiteY4178"/>
              </a:cxn>
              <a:cxn ang="0">
                <a:pos x="connsiteX4179" y="connsiteY4179"/>
              </a:cxn>
              <a:cxn ang="0">
                <a:pos x="connsiteX4180" y="connsiteY4180"/>
              </a:cxn>
              <a:cxn ang="0">
                <a:pos x="connsiteX4181" y="connsiteY4181"/>
              </a:cxn>
              <a:cxn ang="0">
                <a:pos x="connsiteX4182" y="connsiteY4182"/>
              </a:cxn>
              <a:cxn ang="0">
                <a:pos x="connsiteX4183" y="connsiteY4183"/>
              </a:cxn>
              <a:cxn ang="0">
                <a:pos x="connsiteX4184" y="connsiteY4184"/>
              </a:cxn>
              <a:cxn ang="0">
                <a:pos x="connsiteX4185" y="connsiteY4185"/>
              </a:cxn>
              <a:cxn ang="0">
                <a:pos x="connsiteX4186" y="connsiteY4186"/>
              </a:cxn>
              <a:cxn ang="0">
                <a:pos x="connsiteX4187" y="connsiteY4187"/>
              </a:cxn>
              <a:cxn ang="0">
                <a:pos x="connsiteX4188" y="connsiteY4188"/>
              </a:cxn>
              <a:cxn ang="0">
                <a:pos x="connsiteX4189" y="connsiteY4189"/>
              </a:cxn>
              <a:cxn ang="0">
                <a:pos x="connsiteX4190" y="connsiteY4190"/>
              </a:cxn>
              <a:cxn ang="0">
                <a:pos x="connsiteX4191" y="connsiteY4191"/>
              </a:cxn>
              <a:cxn ang="0">
                <a:pos x="connsiteX4192" y="connsiteY4192"/>
              </a:cxn>
              <a:cxn ang="0">
                <a:pos x="connsiteX4193" y="connsiteY4193"/>
              </a:cxn>
              <a:cxn ang="0">
                <a:pos x="connsiteX4194" y="connsiteY4194"/>
              </a:cxn>
              <a:cxn ang="0">
                <a:pos x="connsiteX4195" y="connsiteY4195"/>
              </a:cxn>
              <a:cxn ang="0">
                <a:pos x="connsiteX4196" y="connsiteY4196"/>
              </a:cxn>
              <a:cxn ang="0">
                <a:pos x="connsiteX4197" y="connsiteY4197"/>
              </a:cxn>
              <a:cxn ang="0">
                <a:pos x="connsiteX4198" y="connsiteY4198"/>
              </a:cxn>
              <a:cxn ang="0">
                <a:pos x="connsiteX4199" y="connsiteY4199"/>
              </a:cxn>
              <a:cxn ang="0">
                <a:pos x="connsiteX4200" y="connsiteY4200"/>
              </a:cxn>
              <a:cxn ang="0">
                <a:pos x="connsiteX4201" y="connsiteY4201"/>
              </a:cxn>
              <a:cxn ang="0">
                <a:pos x="connsiteX4202" y="connsiteY4202"/>
              </a:cxn>
              <a:cxn ang="0">
                <a:pos x="connsiteX4203" y="connsiteY4203"/>
              </a:cxn>
              <a:cxn ang="0">
                <a:pos x="connsiteX4204" y="connsiteY4204"/>
              </a:cxn>
              <a:cxn ang="0">
                <a:pos x="connsiteX4205" y="connsiteY4205"/>
              </a:cxn>
              <a:cxn ang="0">
                <a:pos x="connsiteX4206" y="connsiteY4206"/>
              </a:cxn>
              <a:cxn ang="0">
                <a:pos x="connsiteX4207" y="connsiteY4207"/>
              </a:cxn>
              <a:cxn ang="0">
                <a:pos x="connsiteX4208" y="connsiteY4208"/>
              </a:cxn>
              <a:cxn ang="0">
                <a:pos x="connsiteX4209" y="connsiteY4209"/>
              </a:cxn>
              <a:cxn ang="0">
                <a:pos x="connsiteX4210" y="connsiteY4210"/>
              </a:cxn>
              <a:cxn ang="0">
                <a:pos x="connsiteX4211" y="connsiteY4211"/>
              </a:cxn>
              <a:cxn ang="0">
                <a:pos x="connsiteX4212" y="connsiteY4212"/>
              </a:cxn>
              <a:cxn ang="0">
                <a:pos x="connsiteX4213" y="connsiteY4213"/>
              </a:cxn>
              <a:cxn ang="0">
                <a:pos x="connsiteX4214" y="connsiteY4214"/>
              </a:cxn>
              <a:cxn ang="0">
                <a:pos x="connsiteX4215" y="connsiteY4215"/>
              </a:cxn>
              <a:cxn ang="0">
                <a:pos x="connsiteX4216" y="connsiteY4216"/>
              </a:cxn>
              <a:cxn ang="0">
                <a:pos x="connsiteX4217" y="connsiteY4217"/>
              </a:cxn>
              <a:cxn ang="0">
                <a:pos x="connsiteX4218" y="connsiteY4218"/>
              </a:cxn>
              <a:cxn ang="0">
                <a:pos x="connsiteX4219" y="connsiteY4219"/>
              </a:cxn>
              <a:cxn ang="0">
                <a:pos x="connsiteX4220" y="connsiteY4220"/>
              </a:cxn>
              <a:cxn ang="0">
                <a:pos x="connsiteX4221" y="connsiteY4221"/>
              </a:cxn>
              <a:cxn ang="0">
                <a:pos x="connsiteX4222" y="connsiteY4222"/>
              </a:cxn>
              <a:cxn ang="0">
                <a:pos x="connsiteX4223" y="connsiteY4223"/>
              </a:cxn>
              <a:cxn ang="0">
                <a:pos x="connsiteX4224" y="connsiteY4224"/>
              </a:cxn>
              <a:cxn ang="0">
                <a:pos x="connsiteX4225" y="connsiteY4225"/>
              </a:cxn>
              <a:cxn ang="0">
                <a:pos x="connsiteX4226" y="connsiteY4226"/>
              </a:cxn>
              <a:cxn ang="0">
                <a:pos x="connsiteX4227" y="connsiteY4227"/>
              </a:cxn>
              <a:cxn ang="0">
                <a:pos x="connsiteX4228" y="connsiteY4228"/>
              </a:cxn>
              <a:cxn ang="0">
                <a:pos x="connsiteX4229" y="connsiteY4229"/>
              </a:cxn>
              <a:cxn ang="0">
                <a:pos x="connsiteX4230" y="connsiteY4230"/>
              </a:cxn>
              <a:cxn ang="0">
                <a:pos x="connsiteX4231" y="connsiteY4231"/>
              </a:cxn>
              <a:cxn ang="0">
                <a:pos x="connsiteX4232" y="connsiteY4232"/>
              </a:cxn>
              <a:cxn ang="0">
                <a:pos x="connsiteX4233" y="connsiteY4233"/>
              </a:cxn>
              <a:cxn ang="0">
                <a:pos x="connsiteX4234" y="connsiteY4234"/>
              </a:cxn>
              <a:cxn ang="0">
                <a:pos x="connsiteX4235" y="connsiteY4235"/>
              </a:cxn>
              <a:cxn ang="0">
                <a:pos x="connsiteX4236" y="connsiteY4236"/>
              </a:cxn>
              <a:cxn ang="0">
                <a:pos x="connsiteX4237" y="connsiteY4237"/>
              </a:cxn>
              <a:cxn ang="0">
                <a:pos x="connsiteX4238" y="connsiteY4238"/>
              </a:cxn>
              <a:cxn ang="0">
                <a:pos x="connsiteX4239" y="connsiteY4239"/>
              </a:cxn>
              <a:cxn ang="0">
                <a:pos x="connsiteX4240" y="connsiteY4240"/>
              </a:cxn>
              <a:cxn ang="0">
                <a:pos x="connsiteX4241" y="connsiteY4241"/>
              </a:cxn>
              <a:cxn ang="0">
                <a:pos x="connsiteX4242" y="connsiteY4242"/>
              </a:cxn>
              <a:cxn ang="0">
                <a:pos x="connsiteX4243" y="connsiteY4243"/>
              </a:cxn>
              <a:cxn ang="0">
                <a:pos x="connsiteX4244" y="connsiteY4244"/>
              </a:cxn>
              <a:cxn ang="0">
                <a:pos x="connsiteX4245" y="connsiteY4245"/>
              </a:cxn>
              <a:cxn ang="0">
                <a:pos x="connsiteX4246" y="connsiteY4246"/>
              </a:cxn>
              <a:cxn ang="0">
                <a:pos x="connsiteX4247" y="connsiteY4247"/>
              </a:cxn>
              <a:cxn ang="0">
                <a:pos x="connsiteX4248" y="connsiteY4248"/>
              </a:cxn>
              <a:cxn ang="0">
                <a:pos x="connsiteX4249" y="connsiteY4249"/>
              </a:cxn>
              <a:cxn ang="0">
                <a:pos x="connsiteX4250" y="connsiteY4250"/>
              </a:cxn>
              <a:cxn ang="0">
                <a:pos x="connsiteX4251" y="connsiteY4251"/>
              </a:cxn>
              <a:cxn ang="0">
                <a:pos x="connsiteX4252" y="connsiteY4252"/>
              </a:cxn>
              <a:cxn ang="0">
                <a:pos x="connsiteX4253" y="connsiteY4253"/>
              </a:cxn>
              <a:cxn ang="0">
                <a:pos x="connsiteX4254" y="connsiteY4254"/>
              </a:cxn>
              <a:cxn ang="0">
                <a:pos x="connsiteX4255" y="connsiteY4255"/>
              </a:cxn>
              <a:cxn ang="0">
                <a:pos x="connsiteX4256" y="connsiteY4256"/>
              </a:cxn>
              <a:cxn ang="0">
                <a:pos x="connsiteX4257" y="connsiteY4257"/>
              </a:cxn>
              <a:cxn ang="0">
                <a:pos x="connsiteX4258" y="connsiteY4258"/>
              </a:cxn>
              <a:cxn ang="0">
                <a:pos x="connsiteX4259" y="connsiteY4259"/>
              </a:cxn>
              <a:cxn ang="0">
                <a:pos x="connsiteX4260" y="connsiteY4260"/>
              </a:cxn>
              <a:cxn ang="0">
                <a:pos x="connsiteX4261" y="connsiteY4261"/>
              </a:cxn>
              <a:cxn ang="0">
                <a:pos x="connsiteX4262" y="connsiteY4262"/>
              </a:cxn>
              <a:cxn ang="0">
                <a:pos x="connsiteX4263" y="connsiteY4263"/>
              </a:cxn>
              <a:cxn ang="0">
                <a:pos x="connsiteX4264" y="connsiteY4264"/>
              </a:cxn>
              <a:cxn ang="0">
                <a:pos x="connsiteX4265" y="connsiteY4265"/>
              </a:cxn>
              <a:cxn ang="0">
                <a:pos x="connsiteX4266" y="connsiteY4266"/>
              </a:cxn>
              <a:cxn ang="0">
                <a:pos x="connsiteX4267" y="connsiteY4267"/>
              </a:cxn>
              <a:cxn ang="0">
                <a:pos x="connsiteX4268" y="connsiteY4268"/>
              </a:cxn>
              <a:cxn ang="0">
                <a:pos x="connsiteX4269" y="connsiteY4269"/>
              </a:cxn>
              <a:cxn ang="0">
                <a:pos x="connsiteX4270" y="connsiteY4270"/>
              </a:cxn>
              <a:cxn ang="0">
                <a:pos x="connsiteX4271" y="connsiteY4271"/>
              </a:cxn>
              <a:cxn ang="0">
                <a:pos x="connsiteX4272" y="connsiteY4272"/>
              </a:cxn>
              <a:cxn ang="0">
                <a:pos x="connsiteX4273" y="connsiteY4273"/>
              </a:cxn>
              <a:cxn ang="0">
                <a:pos x="connsiteX4274" y="connsiteY4274"/>
              </a:cxn>
              <a:cxn ang="0">
                <a:pos x="connsiteX4275" y="connsiteY4275"/>
              </a:cxn>
              <a:cxn ang="0">
                <a:pos x="connsiteX4276" y="connsiteY4276"/>
              </a:cxn>
              <a:cxn ang="0">
                <a:pos x="connsiteX4277" y="connsiteY4277"/>
              </a:cxn>
              <a:cxn ang="0">
                <a:pos x="connsiteX4278" y="connsiteY4278"/>
              </a:cxn>
              <a:cxn ang="0">
                <a:pos x="connsiteX4279" y="connsiteY4279"/>
              </a:cxn>
              <a:cxn ang="0">
                <a:pos x="connsiteX4280" y="connsiteY4280"/>
              </a:cxn>
              <a:cxn ang="0">
                <a:pos x="connsiteX4281" y="connsiteY4281"/>
              </a:cxn>
              <a:cxn ang="0">
                <a:pos x="connsiteX4282" y="connsiteY4282"/>
              </a:cxn>
              <a:cxn ang="0">
                <a:pos x="connsiteX4283" y="connsiteY4283"/>
              </a:cxn>
              <a:cxn ang="0">
                <a:pos x="connsiteX4284" y="connsiteY4284"/>
              </a:cxn>
              <a:cxn ang="0">
                <a:pos x="connsiteX4285" y="connsiteY4285"/>
              </a:cxn>
              <a:cxn ang="0">
                <a:pos x="connsiteX4286" y="connsiteY4286"/>
              </a:cxn>
              <a:cxn ang="0">
                <a:pos x="connsiteX4287" y="connsiteY4287"/>
              </a:cxn>
              <a:cxn ang="0">
                <a:pos x="connsiteX4288" y="connsiteY4288"/>
              </a:cxn>
              <a:cxn ang="0">
                <a:pos x="connsiteX4289" y="connsiteY4289"/>
              </a:cxn>
              <a:cxn ang="0">
                <a:pos x="connsiteX4290" y="connsiteY4290"/>
              </a:cxn>
              <a:cxn ang="0">
                <a:pos x="connsiteX4291" y="connsiteY4291"/>
              </a:cxn>
              <a:cxn ang="0">
                <a:pos x="connsiteX4292" y="connsiteY4292"/>
              </a:cxn>
              <a:cxn ang="0">
                <a:pos x="connsiteX4293" y="connsiteY4293"/>
              </a:cxn>
              <a:cxn ang="0">
                <a:pos x="connsiteX4294" y="connsiteY4294"/>
              </a:cxn>
              <a:cxn ang="0">
                <a:pos x="connsiteX4295" y="connsiteY4295"/>
              </a:cxn>
              <a:cxn ang="0">
                <a:pos x="connsiteX4296" y="connsiteY4296"/>
              </a:cxn>
              <a:cxn ang="0">
                <a:pos x="connsiteX4297" y="connsiteY4297"/>
              </a:cxn>
              <a:cxn ang="0">
                <a:pos x="connsiteX4298" y="connsiteY4298"/>
              </a:cxn>
              <a:cxn ang="0">
                <a:pos x="connsiteX4299" y="connsiteY4299"/>
              </a:cxn>
              <a:cxn ang="0">
                <a:pos x="connsiteX4300" y="connsiteY4300"/>
              </a:cxn>
              <a:cxn ang="0">
                <a:pos x="connsiteX4301" y="connsiteY4301"/>
              </a:cxn>
              <a:cxn ang="0">
                <a:pos x="connsiteX4302" y="connsiteY4302"/>
              </a:cxn>
              <a:cxn ang="0">
                <a:pos x="connsiteX4303" y="connsiteY4303"/>
              </a:cxn>
              <a:cxn ang="0">
                <a:pos x="connsiteX4304" y="connsiteY4304"/>
              </a:cxn>
              <a:cxn ang="0">
                <a:pos x="connsiteX4305" y="connsiteY4305"/>
              </a:cxn>
              <a:cxn ang="0">
                <a:pos x="connsiteX4306" y="connsiteY4306"/>
              </a:cxn>
              <a:cxn ang="0">
                <a:pos x="connsiteX4307" y="connsiteY4307"/>
              </a:cxn>
              <a:cxn ang="0">
                <a:pos x="connsiteX4308" y="connsiteY4308"/>
              </a:cxn>
              <a:cxn ang="0">
                <a:pos x="connsiteX4309" y="connsiteY4309"/>
              </a:cxn>
              <a:cxn ang="0">
                <a:pos x="connsiteX4310" y="connsiteY4310"/>
              </a:cxn>
              <a:cxn ang="0">
                <a:pos x="connsiteX4311" y="connsiteY4311"/>
              </a:cxn>
              <a:cxn ang="0">
                <a:pos x="connsiteX4312" y="connsiteY4312"/>
              </a:cxn>
              <a:cxn ang="0">
                <a:pos x="connsiteX4313" y="connsiteY4313"/>
              </a:cxn>
              <a:cxn ang="0">
                <a:pos x="connsiteX4314" y="connsiteY4314"/>
              </a:cxn>
              <a:cxn ang="0">
                <a:pos x="connsiteX4315" y="connsiteY4315"/>
              </a:cxn>
              <a:cxn ang="0">
                <a:pos x="connsiteX4316" y="connsiteY4316"/>
              </a:cxn>
              <a:cxn ang="0">
                <a:pos x="connsiteX4317" y="connsiteY4317"/>
              </a:cxn>
              <a:cxn ang="0">
                <a:pos x="connsiteX4318" y="connsiteY4318"/>
              </a:cxn>
              <a:cxn ang="0">
                <a:pos x="connsiteX4319" y="connsiteY4319"/>
              </a:cxn>
              <a:cxn ang="0">
                <a:pos x="connsiteX4320" y="connsiteY4320"/>
              </a:cxn>
              <a:cxn ang="0">
                <a:pos x="connsiteX4321" y="connsiteY4321"/>
              </a:cxn>
              <a:cxn ang="0">
                <a:pos x="connsiteX4322" y="connsiteY4322"/>
              </a:cxn>
              <a:cxn ang="0">
                <a:pos x="connsiteX4323" y="connsiteY4323"/>
              </a:cxn>
              <a:cxn ang="0">
                <a:pos x="connsiteX4324" y="connsiteY4324"/>
              </a:cxn>
              <a:cxn ang="0">
                <a:pos x="connsiteX4325" y="connsiteY4325"/>
              </a:cxn>
              <a:cxn ang="0">
                <a:pos x="connsiteX4326" y="connsiteY4326"/>
              </a:cxn>
              <a:cxn ang="0">
                <a:pos x="connsiteX4327" y="connsiteY4327"/>
              </a:cxn>
              <a:cxn ang="0">
                <a:pos x="connsiteX4328" y="connsiteY4328"/>
              </a:cxn>
              <a:cxn ang="0">
                <a:pos x="connsiteX4329" y="connsiteY4329"/>
              </a:cxn>
              <a:cxn ang="0">
                <a:pos x="connsiteX4330" y="connsiteY4330"/>
              </a:cxn>
              <a:cxn ang="0">
                <a:pos x="connsiteX4331" y="connsiteY4331"/>
              </a:cxn>
              <a:cxn ang="0">
                <a:pos x="connsiteX4332" y="connsiteY4332"/>
              </a:cxn>
              <a:cxn ang="0">
                <a:pos x="connsiteX4333" y="connsiteY4333"/>
              </a:cxn>
              <a:cxn ang="0">
                <a:pos x="connsiteX4334" y="connsiteY4334"/>
              </a:cxn>
              <a:cxn ang="0">
                <a:pos x="connsiteX4335" y="connsiteY4335"/>
              </a:cxn>
              <a:cxn ang="0">
                <a:pos x="connsiteX4336" y="connsiteY4336"/>
              </a:cxn>
              <a:cxn ang="0">
                <a:pos x="connsiteX4337" y="connsiteY4337"/>
              </a:cxn>
              <a:cxn ang="0">
                <a:pos x="connsiteX4338" y="connsiteY4338"/>
              </a:cxn>
              <a:cxn ang="0">
                <a:pos x="connsiteX4339" y="connsiteY4339"/>
              </a:cxn>
              <a:cxn ang="0">
                <a:pos x="connsiteX4340" y="connsiteY4340"/>
              </a:cxn>
              <a:cxn ang="0">
                <a:pos x="connsiteX4341" y="connsiteY4341"/>
              </a:cxn>
              <a:cxn ang="0">
                <a:pos x="connsiteX4342" y="connsiteY4342"/>
              </a:cxn>
              <a:cxn ang="0">
                <a:pos x="connsiteX4343" y="connsiteY4343"/>
              </a:cxn>
              <a:cxn ang="0">
                <a:pos x="connsiteX4344" y="connsiteY4344"/>
              </a:cxn>
              <a:cxn ang="0">
                <a:pos x="connsiteX4345" y="connsiteY4345"/>
              </a:cxn>
              <a:cxn ang="0">
                <a:pos x="connsiteX4346" y="connsiteY4346"/>
              </a:cxn>
              <a:cxn ang="0">
                <a:pos x="connsiteX4347" y="connsiteY4347"/>
              </a:cxn>
              <a:cxn ang="0">
                <a:pos x="connsiteX4348" y="connsiteY4348"/>
              </a:cxn>
              <a:cxn ang="0">
                <a:pos x="connsiteX4349" y="connsiteY4349"/>
              </a:cxn>
              <a:cxn ang="0">
                <a:pos x="connsiteX4350" y="connsiteY4350"/>
              </a:cxn>
              <a:cxn ang="0">
                <a:pos x="connsiteX4351" y="connsiteY4351"/>
              </a:cxn>
              <a:cxn ang="0">
                <a:pos x="connsiteX4352" y="connsiteY4352"/>
              </a:cxn>
              <a:cxn ang="0">
                <a:pos x="connsiteX4353" y="connsiteY4353"/>
              </a:cxn>
              <a:cxn ang="0">
                <a:pos x="connsiteX4354" y="connsiteY4354"/>
              </a:cxn>
              <a:cxn ang="0">
                <a:pos x="connsiteX4355" y="connsiteY4355"/>
              </a:cxn>
              <a:cxn ang="0">
                <a:pos x="connsiteX4356" y="connsiteY4356"/>
              </a:cxn>
              <a:cxn ang="0">
                <a:pos x="connsiteX4357" y="connsiteY4357"/>
              </a:cxn>
              <a:cxn ang="0">
                <a:pos x="connsiteX4358" y="connsiteY4358"/>
              </a:cxn>
              <a:cxn ang="0">
                <a:pos x="connsiteX4359" y="connsiteY4359"/>
              </a:cxn>
              <a:cxn ang="0">
                <a:pos x="connsiteX4360" y="connsiteY4360"/>
              </a:cxn>
              <a:cxn ang="0">
                <a:pos x="connsiteX4361" y="connsiteY4361"/>
              </a:cxn>
              <a:cxn ang="0">
                <a:pos x="connsiteX4362" y="connsiteY4362"/>
              </a:cxn>
              <a:cxn ang="0">
                <a:pos x="connsiteX4363" y="connsiteY4363"/>
              </a:cxn>
              <a:cxn ang="0">
                <a:pos x="connsiteX4364" y="connsiteY4364"/>
              </a:cxn>
              <a:cxn ang="0">
                <a:pos x="connsiteX4365" y="connsiteY4365"/>
              </a:cxn>
              <a:cxn ang="0">
                <a:pos x="connsiteX4366" y="connsiteY4366"/>
              </a:cxn>
              <a:cxn ang="0">
                <a:pos x="connsiteX4367" y="connsiteY4367"/>
              </a:cxn>
              <a:cxn ang="0">
                <a:pos x="connsiteX4368" y="connsiteY4368"/>
              </a:cxn>
              <a:cxn ang="0">
                <a:pos x="connsiteX4369" y="connsiteY4369"/>
              </a:cxn>
              <a:cxn ang="0">
                <a:pos x="connsiteX4370" y="connsiteY4370"/>
              </a:cxn>
              <a:cxn ang="0">
                <a:pos x="connsiteX4371" y="connsiteY4371"/>
              </a:cxn>
              <a:cxn ang="0">
                <a:pos x="connsiteX4372" y="connsiteY4372"/>
              </a:cxn>
              <a:cxn ang="0">
                <a:pos x="connsiteX4373" y="connsiteY4373"/>
              </a:cxn>
              <a:cxn ang="0">
                <a:pos x="connsiteX4374" y="connsiteY4374"/>
              </a:cxn>
              <a:cxn ang="0">
                <a:pos x="connsiteX4375" y="connsiteY4375"/>
              </a:cxn>
              <a:cxn ang="0">
                <a:pos x="connsiteX4376" y="connsiteY4376"/>
              </a:cxn>
              <a:cxn ang="0">
                <a:pos x="connsiteX4377" y="connsiteY4377"/>
              </a:cxn>
              <a:cxn ang="0">
                <a:pos x="connsiteX4378" y="connsiteY4378"/>
              </a:cxn>
              <a:cxn ang="0">
                <a:pos x="connsiteX4379" y="connsiteY4379"/>
              </a:cxn>
              <a:cxn ang="0">
                <a:pos x="connsiteX4380" y="connsiteY4380"/>
              </a:cxn>
              <a:cxn ang="0">
                <a:pos x="connsiteX4381" y="connsiteY4381"/>
              </a:cxn>
              <a:cxn ang="0">
                <a:pos x="connsiteX4382" y="connsiteY4382"/>
              </a:cxn>
              <a:cxn ang="0">
                <a:pos x="connsiteX4383" y="connsiteY4383"/>
              </a:cxn>
              <a:cxn ang="0">
                <a:pos x="connsiteX4384" y="connsiteY4384"/>
              </a:cxn>
              <a:cxn ang="0">
                <a:pos x="connsiteX4385" y="connsiteY4385"/>
              </a:cxn>
              <a:cxn ang="0">
                <a:pos x="connsiteX4386" y="connsiteY4386"/>
              </a:cxn>
              <a:cxn ang="0">
                <a:pos x="connsiteX4387" y="connsiteY4387"/>
              </a:cxn>
              <a:cxn ang="0">
                <a:pos x="connsiteX4388" y="connsiteY4388"/>
              </a:cxn>
              <a:cxn ang="0">
                <a:pos x="connsiteX4389" y="connsiteY4389"/>
              </a:cxn>
              <a:cxn ang="0">
                <a:pos x="connsiteX4390" y="connsiteY4390"/>
              </a:cxn>
              <a:cxn ang="0">
                <a:pos x="connsiteX4391" y="connsiteY4391"/>
              </a:cxn>
              <a:cxn ang="0">
                <a:pos x="connsiteX4392" y="connsiteY4392"/>
              </a:cxn>
              <a:cxn ang="0">
                <a:pos x="connsiteX4393" y="connsiteY4393"/>
              </a:cxn>
              <a:cxn ang="0">
                <a:pos x="connsiteX4394" y="connsiteY4394"/>
              </a:cxn>
              <a:cxn ang="0">
                <a:pos x="connsiteX4395" y="connsiteY4395"/>
              </a:cxn>
              <a:cxn ang="0">
                <a:pos x="connsiteX4396" y="connsiteY4396"/>
              </a:cxn>
              <a:cxn ang="0">
                <a:pos x="connsiteX4397" y="connsiteY4397"/>
              </a:cxn>
              <a:cxn ang="0">
                <a:pos x="connsiteX4398" y="connsiteY4398"/>
              </a:cxn>
              <a:cxn ang="0">
                <a:pos x="connsiteX4399" y="connsiteY4399"/>
              </a:cxn>
              <a:cxn ang="0">
                <a:pos x="connsiteX4400" y="connsiteY4400"/>
              </a:cxn>
              <a:cxn ang="0">
                <a:pos x="connsiteX4401" y="connsiteY4401"/>
              </a:cxn>
              <a:cxn ang="0">
                <a:pos x="connsiteX4402" y="connsiteY4402"/>
              </a:cxn>
              <a:cxn ang="0">
                <a:pos x="connsiteX4403" y="connsiteY4403"/>
              </a:cxn>
              <a:cxn ang="0">
                <a:pos x="connsiteX4404" y="connsiteY4404"/>
              </a:cxn>
              <a:cxn ang="0">
                <a:pos x="connsiteX4405" y="connsiteY4405"/>
              </a:cxn>
              <a:cxn ang="0">
                <a:pos x="connsiteX4406" y="connsiteY4406"/>
              </a:cxn>
              <a:cxn ang="0">
                <a:pos x="connsiteX4407" y="connsiteY4407"/>
              </a:cxn>
              <a:cxn ang="0">
                <a:pos x="connsiteX4408" y="connsiteY4408"/>
              </a:cxn>
              <a:cxn ang="0">
                <a:pos x="connsiteX4409" y="connsiteY4409"/>
              </a:cxn>
              <a:cxn ang="0">
                <a:pos x="connsiteX4410" y="connsiteY4410"/>
              </a:cxn>
              <a:cxn ang="0">
                <a:pos x="connsiteX4411" y="connsiteY4411"/>
              </a:cxn>
              <a:cxn ang="0">
                <a:pos x="connsiteX4412" y="connsiteY4412"/>
              </a:cxn>
              <a:cxn ang="0">
                <a:pos x="connsiteX4413" y="connsiteY4413"/>
              </a:cxn>
              <a:cxn ang="0">
                <a:pos x="connsiteX4414" y="connsiteY4414"/>
              </a:cxn>
              <a:cxn ang="0">
                <a:pos x="connsiteX4415" y="connsiteY4415"/>
              </a:cxn>
              <a:cxn ang="0">
                <a:pos x="connsiteX4416" y="connsiteY4416"/>
              </a:cxn>
              <a:cxn ang="0">
                <a:pos x="connsiteX4417" y="connsiteY4417"/>
              </a:cxn>
              <a:cxn ang="0">
                <a:pos x="connsiteX4418" y="connsiteY4418"/>
              </a:cxn>
              <a:cxn ang="0">
                <a:pos x="connsiteX4419" y="connsiteY4419"/>
              </a:cxn>
              <a:cxn ang="0">
                <a:pos x="connsiteX4420" y="connsiteY4420"/>
              </a:cxn>
              <a:cxn ang="0">
                <a:pos x="connsiteX4421" y="connsiteY4421"/>
              </a:cxn>
              <a:cxn ang="0">
                <a:pos x="connsiteX4422" y="connsiteY4422"/>
              </a:cxn>
              <a:cxn ang="0">
                <a:pos x="connsiteX4423" y="connsiteY4423"/>
              </a:cxn>
              <a:cxn ang="0">
                <a:pos x="connsiteX4424" y="connsiteY4424"/>
              </a:cxn>
              <a:cxn ang="0">
                <a:pos x="connsiteX4425" y="connsiteY4425"/>
              </a:cxn>
              <a:cxn ang="0">
                <a:pos x="connsiteX4426" y="connsiteY4426"/>
              </a:cxn>
              <a:cxn ang="0">
                <a:pos x="connsiteX4427" y="connsiteY4427"/>
              </a:cxn>
              <a:cxn ang="0">
                <a:pos x="connsiteX4428" y="connsiteY4428"/>
              </a:cxn>
              <a:cxn ang="0">
                <a:pos x="connsiteX4429" y="connsiteY4429"/>
              </a:cxn>
              <a:cxn ang="0">
                <a:pos x="connsiteX4430" y="connsiteY4430"/>
              </a:cxn>
              <a:cxn ang="0">
                <a:pos x="connsiteX4431" y="connsiteY4431"/>
              </a:cxn>
              <a:cxn ang="0">
                <a:pos x="connsiteX4432" y="connsiteY4432"/>
              </a:cxn>
              <a:cxn ang="0">
                <a:pos x="connsiteX4433" y="connsiteY4433"/>
              </a:cxn>
              <a:cxn ang="0">
                <a:pos x="connsiteX4434" y="connsiteY4434"/>
              </a:cxn>
              <a:cxn ang="0">
                <a:pos x="connsiteX4435" y="connsiteY4435"/>
              </a:cxn>
              <a:cxn ang="0">
                <a:pos x="connsiteX4436" y="connsiteY4436"/>
              </a:cxn>
              <a:cxn ang="0">
                <a:pos x="connsiteX4437" y="connsiteY4437"/>
              </a:cxn>
              <a:cxn ang="0">
                <a:pos x="connsiteX4438" y="connsiteY4438"/>
              </a:cxn>
              <a:cxn ang="0">
                <a:pos x="connsiteX4439" y="connsiteY4439"/>
              </a:cxn>
              <a:cxn ang="0">
                <a:pos x="connsiteX4440" y="connsiteY4440"/>
              </a:cxn>
              <a:cxn ang="0">
                <a:pos x="connsiteX4441" y="connsiteY4441"/>
              </a:cxn>
              <a:cxn ang="0">
                <a:pos x="connsiteX4442" y="connsiteY4442"/>
              </a:cxn>
              <a:cxn ang="0">
                <a:pos x="connsiteX4443" y="connsiteY4443"/>
              </a:cxn>
              <a:cxn ang="0">
                <a:pos x="connsiteX4444" y="connsiteY4444"/>
              </a:cxn>
              <a:cxn ang="0">
                <a:pos x="connsiteX4445" y="connsiteY4445"/>
              </a:cxn>
              <a:cxn ang="0">
                <a:pos x="connsiteX4446" y="connsiteY4446"/>
              </a:cxn>
              <a:cxn ang="0">
                <a:pos x="connsiteX4447" y="connsiteY4447"/>
              </a:cxn>
              <a:cxn ang="0">
                <a:pos x="connsiteX4448" y="connsiteY4448"/>
              </a:cxn>
              <a:cxn ang="0">
                <a:pos x="connsiteX4449" y="connsiteY4449"/>
              </a:cxn>
              <a:cxn ang="0">
                <a:pos x="connsiteX4450" y="connsiteY4450"/>
              </a:cxn>
              <a:cxn ang="0">
                <a:pos x="connsiteX4451" y="connsiteY4451"/>
              </a:cxn>
              <a:cxn ang="0">
                <a:pos x="connsiteX4452" y="connsiteY4452"/>
              </a:cxn>
              <a:cxn ang="0">
                <a:pos x="connsiteX4453" y="connsiteY4453"/>
              </a:cxn>
              <a:cxn ang="0">
                <a:pos x="connsiteX4454" y="connsiteY4454"/>
              </a:cxn>
              <a:cxn ang="0">
                <a:pos x="connsiteX4455" y="connsiteY4455"/>
              </a:cxn>
              <a:cxn ang="0">
                <a:pos x="connsiteX4456" y="connsiteY4456"/>
              </a:cxn>
              <a:cxn ang="0">
                <a:pos x="connsiteX4457" y="connsiteY4457"/>
              </a:cxn>
              <a:cxn ang="0">
                <a:pos x="connsiteX4458" y="connsiteY4458"/>
              </a:cxn>
              <a:cxn ang="0">
                <a:pos x="connsiteX4459" y="connsiteY4459"/>
              </a:cxn>
              <a:cxn ang="0">
                <a:pos x="connsiteX4460" y="connsiteY4460"/>
              </a:cxn>
              <a:cxn ang="0">
                <a:pos x="connsiteX4461" y="connsiteY4461"/>
              </a:cxn>
              <a:cxn ang="0">
                <a:pos x="connsiteX4462" y="connsiteY4462"/>
              </a:cxn>
              <a:cxn ang="0">
                <a:pos x="connsiteX4463" y="connsiteY4463"/>
              </a:cxn>
              <a:cxn ang="0">
                <a:pos x="connsiteX4464" y="connsiteY4464"/>
              </a:cxn>
              <a:cxn ang="0">
                <a:pos x="connsiteX4465" y="connsiteY4465"/>
              </a:cxn>
              <a:cxn ang="0">
                <a:pos x="connsiteX4466" y="connsiteY4466"/>
              </a:cxn>
              <a:cxn ang="0">
                <a:pos x="connsiteX4467" y="connsiteY4467"/>
              </a:cxn>
              <a:cxn ang="0">
                <a:pos x="connsiteX4468" y="connsiteY4468"/>
              </a:cxn>
              <a:cxn ang="0">
                <a:pos x="connsiteX4469" y="connsiteY4469"/>
              </a:cxn>
              <a:cxn ang="0">
                <a:pos x="connsiteX4470" y="connsiteY4470"/>
              </a:cxn>
              <a:cxn ang="0">
                <a:pos x="connsiteX4471" y="connsiteY4471"/>
              </a:cxn>
              <a:cxn ang="0">
                <a:pos x="connsiteX4472" y="connsiteY4472"/>
              </a:cxn>
              <a:cxn ang="0">
                <a:pos x="connsiteX4473" y="connsiteY4473"/>
              </a:cxn>
              <a:cxn ang="0">
                <a:pos x="connsiteX4474" y="connsiteY4474"/>
              </a:cxn>
              <a:cxn ang="0">
                <a:pos x="connsiteX4475" y="connsiteY4475"/>
              </a:cxn>
              <a:cxn ang="0">
                <a:pos x="connsiteX4476" y="connsiteY4476"/>
              </a:cxn>
              <a:cxn ang="0">
                <a:pos x="connsiteX4477" y="connsiteY4477"/>
              </a:cxn>
              <a:cxn ang="0">
                <a:pos x="connsiteX4478" y="connsiteY4478"/>
              </a:cxn>
              <a:cxn ang="0">
                <a:pos x="connsiteX4479" y="connsiteY4479"/>
              </a:cxn>
              <a:cxn ang="0">
                <a:pos x="connsiteX4480" y="connsiteY4480"/>
              </a:cxn>
              <a:cxn ang="0">
                <a:pos x="connsiteX4481" y="connsiteY4481"/>
              </a:cxn>
              <a:cxn ang="0">
                <a:pos x="connsiteX4482" y="connsiteY4482"/>
              </a:cxn>
              <a:cxn ang="0">
                <a:pos x="connsiteX4483" y="connsiteY4483"/>
              </a:cxn>
              <a:cxn ang="0">
                <a:pos x="connsiteX4484" y="connsiteY4484"/>
              </a:cxn>
              <a:cxn ang="0">
                <a:pos x="connsiteX4485" y="connsiteY4485"/>
              </a:cxn>
              <a:cxn ang="0">
                <a:pos x="connsiteX4486" y="connsiteY4486"/>
              </a:cxn>
              <a:cxn ang="0">
                <a:pos x="connsiteX4487" y="connsiteY4487"/>
              </a:cxn>
              <a:cxn ang="0">
                <a:pos x="connsiteX4488" y="connsiteY4488"/>
              </a:cxn>
              <a:cxn ang="0">
                <a:pos x="connsiteX4489" y="connsiteY4489"/>
              </a:cxn>
              <a:cxn ang="0">
                <a:pos x="connsiteX4490" y="connsiteY4490"/>
              </a:cxn>
              <a:cxn ang="0">
                <a:pos x="connsiteX4491" y="connsiteY4491"/>
              </a:cxn>
              <a:cxn ang="0">
                <a:pos x="connsiteX4492" y="connsiteY4492"/>
              </a:cxn>
              <a:cxn ang="0">
                <a:pos x="connsiteX4493" y="connsiteY4493"/>
              </a:cxn>
              <a:cxn ang="0">
                <a:pos x="connsiteX4494" y="connsiteY4494"/>
              </a:cxn>
              <a:cxn ang="0">
                <a:pos x="connsiteX4495" y="connsiteY4495"/>
              </a:cxn>
              <a:cxn ang="0">
                <a:pos x="connsiteX4496" y="connsiteY4496"/>
              </a:cxn>
              <a:cxn ang="0">
                <a:pos x="connsiteX4497" y="connsiteY4497"/>
              </a:cxn>
              <a:cxn ang="0">
                <a:pos x="connsiteX4498" y="connsiteY4498"/>
              </a:cxn>
              <a:cxn ang="0">
                <a:pos x="connsiteX4499" y="connsiteY4499"/>
              </a:cxn>
              <a:cxn ang="0">
                <a:pos x="connsiteX4500" y="connsiteY4500"/>
              </a:cxn>
              <a:cxn ang="0">
                <a:pos x="connsiteX4501" y="connsiteY4501"/>
              </a:cxn>
              <a:cxn ang="0">
                <a:pos x="connsiteX4502" y="connsiteY4502"/>
              </a:cxn>
              <a:cxn ang="0">
                <a:pos x="connsiteX4503" y="connsiteY4503"/>
              </a:cxn>
              <a:cxn ang="0">
                <a:pos x="connsiteX4504" y="connsiteY4504"/>
              </a:cxn>
              <a:cxn ang="0">
                <a:pos x="connsiteX4505" y="connsiteY4505"/>
              </a:cxn>
              <a:cxn ang="0">
                <a:pos x="connsiteX4506" y="connsiteY4506"/>
              </a:cxn>
              <a:cxn ang="0">
                <a:pos x="connsiteX4507" y="connsiteY4507"/>
              </a:cxn>
              <a:cxn ang="0">
                <a:pos x="connsiteX4508" y="connsiteY4508"/>
              </a:cxn>
              <a:cxn ang="0">
                <a:pos x="connsiteX4509" y="connsiteY4509"/>
              </a:cxn>
              <a:cxn ang="0">
                <a:pos x="connsiteX4510" y="connsiteY4510"/>
              </a:cxn>
              <a:cxn ang="0">
                <a:pos x="connsiteX4511" y="connsiteY4511"/>
              </a:cxn>
              <a:cxn ang="0">
                <a:pos x="connsiteX4512" y="connsiteY4512"/>
              </a:cxn>
              <a:cxn ang="0">
                <a:pos x="connsiteX4513" y="connsiteY4513"/>
              </a:cxn>
              <a:cxn ang="0">
                <a:pos x="connsiteX4514" y="connsiteY4514"/>
              </a:cxn>
              <a:cxn ang="0">
                <a:pos x="connsiteX4515" y="connsiteY4515"/>
              </a:cxn>
              <a:cxn ang="0">
                <a:pos x="connsiteX4516" y="connsiteY4516"/>
              </a:cxn>
              <a:cxn ang="0">
                <a:pos x="connsiteX4517" y="connsiteY4517"/>
              </a:cxn>
              <a:cxn ang="0">
                <a:pos x="connsiteX4518" y="connsiteY4518"/>
              </a:cxn>
              <a:cxn ang="0">
                <a:pos x="connsiteX4519" y="connsiteY4519"/>
              </a:cxn>
              <a:cxn ang="0">
                <a:pos x="connsiteX4520" y="connsiteY4520"/>
              </a:cxn>
              <a:cxn ang="0">
                <a:pos x="connsiteX4521" y="connsiteY4521"/>
              </a:cxn>
              <a:cxn ang="0">
                <a:pos x="connsiteX4522" y="connsiteY4522"/>
              </a:cxn>
              <a:cxn ang="0">
                <a:pos x="connsiteX4523" y="connsiteY4523"/>
              </a:cxn>
              <a:cxn ang="0">
                <a:pos x="connsiteX4524" y="connsiteY4524"/>
              </a:cxn>
              <a:cxn ang="0">
                <a:pos x="connsiteX4525" y="connsiteY4525"/>
              </a:cxn>
              <a:cxn ang="0">
                <a:pos x="connsiteX4526" y="connsiteY4526"/>
              </a:cxn>
              <a:cxn ang="0">
                <a:pos x="connsiteX4527" y="connsiteY4527"/>
              </a:cxn>
              <a:cxn ang="0">
                <a:pos x="connsiteX4528" y="connsiteY4528"/>
              </a:cxn>
              <a:cxn ang="0">
                <a:pos x="connsiteX4529" y="connsiteY4529"/>
              </a:cxn>
              <a:cxn ang="0">
                <a:pos x="connsiteX4530" y="connsiteY4530"/>
              </a:cxn>
              <a:cxn ang="0">
                <a:pos x="connsiteX4531" y="connsiteY4531"/>
              </a:cxn>
              <a:cxn ang="0">
                <a:pos x="connsiteX4532" y="connsiteY4532"/>
              </a:cxn>
              <a:cxn ang="0">
                <a:pos x="connsiteX4533" y="connsiteY4533"/>
              </a:cxn>
              <a:cxn ang="0">
                <a:pos x="connsiteX4534" y="connsiteY4534"/>
              </a:cxn>
              <a:cxn ang="0">
                <a:pos x="connsiteX4535" y="connsiteY4535"/>
              </a:cxn>
              <a:cxn ang="0">
                <a:pos x="connsiteX4536" y="connsiteY4536"/>
              </a:cxn>
              <a:cxn ang="0">
                <a:pos x="connsiteX4537" y="connsiteY4537"/>
              </a:cxn>
              <a:cxn ang="0">
                <a:pos x="connsiteX4538" y="connsiteY4538"/>
              </a:cxn>
              <a:cxn ang="0">
                <a:pos x="connsiteX4539" y="connsiteY4539"/>
              </a:cxn>
              <a:cxn ang="0">
                <a:pos x="connsiteX4540" y="connsiteY4540"/>
              </a:cxn>
              <a:cxn ang="0">
                <a:pos x="connsiteX4541" y="connsiteY4541"/>
              </a:cxn>
              <a:cxn ang="0">
                <a:pos x="connsiteX4542" y="connsiteY4542"/>
              </a:cxn>
              <a:cxn ang="0">
                <a:pos x="connsiteX4543" y="connsiteY4543"/>
              </a:cxn>
              <a:cxn ang="0">
                <a:pos x="connsiteX4544" y="connsiteY4544"/>
              </a:cxn>
              <a:cxn ang="0">
                <a:pos x="connsiteX4545" y="connsiteY4545"/>
              </a:cxn>
              <a:cxn ang="0">
                <a:pos x="connsiteX4546" y="connsiteY4546"/>
              </a:cxn>
              <a:cxn ang="0">
                <a:pos x="connsiteX4547" y="connsiteY4547"/>
              </a:cxn>
              <a:cxn ang="0">
                <a:pos x="connsiteX4548" y="connsiteY4548"/>
              </a:cxn>
              <a:cxn ang="0">
                <a:pos x="connsiteX4549" y="connsiteY4549"/>
              </a:cxn>
              <a:cxn ang="0">
                <a:pos x="connsiteX4550" y="connsiteY4550"/>
              </a:cxn>
              <a:cxn ang="0">
                <a:pos x="connsiteX4551" y="connsiteY4551"/>
              </a:cxn>
              <a:cxn ang="0">
                <a:pos x="connsiteX4552" y="connsiteY4552"/>
              </a:cxn>
              <a:cxn ang="0">
                <a:pos x="connsiteX4553" y="connsiteY4553"/>
              </a:cxn>
              <a:cxn ang="0">
                <a:pos x="connsiteX4554" y="connsiteY4554"/>
              </a:cxn>
              <a:cxn ang="0">
                <a:pos x="connsiteX4555" y="connsiteY4555"/>
              </a:cxn>
              <a:cxn ang="0">
                <a:pos x="connsiteX4556" y="connsiteY4556"/>
              </a:cxn>
              <a:cxn ang="0">
                <a:pos x="connsiteX4557" y="connsiteY4557"/>
              </a:cxn>
              <a:cxn ang="0">
                <a:pos x="connsiteX4558" y="connsiteY4558"/>
              </a:cxn>
              <a:cxn ang="0">
                <a:pos x="connsiteX4559" y="connsiteY4559"/>
              </a:cxn>
              <a:cxn ang="0">
                <a:pos x="connsiteX4560" y="connsiteY4560"/>
              </a:cxn>
              <a:cxn ang="0">
                <a:pos x="connsiteX4561" y="connsiteY4561"/>
              </a:cxn>
              <a:cxn ang="0">
                <a:pos x="connsiteX4562" y="connsiteY4562"/>
              </a:cxn>
              <a:cxn ang="0">
                <a:pos x="connsiteX4563" y="connsiteY4563"/>
              </a:cxn>
              <a:cxn ang="0">
                <a:pos x="connsiteX4564" y="connsiteY4564"/>
              </a:cxn>
              <a:cxn ang="0">
                <a:pos x="connsiteX4565" y="connsiteY4565"/>
              </a:cxn>
              <a:cxn ang="0">
                <a:pos x="connsiteX4566" y="connsiteY4566"/>
              </a:cxn>
              <a:cxn ang="0">
                <a:pos x="connsiteX4567" y="connsiteY4567"/>
              </a:cxn>
              <a:cxn ang="0">
                <a:pos x="connsiteX4568" y="connsiteY4568"/>
              </a:cxn>
              <a:cxn ang="0">
                <a:pos x="connsiteX4569" y="connsiteY4569"/>
              </a:cxn>
              <a:cxn ang="0">
                <a:pos x="connsiteX4570" y="connsiteY4570"/>
              </a:cxn>
              <a:cxn ang="0">
                <a:pos x="connsiteX4571" y="connsiteY4571"/>
              </a:cxn>
              <a:cxn ang="0">
                <a:pos x="connsiteX4572" y="connsiteY4572"/>
              </a:cxn>
              <a:cxn ang="0">
                <a:pos x="connsiteX4573" y="connsiteY4573"/>
              </a:cxn>
              <a:cxn ang="0">
                <a:pos x="connsiteX4574" y="connsiteY4574"/>
              </a:cxn>
              <a:cxn ang="0">
                <a:pos x="connsiteX4575" y="connsiteY4575"/>
              </a:cxn>
              <a:cxn ang="0">
                <a:pos x="connsiteX4576" y="connsiteY4576"/>
              </a:cxn>
              <a:cxn ang="0">
                <a:pos x="connsiteX4577" y="connsiteY4577"/>
              </a:cxn>
              <a:cxn ang="0">
                <a:pos x="connsiteX4578" y="connsiteY4578"/>
              </a:cxn>
              <a:cxn ang="0">
                <a:pos x="connsiteX4579" y="connsiteY4579"/>
              </a:cxn>
              <a:cxn ang="0">
                <a:pos x="connsiteX4580" y="connsiteY4580"/>
              </a:cxn>
              <a:cxn ang="0">
                <a:pos x="connsiteX4581" y="connsiteY4581"/>
              </a:cxn>
              <a:cxn ang="0">
                <a:pos x="connsiteX4582" y="connsiteY4582"/>
              </a:cxn>
              <a:cxn ang="0">
                <a:pos x="connsiteX4583" y="connsiteY4583"/>
              </a:cxn>
              <a:cxn ang="0">
                <a:pos x="connsiteX4584" y="connsiteY4584"/>
              </a:cxn>
              <a:cxn ang="0">
                <a:pos x="connsiteX4585" y="connsiteY4585"/>
              </a:cxn>
              <a:cxn ang="0">
                <a:pos x="connsiteX4586" y="connsiteY4586"/>
              </a:cxn>
              <a:cxn ang="0">
                <a:pos x="connsiteX4587" y="connsiteY4587"/>
              </a:cxn>
              <a:cxn ang="0">
                <a:pos x="connsiteX4588" y="connsiteY4588"/>
              </a:cxn>
              <a:cxn ang="0">
                <a:pos x="connsiteX4589" y="connsiteY4589"/>
              </a:cxn>
              <a:cxn ang="0">
                <a:pos x="connsiteX4590" y="connsiteY4590"/>
              </a:cxn>
              <a:cxn ang="0">
                <a:pos x="connsiteX4591" y="connsiteY4591"/>
              </a:cxn>
              <a:cxn ang="0">
                <a:pos x="connsiteX4592" y="connsiteY4592"/>
              </a:cxn>
              <a:cxn ang="0">
                <a:pos x="connsiteX4593" y="connsiteY4593"/>
              </a:cxn>
              <a:cxn ang="0">
                <a:pos x="connsiteX4594" y="connsiteY4594"/>
              </a:cxn>
              <a:cxn ang="0">
                <a:pos x="connsiteX4595" y="connsiteY4595"/>
              </a:cxn>
              <a:cxn ang="0">
                <a:pos x="connsiteX4596" y="connsiteY4596"/>
              </a:cxn>
              <a:cxn ang="0">
                <a:pos x="connsiteX4597" y="connsiteY4597"/>
              </a:cxn>
              <a:cxn ang="0">
                <a:pos x="connsiteX4598" y="connsiteY4598"/>
              </a:cxn>
              <a:cxn ang="0">
                <a:pos x="connsiteX4599" y="connsiteY4599"/>
              </a:cxn>
              <a:cxn ang="0">
                <a:pos x="connsiteX4600" y="connsiteY4600"/>
              </a:cxn>
              <a:cxn ang="0">
                <a:pos x="connsiteX4601" y="connsiteY4601"/>
              </a:cxn>
              <a:cxn ang="0">
                <a:pos x="connsiteX4602" y="connsiteY4602"/>
              </a:cxn>
              <a:cxn ang="0">
                <a:pos x="connsiteX4603" y="connsiteY4603"/>
              </a:cxn>
              <a:cxn ang="0">
                <a:pos x="connsiteX4604" y="connsiteY4604"/>
              </a:cxn>
              <a:cxn ang="0">
                <a:pos x="connsiteX4605" y="connsiteY4605"/>
              </a:cxn>
              <a:cxn ang="0">
                <a:pos x="connsiteX4606" y="connsiteY4606"/>
              </a:cxn>
              <a:cxn ang="0">
                <a:pos x="connsiteX4607" y="connsiteY4607"/>
              </a:cxn>
              <a:cxn ang="0">
                <a:pos x="connsiteX4608" y="connsiteY4608"/>
              </a:cxn>
              <a:cxn ang="0">
                <a:pos x="connsiteX4609" y="connsiteY4609"/>
              </a:cxn>
              <a:cxn ang="0">
                <a:pos x="connsiteX4610" y="connsiteY4610"/>
              </a:cxn>
              <a:cxn ang="0">
                <a:pos x="connsiteX4611" y="connsiteY4611"/>
              </a:cxn>
              <a:cxn ang="0">
                <a:pos x="connsiteX4612" y="connsiteY4612"/>
              </a:cxn>
              <a:cxn ang="0">
                <a:pos x="connsiteX4613" y="connsiteY4613"/>
              </a:cxn>
              <a:cxn ang="0">
                <a:pos x="connsiteX4614" y="connsiteY4614"/>
              </a:cxn>
              <a:cxn ang="0">
                <a:pos x="connsiteX4615" y="connsiteY4615"/>
              </a:cxn>
              <a:cxn ang="0">
                <a:pos x="connsiteX4616" y="connsiteY4616"/>
              </a:cxn>
              <a:cxn ang="0">
                <a:pos x="connsiteX4617" y="connsiteY4617"/>
              </a:cxn>
              <a:cxn ang="0">
                <a:pos x="connsiteX4618" y="connsiteY4618"/>
              </a:cxn>
              <a:cxn ang="0">
                <a:pos x="connsiteX4619" y="connsiteY4619"/>
              </a:cxn>
              <a:cxn ang="0">
                <a:pos x="connsiteX4620" y="connsiteY4620"/>
              </a:cxn>
              <a:cxn ang="0">
                <a:pos x="connsiteX4621" y="connsiteY4621"/>
              </a:cxn>
              <a:cxn ang="0">
                <a:pos x="connsiteX4622" y="connsiteY4622"/>
              </a:cxn>
              <a:cxn ang="0">
                <a:pos x="connsiteX4623" y="connsiteY4623"/>
              </a:cxn>
              <a:cxn ang="0">
                <a:pos x="connsiteX4624" y="connsiteY4624"/>
              </a:cxn>
              <a:cxn ang="0">
                <a:pos x="connsiteX4625" y="connsiteY4625"/>
              </a:cxn>
              <a:cxn ang="0">
                <a:pos x="connsiteX4626" y="connsiteY4626"/>
              </a:cxn>
              <a:cxn ang="0">
                <a:pos x="connsiteX4627" y="connsiteY4627"/>
              </a:cxn>
              <a:cxn ang="0">
                <a:pos x="connsiteX4628" y="connsiteY4628"/>
              </a:cxn>
              <a:cxn ang="0">
                <a:pos x="connsiteX4629" y="connsiteY4629"/>
              </a:cxn>
              <a:cxn ang="0">
                <a:pos x="connsiteX4630" y="connsiteY4630"/>
              </a:cxn>
              <a:cxn ang="0">
                <a:pos x="connsiteX4631" y="connsiteY4631"/>
              </a:cxn>
              <a:cxn ang="0">
                <a:pos x="connsiteX4632" y="connsiteY4632"/>
              </a:cxn>
              <a:cxn ang="0">
                <a:pos x="connsiteX4633" y="connsiteY4633"/>
              </a:cxn>
              <a:cxn ang="0">
                <a:pos x="connsiteX4634" y="connsiteY4634"/>
              </a:cxn>
              <a:cxn ang="0">
                <a:pos x="connsiteX4635" y="connsiteY4635"/>
              </a:cxn>
              <a:cxn ang="0">
                <a:pos x="connsiteX4636" y="connsiteY4636"/>
              </a:cxn>
              <a:cxn ang="0">
                <a:pos x="connsiteX4637" y="connsiteY4637"/>
              </a:cxn>
              <a:cxn ang="0">
                <a:pos x="connsiteX4638" y="connsiteY4638"/>
              </a:cxn>
              <a:cxn ang="0">
                <a:pos x="connsiteX4639" y="connsiteY4639"/>
              </a:cxn>
              <a:cxn ang="0">
                <a:pos x="connsiteX4640" y="connsiteY4640"/>
              </a:cxn>
              <a:cxn ang="0">
                <a:pos x="connsiteX4641" y="connsiteY4641"/>
              </a:cxn>
              <a:cxn ang="0">
                <a:pos x="connsiteX4642" y="connsiteY4642"/>
              </a:cxn>
              <a:cxn ang="0">
                <a:pos x="connsiteX4643" y="connsiteY4643"/>
              </a:cxn>
              <a:cxn ang="0">
                <a:pos x="connsiteX4644" y="connsiteY4644"/>
              </a:cxn>
              <a:cxn ang="0">
                <a:pos x="connsiteX4645" y="connsiteY4645"/>
              </a:cxn>
              <a:cxn ang="0">
                <a:pos x="connsiteX4646" y="connsiteY4646"/>
              </a:cxn>
              <a:cxn ang="0">
                <a:pos x="connsiteX4647" y="connsiteY4647"/>
              </a:cxn>
              <a:cxn ang="0">
                <a:pos x="connsiteX4648" y="connsiteY4648"/>
              </a:cxn>
              <a:cxn ang="0">
                <a:pos x="connsiteX4649" y="connsiteY4649"/>
              </a:cxn>
              <a:cxn ang="0">
                <a:pos x="connsiteX4650" y="connsiteY4650"/>
              </a:cxn>
              <a:cxn ang="0">
                <a:pos x="connsiteX4651" y="connsiteY4651"/>
              </a:cxn>
              <a:cxn ang="0">
                <a:pos x="connsiteX4652" y="connsiteY4652"/>
              </a:cxn>
              <a:cxn ang="0">
                <a:pos x="connsiteX4653" y="connsiteY4653"/>
              </a:cxn>
              <a:cxn ang="0">
                <a:pos x="connsiteX4654" y="connsiteY4654"/>
              </a:cxn>
              <a:cxn ang="0">
                <a:pos x="connsiteX4655" y="connsiteY4655"/>
              </a:cxn>
              <a:cxn ang="0">
                <a:pos x="connsiteX4656" y="connsiteY4656"/>
              </a:cxn>
              <a:cxn ang="0">
                <a:pos x="connsiteX4657" y="connsiteY4657"/>
              </a:cxn>
              <a:cxn ang="0">
                <a:pos x="connsiteX4658" y="connsiteY4658"/>
              </a:cxn>
              <a:cxn ang="0">
                <a:pos x="connsiteX4659" y="connsiteY4659"/>
              </a:cxn>
              <a:cxn ang="0">
                <a:pos x="connsiteX4660" y="connsiteY4660"/>
              </a:cxn>
              <a:cxn ang="0">
                <a:pos x="connsiteX4661" y="connsiteY4661"/>
              </a:cxn>
              <a:cxn ang="0">
                <a:pos x="connsiteX4662" y="connsiteY4662"/>
              </a:cxn>
              <a:cxn ang="0">
                <a:pos x="connsiteX4663" y="connsiteY4663"/>
              </a:cxn>
              <a:cxn ang="0">
                <a:pos x="connsiteX4664" y="connsiteY4664"/>
              </a:cxn>
              <a:cxn ang="0">
                <a:pos x="connsiteX4665" y="connsiteY4665"/>
              </a:cxn>
              <a:cxn ang="0">
                <a:pos x="connsiteX4666" y="connsiteY4666"/>
              </a:cxn>
              <a:cxn ang="0">
                <a:pos x="connsiteX4667" y="connsiteY4667"/>
              </a:cxn>
              <a:cxn ang="0">
                <a:pos x="connsiteX4668" y="connsiteY4668"/>
              </a:cxn>
              <a:cxn ang="0">
                <a:pos x="connsiteX4669" y="connsiteY4669"/>
              </a:cxn>
              <a:cxn ang="0">
                <a:pos x="connsiteX4670" y="connsiteY4670"/>
              </a:cxn>
              <a:cxn ang="0">
                <a:pos x="connsiteX4671" y="connsiteY4671"/>
              </a:cxn>
              <a:cxn ang="0">
                <a:pos x="connsiteX4672" y="connsiteY4672"/>
              </a:cxn>
              <a:cxn ang="0">
                <a:pos x="connsiteX4673" y="connsiteY4673"/>
              </a:cxn>
              <a:cxn ang="0">
                <a:pos x="connsiteX4674" y="connsiteY4674"/>
              </a:cxn>
              <a:cxn ang="0">
                <a:pos x="connsiteX4675" y="connsiteY4675"/>
              </a:cxn>
              <a:cxn ang="0">
                <a:pos x="connsiteX4676" y="connsiteY4676"/>
              </a:cxn>
              <a:cxn ang="0">
                <a:pos x="connsiteX4677" y="connsiteY4677"/>
              </a:cxn>
              <a:cxn ang="0">
                <a:pos x="connsiteX4678" y="connsiteY4678"/>
              </a:cxn>
              <a:cxn ang="0">
                <a:pos x="connsiteX4679" y="connsiteY4679"/>
              </a:cxn>
              <a:cxn ang="0">
                <a:pos x="connsiteX4680" y="connsiteY4680"/>
              </a:cxn>
              <a:cxn ang="0">
                <a:pos x="connsiteX4681" y="connsiteY4681"/>
              </a:cxn>
              <a:cxn ang="0">
                <a:pos x="connsiteX4682" y="connsiteY4682"/>
              </a:cxn>
              <a:cxn ang="0">
                <a:pos x="connsiteX4683" y="connsiteY4683"/>
              </a:cxn>
              <a:cxn ang="0">
                <a:pos x="connsiteX4684" y="connsiteY4684"/>
              </a:cxn>
              <a:cxn ang="0">
                <a:pos x="connsiteX4685" y="connsiteY4685"/>
              </a:cxn>
              <a:cxn ang="0">
                <a:pos x="connsiteX4686" y="connsiteY4686"/>
              </a:cxn>
              <a:cxn ang="0">
                <a:pos x="connsiteX4687" y="connsiteY4687"/>
              </a:cxn>
              <a:cxn ang="0">
                <a:pos x="connsiteX4688" y="connsiteY4688"/>
              </a:cxn>
              <a:cxn ang="0">
                <a:pos x="connsiteX4689" y="connsiteY4689"/>
              </a:cxn>
              <a:cxn ang="0">
                <a:pos x="connsiteX4690" y="connsiteY4690"/>
              </a:cxn>
              <a:cxn ang="0">
                <a:pos x="connsiteX4691" y="connsiteY4691"/>
              </a:cxn>
              <a:cxn ang="0">
                <a:pos x="connsiteX4692" y="connsiteY4692"/>
              </a:cxn>
              <a:cxn ang="0">
                <a:pos x="connsiteX4693" y="connsiteY4693"/>
              </a:cxn>
              <a:cxn ang="0">
                <a:pos x="connsiteX4694" y="connsiteY4694"/>
              </a:cxn>
              <a:cxn ang="0">
                <a:pos x="connsiteX4695" y="connsiteY4695"/>
              </a:cxn>
              <a:cxn ang="0">
                <a:pos x="connsiteX4696" y="connsiteY4696"/>
              </a:cxn>
              <a:cxn ang="0">
                <a:pos x="connsiteX4697" y="connsiteY4697"/>
              </a:cxn>
              <a:cxn ang="0">
                <a:pos x="connsiteX4698" y="connsiteY4698"/>
              </a:cxn>
              <a:cxn ang="0">
                <a:pos x="connsiteX4699" y="connsiteY4699"/>
              </a:cxn>
              <a:cxn ang="0">
                <a:pos x="connsiteX4700" y="connsiteY4700"/>
              </a:cxn>
              <a:cxn ang="0">
                <a:pos x="connsiteX4701" y="connsiteY4701"/>
              </a:cxn>
              <a:cxn ang="0">
                <a:pos x="connsiteX4702" y="connsiteY4702"/>
              </a:cxn>
              <a:cxn ang="0">
                <a:pos x="connsiteX4703" y="connsiteY4703"/>
              </a:cxn>
              <a:cxn ang="0">
                <a:pos x="connsiteX4704" y="connsiteY4704"/>
              </a:cxn>
              <a:cxn ang="0">
                <a:pos x="connsiteX4705" y="connsiteY4705"/>
              </a:cxn>
              <a:cxn ang="0">
                <a:pos x="connsiteX4706" y="connsiteY4706"/>
              </a:cxn>
              <a:cxn ang="0">
                <a:pos x="connsiteX4707" y="connsiteY4707"/>
              </a:cxn>
              <a:cxn ang="0">
                <a:pos x="connsiteX4708" y="connsiteY4708"/>
              </a:cxn>
              <a:cxn ang="0">
                <a:pos x="connsiteX4709" y="connsiteY4709"/>
              </a:cxn>
              <a:cxn ang="0">
                <a:pos x="connsiteX4710" y="connsiteY4710"/>
              </a:cxn>
              <a:cxn ang="0">
                <a:pos x="connsiteX4711" y="connsiteY4711"/>
              </a:cxn>
              <a:cxn ang="0">
                <a:pos x="connsiteX4712" y="connsiteY4712"/>
              </a:cxn>
              <a:cxn ang="0">
                <a:pos x="connsiteX4713" y="connsiteY4713"/>
              </a:cxn>
              <a:cxn ang="0">
                <a:pos x="connsiteX4714" y="connsiteY4714"/>
              </a:cxn>
              <a:cxn ang="0">
                <a:pos x="connsiteX4715" y="connsiteY4715"/>
              </a:cxn>
              <a:cxn ang="0">
                <a:pos x="connsiteX4716" y="connsiteY4716"/>
              </a:cxn>
              <a:cxn ang="0">
                <a:pos x="connsiteX4717" y="connsiteY4717"/>
              </a:cxn>
              <a:cxn ang="0">
                <a:pos x="connsiteX4718" y="connsiteY4718"/>
              </a:cxn>
              <a:cxn ang="0">
                <a:pos x="connsiteX4719" y="connsiteY4719"/>
              </a:cxn>
              <a:cxn ang="0">
                <a:pos x="connsiteX4720" y="connsiteY4720"/>
              </a:cxn>
              <a:cxn ang="0">
                <a:pos x="connsiteX4721" y="connsiteY4721"/>
              </a:cxn>
              <a:cxn ang="0">
                <a:pos x="connsiteX4722" y="connsiteY4722"/>
              </a:cxn>
              <a:cxn ang="0">
                <a:pos x="connsiteX4723" y="connsiteY4723"/>
              </a:cxn>
              <a:cxn ang="0">
                <a:pos x="connsiteX4724" y="connsiteY4724"/>
              </a:cxn>
              <a:cxn ang="0">
                <a:pos x="connsiteX4725" y="connsiteY4725"/>
              </a:cxn>
              <a:cxn ang="0">
                <a:pos x="connsiteX4726" y="connsiteY4726"/>
              </a:cxn>
              <a:cxn ang="0">
                <a:pos x="connsiteX4727" y="connsiteY4727"/>
              </a:cxn>
              <a:cxn ang="0">
                <a:pos x="connsiteX4728" y="connsiteY4728"/>
              </a:cxn>
              <a:cxn ang="0">
                <a:pos x="connsiteX4729" y="connsiteY4729"/>
              </a:cxn>
              <a:cxn ang="0">
                <a:pos x="connsiteX4730" y="connsiteY4730"/>
              </a:cxn>
              <a:cxn ang="0">
                <a:pos x="connsiteX4731" y="connsiteY4731"/>
              </a:cxn>
              <a:cxn ang="0">
                <a:pos x="connsiteX4732" y="connsiteY4732"/>
              </a:cxn>
              <a:cxn ang="0">
                <a:pos x="connsiteX4733" y="connsiteY4733"/>
              </a:cxn>
              <a:cxn ang="0">
                <a:pos x="connsiteX4734" y="connsiteY4734"/>
              </a:cxn>
              <a:cxn ang="0">
                <a:pos x="connsiteX4735" y="connsiteY4735"/>
              </a:cxn>
              <a:cxn ang="0">
                <a:pos x="connsiteX4736" y="connsiteY4736"/>
              </a:cxn>
              <a:cxn ang="0">
                <a:pos x="connsiteX4737" y="connsiteY4737"/>
              </a:cxn>
              <a:cxn ang="0">
                <a:pos x="connsiteX4738" y="connsiteY4738"/>
              </a:cxn>
              <a:cxn ang="0">
                <a:pos x="connsiteX4739" y="connsiteY4739"/>
              </a:cxn>
              <a:cxn ang="0">
                <a:pos x="connsiteX4740" y="connsiteY4740"/>
              </a:cxn>
              <a:cxn ang="0">
                <a:pos x="connsiteX4741" y="connsiteY4741"/>
              </a:cxn>
              <a:cxn ang="0">
                <a:pos x="connsiteX4742" y="connsiteY4742"/>
              </a:cxn>
              <a:cxn ang="0">
                <a:pos x="connsiteX4743" y="connsiteY4743"/>
              </a:cxn>
              <a:cxn ang="0">
                <a:pos x="connsiteX4744" y="connsiteY4744"/>
              </a:cxn>
              <a:cxn ang="0">
                <a:pos x="connsiteX4745" y="connsiteY4745"/>
              </a:cxn>
              <a:cxn ang="0">
                <a:pos x="connsiteX4746" y="connsiteY4746"/>
              </a:cxn>
              <a:cxn ang="0">
                <a:pos x="connsiteX4747" y="connsiteY4747"/>
              </a:cxn>
              <a:cxn ang="0">
                <a:pos x="connsiteX4748" y="connsiteY4748"/>
              </a:cxn>
              <a:cxn ang="0">
                <a:pos x="connsiteX4749" y="connsiteY4749"/>
              </a:cxn>
              <a:cxn ang="0">
                <a:pos x="connsiteX4750" y="connsiteY4750"/>
              </a:cxn>
              <a:cxn ang="0">
                <a:pos x="connsiteX4751" y="connsiteY4751"/>
              </a:cxn>
              <a:cxn ang="0">
                <a:pos x="connsiteX4752" y="connsiteY4752"/>
              </a:cxn>
              <a:cxn ang="0">
                <a:pos x="connsiteX4753" y="connsiteY4753"/>
              </a:cxn>
              <a:cxn ang="0">
                <a:pos x="connsiteX4754" y="connsiteY4754"/>
              </a:cxn>
              <a:cxn ang="0">
                <a:pos x="connsiteX4755" y="connsiteY4755"/>
              </a:cxn>
              <a:cxn ang="0">
                <a:pos x="connsiteX4756" y="connsiteY4756"/>
              </a:cxn>
              <a:cxn ang="0">
                <a:pos x="connsiteX4757" y="connsiteY4757"/>
              </a:cxn>
              <a:cxn ang="0">
                <a:pos x="connsiteX4758" y="connsiteY4758"/>
              </a:cxn>
              <a:cxn ang="0">
                <a:pos x="connsiteX4759" y="connsiteY4759"/>
              </a:cxn>
              <a:cxn ang="0">
                <a:pos x="connsiteX4760" y="connsiteY4760"/>
              </a:cxn>
              <a:cxn ang="0">
                <a:pos x="connsiteX4761" y="connsiteY4761"/>
              </a:cxn>
              <a:cxn ang="0">
                <a:pos x="connsiteX4762" y="connsiteY4762"/>
              </a:cxn>
              <a:cxn ang="0">
                <a:pos x="connsiteX4763" y="connsiteY4763"/>
              </a:cxn>
              <a:cxn ang="0">
                <a:pos x="connsiteX4764" y="connsiteY4764"/>
              </a:cxn>
              <a:cxn ang="0">
                <a:pos x="connsiteX4765" y="connsiteY4765"/>
              </a:cxn>
              <a:cxn ang="0">
                <a:pos x="connsiteX4766" y="connsiteY4766"/>
              </a:cxn>
              <a:cxn ang="0">
                <a:pos x="connsiteX4767" y="connsiteY4767"/>
              </a:cxn>
              <a:cxn ang="0">
                <a:pos x="connsiteX4768" y="connsiteY4768"/>
              </a:cxn>
              <a:cxn ang="0">
                <a:pos x="connsiteX4769" y="connsiteY4769"/>
              </a:cxn>
              <a:cxn ang="0">
                <a:pos x="connsiteX4770" y="connsiteY4770"/>
              </a:cxn>
              <a:cxn ang="0">
                <a:pos x="connsiteX4771" y="connsiteY4771"/>
              </a:cxn>
              <a:cxn ang="0">
                <a:pos x="connsiteX4772" y="connsiteY4772"/>
              </a:cxn>
              <a:cxn ang="0">
                <a:pos x="connsiteX4773" y="connsiteY4773"/>
              </a:cxn>
              <a:cxn ang="0">
                <a:pos x="connsiteX4774" y="connsiteY4774"/>
              </a:cxn>
              <a:cxn ang="0">
                <a:pos x="connsiteX4775" y="connsiteY4775"/>
              </a:cxn>
              <a:cxn ang="0">
                <a:pos x="connsiteX4776" y="connsiteY4776"/>
              </a:cxn>
              <a:cxn ang="0">
                <a:pos x="connsiteX4777" y="connsiteY4777"/>
              </a:cxn>
              <a:cxn ang="0">
                <a:pos x="connsiteX4778" y="connsiteY4778"/>
              </a:cxn>
              <a:cxn ang="0">
                <a:pos x="connsiteX4779" y="connsiteY4779"/>
              </a:cxn>
              <a:cxn ang="0">
                <a:pos x="connsiteX4780" y="connsiteY4780"/>
              </a:cxn>
              <a:cxn ang="0">
                <a:pos x="connsiteX4781" y="connsiteY4781"/>
              </a:cxn>
              <a:cxn ang="0">
                <a:pos x="connsiteX4782" y="connsiteY4782"/>
              </a:cxn>
              <a:cxn ang="0">
                <a:pos x="connsiteX4783" y="connsiteY4783"/>
              </a:cxn>
              <a:cxn ang="0">
                <a:pos x="connsiteX4784" y="connsiteY4784"/>
              </a:cxn>
              <a:cxn ang="0">
                <a:pos x="connsiteX4785" y="connsiteY4785"/>
              </a:cxn>
              <a:cxn ang="0">
                <a:pos x="connsiteX4786" y="connsiteY4786"/>
              </a:cxn>
              <a:cxn ang="0">
                <a:pos x="connsiteX4787" y="connsiteY4787"/>
              </a:cxn>
              <a:cxn ang="0">
                <a:pos x="connsiteX4788" y="connsiteY4788"/>
              </a:cxn>
              <a:cxn ang="0">
                <a:pos x="connsiteX4789" y="connsiteY4789"/>
              </a:cxn>
              <a:cxn ang="0">
                <a:pos x="connsiteX4790" y="connsiteY4790"/>
              </a:cxn>
              <a:cxn ang="0">
                <a:pos x="connsiteX4791" y="connsiteY4791"/>
              </a:cxn>
              <a:cxn ang="0">
                <a:pos x="connsiteX4792" y="connsiteY4792"/>
              </a:cxn>
              <a:cxn ang="0">
                <a:pos x="connsiteX4793" y="connsiteY4793"/>
              </a:cxn>
              <a:cxn ang="0">
                <a:pos x="connsiteX4794" y="connsiteY4794"/>
              </a:cxn>
              <a:cxn ang="0">
                <a:pos x="connsiteX4795" y="connsiteY4795"/>
              </a:cxn>
              <a:cxn ang="0">
                <a:pos x="connsiteX4796" y="connsiteY4796"/>
              </a:cxn>
              <a:cxn ang="0">
                <a:pos x="connsiteX4797" y="connsiteY4797"/>
              </a:cxn>
              <a:cxn ang="0">
                <a:pos x="connsiteX4798" y="connsiteY4798"/>
              </a:cxn>
              <a:cxn ang="0">
                <a:pos x="connsiteX4799" y="connsiteY4799"/>
              </a:cxn>
              <a:cxn ang="0">
                <a:pos x="connsiteX4800" y="connsiteY4800"/>
              </a:cxn>
              <a:cxn ang="0">
                <a:pos x="connsiteX4801" y="connsiteY4801"/>
              </a:cxn>
              <a:cxn ang="0">
                <a:pos x="connsiteX4802" y="connsiteY4802"/>
              </a:cxn>
              <a:cxn ang="0">
                <a:pos x="connsiteX4803" y="connsiteY4803"/>
              </a:cxn>
              <a:cxn ang="0">
                <a:pos x="connsiteX4804" y="connsiteY4804"/>
              </a:cxn>
              <a:cxn ang="0">
                <a:pos x="connsiteX4805" y="connsiteY4805"/>
              </a:cxn>
              <a:cxn ang="0">
                <a:pos x="connsiteX4806" y="connsiteY4806"/>
              </a:cxn>
              <a:cxn ang="0">
                <a:pos x="connsiteX4807" y="connsiteY4807"/>
              </a:cxn>
              <a:cxn ang="0">
                <a:pos x="connsiteX4808" y="connsiteY4808"/>
              </a:cxn>
              <a:cxn ang="0">
                <a:pos x="connsiteX4809" y="connsiteY4809"/>
              </a:cxn>
              <a:cxn ang="0">
                <a:pos x="connsiteX4810" y="connsiteY4810"/>
              </a:cxn>
              <a:cxn ang="0">
                <a:pos x="connsiteX4811" y="connsiteY4811"/>
              </a:cxn>
              <a:cxn ang="0">
                <a:pos x="connsiteX4812" y="connsiteY4812"/>
              </a:cxn>
              <a:cxn ang="0">
                <a:pos x="connsiteX4813" y="connsiteY4813"/>
              </a:cxn>
              <a:cxn ang="0">
                <a:pos x="connsiteX4814" y="connsiteY4814"/>
              </a:cxn>
              <a:cxn ang="0">
                <a:pos x="connsiteX4815" y="connsiteY4815"/>
              </a:cxn>
              <a:cxn ang="0">
                <a:pos x="connsiteX4816" y="connsiteY4816"/>
              </a:cxn>
              <a:cxn ang="0">
                <a:pos x="connsiteX4817" y="connsiteY4817"/>
              </a:cxn>
              <a:cxn ang="0">
                <a:pos x="connsiteX4818" y="connsiteY4818"/>
              </a:cxn>
              <a:cxn ang="0">
                <a:pos x="connsiteX4819" y="connsiteY4819"/>
              </a:cxn>
              <a:cxn ang="0">
                <a:pos x="connsiteX4820" y="connsiteY4820"/>
              </a:cxn>
              <a:cxn ang="0">
                <a:pos x="connsiteX4821" y="connsiteY4821"/>
              </a:cxn>
              <a:cxn ang="0">
                <a:pos x="connsiteX4822" y="connsiteY4822"/>
              </a:cxn>
              <a:cxn ang="0">
                <a:pos x="connsiteX4823" y="connsiteY4823"/>
              </a:cxn>
              <a:cxn ang="0">
                <a:pos x="connsiteX4824" y="connsiteY4824"/>
              </a:cxn>
              <a:cxn ang="0">
                <a:pos x="connsiteX4825" y="connsiteY4825"/>
              </a:cxn>
              <a:cxn ang="0">
                <a:pos x="connsiteX4826" y="connsiteY4826"/>
              </a:cxn>
              <a:cxn ang="0">
                <a:pos x="connsiteX4827" y="connsiteY4827"/>
              </a:cxn>
              <a:cxn ang="0">
                <a:pos x="connsiteX4828" y="connsiteY4828"/>
              </a:cxn>
              <a:cxn ang="0">
                <a:pos x="connsiteX4829" y="connsiteY4829"/>
              </a:cxn>
              <a:cxn ang="0">
                <a:pos x="connsiteX4830" y="connsiteY4830"/>
              </a:cxn>
              <a:cxn ang="0">
                <a:pos x="connsiteX4831" y="connsiteY4831"/>
              </a:cxn>
              <a:cxn ang="0">
                <a:pos x="connsiteX4832" y="connsiteY4832"/>
              </a:cxn>
              <a:cxn ang="0">
                <a:pos x="connsiteX4833" y="connsiteY4833"/>
              </a:cxn>
              <a:cxn ang="0">
                <a:pos x="connsiteX4834" y="connsiteY4834"/>
              </a:cxn>
              <a:cxn ang="0">
                <a:pos x="connsiteX4835" y="connsiteY4835"/>
              </a:cxn>
              <a:cxn ang="0">
                <a:pos x="connsiteX4836" y="connsiteY4836"/>
              </a:cxn>
              <a:cxn ang="0">
                <a:pos x="connsiteX4837" y="connsiteY4837"/>
              </a:cxn>
              <a:cxn ang="0">
                <a:pos x="connsiteX4838" y="connsiteY4838"/>
              </a:cxn>
              <a:cxn ang="0">
                <a:pos x="connsiteX4839" y="connsiteY4839"/>
              </a:cxn>
              <a:cxn ang="0">
                <a:pos x="connsiteX4840" y="connsiteY4840"/>
              </a:cxn>
              <a:cxn ang="0">
                <a:pos x="connsiteX4841" y="connsiteY4841"/>
              </a:cxn>
              <a:cxn ang="0">
                <a:pos x="connsiteX4842" y="connsiteY4842"/>
              </a:cxn>
              <a:cxn ang="0">
                <a:pos x="connsiteX4843" y="connsiteY4843"/>
              </a:cxn>
              <a:cxn ang="0">
                <a:pos x="connsiteX4844" y="connsiteY4844"/>
              </a:cxn>
              <a:cxn ang="0">
                <a:pos x="connsiteX4845" y="connsiteY4845"/>
              </a:cxn>
              <a:cxn ang="0">
                <a:pos x="connsiteX4846" y="connsiteY4846"/>
              </a:cxn>
              <a:cxn ang="0">
                <a:pos x="connsiteX4847" y="connsiteY4847"/>
              </a:cxn>
              <a:cxn ang="0">
                <a:pos x="connsiteX4848" y="connsiteY4848"/>
              </a:cxn>
              <a:cxn ang="0">
                <a:pos x="connsiteX4849" y="connsiteY4849"/>
              </a:cxn>
              <a:cxn ang="0">
                <a:pos x="connsiteX4850" y="connsiteY4850"/>
              </a:cxn>
              <a:cxn ang="0">
                <a:pos x="connsiteX4851" y="connsiteY4851"/>
              </a:cxn>
              <a:cxn ang="0">
                <a:pos x="connsiteX4852" y="connsiteY4852"/>
              </a:cxn>
              <a:cxn ang="0">
                <a:pos x="connsiteX4853" y="connsiteY4853"/>
              </a:cxn>
              <a:cxn ang="0">
                <a:pos x="connsiteX4854" y="connsiteY4854"/>
              </a:cxn>
              <a:cxn ang="0">
                <a:pos x="connsiteX4855" y="connsiteY4855"/>
              </a:cxn>
              <a:cxn ang="0">
                <a:pos x="connsiteX4856" y="connsiteY4856"/>
              </a:cxn>
              <a:cxn ang="0">
                <a:pos x="connsiteX4857" y="connsiteY4857"/>
              </a:cxn>
              <a:cxn ang="0">
                <a:pos x="connsiteX4858" y="connsiteY4858"/>
              </a:cxn>
              <a:cxn ang="0">
                <a:pos x="connsiteX4859" y="connsiteY4859"/>
              </a:cxn>
              <a:cxn ang="0">
                <a:pos x="connsiteX4860" y="connsiteY4860"/>
              </a:cxn>
              <a:cxn ang="0">
                <a:pos x="connsiteX4861" y="connsiteY4861"/>
              </a:cxn>
              <a:cxn ang="0">
                <a:pos x="connsiteX4862" y="connsiteY4862"/>
              </a:cxn>
              <a:cxn ang="0">
                <a:pos x="connsiteX4863" y="connsiteY4863"/>
              </a:cxn>
              <a:cxn ang="0">
                <a:pos x="connsiteX4864" y="connsiteY4864"/>
              </a:cxn>
              <a:cxn ang="0">
                <a:pos x="connsiteX4865" y="connsiteY4865"/>
              </a:cxn>
              <a:cxn ang="0">
                <a:pos x="connsiteX4866" y="connsiteY4866"/>
              </a:cxn>
              <a:cxn ang="0">
                <a:pos x="connsiteX4867" y="connsiteY4867"/>
              </a:cxn>
              <a:cxn ang="0">
                <a:pos x="connsiteX4868" y="connsiteY4868"/>
              </a:cxn>
              <a:cxn ang="0">
                <a:pos x="connsiteX4869" y="connsiteY4869"/>
              </a:cxn>
              <a:cxn ang="0">
                <a:pos x="connsiteX4870" y="connsiteY4870"/>
              </a:cxn>
              <a:cxn ang="0">
                <a:pos x="connsiteX4871" y="connsiteY4871"/>
              </a:cxn>
              <a:cxn ang="0">
                <a:pos x="connsiteX4872" y="connsiteY4872"/>
              </a:cxn>
              <a:cxn ang="0">
                <a:pos x="connsiteX4873" y="connsiteY4873"/>
              </a:cxn>
              <a:cxn ang="0">
                <a:pos x="connsiteX4874" y="connsiteY4874"/>
              </a:cxn>
              <a:cxn ang="0">
                <a:pos x="connsiteX4875" y="connsiteY4875"/>
              </a:cxn>
              <a:cxn ang="0">
                <a:pos x="connsiteX4876" y="connsiteY4876"/>
              </a:cxn>
              <a:cxn ang="0">
                <a:pos x="connsiteX4877" y="connsiteY4877"/>
              </a:cxn>
              <a:cxn ang="0">
                <a:pos x="connsiteX4878" y="connsiteY4878"/>
              </a:cxn>
              <a:cxn ang="0">
                <a:pos x="connsiteX4879" y="connsiteY4879"/>
              </a:cxn>
              <a:cxn ang="0">
                <a:pos x="connsiteX4880" y="connsiteY4880"/>
              </a:cxn>
              <a:cxn ang="0">
                <a:pos x="connsiteX4881" y="connsiteY4881"/>
              </a:cxn>
              <a:cxn ang="0">
                <a:pos x="connsiteX4882" y="connsiteY4882"/>
              </a:cxn>
              <a:cxn ang="0">
                <a:pos x="connsiteX4883" y="connsiteY4883"/>
              </a:cxn>
              <a:cxn ang="0">
                <a:pos x="connsiteX4884" y="connsiteY4884"/>
              </a:cxn>
              <a:cxn ang="0">
                <a:pos x="connsiteX4885" y="connsiteY4885"/>
              </a:cxn>
              <a:cxn ang="0">
                <a:pos x="connsiteX4886" y="connsiteY4886"/>
              </a:cxn>
              <a:cxn ang="0">
                <a:pos x="connsiteX4887" y="connsiteY4887"/>
              </a:cxn>
              <a:cxn ang="0">
                <a:pos x="connsiteX4888" y="connsiteY4888"/>
              </a:cxn>
              <a:cxn ang="0">
                <a:pos x="connsiteX4889" y="connsiteY4889"/>
              </a:cxn>
              <a:cxn ang="0">
                <a:pos x="connsiteX4890" y="connsiteY4890"/>
              </a:cxn>
              <a:cxn ang="0">
                <a:pos x="connsiteX4891" y="connsiteY4891"/>
              </a:cxn>
              <a:cxn ang="0">
                <a:pos x="connsiteX4892" y="connsiteY4892"/>
              </a:cxn>
              <a:cxn ang="0">
                <a:pos x="connsiteX4893" y="connsiteY4893"/>
              </a:cxn>
              <a:cxn ang="0">
                <a:pos x="connsiteX4894" y="connsiteY4894"/>
              </a:cxn>
              <a:cxn ang="0">
                <a:pos x="connsiteX4895" y="connsiteY4895"/>
              </a:cxn>
              <a:cxn ang="0">
                <a:pos x="connsiteX4896" y="connsiteY4896"/>
              </a:cxn>
              <a:cxn ang="0">
                <a:pos x="connsiteX4897" y="connsiteY4897"/>
              </a:cxn>
              <a:cxn ang="0">
                <a:pos x="connsiteX4898" y="connsiteY4898"/>
              </a:cxn>
              <a:cxn ang="0">
                <a:pos x="connsiteX4899" y="connsiteY4899"/>
              </a:cxn>
              <a:cxn ang="0">
                <a:pos x="connsiteX4900" y="connsiteY4900"/>
              </a:cxn>
              <a:cxn ang="0">
                <a:pos x="connsiteX4901" y="connsiteY4901"/>
              </a:cxn>
              <a:cxn ang="0">
                <a:pos x="connsiteX4902" y="connsiteY4902"/>
              </a:cxn>
              <a:cxn ang="0">
                <a:pos x="connsiteX4903" y="connsiteY4903"/>
              </a:cxn>
              <a:cxn ang="0">
                <a:pos x="connsiteX4904" y="connsiteY4904"/>
              </a:cxn>
              <a:cxn ang="0">
                <a:pos x="connsiteX4905" y="connsiteY4905"/>
              </a:cxn>
              <a:cxn ang="0">
                <a:pos x="connsiteX4906" y="connsiteY4906"/>
              </a:cxn>
              <a:cxn ang="0">
                <a:pos x="connsiteX4907" y="connsiteY4907"/>
              </a:cxn>
              <a:cxn ang="0">
                <a:pos x="connsiteX4908" y="connsiteY4908"/>
              </a:cxn>
              <a:cxn ang="0">
                <a:pos x="connsiteX4909" y="connsiteY4909"/>
              </a:cxn>
              <a:cxn ang="0">
                <a:pos x="connsiteX4910" y="connsiteY4910"/>
              </a:cxn>
              <a:cxn ang="0">
                <a:pos x="connsiteX4911" y="connsiteY4911"/>
              </a:cxn>
              <a:cxn ang="0">
                <a:pos x="connsiteX4912" y="connsiteY4912"/>
              </a:cxn>
              <a:cxn ang="0">
                <a:pos x="connsiteX4913" y="connsiteY4913"/>
              </a:cxn>
              <a:cxn ang="0">
                <a:pos x="connsiteX4914" y="connsiteY4914"/>
              </a:cxn>
              <a:cxn ang="0">
                <a:pos x="connsiteX4915" y="connsiteY4915"/>
              </a:cxn>
              <a:cxn ang="0">
                <a:pos x="connsiteX4916" y="connsiteY4916"/>
              </a:cxn>
              <a:cxn ang="0">
                <a:pos x="connsiteX4917" y="connsiteY4917"/>
              </a:cxn>
              <a:cxn ang="0">
                <a:pos x="connsiteX4918" y="connsiteY4918"/>
              </a:cxn>
              <a:cxn ang="0">
                <a:pos x="connsiteX4919" y="connsiteY4919"/>
              </a:cxn>
              <a:cxn ang="0">
                <a:pos x="connsiteX4920" y="connsiteY4920"/>
              </a:cxn>
              <a:cxn ang="0">
                <a:pos x="connsiteX4921" y="connsiteY4921"/>
              </a:cxn>
              <a:cxn ang="0">
                <a:pos x="connsiteX4922" y="connsiteY4922"/>
              </a:cxn>
              <a:cxn ang="0">
                <a:pos x="connsiteX4923" y="connsiteY4923"/>
              </a:cxn>
              <a:cxn ang="0">
                <a:pos x="connsiteX4924" y="connsiteY4924"/>
              </a:cxn>
              <a:cxn ang="0">
                <a:pos x="connsiteX4925" y="connsiteY4925"/>
              </a:cxn>
              <a:cxn ang="0">
                <a:pos x="connsiteX4926" y="connsiteY4926"/>
              </a:cxn>
              <a:cxn ang="0">
                <a:pos x="connsiteX4927" y="connsiteY4927"/>
              </a:cxn>
              <a:cxn ang="0">
                <a:pos x="connsiteX4928" y="connsiteY4928"/>
              </a:cxn>
              <a:cxn ang="0">
                <a:pos x="connsiteX4929" y="connsiteY4929"/>
              </a:cxn>
              <a:cxn ang="0">
                <a:pos x="connsiteX4930" y="connsiteY4930"/>
              </a:cxn>
              <a:cxn ang="0">
                <a:pos x="connsiteX4931" y="connsiteY4931"/>
              </a:cxn>
              <a:cxn ang="0">
                <a:pos x="connsiteX4932" y="connsiteY4932"/>
              </a:cxn>
              <a:cxn ang="0">
                <a:pos x="connsiteX4933" y="connsiteY4933"/>
              </a:cxn>
              <a:cxn ang="0">
                <a:pos x="connsiteX4934" y="connsiteY4934"/>
              </a:cxn>
              <a:cxn ang="0">
                <a:pos x="connsiteX4935" y="connsiteY4935"/>
              </a:cxn>
              <a:cxn ang="0">
                <a:pos x="connsiteX4936" y="connsiteY4936"/>
              </a:cxn>
              <a:cxn ang="0">
                <a:pos x="connsiteX4937" y="connsiteY4937"/>
              </a:cxn>
              <a:cxn ang="0">
                <a:pos x="connsiteX4938" y="connsiteY4938"/>
              </a:cxn>
              <a:cxn ang="0">
                <a:pos x="connsiteX4939" y="connsiteY4939"/>
              </a:cxn>
              <a:cxn ang="0">
                <a:pos x="connsiteX4940" y="connsiteY4940"/>
              </a:cxn>
              <a:cxn ang="0">
                <a:pos x="connsiteX4941" y="connsiteY4941"/>
              </a:cxn>
              <a:cxn ang="0">
                <a:pos x="connsiteX4942" y="connsiteY4942"/>
              </a:cxn>
              <a:cxn ang="0">
                <a:pos x="connsiteX4943" y="connsiteY4943"/>
              </a:cxn>
              <a:cxn ang="0">
                <a:pos x="connsiteX4944" y="connsiteY4944"/>
              </a:cxn>
              <a:cxn ang="0">
                <a:pos x="connsiteX4945" y="connsiteY4945"/>
              </a:cxn>
              <a:cxn ang="0">
                <a:pos x="connsiteX4946" y="connsiteY4946"/>
              </a:cxn>
              <a:cxn ang="0">
                <a:pos x="connsiteX4947" y="connsiteY4947"/>
              </a:cxn>
              <a:cxn ang="0">
                <a:pos x="connsiteX4948" y="connsiteY4948"/>
              </a:cxn>
              <a:cxn ang="0">
                <a:pos x="connsiteX4949" y="connsiteY4949"/>
              </a:cxn>
              <a:cxn ang="0">
                <a:pos x="connsiteX4950" y="connsiteY4950"/>
              </a:cxn>
              <a:cxn ang="0">
                <a:pos x="connsiteX4951" y="connsiteY4951"/>
              </a:cxn>
              <a:cxn ang="0">
                <a:pos x="connsiteX4952" y="connsiteY4952"/>
              </a:cxn>
              <a:cxn ang="0">
                <a:pos x="connsiteX4953" y="connsiteY4953"/>
              </a:cxn>
              <a:cxn ang="0">
                <a:pos x="connsiteX4954" y="connsiteY4954"/>
              </a:cxn>
              <a:cxn ang="0">
                <a:pos x="connsiteX4955" y="connsiteY4955"/>
              </a:cxn>
              <a:cxn ang="0">
                <a:pos x="connsiteX4956" y="connsiteY4956"/>
              </a:cxn>
              <a:cxn ang="0">
                <a:pos x="connsiteX4957" y="connsiteY4957"/>
              </a:cxn>
              <a:cxn ang="0">
                <a:pos x="connsiteX4958" y="connsiteY4958"/>
              </a:cxn>
              <a:cxn ang="0">
                <a:pos x="connsiteX4959" y="connsiteY4959"/>
              </a:cxn>
              <a:cxn ang="0">
                <a:pos x="connsiteX4960" y="connsiteY4960"/>
              </a:cxn>
              <a:cxn ang="0">
                <a:pos x="connsiteX4961" y="connsiteY4961"/>
              </a:cxn>
              <a:cxn ang="0">
                <a:pos x="connsiteX4962" y="connsiteY4962"/>
              </a:cxn>
              <a:cxn ang="0">
                <a:pos x="connsiteX4963" y="connsiteY4963"/>
              </a:cxn>
              <a:cxn ang="0">
                <a:pos x="connsiteX4964" y="connsiteY4964"/>
              </a:cxn>
              <a:cxn ang="0">
                <a:pos x="connsiteX4965" y="connsiteY4965"/>
              </a:cxn>
              <a:cxn ang="0">
                <a:pos x="connsiteX4966" y="connsiteY4966"/>
              </a:cxn>
              <a:cxn ang="0">
                <a:pos x="connsiteX4967" y="connsiteY4967"/>
              </a:cxn>
              <a:cxn ang="0">
                <a:pos x="connsiteX4968" y="connsiteY4968"/>
              </a:cxn>
              <a:cxn ang="0">
                <a:pos x="connsiteX4969" y="connsiteY4969"/>
              </a:cxn>
              <a:cxn ang="0">
                <a:pos x="connsiteX4970" y="connsiteY4970"/>
              </a:cxn>
              <a:cxn ang="0">
                <a:pos x="connsiteX4971" y="connsiteY4971"/>
              </a:cxn>
              <a:cxn ang="0">
                <a:pos x="connsiteX4972" y="connsiteY4972"/>
              </a:cxn>
              <a:cxn ang="0">
                <a:pos x="connsiteX4973" y="connsiteY4973"/>
              </a:cxn>
              <a:cxn ang="0">
                <a:pos x="connsiteX4974" y="connsiteY4974"/>
              </a:cxn>
              <a:cxn ang="0">
                <a:pos x="connsiteX4975" y="connsiteY4975"/>
              </a:cxn>
              <a:cxn ang="0">
                <a:pos x="connsiteX4976" y="connsiteY4976"/>
              </a:cxn>
              <a:cxn ang="0">
                <a:pos x="connsiteX4977" y="connsiteY4977"/>
              </a:cxn>
              <a:cxn ang="0">
                <a:pos x="connsiteX4978" y="connsiteY4978"/>
              </a:cxn>
              <a:cxn ang="0">
                <a:pos x="connsiteX4979" y="connsiteY4979"/>
              </a:cxn>
              <a:cxn ang="0">
                <a:pos x="connsiteX4980" y="connsiteY4980"/>
              </a:cxn>
              <a:cxn ang="0">
                <a:pos x="connsiteX4981" y="connsiteY4981"/>
              </a:cxn>
              <a:cxn ang="0">
                <a:pos x="connsiteX4982" y="connsiteY4982"/>
              </a:cxn>
              <a:cxn ang="0">
                <a:pos x="connsiteX4983" y="connsiteY4983"/>
              </a:cxn>
              <a:cxn ang="0">
                <a:pos x="connsiteX4984" y="connsiteY4984"/>
              </a:cxn>
              <a:cxn ang="0">
                <a:pos x="connsiteX4985" y="connsiteY4985"/>
              </a:cxn>
              <a:cxn ang="0">
                <a:pos x="connsiteX4986" y="connsiteY4986"/>
              </a:cxn>
              <a:cxn ang="0">
                <a:pos x="connsiteX4987" y="connsiteY4987"/>
              </a:cxn>
              <a:cxn ang="0">
                <a:pos x="connsiteX4988" y="connsiteY4988"/>
              </a:cxn>
              <a:cxn ang="0">
                <a:pos x="connsiteX4989" y="connsiteY4989"/>
              </a:cxn>
              <a:cxn ang="0">
                <a:pos x="connsiteX4990" y="connsiteY4990"/>
              </a:cxn>
              <a:cxn ang="0">
                <a:pos x="connsiteX4991" y="connsiteY4991"/>
              </a:cxn>
              <a:cxn ang="0">
                <a:pos x="connsiteX4992" y="connsiteY4992"/>
              </a:cxn>
              <a:cxn ang="0">
                <a:pos x="connsiteX4993" y="connsiteY4993"/>
              </a:cxn>
              <a:cxn ang="0">
                <a:pos x="connsiteX4994" y="connsiteY4994"/>
              </a:cxn>
              <a:cxn ang="0">
                <a:pos x="connsiteX4995" y="connsiteY4995"/>
              </a:cxn>
              <a:cxn ang="0">
                <a:pos x="connsiteX4996" y="connsiteY4996"/>
              </a:cxn>
              <a:cxn ang="0">
                <a:pos x="connsiteX4997" y="connsiteY4997"/>
              </a:cxn>
              <a:cxn ang="0">
                <a:pos x="connsiteX4998" y="connsiteY4998"/>
              </a:cxn>
              <a:cxn ang="0">
                <a:pos x="connsiteX4999" y="connsiteY4999"/>
              </a:cxn>
              <a:cxn ang="0">
                <a:pos x="connsiteX5000" y="connsiteY5000"/>
              </a:cxn>
              <a:cxn ang="0">
                <a:pos x="connsiteX5001" y="connsiteY5001"/>
              </a:cxn>
              <a:cxn ang="0">
                <a:pos x="connsiteX5002" y="connsiteY5002"/>
              </a:cxn>
              <a:cxn ang="0">
                <a:pos x="connsiteX5003" y="connsiteY5003"/>
              </a:cxn>
              <a:cxn ang="0">
                <a:pos x="connsiteX5004" y="connsiteY5004"/>
              </a:cxn>
              <a:cxn ang="0">
                <a:pos x="connsiteX5005" y="connsiteY5005"/>
              </a:cxn>
              <a:cxn ang="0">
                <a:pos x="connsiteX5006" y="connsiteY5006"/>
              </a:cxn>
              <a:cxn ang="0">
                <a:pos x="connsiteX5007" y="connsiteY5007"/>
              </a:cxn>
              <a:cxn ang="0">
                <a:pos x="connsiteX5008" y="connsiteY5008"/>
              </a:cxn>
              <a:cxn ang="0">
                <a:pos x="connsiteX5009" y="connsiteY5009"/>
              </a:cxn>
              <a:cxn ang="0">
                <a:pos x="connsiteX5010" y="connsiteY5010"/>
              </a:cxn>
              <a:cxn ang="0">
                <a:pos x="connsiteX5011" y="connsiteY5011"/>
              </a:cxn>
              <a:cxn ang="0">
                <a:pos x="connsiteX5012" y="connsiteY5012"/>
              </a:cxn>
              <a:cxn ang="0">
                <a:pos x="connsiteX5013" y="connsiteY5013"/>
              </a:cxn>
              <a:cxn ang="0">
                <a:pos x="connsiteX5014" y="connsiteY5014"/>
              </a:cxn>
              <a:cxn ang="0">
                <a:pos x="connsiteX5015" y="connsiteY5015"/>
              </a:cxn>
              <a:cxn ang="0">
                <a:pos x="connsiteX5016" y="connsiteY5016"/>
              </a:cxn>
              <a:cxn ang="0">
                <a:pos x="connsiteX5017" y="connsiteY5017"/>
              </a:cxn>
              <a:cxn ang="0">
                <a:pos x="connsiteX5018" y="connsiteY5018"/>
              </a:cxn>
              <a:cxn ang="0">
                <a:pos x="connsiteX5019" y="connsiteY5019"/>
              </a:cxn>
              <a:cxn ang="0">
                <a:pos x="connsiteX5020" y="connsiteY5020"/>
              </a:cxn>
              <a:cxn ang="0">
                <a:pos x="connsiteX5021" y="connsiteY5021"/>
              </a:cxn>
              <a:cxn ang="0">
                <a:pos x="connsiteX5022" y="connsiteY5022"/>
              </a:cxn>
              <a:cxn ang="0">
                <a:pos x="connsiteX5023" y="connsiteY5023"/>
              </a:cxn>
              <a:cxn ang="0">
                <a:pos x="connsiteX5024" y="connsiteY5024"/>
              </a:cxn>
              <a:cxn ang="0">
                <a:pos x="connsiteX5025" y="connsiteY5025"/>
              </a:cxn>
              <a:cxn ang="0">
                <a:pos x="connsiteX5026" y="connsiteY5026"/>
              </a:cxn>
              <a:cxn ang="0">
                <a:pos x="connsiteX5027" y="connsiteY5027"/>
              </a:cxn>
              <a:cxn ang="0">
                <a:pos x="connsiteX5028" y="connsiteY5028"/>
              </a:cxn>
              <a:cxn ang="0">
                <a:pos x="connsiteX5029" y="connsiteY5029"/>
              </a:cxn>
              <a:cxn ang="0">
                <a:pos x="connsiteX5030" y="connsiteY5030"/>
              </a:cxn>
              <a:cxn ang="0">
                <a:pos x="connsiteX5031" y="connsiteY5031"/>
              </a:cxn>
              <a:cxn ang="0">
                <a:pos x="connsiteX5032" y="connsiteY5032"/>
              </a:cxn>
              <a:cxn ang="0">
                <a:pos x="connsiteX5033" y="connsiteY5033"/>
              </a:cxn>
              <a:cxn ang="0">
                <a:pos x="connsiteX5034" y="connsiteY5034"/>
              </a:cxn>
              <a:cxn ang="0">
                <a:pos x="connsiteX5035" y="connsiteY5035"/>
              </a:cxn>
              <a:cxn ang="0">
                <a:pos x="connsiteX5036" y="connsiteY5036"/>
              </a:cxn>
              <a:cxn ang="0">
                <a:pos x="connsiteX5037" y="connsiteY5037"/>
              </a:cxn>
              <a:cxn ang="0">
                <a:pos x="connsiteX5038" y="connsiteY5038"/>
              </a:cxn>
              <a:cxn ang="0">
                <a:pos x="connsiteX5039" y="connsiteY5039"/>
              </a:cxn>
              <a:cxn ang="0">
                <a:pos x="connsiteX5040" y="connsiteY5040"/>
              </a:cxn>
              <a:cxn ang="0">
                <a:pos x="connsiteX5041" y="connsiteY5041"/>
              </a:cxn>
              <a:cxn ang="0">
                <a:pos x="connsiteX5042" y="connsiteY5042"/>
              </a:cxn>
              <a:cxn ang="0">
                <a:pos x="connsiteX5043" y="connsiteY5043"/>
              </a:cxn>
              <a:cxn ang="0">
                <a:pos x="connsiteX5044" y="connsiteY5044"/>
              </a:cxn>
              <a:cxn ang="0">
                <a:pos x="connsiteX5045" y="connsiteY5045"/>
              </a:cxn>
              <a:cxn ang="0">
                <a:pos x="connsiteX5046" y="connsiteY5046"/>
              </a:cxn>
              <a:cxn ang="0">
                <a:pos x="connsiteX5047" y="connsiteY5047"/>
              </a:cxn>
              <a:cxn ang="0">
                <a:pos x="connsiteX5048" y="connsiteY5048"/>
              </a:cxn>
              <a:cxn ang="0">
                <a:pos x="connsiteX5049" y="connsiteY5049"/>
              </a:cxn>
              <a:cxn ang="0">
                <a:pos x="connsiteX5050" y="connsiteY5050"/>
              </a:cxn>
              <a:cxn ang="0">
                <a:pos x="connsiteX5051" y="connsiteY5051"/>
              </a:cxn>
              <a:cxn ang="0">
                <a:pos x="connsiteX5052" y="connsiteY5052"/>
              </a:cxn>
              <a:cxn ang="0">
                <a:pos x="connsiteX5053" y="connsiteY5053"/>
              </a:cxn>
              <a:cxn ang="0">
                <a:pos x="connsiteX5054" y="connsiteY5054"/>
              </a:cxn>
              <a:cxn ang="0">
                <a:pos x="connsiteX5055" y="connsiteY5055"/>
              </a:cxn>
              <a:cxn ang="0">
                <a:pos x="connsiteX5056" y="connsiteY5056"/>
              </a:cxn>
              <a:cxn ang="0">
                <a:pos x="connsiteX5057" y="connsiteY5057"/>
              </a:cxn>
              <a:cxn ang="0">
                <a:pos x="connsiteX5058" y="connsiteY5058"/>
              </a:cxn>
              <a:cxn ang="0">
                <a:pos x="connsiteX5059" y="connsiteY5059"/>
              </a:cxn>
              <a:cxn ang="0">
                <a:pos x="connsiteX5060" y="connsiteY5060"/>
              </a:cxn>
              <a:cxn ang="0">
                <a:pos x="connsiteX5061" y="connsiteY5061"/>
              </a:cxn>
              <a:cxn ang="0">
                <a:pos x="connsiteX5062" y="connsiteY5062"/>
              </a:cxn>
              <a:cxn ang="0">
                <a:pos x="connsiteX5063" y="connsiteY5063"/>
              </a:cxn>
              <a:cxn ang="0">
                <a:pos x="connsiteX5064" y="connsiteY5064"/>
              </a:cxn>
              <a:cxn ang="0">
                <a:pos x="connsiteX5065" y="connsiteY5065"/>
              </a:cxn>
              <a:cxn ang="0">
                <a:pos x="connsiteX5066" y="connsiteY5066"/>
              </a:cxn>
              <a:cxn ang="0">
                <a:pos x="connsiteX5067" y="connsiteY5067"/>
              </a:cxn>
              <a:cxn ang="0">
                <a:pos x="connsiteX5068" y="connsiteY5068"/>
              </a:cxn>
              <a:cxn ang="0">
                <a:pos x="connsiteX5069" y="connsiteY5069"/>
              </a:cxn>
              <a:cxn ang="0">
                <a:pos x="connsiteX5070" y="connsiteY5070"/>
              </a:cxn>
              <a:cxn ang="0">
                <a:pos x="connsiteX5071" y="connsiteY5071"/>
              </a:cxn>
              <a:cxn ang="0">
                <a:pos x="connsiteX5072" y="connsiteY5072"/>
              </a:cxn>
              <a:cxn ang="0">
                <a:pos x="connsiteX5073" y="connsiteY5073"/>
              </a:cxn>
              <a:cxn ang="0">
                <a:pos x="connsiteX5074" y="connsiteY5074"/>
              </a:cxn>
              <a:cxn ang="0">
                <a:pos x="connsiteX5075" y="connsiteY5075"/>
              </a:cxn>
              <a:cxn ang="0">
                <a:pos x="connsiteX5076" y="connsiteY5076"/>
              </a:cxn>
              <a:cxn ang="0">
                <a:pos x="connsiteX5077" y="connsiteY5077"/>
              </a:cxn>
              <a:cxn ang="0">
                <a:pos x="connsiteX5078" y="connsiteY5078"/>
              </a:cxn>
              <a:cxn ang="0">
                <a:pos x="connsiteX5079" y="connsiteY5079"/>
              </a:cxn>
              <a:cxn ang="0">
                <a:pos x="connsiteX5080" y="connsiteY5080"/>
              </a:cxn>
              <a:cxn ang="0">
                <a:pos x="connsiteX5081" y="connsiteY5081"/>
              </a:cxn>
              <a:cxn ang="0">
                <a:pos x="connsiteX5082" y="connsiteY5082"/>
              </a:cxn>
              <a:cxn ang="0">
                <a:pos x="connsiteX5083" y="connsiteY5083"/>
              </a:cxn>
              <a:cxn ang="0">
                <a:pos x="connsiteX5084" y="connsiteY5084"/>
              </a:cxn>
              <a:cxn ang="0">
                <a:pos x="connsiteX5085" y="connsiteY5085"/>
              </a:cxn>
              <a:cxn ang="0">
                <a:pos x="connsiteX5086" y="connsiteY5086"/>
              </a:cxn>
              <a:cxn ang="0">
                <a:pos x="connsiteX5087" y="connsiteY5087"/>
              </a:cxn>
              <a:cxn ang="0">
                <a:pos x="connsiteX5088" y="connsiteY5088"/>
              </a:cxn>
              <a:cxn ang="0">
                <a:pos x="connsiteX5089" y="connsiteY5089"/>
              </a:cxn>
              <a:cxn ang="0">
                <a:pos x="connsiteX5090" y="connsiteY5090"/>
              </a:cxn>
              <a:cxn ang="0">
                <a:pos x="connsiteX5091" y="connsiteY5091"/>
              </a:cxn>
              <a:cxn ang="0">
                <a:pos x="connsiteX5092" y="connsiteY5092"/>
              </a:cxn>
              <a:cxn ang="0">
                <a:pos x="connsiteX5093" y="connsiteY5093"/>
              </a:cxn>
              <a:cxn ang="0">
                <a:pos x="connsiteX5094" y="connsiteY5094"/>
              </a:cxn>
              <a:cxn ang="0">
                <a:pos x="connsiteX5095" y="connsiteY5095"/>
              </a:cxn>
              <a:cxn ang="0">
                <a:pos x="connsiteX5096" y="connsiteY5096"/>
              </a:cxn>
              <a:cxn ang="0">
                <a:pos x="connsiteX5097" y="connsiteY5097"/>
              </a:cxn>
              <a:cxn ang="0">
                <a:pos x="connsiteX5098" y="connsiteY5098"/>
              </a:cxn>
              <a:cxn ang="0">
                <a:pos x="connsiteX5099" y="connsiteY5099"/>
              </a:cxn>
              <a:cxn ang="0">
                <a:pos x="connsiteX5100" y="connsiteY5100"/>
              </a:cxn>
              <a:cxn ang="0">
                <a:pos x="connsiteX5101" y="connsiteY5101"/>
              </a:cxn>
              <a:cxn ang="0">
                <a:pos x="connsiteX5102" y="connsiteY5102"/>
              </a:cxn>
              <a:cxn ang="0">
                <a:pos x="connsiteX5103" y="connsiteY5103"/>
              </a:cxn>
              <a:cxn ang="0">
                <a:pos x="connsiteX5104" y="connsiteY5104"/>
              </a:cxn>
              <a:cxn ang="0">
                <a:pos x="connsiteX5105" y="connsiteY5105"/>
              </a:cxn>
              <a:cxn ang="0">
                <a:pos x="connsiteX5106" y="connsiteY5106"/>
              </a:cxn>
              <a:cxn ang="0">
                <a:pos x="connsiteX5107" y="connsiteY5107"/>
              </a:cxn>
              <a:cxn ang="0">
                <a:pos x="connsiteX5108" y="connsiteY5108"/>
              </a:cxn>
              <a:cxn ang="0">
                <a:pos x="connsiteX5109" y="connsiteY5109"/>
              </a:cxn>
              <a:cxn ang="0">
                <a:pos x="connsiteX5110" y="connsiteY5110"/>
              </a:cxn>
              <a:cxn ang="0">
                <a:pos x="connsiteX5111" y="connsiteY5111"/>
              </a:cxn>
              <a:cxn ang="0">
                <a:pos x="connsiteX5112" y="connsiteY5112"/>
              </a:cxn>
              <a:cxn ang="0">
                <a:pos x="connsiteX5113" y="connsiteY5113"/>
              </a:cxn>
              <a:cxn ang="0">
                <a:pos x="connsiteX5114" y="connsiteY5114"/>
              </a:cxn>
              <a:cxn ang="0">
                <a:pos x="connsiteX5115" y="connsiteY5115"/>
              </a:cxn>
              <a:cxn ang="0">
                <a:pos x="connsiteX5116" y="connsiteY5116"/>
              </a:cxn>
              <a:cxn ang="0">
                <a:pos x="connsiteX5117" y="connsiteY5117"/>
              </a:cxn>
              <a:cxn ang="0">
                <a:pos x="connsiteX5118" y="connsiteY5118"/>
              </a:cxn>
              <a:cxn ang="0">
                <a:pos x="connsiteX5119" y="connsiteY5119"/>
              </a:cxn>
              <a:cxn ang="0">
                <a:pos x="connsiteX5120" y="connsiteY5120"/>
              </a:cxn>
              <a:cxn ang="0">
                <a:pos x="connsiteX5121" y="connsiteY5121"/>
              </a:cxn>
              <a:cxn ang="0">
                <a:pos x="connsiteX5122" y="connsiteY5122"/>
              </a:cxn>
              <a:cxn ang="0">
                <a:pos x="connsiteX5123" y="connsiteY5123"/>
              </a:cxn>
              <a:cxn ang="0">
                <a:pos x="connsiteX5124" y="connsiteY5124"/>
              </a:cxn>
              <a:cxn ang="0">
                <a:pos x="connsiteX5125" y="connsiteY5125"/>
              </a:cxn>
              <a:cxn ang="0">
                <a:pos x="connsiteX5126" y="connsiteY5126"/>
              </a:cxn>
              <a:cxn ang="0">
                <a:pos x="connsiteX5127" y="connsiteY5127"/>
              </a:cxn>
              <a:cxn ang="0">
                <a:pos x="connsiteX5128" y="connsiteY5128"/>
              </a:cxn>
              <a:cxn ang="0">
                <a:pos x="connsiteX5129" y="connsiteY5129"/>
              </a:cxn>
              <a:cxn ang="0">
                <a:pos x="connsiteX5130" y="connsiteY5130"/>
              </a:cxn>
              <a:cxn ang="0">
                <a:pos x="connsiteX5131" y="connsiteY5131"/>
              </a:cxn>
              <a:cxn ang="0">
                <a:pos x="connsiteX5132" y="connsiteY5132"/>
              </a:cxn>
              <a:cxn ang="0">
                <a:pos x="connsiteX5133" y="connsiteY5133"/>
              </a:cxn>
              <a:cxn ang="0">
                <a:pos x="connsiteX5134" y="connsiteY5134"/>
              </a:cxn>
              <a:cxn ang="0">
                <a:pos x="connsiteX5135" y="connsiteY5135"/>
              </a:cxn>
              <a:cxn ang="0">
                <a:pos x="connsiteX5136" y="connsiteY5136"/>
              </a:cxn>
              <a:cxn ang="0">
                <a:pos x="connsiteX5137" y="connsiteY5137"/>
              </a:cxn>
              <a:cxn ang="0">
                <a:pos x="connsiteX5138" y="connsiteY5138"/>
              </a:cxn>
              <a:cxn ang="0">
                <a:pos x="connsiteX5139" y="connsiteY5139"/>
              </a:cxn>
              <a:cxn ang="0">
                <a:pos x="connsiteX5140" y="connsiteY5140"/>
              </a:cxn>
              <a:cxn ang="0">
                <a:pos x="connsiteX5141" y="connsiteY5141"/>
              </a:cxn>
              <a:cxn ang="0">
                <a:pos x="connsiteX5142" y="connsiteY5142"/>
              </a:cxn>
              <a:cxn ang="0">
                <a:pos x="connsiteX5143" y="connsiteY5143"/>
              </a:cxn>
              <a:cxn ang="0">
                <a:pos x="connsiteX5144" y="connsiteY5144"/>
              </a:cxn>
              <a:cxn ang="0">
                <a:pos x="connsiteX5145" y="connsiteY5145"/>
              </a:cxn>
              <a:cxn ang="0">
                <a:pos x="connsiteX5146" y="connsiteY5146"/>
              </a:cxn>
              <a:cxn ang="0">
                <a:pos x="connsiteX5147" y="connsiteY5147"/>
              </a:cxn>
              <a:cxn ang="0">
                <a:pos x="connsiteX5148" y="connsiteY5148"/>
              </a:cxn>
              <a:cxn ang="0">
                <a:pos x="connsiteX5149" y="connsiteY5149"/>
              </a:cxn>
              <a:cxn ang="0">
                <a:pos x="connsiteX5150" y="connsiteY5150"/>
              </a:cxn>
              <a:cxn ang="0">
                <a:pos x="connsiteX5151" y="connsiteY5151"/>
              </a:cxn>
              <a:cxn ang="0">
                <a:pos x="connsiteX5152" y="connsiteY5152"/>
              </a:cxn>
              <a:cxn ang="0">
                <a:pos x="connsiteX5153" y="connsiteY5153"/>
              </a:cxn>
              <a:cxn ang="0">
                <a:pos x="connsiteX5154" y="connsiteY5154"/>
              </a:cxn>
              <a:cxn ang="0">
                <a:pos x="connsiteX5155" y="connsiteY5155"/>
              </a:cxn>
              <a:cxn ang="0">
                <a:pos x="connsiteX5156" y="connsiteY5156"/>
              </a:cxn>
              <a:cxn ang="0">
                <a:pos x="connsiteX5157" y="connsiteY5157"/>
              </a:cxn>
              <a:cxn ang="0">
                <a:pos x="connsiteX5158" y="connsiteY5158"/>
              </a:cxn>
              <a:cxn ang="0">
                <a:pos x="connsiteX5159" y="connsiteY5159"/>
              </a:cxn>
              <a:cxn ang="0">
                <a:pos x="connsiteX5160" y="connsiteY5160"/>
              </a:cxn>
              <a:cxn ang="0">
                <a:pos x="connsiteX5161" y="connsiteY5161"/>
              </a:cxn>
              <a:cxn ang="0">
                <a:pos x="connsiteX5162" y="connsiteY5162"/>
              </a:cxn>
              <a:cxn ang="0">
                <a:pos x="connsiteX5163" y="connsiteY5163"/>
              </a:cxn>
              <a:cxn ang="0">
                <a:pos x="connsiteX5164" y="connsiteY5164"/>
              </a:cxn>
              <a:cxn ang="0">
                <a:pos x="connsiteX5165" y="connsiteY5165"/>
              </a:cxn>
              <a:cxn ang="0">
                <a:pos x="connsiteX5166" y="connsiteY5166"/>
              </a:cxn>
              <a:cxn ang="0">
                <a:pos x="connsiteX5167" y="connsiteY5167"/>
              </a:cxn>
              <a:cxn ang="0">
                <a:pos x="connsiteX5168" y="connsiteY5168"/>
              </a:cxn>
              <a:cxn ang="0">
                <a:pos x="connsiteX5169" y="connsiteY5169"/>
              </a:cxn>
              <a:cxn ang="0">
                <a:pos x="connsiteX5170" y="connsiteY5170"/>
              </a:cxn>
              <a:cxn ang="0">
                <a:pos x="connsiteX5171" y="connsiteY5171"/>
              </a:cxn>
              <a:cxn ang="0">
                <a:pos x="connsiteX5172" y="connsiteY5172"/>
              </a:cxn>
              <a:cxn ang="0">
                <a:pos x="connsiteX5173" y="connsiteY5173"/>
              </a:cxn>
              <a:cxn ang="0">
                <a:pos x="connsiteX5174" y="connsiteY5174"/>
              </a:cxn>
              <a:cxn ang="0">
                <a:pos x="connsiteX5175" y="connsiteY5175"/>
              </a:cxn>
              <a:cxn ang="0">
                <a:pos x="connsiteX5176" y="connsiteY5176"/>
              </a:cxn>
              <a:cxn ang="0">
                <a:pos x="connsiteX5177" y="connsiteY5177"/>
              </a:cxn>
              <a:cxn ang="0">
                <a:pos x="connsiteX5178" y="connsiteY5178"/>
              </a:cxn>
              <a:cxn ang="0">
                <a:pos x="connsiteX5179" y="connsiteY5179"/>
              </a:cxn>
              <a:cxn ang="0">
                <a:pos x="connsiteX5180" y="connsiteY5180"/>
              </a:cxn>
              <a:cxn ang="0">
                <a:pos x="connsiteX5181" y="connsiteY5181"/>
              </a:cxn>
              <a:cxn ang="0">
                <a:pos x="connsiteX5182" y="connsiteY5182"/>
              </a:cxn>
              <a:cxn ang="0">
                <a:pos x="connsiteX5183" y="connsiteY5183"/>
              </a:cxn>
              <a:cxn ang="0">
                <a:pos x="connsiteX5184" y="connsiteY5184"/>
              </a:cxn>
              <a:cxn ang="0">
                <a:pos x="connsiteX5185" y="connsiteY5185"/>
              </a:cxn>
              <a:cxn ang="0">
                <a:pos x="connsiteX5186" y="connsiteY5186"/>
              </a:cxn>
              <a:cxn ang="0">
                <a:pos x="connsiteX5187" y="connsiteY5187"/>
              </a:cxn>
              <a:cxn ang="0">
                <a:pos x="connsiteX5188" y="connsiteY5188"/>
              </a:cxn>
              <a:cxn ang="0">
                <a:pos x="connsiteX5189" y="connsiteY5189"/>
              </a:cxn>
              <a:cxn ang="0">
                <a:pos x="connsiteX5190" y="connsiteY5190"/>
              </a:cxn>
              <a:cxn ang="0">
                <a:pos x="connsiteX5191" y="connsiteY5191"/>
              </a:cxn>
              <a:cxn ang="0">
                <a:pos x="connsiteX5192" y="connsiteY5192"/>
              </a:cxn>
              <a:cxn ang="0">
                <a:pos x="connsiteX5193" y="connsiteY5193"/>
              </a:cxn>
              <a:cxn ang="0">
                <a:pos x="connsiteX5194" y="connsiteY5194"/>
              </a:cxn>
              <a:cxn ang="0">
                <a:pos x="connsiteX5195" y="connsiteY5195"/>
              </a:cxn>
              <a:cxn ang="0">
                <a:pos x="connsiteX5196" y="connsiteY5196"/>
              </a:cxn>
              <a:cxn ang="0">
                <a:pos x="connsiteX5197" y="connsiteY5197"/>
              </a:cxn>
              <a:cxn ang="0">
                <a:pos x="connsiteX5198" y="connsiteY5198"/>
              </a:cxn>
              <a:cxn ang="0">
                <a:pos x="connsiteX5199" y="connsiteY5199"/>
              </a:cxn>
              <a:cxn ang="0">
                <a:pos x="connsiteX5200" y="connsiteY5200"/>
              </a:cxn>
              <a:cxn ang="0">
                <a:pos x="connsiteX5201" y="connsiteY5201"/>
              </a:cxn>
              <a:cxn ang="0">
                <a:pos x="connsiteX5202" y="connsiteY5202"/>
              </a:cxn>
              <a:cxn ang="0">
                <a:pos x="connsiteX5203" y="connsiteY5203"/>
              </a:cxn>
              <a:cxn ang="0">
                <a:pos x="connsiteX5204" y="connsiteY5204"/>
              </a:cxn>
              <a:cxn ang="0">
                <a:pos x="connsiteX5205" y="connsiteY5205"/>
              </a:cxn>
              <a:cxn ang="0">
                <a:pos x="connsiteX5206" y="connsiteY5206"/>
              </a:cxn>
              <a:cxn ang="0">
                <a:pos x="connsiteX5207" y="connsiteY5207"/>
              </a:cxn>
              <a:cxn ang="0">
                <a:pos x="connsiteX5208" y="connsiteY5208"/>
              </a:cxn>
              <a:cxn ang="0">
                <a:pos x="connsiteX5209" y="connsiteY5209"/>
              </a:cxn>
              <a:cxn ang="0">
                <a:pos x="connsiteX5210" y="connsiteY5210"/>
              </a:cxn>
              <a:cxn ang="0">
                <a:pos x="connsiteX5211" y="connsiteY5211"/>
              </a:cxn>
              <a:cxn ang="0">
                <a:pos x="connsiteX5212" y="connsiteY5212"/>
              </a:cxn>
              <a:cxn ang="0">
                <a:pos x="connsiteX5213" y="connsiteY5213"/>
              </a:cxn>
              <a:cxn ang="0">
                <a:pos x="connsiteX5214" y="connsiteY5214"/>
              </a:cxn>
              <a:cxn ang="0">
                <a:pos x="connsiteX5215" y="connsiteY5215"/>
              </a:cxn>
              <a:cxn ang="0">
                <a:pos x="connsiteX5216" y="connsiteY5216"/>
              </a:cxn>
              <a:cxn ang="0">
                <a:pos x="connsiteX5217" y="connsiteY5217"/>
              </a:cxn>
              <a:cxn ang="0">
                <a:pos x="connsiteX5218" y="connsiteY5218"/>
              </a:cxn>
              <a:cxn ang="0">
                <a:pos x="connsiteX5219" y="connsiteY5219"/>
              </a:cxn>
              <a:cxn ang="0">
                <a:pos x="connsiteX5220" y="connsiteY5220"/>
              </a:cxn>
              <a:cxn ang="0">
                <a:pos x="connsiteX5221" y="connsiteY5221"/>
              </a:cxn>
              <a:cxn ang="0">
                <a:pos x="connsiteX5222" y="connsiteY5222"/>
              </a:cxn>
              <a:cxn ang="0">
                <a:pos x="connsiteX5223" y="connsiteY5223"/>
              </a:cxn>
              <a:cxn ang="0">
                <a:pos x="connsiteX5224" y="connsiteY5224"/>
              </a:cxn>
              <a:cxn ang="0">
                <a:pos x="connsiteX5225" y="connsiteY5225"/>
              </a:cxn>
              <a:cxn ang="0">
                <a:pos x="connsiteX5226" y="connsiteY5226"/>
              </a:cxn>
              <a:cxn ang="0">
                <a:pos x="connsiteX5227" y="connsiteY5227"/>
              </a:cxn>
              <a:cxn ang="0">
                <a:pos x="connsiteX5228" y="connsiteY5228"/>
              </a:cxn>
              <a:cxn ang="0">
                <a:pos x="connsiteX5229" y="connsiteY5229"/>
              </a:cxn>
              <a:cxn ang="0">
                <a:pos x="connsiteX5230" y="connsiteY5230"/>
              </a:cxn>
              <a:cxn ang="0">
                <a:pos x="connsiteX5231" y="connsiteY5231"/>
              </a:cxn>
              <a:cxn ang="0">
                <a:pos x="connsiteX5232" y="connsiteY5232"/>
              </a:cxn>
              <a:cxn ang="0">
                <a:pos x="connsiteX5233" y="connsiteY5233"/>
              </a:cxn>
              <a:cxn ang="0">
                <a:pos x="connsiteX5234" y="connsiteY5234"/>
              </a:cxn>
              <a:cxn ang="0">
                <a:pos x="connsiteX5235" y="connsiteY5235"/>
              </a:cxn>
              <a:cxn ang="0">
                <a:pos x="connsiteX5236" y="connsiteY5236"/>
              </a:cxn>
              <a:cxn ang="0">
                <a:pos x="connsiteX5237" y="connsiteY5237"/>
              </a:cxn>
              <a:cxn ang="0">
                <a:pos x="connsiteX5238" y="connsiteY5238"/>
              </a:cxn>
              <a:cxn ang="0">
                <a:pos x="connsiteX5239" y="connsiteY5239"/>
              </a:cxn>
              <a:cxn ang="0">
                <a:pos x="connsiteX5240" y="connsiteY5240"/>
              </a:cxn>
              <a:cxn ang="0">
                <a:pos x="connsiteX5241" y="connsiteY5241"/>
              </a:cxn>
              <a:cxn ang="0">
                <a:pos x="connsiteX5242" y="connsiteY5242"/>
              </a:cxn>
              <a:cxn ang="0">
                <a:pos x="connsiteX5243" y="connsiteY5243"/>
              </a:cxn>
              <a:cxn ang="0">
                <a:pos x="connsiteX5244" y="connsiteY5244"/>
              </a:cxn>
              <a:cxn ang="0">
                <a:pos x="connsiteX5245" y="connsiteY5245"/>
              </a:cxn>
              <a:cxn ang="0">
                <a:pos x="connsiteX5246" y="connsiteY5246"/>
              </a:cxn>
              <a:cxn ang="0">
                <a:pos x="connsiteX5247" y="connsiteY5247"/>
              </a:cxn>
              <a:cxn ang="0">
                <a:pos x="connsiteX5248" y="connsiteY5248"/>
              </a:cxn>
              <a:cxn ang="0">
                <a:pos x="connsiteX5249" y="connsiteY5249"/>
              </a:cxn>
              <a:cxn ang="0">
                <a:pos x="connsiteX5250" y="connsiteY5250"/>
              </a:cxn>
              <a:cxn ang="0">
                <a:pos x="connsiteX5251" y="connsiteY5251"/>
              </a:cxn>
              <a:cxn ang="0">
                <a:pos x="connsiteX5252" y="connsiteY5252"/>
              </a:cxn>
              <a:cxn ang="0">
                <a:pos x="connsiteX5253" y="connsiteY5253"/>
              </a:cxn>
              <a:cxn ang="0">
                <a:pos x="connsiteX5254" y="connsiteY5254"/>
              </a:cxn>
              <a:cxn ang="0">
                <a:pos x="connsiteX5255" y="connsiteY5255"/>
              </a:cxn>
              <a:cxn ang="0">
                <a:pos x="connsiteX5256" y="connsiteY5256"/>
              </a:cxn>
              <a:cxn ang="0">
                <a:pos x="connsiteX5257" y="connsiteY5257"/>
              </a:cxn>
              <a:cxn ang="0">
                <a:pos x="connsiteX5258" y="connsiteY5258"/>
              </a:cxn>
              <a:cxn ang="0">
                <a:pos x="connsiteX5259" y="connsiteY5259"/>
              </a:cxn>
              <a:cxn ang="0">
                <a:pos x="connsiteX5260" y="connsiteY5260"/>
              </a:cxn>
              <a:cxn ang="0">
                <a:pos x="connsiteX5261" y="connsiteY5261"/>
              </a:cxn>
              <a:cxn ang="0">
                <a:pos x="connsiteX5262" y="connsiteY5262"/>
              </a:cxn>
              <a:cxn ang="0">
                <a:pos x="connsiteX5263" y="connsiteY5263"/>
              </a:cxn>
              <a:cxn ang="0">
                <a:pos x="connsiteX5264" y="connsiteY5264"/>
              </a:cxn>
              <a:cxn ang="0">
                <a:pos x="connsiteX5265" y="connsiteY5265"/>
              </a:cxn>
              <a:cxn ang="0">
                <a:pos x="connsiteX5266" y="connsiteY5266"/>
              </a:cxn>
              <a:cxn ang="0">
                <a:pos x="connsiteX5267" y="connsiteY5267"/>
              </a:cxn>
              <a:cxn ang="0">
                <a:pos x="connsiteX5268" y="connsiteY5268"/>
              </a:cxn>
              <a:cxn ang="0">
                <a:pos x="connsiteX5269" y="connsiteY5269"/>
              </a:cxn>
              <a:cxn ang="0">
                <a:pos x="connsiteX5270" y="connsiteY5270"/>
              </a:cxn>
              <a:cxn ang="0">
                <a:pos x="connsiteX5271" y="connsiteY5271"/>
              </a:cxn>
              <a:cxn ang="0">
                <a:pos x="connsiteX5272" y="connsiteY5272"/>
              </a:cxn>
              <a:cxn ang="0">
                <a:pos x="connsiteX5273" y="connsiteY5273"/>
              </a:cxn>
              <a:cxn ang="0">
                <a:pos x="connsiteX5274" y="connsiteY5274"/>
              </a:cxn>
              <a:cxn ang="0">
                <a:pos x="connsiteX5275" y="connsiteY5275"/>
              </a:cxn>
              <a:cxn ang="0">
                <a:pos x="connsiteX5276" y="connsiteY5276"/>
              </a:cxn>
              <a:cxn ang="0">
                <a:pos x="connsiteX5277" y="connsiteY5277"/>
              </a:cxn>
              <a:cxn ang="0">
                <a:pos x="connsiteX5278" y="connsiteY5278"/>
              </a:cxn>
              <a:cxn ang="0">
                <a:pos x="connsiteX5279" y="connsiteY5279"/>
              </a:cxn>
              <a:cxn ang="0">
                <a:pos x="connsiteX5280" y="connsiteY5280"/>
              </a:cxn>
              <a:cxn ang="0">
                <a:pos x="connsiteX5281" y="connsiteY5281"/>
              </a:cxn>
              <a:cxn ang="0">
                <a:pos x="connsiteX5282" y="connsiteY5282"/>
              </a:cxn>
              <a:cxn ang="0">
                <a:pos x="connsiteX5283" y="connsiteY5283"/>
              </a:cxn>
              <a:cxn ang="0">
                <a:pos x="connsiteX5284" y="connsiteY5284"/>
              </a:cxn>
              <a:cxn ang="0">
                <a:pos x="connsiteX5285" y="connsiteY5285"/>
              </a:cxn>
              <a:cxn ang="0">
                <a:pos x="connsiteX5286" y="connsiteY5286"/>
              </a:cxn>
              <a:cxn ang="0">
                <a:pos x="connsiteX5287" y="connsiteY5287"/>
              </a:cxn>
              <a:cxn ang="0">
                <a:pos x="connsiteX5288" y="connsiteY5288"/>
              </a:cxn>
              <a:cxn ang="0">
                <a:pos x="connsiteX5289" y="connsiteY5289"/>
              </a:cxn>
              <a:cxn ang="0">
                <a:pos x="connsiteX5290" y="connsiteY5290"/>
              </a:cxn>
              <a:cxn ang="0">
                <a:pos x="connsiteX5291" y="connsiteY5291"/>
              </a:cxn>
              <a:cxn ang="0">
                <a:pos x="connsiteX5292" y="connsiteY5292"/>
              </a:cxn>
              <a:cxn ang="0">
                <a:pos x="connsiteX5293" y="connsiteY5293"/>
              </a:cxn>
              <a:cxn ang="0">
                <a:pos x="connsiteX5294" y="connsiteY5294"/>
              </a:cxn>
              <a:cxn ang="0">
                <a:pos x="connsiteX5295" y="connsiteY5295"/>
              </a:cxn>
              <a:cxn ang="0">
                <a:pos x="connsiteX5296" y="connsiteY5296"/>
              </a:cxn>
              <a:cxn ang="0">
                <a:pos x="connsiteX5297" y="connsiteY5297"/>
              </a:cxn>
              <a:cxn ang="0">
                <a:pos x="connsiteX5298" y="connsiteY5298"/>
              </a:cxn>
              <a:cxn ang="0">
                <a:pos x="connsiteX5299" y="connsiteY5299"/>
              </a:cxn>
              <a:cxn ang="0">
                <a:pos x="connsiteX5300" y="connsiteY5300"/>
              </a:cxn>
              <a:cxn ang="0">
                <a:pos x="connsiteX5301" y="connsiteY5301"/>
              </a:cxn>
              <a:cxn ang="0">
                <a:pos x="connsiteX5302" y="connsiteY5302"/>
              </a:cxn>
              <a:cxn ang="0">
                <a:pos x="connsiteX5303" y="connsiteY5303"/>
              </a:cxn>
              <a:cxn ang="0">
                <a:pos x="connsiteX5304" y="connsiteY5304"/>
              </a:cxn>
              <a:cxn ang="0">
                <a:pos x="connsiteX5305" y="connsiteY5305"/>
              </a:cxn>
              <a:cxn ang="0">
                <a:pos x="connsiteX5306" y="connsiteY5306"/>
              </a:cxn>
              <a:cxn ang="0">
                <a:pos x="connsiteX5307" y="connsiteY5307"/>
              </a:cxn>
              <a:cxn ang="0">
                <a:pos x="connsiteX5308" y="connsiteY5308"/>
              </a:cxn>
              <a:cxn ang="0">
                <a:pos x="connsiteX5309" y="connsiteY5309"/>
              </a:cxn>
              <a:cxn ang="0">
                <a:pos x="connsiteX5310" y="connsiteY5310"/>
              </a:cxn>
              <a:cxn ang="0">
                <a:pos x="connsiteX5311" y="connsiteY5311"/>
              </a:cxn>
              <a:cxn ang="0">
                <a:pos x="connsiteX5312" y="connsiteY5312"/>
              </a:cxn>
              <a:cxn ang="0">
                <a:pos x="connsiteX5313" y="connsiteY5313"/>
              </a:cxn>
              <a:cxn ang="0">
                <a:pos x="connsiteX5314" y="connsiteY5314"/>
              </a:cxn>
              <a:cxn ang="0">
                <a:pos x="connsiteX5315" y="connsiteY5315"/>
              </a:cxn>
              <a:cxn ang="0">
                <a:pos x="connsiteX5316" y="connsiteY5316"/>
              </a:cxn>
              <a:cxn ang="0">
                <a:pos x="connsiteX5317" y="connsiteY5317"/>
              </a:cxn>
              <a:cxn ang="0">
                <a:pos x="connsiteX5318" y="connsiteY5318"/>
              </a:cxn>
              <a:cxn ang="0">
                <a:pos x="connsiteX5319" y="connsiteY5319"/>
              </a:cxn>
              <a:cxn ang="0">
                <a:pos x="connsiteX5320" y="connsiteY5320"/>
              </a:cxn>
              <a:cxn ang="0">
                <a:pos x="connsiteX5321" y="connsiteY5321"/>
              </a:cxn>
              <a:cxn ang="0">
                <a:pos x="connsiteX5322" y="connsiteY5322"/>
              </a:cxn>
              <a:cxn ang="0">
                <a:pos x="connsiteX5323" y="connsiteY5323"/>
              </a:cxn>
              <a:cxn ang="0">
                <a:pos x="connsiteX5324" y="connsiteY5324"/>
              </a:cxn>
              <a:cxn ang="0">
                <a:pos x="connsiteX5325" y="connsiteY5325"/>
              </a:cxn>
              <a:cxn ang="0">
                <a:pos x="connsiteX5326" y="connsiteY5326"/>
              </a:cxn>
              <a:cxn ang="0">
                <a:pos x="connsiteX5327" y="connsiteY5327"/>
              </a:cxn>
              <a:cxn ang="0">
                <a:pos x="connsiteX5328" y="connsiteY5328"/>
              </a:cxn>
              <a:cxn ang="0">
                <a:pos x="connsiteX5329" y="connsiteY5329"/>
              </a:cxn>
              <a:cxn ang="0">
                <a:pos x="connsiteX5330" y="connsiteY5330"/>
              </a:cxn>
              <a:cxn ang="0">
                <a:pos x="connsiteX5331" y="connsiteY5331"/>
              </a:cxn>
              <a:cxn ang="0">
                <a:pos x="connsiteX5332" y="connsiteY5332"/>
              </a:cxn>
              <a:cxn ang="0">
                <a:pos x="connsiteX5333" y="connsiteY5333"/>
              </a:cxn>
              <a:cxn ang="0">
                <a:pos x="connsiteX5334" y="connsiteY5334"/>
              </a:cxn>
              <a:cxn ang="0">
                <a:pos x="connsiteX5335" y="connsiteY5335"/>
              </a:cxn>
              <a:cxn ang="0">
                <a:pos x="connsiteX5336" y="connsiteY5336"/>
              </a:cxn>
              <a:cxn ang="0">
                <a:pos x="connsiteX5337" y="connsiteY5337"/>
              </a:cxn>
              <a:cxn ang="0">
                <a:pos x="connsiteX5338" y="connsiteY5338"/>
              </a:cxn>
              <a:cxn ang="0">
                <a:pos x="connsiteX5339" y="connsiteY5339"/>
              </a:cxn>
              <a:cxn ang="0">
                <a:pos x="connsiteX5340" y="connsiteY5340"/>
              </a:cxn>
              <a:cxn ang="0">
                <a:pos x="connsiteX5341" y="connsiteY5341"/>
              </a:cxn>
              <a:cxn ang="0">
                <a:pos x="connsiteX5342" y="connsiteY5342"/>
              </a:cxn>
              <a:cxn ang="0">
                <a:pos x="connsiteX5343" y="connsiteY5343"/>
              </a:cxn>
              <a:cxn ang="0">
                <a:pos x="connsiteX5344" y="connsiteY5344"/>
              </a:cxn>
              <a:cxn ang="0">
                <a:pos x="connsiteX5345" y="connsiteY5345"/>
              </a:cxn>
              <a:cxn ang="0">
                <a:pos x="connsiteX5346" y="connsiteY5346"/>
              </a:cxn>
              <a:cxn ang="0">
                <a:pos x="connsiteX5347" y="connsiteY5347"/>
              </a:cxn>
              <a:cxn ang="0">
                <a:pos x="connsiteX5348" y="connsiteY5348"/>
              </a:cxn>
              <a:cxn ang="0">
                <a:pos x="connsiteX5349" y="connsiteY5349"/>
              </a:cxn>
              <a:cxn ang="0">
                <a:pos x="connsiteX5350" y="connsiteY5350"/>
              </a:cxn>
              <a:cxn ang="0">
                <a:pos x="connsiteX5351" y="connsiteY5351"/>
              </a:cxn>
              <a:cxn ang="0">
                <a:pos x="connsiteX5352" y="connsiteY5352"/>
              </a:cxn>
              <a:cxn ang="0">
                <a:pos x="connsiteX5353" y="connsiteY5353"/>
              </a:cxn>
              <a:cxn ang="0">
                <a:pos x="connsiteX5354" y="connsiteY5354"/>
              </a:cxn>
              <a:cxn ang="0">
                <a:pos x="connsiteX5355" y="connsiteY5355"/>
              </a:cxn>
              <a:cxn ang="0">
                <a:pos x="connsiteX5356" y="connsiteY5356"/>
              </a:cxn>
              <a:cxn ang="0">
                <a:pos x="connsiteX5357" y="connsiteY5357"/>
              </a:cxn>
              <a:cxn ang="0">
                <a:pos x="connsiteX5358" y="connsiteY5358"/>
              </a:cxn>
              <a:cxn ang="0">
                <a:pos x="connsiteX5359" y="connsiteY5359"/>
              </a:cxn>
              <a:cxn ang="0">
                <a:pos x="connsiteX5360" y="connsiteY5360"/>
              </a:cxn>
              <a:cxn ang="0">
                <a:pos x="connsiteX5361" y="connsiteY5361"/>
              </a:cxn>
              <a:cxn ang="0">
                <a:pos x="connsiteX5362" y="connsiteY5362"/>
              </a:cxn>
              <a:cxn ang="0">
                <a:pos x="connsiteX5363" y="connsiteY5363"/>
              </a:cxn>
              <a:cxn ang="0">
                <a:pos x="connsiteX5364" y="connsiteY5364"/>
              </a:cxn>
              <a:cxn ang="0">
                <a:pos x="connsiteX5365" y="connsiteY5365"/>
              </a:cxn>
              <a:cxn ang="0">
                <a:pos x="connsiteX5366" y="connsiteY5366"/>
              </a:cxn>
              <a:cxn ang="0">
                <a:pos x="connsiteX5367" y="connsiteY5367"/>
              </a:cxn>
              <a:cxn ang="0">
                <a:pos x="connsiteX5368" y="connsiteY5368"/>
              </a:cxn>
              <a:cxn ang="0">
                <a:pos x="connsiteX5369" y="connsiteY5369"/>
              </a:cxn>
              <a:cxn ang="0">
                <a:pos x="connsiteX5370" y="connsiteY5370"/>
              </a:cxn>
              <a:cxn ang="0">
                <a:pos x="connsiteX5371" y="connsiteY5371"/>
              </a:cxn>
              <a:cxn ang="0">
                <a:pos x="connsiteX5372" y="connsiteY5372"/>
              </a:cxn>
              <a:cxn ang="0">
                <a:pos x="connsiteX5373" y="connsiteY5373"/>
              </a:cxn>
              <a:cxn ang="0">
                <a:pos x="connsiteX5374" y="connsiteY5374"/>
              </a:cxn>
              <a:cxn ang="0">
                <a:pos x="connsiteX5375" y="connsiteY5375"/>
              </a:cxn>
              <a:cxn ang="0">
                <a:pos x="connsiteX5376" y="connsiteY5376"/>
              </a:cxn>
              <a:cxn ang="0">
                <a:pos x="connsiteX5377" y="connsiteY5377"/>
              </a:cxn>
              <a:cxn ang="0">
                <a:pos x="connsiteX5378" y="connsiteY5378"/>
              </a:cxn>
              <a:cxn ang="0">
                <a:pos x="connsiteX5379" y="connsiteY5379"/>
              </a:cxn>
              <a:cxn ang="0">
                <a:pos x="connsiteX5380" y="connsiteY5380"/>
              </a:cxn>
              <a:cxn ang="0">
                <a:pos x="connsiteX5381" y="connsiteY5381"/>
              </a:cxn>
              <a:cxn ang="0">
                <a:pos x="connsiteX5382" y="connsiteY5382"/>
              </a:cxn>
              <a:cxn ang="0">
                <a:pos x="connsiteX5383" y="connsiteY5383"/>
              </a:cxn>
              <a:cxn ang="0">
                <a:pos x="connsiteX5384" y="connsiteY5384"/>
              </a:cxn>
              <a:cxn ang="0">
                <a:pos x="connsiteX5385" y="connsiteY5385"/>
              </a:cxn>
              <a:cxn ang="0">
                <a:pos x="connsiteX5386" y="connsiteY5386"/>
              </a:cxn>
              <a:cxn ang="0">
                <a:pos x="connsiteX5387" y="connsiteY5387"/>
              </a:cxn>
              <a:cxn ang="0">
                <a:pos x="connsiteX5388" y="connsiteY5388"/>
              </a:cxn>
              <a:cxn ang="0">
                <a:pos x="connsiteX5389" y="connsiteY5389"/>
              </a:cxn>
              <a:cxn ang="0">
                <a:pos x="connsiteX5390" y="connsiteY5390"/>
              </a:cxn>
              <a:cxn ang="0">
                <a:pos x="connsiteX5391" y="connsiteY5391"/>
              </a:cxn>
              <a:cxn ang="0">
                <a:pos x="connsiteX5392" y="connsiteY5392"/>
              </a:cxn>
              <a:cxn ang="0">
                <a:pos x="connsiteX5393" y="connsiteY5393"/>
              </a:cxn>
              <a:cxn ang="0">
                <a:pos x="connsiteX5394" y="connsiteY5394"/>
              </a:cxn>
              <a:cxn ang="0">
                <a:pos x="connsiteX5395" y="connsiteY5395"/>
              </a:cxn>
              <a:cxn ang="0">
                <a:pos x="connsiteX5396" y="connsiteY5396"/>
              </a:cxn>
              <a:cxn ang="0">
                <a:pos x="connsiteX5397" y="connsiteY5397"/>
              </a:cxn>
              <a:cxn ang="0">
                <a:pos x="connsiteX5398" y="connsiteY5398"/>
              </a:cxn>
              <a:cxn ang="0">
                <a:pos x="connsiteX5399" y="connsiteY5399"/>
              </a:cxn>
              <a:cxn ang="0">
                <a:pos x="connsiteX5400" y="connsiteY5400"/>
              </a:cxn>
              <a:cxn ang="0">
                <a:pos x="connsiteX5401" y="connsiteY5401"/>
              </a:cxn>
              <a:cxn ang="0">
                <a:pos x="connsiteX5402" y="connsiteY5402"/>
              </a:cxn>
              <a:cxn ang="0">
                <a:pos x="connsiteX5403" y="connsiteY5403"/>
              </a:cxn>
              <a:cxn ang="0">
                <a:pos x="connsiteX5404" y="connsiteY5404"/>
              </a:cxn>
              <a:cxn ang="0">
                <a:pos x="connsiteX5405" y="connsiteY5405"/>
              </a:cxn>
              <a:cxn ang="0">
                <a:pos x="connsiteX5406" y="connsiteY5406"/>
              </a:cxn>
              <a:cxn ang="0">
                <a:pos x="connsiteX5407" y="connsiteY5407"/>
              </a:cxn>
              <a:cxn ang="0">
                <a:pos x="connsiteX5408" y="connsiteY5408"/>
              </a:cxn>
              <a:cxn ang="0">
                <a:pos x="connsiteX5409" y="connsiteY5409"/>
              </a:cxn>
              <a:cxn ang="0">
                <a:pos x="connsiteX5410" y="connsiteY5410"/>
              </a:cxn>
              <a:cxn ang="0">
                <a:pos x="connsiteX5411" y="connsiteY5411"/>
              </a:cxn>
              <a:cxn ang="0">
                <a:pos x="connsiteX5412" y="connsiteY5412"/>
              </a:cxn>
              <a:cxn ang="0">
                <a:pos x="connsiteX5413" y="connsiteY5413"/>
              </a:cxn>
              <a:cxn ang="0">
                <a:pos x="connsiteX5414" y="connsiteY5414"/>
              </a:cxn>
              <a:cxn ang="0">
                <a:pos x="connsiteX5415" y="connsiteY5415"/>
              </a:cxn>
              <a:cxn ang="0">
                <a:pos x="connsiteX5416" y="connsiteY5416"/>
              </a:cxn>
              <a:cxn ang="0">
                <a:pos x="connsiteX5417" y="connsiteY5417"/>
              </a:cxn>
              <a:cxn ang="0">
                <a:pos x="connsiteX5418" y="connsiteY5418"/>
              </a:cxn>
              <a:cxn ang="0">
                <a:pos x="connsiteX5419" y="connsiteY5419"/>
              </a:cxn>
              <a:cxn ang="0">
                <a:pos x="connsiteX5420" y="connsiteY5420"/>
              </a:cxn>
              <a:cxn ang="0">
                <a:pos x="connsiteX5421" y="connsiteY5421"/>
              </a:cxn>
              <a:cxn ang="0">
                <a:pos x="connsiteX5422" y="connsiteY5422"/>
              </a:cxn>
              <a:cxn ang="0">
                <a:pos x="connsiteX5423" y="connsiteY5423"/>
              </a:cxn>
              <a:cxn ang="0">
                <a:pos x="connsiteX5424" y="connsiteY5424"/>
              </a:cxn>
              <a:cxn ang="0">
                <a:pos x="connsiteX5425" y="connsiteY5425"/>
              </a:cxn>
              <a:cxn ang="0">
                <a:pos x="connsiteX5426" y="connsiteY5426"/>
              </a:cxn>
              <a:cxn ang="0">
                <a:pos x="connsiteX5427" y="connsiteY5427"/>
              </a:cxn>
              <a:cxn ang="0">
                <a:pos x="connsiteX5428" y="connsiteY5428"/>
              </a:cxn>
              <a:cxn ang="0">
                <a:pos x="connsiteX5429" y="connsiteY5429"/>
              </a:cxn>
              <a:cxn ang="0">
                <a:pos x="connsiteX5430" y="connsiteY5430"/>
              </a:cxn>
              <a:cxn ang="0">
                <a:pos x="connsiteX5431" y="connsiteY5431"/>
              </a:cxn>
              <a:cxn ang="0">
                <a:pos x="connsiteX5432" y="connsiteY5432"/>
              </a:cxn>
              <a:cxn ang="0">
                <a:pos x="connsiteX5433" y="connsiteY5433"/>
              </a:cxn>
              <a:cxn ang="0">
                <a:pos x="connsiteX5434" y="connsiteY5434"/>
              </a:cxn>
              <a:cxn ang="0">
                <a:pos x="connsiteX5435" y="connsiteY5435"/>
              </a:cxn>
              <a:cxn ang="0">
                <a:pos x="connsiteX5436" y="connsiteY5436"/>
              </a:cxn>
              <a:cxn ang="0">
                <a:pos x="connsiteX5437" y="connsiteY5437"/>
              </a:cxn>
              <a:cxn ang="0">
                <a:pos x="connsiteX5438" y="connsiteY5438"/>
              </a:cxn>
              <a:cxn ang="0">
                <a:pos x="connsiteX5439" y="connsiteY5439"/>
              </a:cxn>
              <a:cxn ang="0">
                <a:pos x="connsiteX5440" y="connsiteY5440"/>
              </a:cxn>
              <a:cxn ang="0">
                <a:pos x="connsiteX5441" y="connsiteY5441"/>
              </a:cxn>
              <a:cxn ang="0">
                <a:pos x="connsiteX5442" y="connsiteY5442"/>
              </a:cxn>
              <a:cxn ang="0">
                <a:pos x="connsiteX5443" y="connsiteY5443"/>
              </a:cxn>
              <a:cxn ang="0">
                <a:pos x="connsiteX5444" y="connsiteY5444"/>
              </a:cxn>
              <a:cxn ang="0">
                <a:pos x="connsiteX5445" y="connsiteY5445"/>
              </a:cxn>
              <a:cxn ang="0">
                <a:pos x="connsiteX5446" y="connsiteY5446"/>
              </a:cxn>
              <a:cxn ang="0">
                <a:pos x="connsiteX5447" y="connsiteY5447"/>
              </a:cxn>
              <a:cxn ang="0">
                <a:pos x="connsiteX5448" y="connsiteY5448"/>
              </a:cxn>
              <a:cxn ang="0">
                <a:pos x="connsiteX5449" y="connsiteY5449"/>
              </a:cxn>
              <a:cxn ang="0">
                <a:pos x="connsiteX5450" y="connsiteY5450"/>
              </a:cxn>
              <a:cxn ang="0">
                <a:pos x="connsiteX5451" y="connsiteY5451"/>
              </a:cxn>
              <a:cxn ang="0">
                <a:pos x="connsiteX5452" y="connsiteY5452"/>
              </a:cxn>
              <a:cxn ang="0">
                <a:pos x="connsiteX5453" y="connsiteY5453"/>
              </a:cxn>
              <a:cxn ang="0">
                <a:pos x="connsiteX5454" y="connsiteY5454"/>
              </a:cxn>
              <a:cxn ang="0">
                <a:pos x="connsiteX5455" y="connsiteY5455"/>
              </a:cxn>
              <a:cxn ang="0">
                <a:pos x="connsiteX5456" y="connsiteY5456"/>
              </a:cxn>
              <a:cxn ang="0">
                <a:pos x="connsiteX5457" y="connsiteY5457"/>
              </a:cxn>
              <a:cxn ang="0">
                <a:pos x="connsiteX5458" y="connsiteY5458"/>
              </a:cxn>
              <a:cxn ang="0">
                <a:pos x="connsiteX5459" y="connsiteY5459"/>
              </a:cxn>
              <a:cxn ang="0">
                <a:pos x="connsiteX5460" y="connsiteY5460"/>
              </a:cxn>
              <a:cxn ang="0">
                <a:pos x="connsiteX5461" y="connsiteY5461"/>
              </a:cxn>
              <a:cxn ang="0">
                <a:pos x="connsiteX5462" y="connsiteY5462"/>
              </a:cxn>
              <a:cxn ang="0">
                <a:pos x="connsiteX5463" y="connsiteY5463"/>
              </a:cxn>
              <a:cxn ang="0">
                <a:pos x="connsiteX5464" y="connsiteY5464"/>
              </a:cxn>
              <a:cxn ang="0">
                <a:pos x="connsiteX5465" y="connsiteY5465"/>
              </a:cxn>
              <a:cxn ang="0">
                <a:pos x="connsiteX5466" y="connsiteY5466"/>
              </a:cxn>
              <a:cxn ang="0">
                <a:pos x="connsiteX5467" y="connsiteY5467"/>
              </a:cxn>
              <a:cxn ang="0">
                <a:pos x="connsiteX5468" y="connsiteY5468"/>
              </a:cxn>
              <a:cxn ang="0">
                <a:pos x="connsiteX5469" y="connsiteY5469"/>
              </a:cxn>
              <a:cxn ang="0">
                <a:pos x="connsiteX5470" y="connsiteY5470"/>
              </a:cxn>
              <a:cxn ang="0">
                <a:pos x="connsiteX5471" y="connsiteY5471"/>
              </a:cxn>
              <a:cxn ang="0">
                <a:pos x="connsiteX5472" y="connsiteY5472"/>
              </a:cxn>
              <a:cxn ang="0">
                <a:pos x="connsiteX5473" y="connsiteY5473"/>
              </a:cxn>
              <a:cxn ang="0">
                <a:pos x="connsiteX5474" y="connsiteY5474"/>
              </a:cxn>
              <a:cxn ang="0">
                <a:pos x="connsiteX5475" y="connsiteY5475"/>
              </a:cxn>
              <a:cxn ang="0">
                <a:pos x="connsiteX5476" y="connsiteY5476"/>
              </a:cxn>
              <a:cxn ang="0">
                <a:pos x="connsiteX5477" y="connsiteY5477"/>
              </a:cxn>
              <a:cxn ang="0">
                <a:pos x="connsiteX5478" y="connsiteY5478"/>
              </a:cxn>
              <a:cxn ang="0">
                <a:pos x="connsiteX5479" y="connsiteY5479"/>
              </a:cxn>
              <a:cxn ang="0">
                <a:pos x="connsiteX5480" y="connsiteY5480"/>
              </a:cxn>
              <a:cxn ang="0">
                <a:pos x="connsiteX5481" y="connsiteY5481"/>
              </a:cxn>
              <a:cxn ang="0">
                <a:pos x="connsiteX5482" y="connsiteY5482"/>
              </a:cxn>
              <a:cxn ang="0">
                <a:pos x="connsiteX5483" y="connsiteY5483"/>
              </a:cxn>
              <a:cxn ang="0">
                <a:pos x="connsiteX5484" y="connsiteY5484"/>
              </a:cxn>
              <a:cxn ang="0">
                <a:pos x="connsiteX5485" y="connsiteY5485"/>
              </a:cxn>
              <a:cxn ang="0">
                <a:pos x="connsiteX5486" y="connsiteY5486"/>
              </a:cxn>
              <a:cxn ang="0">
                <a:pos x="connsiteX5487" y="connsiteY5487"/>
              </a:cxn>
              <a:cxn ang="0">
                <a:pos x="connsiteX5488" y="connsiteY5488"/>
              </a:cxn>
              <a:cxn ang="0">
                <a:pos x="connsiteX5489" y="connsiteY5489"/>
              </a:cxn>
              <a:cxn ang="0">
                <a:pos x="connsiteX5490" y="connsiteY5490"/>
              </a:cxn>
              <a:cxn ang="0">
                <a:pos x="connsiteX5491" y="connsiteY5491"/>
              </a:cxn>
              <a:cxn ang="0">
                <a:pos x="connsiteX5492" y="connsiteY5492"/>
              </a:cxn>
              <a:cxn ang="0">
                <a:pos x="connsiteX5493" y="connsiteY5493"/>
              </a:cxn>
              <a:cxn ang="0">
                <a:pos x="connsiteX5494" y="connsiteY5494"/>
              </a:cxn>
              <a:cxn ang="0">
                <a:pos x="connsiteX5495" y="connsiteY5495"/>
              </a:cxn>
              <a:cxn ang="0">
                <a:pos x="connsiteX5496" y="connsiteY5496"/>
              </a:cxn>
              <a:cxn ang="0">
                <a:pos x="connsiteX5497" y="connsiteY5497"/>
              </a:cxn>
              <a:cxn ang="0">
                <a:pos x="connsiteX5498" y="connsiteY5498"/>
              </a:cxn>
              <a:cxn ang="0">
                <a:pos x="connsiteX5499" y="connsiteY5499"/>
              </a:cxn>
              <a:cxn ang="0">
                <a:pos x="connsiteX5500" y="connsiteY5500"/>
              </a:cxn>
              <a:cxn ang="0">
                <a:pos x="connsiteX5501" y="connsiteY5501"/>
              </a:cxn>
              <a:cxn ang="0">
                <a:pos x="connsiteX5502" y="connsiteY5502"/>
              </a:cxn>
              <a:cxn ang="0">
                <a:pos x="connsiteX5503" y="connsiteY5503"/>
              </a:cxn>
              <a:cxn ang="0">
                <a:pos x="connsiteX5504" y="connsiteY5504"/>
              </a:cxn>
              <a:cxn ang="0">
                <a:pos x="connsiteX5505" y="connsiteY5505"/>
              </a:cxn>
              <a:cxn ang="0">
                <a:pos x="connsiteX5506" y="connsiteY5506"/>
              </a:cxn>
              <a:cxn ang="0">
                <a:pos x="connsiteX5507" y="connsiteY5507"/>
              </a:cxn>
              <a:cxn ang="0">
                <a:pos x="connsiteX5508" y="connsiteY5508"/>
              </a:cxn>
              <a:cxn ang="0">
                <a:pos x="connsiteX5509" y="connsiteY5509"/>
              </a:cxn>
              <a:cxn ang="0">
                <a:pos x="connsiteX5510" y="connsiteY5510"/>
              </a:cxn>
              <a:cxn ang="0">
                <a:pos x="connsiteX5511" y="connsiteY5511"/>
              </a:cxn>
              <a:cxn ang="0">
                <a:pos x="connsiteX5512" y="connsiteY5512"/>
              </a:cxn>
              <a:cxn ang="0">
                <a:pos x="connsiteX5513" y="connsiteY5513"/>
              </a:cxn>
              <a:cxn ang="0">
                <a:pos x="connsiteX5514" y="connsiteY5514"/>
              </a:cxn>
              <a:cxn ang="0">
                <a:pos x="connsiteX5515" y="connsiteY5515"/>
              </a:cxn>
              <a:cxn ang="0">
                <a:pos x="connsiteX5516" y="connsiteY5516"/>
              </a:cxn>
              <a:cxn ang="0">
                <a:pos x="connsiteX5517" y="connsiteY5517"/>
              </a:cxn>
              <a:cxn ang="0">
                <a:pos x="connsiteX5518" y="connsiteY5518"/>
              </a:cxn>
              <a:cxn ang="0">
                <a:pos x="connsiteX5519" y="connsiteY5519"/>
              </a:cxn>
              <a:cxn ang="0">
                <a:pos x="connsiteX5520" y="connsiteY5520"/>
              </a:cxn>
              <a:cxn ang="0">
                <a:pos x="connsiteX5521" y="connsiteY5521"/>
              </a:cxn>
              <a:cxn ang="0">
                <a:pos x="connsiteX5522" y="connsiteY5522"/>
              </a:cxn>
              <a:cxn ang="0">
                <a:pos x="connsiteX5523" y="connsiteY5523"/>
              </a:cxn>
              <a:cxn ang="0">
                <a:pos x="connsiteX5524" y="connsiteY5524"/>
              </a:cxn>
              <a:cxn ang="0">
                <a:pos x="connsiteX5525" y="connsiteY5525"/>
              </a:cxn>
              <a:cxn ang="0">
                <a:pos x="connsiteX5526" y="connsiteY5526"/>
              </a:cxn>
              <a:cxn ang="0">
                <a:pos x="connsiteX5527" y="connsiteY5527"/>
              </a:cxn>
              <a:cxn ang="0">
                <a:pos x="connsiteX5528" y="connsiteY5528"/>
              </a:cxn>
              <a:cxn ang="0">
                <a:pos x="connsiteX5529" y="connsiteY5529"/>
              </a:cxn>
              <a:cxn ang="0">
                <a:pos x="connsiteX5530" y="connsiteY5530"/>
              </a:cxn>
              <a:cxn ang="0">
                <a:pos x="connsiteX5531" y="connsiteY5531"/>
              </a:cxn>
              <a:cxn ang="0">
                <a:pos x="connsiteX5532" y="connsiteY5532"/>
              </a:cxn>
              <a:cxn ang="0">
                <a:pos x="connsiteX5533" y="connsiteY5533"/>
              </a:cxn>
              <a:cxn ang="0">
                <a:pos x="connsiteX5534" y="connsiteY5534"/>
              </a:cxn>
              <a:cxn ang="0">
                <a:pos x="connsiteX5535" y="connsiteY5535"/>
              </a:cxn>
              <a:cxn ang="0">
                <a:pos x="connsiteX5536" y="connsiteY5536"/>
              </a:cxn>
              <a:cxn ang="0">
                <a:pos x="connsiteX5537" y="connsiteY5537"/>
              </a:cxn>
              <a:cxn ang="0">
                <a:pos x="connsiteX5538" y="connsiteY5538"/>
              </a:cxn>
              <a:cxn ang="0">
                <a:pos x="connsiteX5539" y="connsiteY5539"/>
              </a:cxn>
              <a:cxn ang="0">
                <a:pos x="connsiteX5540" y="connsiteY5540"/>
              </a:cxn>
              <a:cxn ang="0">
                <a:pos x="connsiteX5541" y="connsiteY5541"/>
              </a:cxn>
              <a:cxn ang="0">
                <a:pos x="connsiteX5542" y="connsiteY5542"/>
              </a:cxn>
              <a:cxn ang="0">
                <a:pos x="connsiteX5543" y="connsiteY5543"/>
              </a:cxn>
              <a:cxn ang="0">
                <a:pos x="connsiteX5544" y="connsiteY5544"/>
              </a:cxn>
              <a:cxn ang="0">
                <a:pos x="connsiteX5545" y="connsiteY5545"/>
              </a:cxn>
              <a:cxn ang="0">
                <a:pos x="connsiteX5546" y="connsiteY5546"/>
              </a:cxn>
              <a:cxn ang="0">
                <a:pos x="connsiteX5547" y="connsiteY5547"/>
              </a:cxn>
              <a:cxn ang="0">
                <a:pos x="connsiteX5548" y="connsiteY5548"/>
              </a:cxn>
              <a:cxn ang="0">
                <a:pos x="connsiteX5549" y="connsiteY5549"/>
              </a:cxn>
              <a:cxn ang="0">
                <a:pos x="connsiteX5550" y="connsiteY5550"/>
              </a:cxn>
              <a:cxn ang="0">
                <a:pos x="connsiteX5551" y="connsiteY5551"/>
              </a:cxn>
              <a:cxn ang="0">
                <a:pos x="connsiteX5552" y="connsiteY5552"/>
              </a:cxn>
              <a:cxn ang="0">
                <a:pos x="connsiteX5553" y="connsiteY5553"/>
              </a:cxn>
              <a:cxn ang="0">
                <a:pos x="connsiteX5554" y="connsiteY5554"/>
              </a:cxn>
              <a:cxn ang="0">
                <a:pos x="connsiteX5555" y="connsiteY5555"/>
              </a:cxn>
              <a:cxn ang="0">
                <a:pos x="connsiteX5556" y="connsiteY5556"/>
              </a:cxn>
              <a:cxn ang="0">
                <a:pos x="connsiteX5557" y="connsiteY5557"/>
              </a:cxn>
              <a:cxn ang="0">
                <a:pos x="connsiteX5558" y="connsiteY5558"/>
              </a:cxn>
              <a:cxn ang="0">
                <a:pos x="connsiteX5559" y="connsiteY5559"/>
              </a:cxn>
              <a:cxn ang="0">
                <a:pos x="connsiteX5560" y="connsiteY5560"/>
              </a:cxn>
              <a:cxn ang="0">
                <a:pos x="connsiteX5561" y="connsiteY5561"/>
              </a:cxn>
              <a:cxn ang="0">
                <a:pos x="connsiteX5562" y="connsiteY5562"/>
              </a:cxn>
              <a:cxn ang="0">
                <a:pos x="connsiteX5563" y="connsiteY5563"/>
              </a:cxn>
              <a:cxn ang="0">
                <a:pos x="connsiteX5564" y="connsiteY5564"/>
              </a:cxn>
              <a:cxn ang="0">
                <a:pos x="connsiteX5565" y="connsiteY5565"/>
              </a:cxn>
              <a:cxn ang="0">
                <a:pos x="connsiteX5566" y="connsiteY5566"/>
              </a:cxn>
              <a:cxn ang="0">
                <a:pos x="connsiteX5567" y="connsiteY5567"/>
              </a:cxn>
              <a:cxn ang="0">
                <a:pos x="connsiteX5568" y="connsiteY5568"/>
              </a:cxn>
              <a:cxn ang="0">
                <a:pos x="connsiteX5569" y="connsiteY5569"/>
              </a:cxn>
              <a:cxn ang="0">
                <a:pos x="connsiteX5570" y="connsiteY5570"/>
              </a:cxn>
              <a:cxn ang="0">
                <a:pos x="connsiteX5571" y="connsiteY5571"/>
              </a:cxn>
              <a:cxn ang="0">
                <a:pos x="connsiteX5572" y="connsiteY5572"/>
              </a:cxn>
              <a:cxn ang="0">
                <a:pos x="connsiteX5573" y="connsiteY5573"/>
              </a:cxn>
              <a:cxn ang="0">
                <a:pos x="connsiteX5574" y="connsiteY5574"/>
              </a:cxn>
              <a:cxn ang="0">
                <a:pos x="connsiteX5575" y="connsiteY5575"/>
              </a:cxn>
              <a:cxn ang="0">
                <a:pos x="connsiteX5576" y="connsiteY5576"/>
              </a:cxn>
              <a:cxn ang="0">
                <a:pos x="connsiteX5577" y="connsiteY5577"/>
              </a:cxn>
              <a:cxn ang="0">
                <a:pos x="connsiteX5578" y="connsiteY5578"/>
              </a:cxn>
              <a:cxn ang="0">
                <a:pos x="connsiteX5579" y="connsiteY5579"/>
              </a:cxn>
              <a:cxn ang="0">
                <a:pos x="connsiteX5580" y="connsiteY5580"/>
              </a:cxn>
              <a:cxn ang="0">
                <a:pos x="connsiteX5581" y="connsiteY5581"/>
              </a:cxn>
              <a:cxn ang="0">
                <a:pos x="connsiteX5582" y="connsiteY5582"/>
              </a:cxn>
              <a:cxn ang="0">
                <a:pos x="connsiteX5583" y="connsiteY5583"/>
              </a:cxn>
              <a:cxn ang="0">
                <a:pos x="connsiteX5584" y="connsiteY5584"/>
              </a:cxn>
              <a:cxn ang="0">
                <a:pos x="connsiteX5585" y="connsiteY5585"/>
              </a:cxn>
              <a:cxn ang="0">
                <a:pos x="connsiteX5586" y="connsiteY5586"/>
              </a:cxn>
              <a:cxn ang="0">
                <a:pos x="connsiteX5587" y="connsiteY5587"/>
              </a:cxn>
              <a:cxn ang="0">
                <a:pos x="connsiteX5588" y="connsiteY5588"/>
              </a:cxn>
              <a:cxn ang="0">
                <a:pos x="connsiteX5589" y="connsiteY5589"/>
              </a:cxn>
              <a:cxn ang="0">
                <a:pos x="connsiteX5590" y="connsiteY5590"/>
              </a:cxn>
              <a:cxn ang="0">
                <a:pos x="connsiteX5591" y="connsiteY5591"/>
              </a:cxn>
              <a:cxn ang="0">
                <a:pos x="connsiteX5592" y="connsiteY5592"/>
              </a:cxn>
              <a:cxn ang="0">
                <a:pos x="connsiteX5593" y="connsiteY5593"/>
              </a:cxn>
              <a:cxn ang="0">
                <a:pos x="connsiteX5594" y="connsiteY5594"/>
              </a:cxn>
              <a:cxn ang="0">
                <a:pos x="connsiteX5595" y="connsiteY5595"/>
              </a:cxn>
              <a:cxn ang="0">
                <a:pos x="connsiteX5596" y="connsiteY5596"/>
              </a:cxn>
              <a:cxn ang="0">
                <a:pos x="connsiteX5597" y="connsiteY5597"/>
              </a:cxn>
              <a:cxn ang="0">
                <a:pos x="connsiteX5598" y="connsiteY5598"/>
              </a:cxn>
              <a:cxn ang="0">
                <a:pos x="connsiteX5599" y="connsiteY5599"/>
              </a:cxn>
              <a:cxn ang="0">
                <a:pos x="connsiteX5600" y="connsiteY5600"/>
              </a:cxn>
              <a:cxn ang="0">
                <a:pos x="connsiteX5601" y="connsiteY5601"/>
              </a:cxn>
              <a:cxn ang="0">
                <a:pos x="connsiteX5602" y="connsiteY5602"/>
              </a:cxn>
              <a:cxn ang="0">
                <a:pos x="connsiteX5603" y="connsiteY5603"/>
              </a:cxn>
              <a:cxn ang="0">
                <a:pos x="connsiteX5604" y="connsiteY5604"/>
              </a:cxn>
              <a:cxn ang="0">
                <a:pos x="connsiteX5605" y="connsiteY5605"/>
              </a:cxn>
              <a:cxn ang="0">
                <a:pos x="connsiteX5606" y="connsiteY5606"/>
              </a:cxn>
              <a:cxn ang="0">
                <a:pos x="connsiteX5607" y="connsiteY5607"/>
              </a:cxn>
              <a:cxn ang="0">
                <a:pos x="connsiteX5608" y="connsiteY5608"/>
              </a:cxn>
              <a:cxn ang="0">
                <a:pos x="connsiteX5609" y="connsiteY5609"/>
              </a:cxn>
              <a:cxn ang="0">
                <a:pos x="connsiteX5610" y="connsiteY5610"/>
              </a:cxn>
              <a:cxn ang="0">
                <a:pos x="connsiteX5611" y="connsiteY5611"/>
              </a:cxn>
              <a:cxn ang="0">
                <a:pos x="connsiteX5612" y="connsiteY5612"/>
              </a:cxn>
              <a:cxn ang="0">
                <a:pos x="connsiteX5613" y="connsiteY5613"/>
              </a:cxn>
              <a:cxn ang="0">
                <a:pos x="connsiteX5614" y="connsiteY5614"/>
              </a:cxn>
              <a:cxn ang="0">
                <a:pos x="connsiteX5615" y="connsiteY5615"/>
              </a:cxn>
              <a:cxn ang="0">
                <a:pos x="connsiteX5616" y="connsiteY5616"/>
              </a:cxn>
              <a:cxn ang="0">
                <a:pos x="connsiteX5617" y="connsiteY5617"/>
              </a:cxn>
              <a:cxn ang="0">
                <a:pos x="connsiteX5618" y="connsiteY5618"/>
              </a:cxn>
              <a:cxn ang="0">
                <a:pos x="connsiteX5619" y="connsiteY5619"/>
              </a:cxn>
              <a:cxn ang="0">
                <a:pos x="connsiteX5620" y="connsiteY5620"/>
              </a:cxn>
              <a:cxn ang="0">
                <a:pos x="connsiteX5621" y="connsiteY5621"/>
              </a:cxn>
              <a:cxn ang="0">
                <a:pos x="connsiteX5622" y="connsiteY5622"/>
              </a:cxn>
              <a:cxn ang="0">
                <a:pos x="connsiteX5623" y="connsiteY5623"/>
              </a:cxn>
              <a:cxn ang="0">
                <a:pos x="connsiteX5624" y="connsiteY5624"/>
              </a:cxn>
              <a:cxn ang="0">
                <a:pos x="connsiteX5625" y="connsiteY5625"/>
              </a:cxn>
              <a:cxn ang="0">
                <a:pos x="connsiteX5626" y="connsiteY5626"/>
              </a:cxn>
              <a:cxn ang="0">
                <a:pos x="connsiteX5627" y="connsiteY5627"/>
              </a:cxn>
              <a:cxn ang="0">
                <a:pos x="connsiteX5628" y="connsiteY5628"/>
              </a:cxn>
              <a:cxn ang="0">
                <a:pos x="connsiteX5629" y="connsiteY5629"/>
              </a:cxn>
              <a:cxn ang="0">
                <a:pos x="connsiteX5630" y="connsiteY5630"/>
              </a:cxn>
              <a:cxn ang="0">
                <a:pos x="connsiteX5631" y="connsiteY5631"/>
              </a:cxn>
              <a:cxn ang="0">
                <a:pos x="connsiteX5632" y="connsiteY5632"/>
              </a:cxn>
              <a:cxn ang="0">
                <a:pos x="connsiteX5633" y="connsiteY5633"/>
              </a:cxn>
              <a:cxn ang="0">
                <a:pos x="connsiteX5634" y="connsiteY5634"/>
              </a:cxn>
              <a:cxn ang="0">
                <a:pos x="connsiteX5635" y="connsiteY5635"/>
              </a:cxn>
              <a:cxn ang="0">
                <a:pos x="connsiteX5636" y="connsiteY5636"/>
              </a:cxn>
              <a:cxn ang="0">
                <a:pos x="connsiteX5637" y="connsiteY5637"/>
              </a:cxn>
              <a:cxn ang="0">
                <a:pos x="connsiteX5638" y="connsiteY5638"/>
              </a:cxn>
              <a:cxn ang="0">
                <a:pos x="connsiteX5639" y="connsiteY5639"/>
              </a:cxn>
              <a:cxn ang="0">
                <a:pos x="connsiteX5640" y="connsiteY5640"/>
              </a:cxn>
              <a:cxn ang="0">
                <a:pos x="connsiteX5641" y="connsiteY5641"/>
              </a:cxn>
              <a:cxn ang="0">
                <a:pos x="connsiteX5642" y="connsiteY5642"/>
              </a:cxn>
              <a:cxn ang="0">
                <a:pos x="connsiteX5643" y="connsiteY5643"/>
              </a:cxn>
              <a:cxn ang="0">
                <a:pos x="connsiteX5644" y="connsiteY5644"/>
              </a:cxn>
              <a:cxn ang="0">
                <a:pos x="connsiteX5645" y="connsiteY5645"/>
              </a:cxn>
              <a:cxn ang="0">
                <a:pos x="connsiteX5646" y="connsiteY5646"/>
              </a:cxn>
              <a:cxn ang="0">
                <a:pos x="connsiteX5647" y="connsiteY5647"/>
              </a:cxn>
              <a:cxn ang="0">
                <a:pos x="connsiteX5648" y="connsiteY5648"/>
              </a:cxn>
              <a:cxn ang="0">
                <a:pos x="connsiteX5649" y="connsiteY5649"/>
              </a:cxn>
              <a:cxn ang="0">
                <a:pos x="connsiteX5650" y="connsiteY5650"/>
              </a:cxn>
              <a:cxn ang="0">
                <a:pos x="connsiteX5651" y="connsiteY5651"/>
              </a:cxn>
              <a:cxn ang="0">
                <a:pos x="connsiteX5652" y="connsiteY5652"/>
              </a:cxn>
              <a:cxn ang="0">
                <a:pos x="connsiteX5653" y="connsiteY5653"/>
              </a:cxn>
              <a:cxn ang="0">
                <a:pos x="connsiteX5654" y="connsiteY5654"/>
              </a:cxn>
              <a:cxn ang="0">
                <a:pos x="connsiteX5655" y="connsiteY5655"/>
              </a:cxn>
              <a:cxn ang="0">
                <a:pos x="connsiteX5656" y="connsiteY5656"/>
              </a:cxn>
              <a:cxn ang="0">
                <a:pos x="connsiteX5657" y="connsiteY5657"/>
              </a:cxn>
              <a:cxn ang="0">
                <a:pos x="connsiteX5658" y="connsiteY5658"/>
              </a:cxn>
              <a:cxn ang="0">
                <a:pos x="connsiteX5659" y="connsiteY5659"/>
              </a:cxn>
              <a:cxn ang="0">
                <a:pos x="connsiteX5660" y="connsiteY5660"/>
              </a:cxn>
              <a:cxn ang="0">
                <a:pos x="connsiteX5661" y="connsiteY5661"/>
              </a:cxn>
              <a:cxn ang="0">
                <a:pos x="connsiteX5662" y="connsiteY5662"/>
              </a:cxn>
              <a:cxn ang="0">
                <a:pos x="connsiteX5663" y="connsiteY5663"/>
              </a:cxn>
              <a:cxn ang="0">
                <a:pos x="connsiteX5664" y="connsiteY5664"/>
              </a:cxn>
              <a:cxn ang="0">
                <a:pos x="connsiteX5665" y="connsiteY5665"/>
              </a:cxn>
              <a:cxn ang="0">
                <a:pos x="connsiteX5666" y="connsiteY5666"/>
              </a:cxn>
              <a:cxn ang="0">
                <a:pos x="connsiteX5667" y="connsiteY5667"/>
              </a:cxn>
              <a:cxn ang="0">
                <a:pos x="connsiteX5668" y="connsiteY5668"/>
              </a:cxn>
              <a:cxn ang="0">
                <a:pos x="connsiteX5669" y="connsiteY5669"/>
              </a:cxn>
              <a:cxn ang="0">
                <a:pos x="connsiteX5670" y="connsiteY5670"/>
              </a:cxn>
              <a:cxn ang="0">
                <a:pos x="connsiteX5671" y="connsiteY5671"/>
              </a:cxn>
              <a:cxn ang="0">
                <a:pos x="connsiteX5672" y="connsiteY5672"/>
              </a:cxn>
              <a:cxn ang="0">
                <a:pos x="connsiteX5673" y="connsiteY5673"/>
              </a:cxn>
              <a:cxn ang="0">
                <a:pos x="connsiteX5674" y="connsiteY5674"/>
              </a:cxn>
              <a:cxn ang="0">
                <a:pos x="connsiteX5675" y="connsiteY5675"/>
              </a:cxn>
              <a:cxn ang="0">
                <a:pos x="connsiteX5676" y="connsiteY5676"/>
              </a:cxn>
              <a:cxn ang="0">
                <a:pos x="connsiteX5677" y="connsiteY5677"/>
              </a:cxn>
              <a:cxn ang="0">
                <a:pos x="connsiteX5678" y="connsiteY5678"/>
              </a:cxn>
              <a:cxn ang="0">
                <a:pos x="connsiteX5679" y="connsiteY5679"/>
              </a:cxn>
              <a:cxn ang="0">
                <a:pos x="connsiteX5680" y="connsiteY5680"/>
              </a:cxn>
              <a:cxn ang="0">
                <a:pos x="connsiteX5681" y="connsiteY5681"/>
              </a:cxn>
              <a:cxn ang="0">
                <a:pos x="connsiteX5682" y="connsiteY5682"/>
              </a:cxn>
              <a:cxn ang="0">
                <a:pos x="connsiteX5683" y="connsiteY5683"/>
              </a:cxn>
              <a:cxn ang="0">
                <a:pos x="connsiteX5684" y="connsiteY5684"/>
              </a:cxn>
              <a:cxn ang="0">
                <a:pos x="connsiteX5685" y="connsiteY5685"/>
              </a:cxn>
              <a:cxn ang="0">
                <a:pos x="connsiteX5686" y="connsiteY5686"/>
              </a:cxn>
              <a:cxn ang="0">
                <a:pos x="connsiteX5687" y="connsiteY5687"/>
              </a:cxn>
              <a:cxn ang="0">
                <a:pos x="connsiteX5688" y="connsiteY5688"/>
              </a:cxn>
              <a:cxn ang="0">
                <a:pos x="connsiteX5689" y="connsiteY5689"/>
              </a:cxn>
              <a:cxn ang="0">
                <a:pos x="connsiteX5690" y="connsiteY5690"/>
              </a:cxn>
              <a:cxn ang="0">
                <a:pos x="connsiteX5691" y="connsiteY5691"/>
              </a:cxn>
              <a:cxn ang="0">
                <a:pos x="connsiteX5692" y="connsiteY5692"/>
              </a:cxn>
              <a:cxn ang="0">
                <a:pos x="connsiteX5693" y="connsiteY5693"/>
              </a:cxn>
              <a:cxn ang="0">
                <a:pos x="connsiteX5694" y="connsiteY5694"/>
              </a:cxn>
              <a:cxn ang="0">
                <a:pos x="connsiteX5695" y="connsiteY5695"/>
              </a:cxn>
              <a:cxn ang="0">
                <a:pos x="connsiteX5696" y="connsiteY5696"/>
              </a:cxn>
              <a:cxn ang="0">
                <a:pos x="connsiteX5697" y="connsiteY5697"/>
              </a:cxn>
              <a:cxn ang="0">
                <a:pos x="connsiteX5698" y="connsiteY5698"/>
              </a:cxn>
              <a:cxn ang="0">
                <a:pos x="connsiteX5699" y="connsiteY5699"/>
              </a:cxn>
              <a:cxn ang="0">
                <a:pos x="connsiteX5700" y="connsiteY5700"/>
              </a:cxn>
              <a:cxn ang="0">
                <a:pos x="connsiteX5701" y="connsiteY5701"/>
              </a:cxn>
              <a:cxn ang="0">
                <a:pos x="connsiteX5702" y="connsiteY5702"/>
              </a:cxn>
              <a:cxn ang="0">
                <a:pos x="connsiteX5703" y="connsiteY5703"/>
              </a:cxn>
              <a:cxn ang="0">
                <a:pos x="connsiteX5704" y="connsiteY5704"/>
              </a:cxn>
              <a:cxn ang="0">
                <a:pos x="connsiteX5705" y="connsiteY5705"/>
              </a:cxn>
              <a:cxn ang="0">
                <a:pos x="connsiteX5706" y="connsiteY5706"/>
              </a:cxn>
              <a:cxn ang="0">
                <a:pos x="connsiteX5707" y="connsiteY5707"/>
              </a:cxn>
              <a:cxn ang="0">
                <a:pos x="connsiteX5708" y="connsiteY5708"/>
              </a:cxn>
              <a:cxn ang="0">
                <a:pos x="connsiteX5709" y="connsiteY5709"/>
              </a:cxn>
              <a:cxn ang="0">
                <a:pos x="connsiteX5710" y="connsiteY5710"/>
              </a:cxn>
              <a:cxn ang="0">
                <a:pos x="connsiteX5711" y="connsiteY5711"/>
              </a:cxn>
              <a:cxn ang="0">
                <a:pos x="connsiteX5712" y="connsiteY5712"/>
              </a:cxn>
              <a:cxn ang="0">
                <a:pos x="connsiteX5713" y="connsiteY5713"/>
              </a:cxn>
              <a:cxn ang="0">
                <a:pos x="connsiteX5714" y="connsiteY5714"/>
              </a:cxn>
              <a:cxn ang="0">
                <a:pos x="connsiteX5715" y="connsiteY5715"/>
              </a:cxn>
              <a:cxn ang="0">
                <a:pos x="connsiteX5716" y="connsiteY5716"/>
              </a:cxn>
              <a:cxn ang="0">
                <a:pos x="connsiteX5717" y="connsiteY5717"/>
              </a:cxn>
              <a:cxn ang="0">
                <a:pos x="connsiteX5718" y="connsiteY5718"/>
              </a:cxn>
              <a:cxn ang="0">
                <a:pos x="connsiteX5719" y="connsiteY5719"/>
              </a:cxn>
              <a:cxn ang="0">
                <a:pos x="connsiteX5720" y="connsiteY5720"/>
              </a:cxn>
              <a:cxn ang="0">
                <a:pos x="connsiteX5721" y="connsiteY5721"/>
              </a:cxn>
              <a:cxn ang="0">
                <a:pos x="connsiteX5722" y="connsiteY5722"/>
              </a:cxn>
              <a:cxn ang="0">
                <a:pos x="connsiteX5723" y="connsiteY5723"/>
              </a:cxn>
              <a:cxn ang="0">
                <a:pos x="connsiteX5724" y="connsiteY5724"/>
              </a:cxn>
              <a:cxn ang="0">
                <a:pos x="connsiteX5725" y="connsiteY5725"/>
              </a:cxn>
              <a:cxn ang="0">
                <a:pos x="connsiteX5726" y="connsiteY5726"/>
              </a:cxn>
              <a:cxn ang="0">
                <a:pos x="connsiteX5727" y="connsiteY5727"/>
              </a:cxn>
              <a:cxn ang="0">
                <a:pos x="connsiteX5728" y="connsiteY5728"/>
              </a:cxn>
              <a:cxn ang="0">
                <a:pos x="connsiteX5729" y="connsiteY5729"/>
              </a:cxn>
              <a:cxn ang="0">
                <a:pos x="connsiteX5730" y="connsiteY5730"/>
              </a:cxn>
              <a:cxn ang="0">
                <a:pos x="connsiteX5731" y="connsiteY5731"/>
              </a:cxn>
              <a:cxn ang="0">
                <a:pos x="connsiteX5732" y="connsiteY5732"/>
              </a:cxn>
              <a:cxn ang="0">
                <a:pos x="connsiteX5733" y="connsiteY5733"/>
              </a:cxn>
              <a:cxn ang="0">
                <a:pos x="connsiteX5734" y="connsiteY5734"/>
              </a:cxn>
              <a:cxn ang="0">
                <a:pos x="connsiteX5735" y="connsiteY5735"/>
              </a:cxn>
              <a:cxn ang="0">
                <a:pos x="connsiteX5736" y="connsiteY5736"/>
              </a:cxn>
              <a:cxn ang="0">
                <a:pos x="connsiteX5737" y="connsiteY5737"/>
              </a:cxn>
              <a:cxn ang="0">
                <a:pos x="connsiteX5738" y="connsiteY5738"/>
              </a:cxn>
              <a:cxn ang="0">
                <a:pos x="connsiteX5739" y="connsiteY5739"/>
              </a:cxn>
              <a:cxn ang="0">
                <a:pos x="connsiteX5740" y="connsiteY5740"/>
              </a:cxn>
              <a:cxn ang="0">
                <a:pos x="connsiteX5741" y="connsiteY5741"/>
              </a:cxn>
              <a:cxn ang="0">
                <a:pos x="connsiteX5742" y="connsiteY5742"/>
              </a:cxn>
              <a:cxn ang="0">
                <a:pos x="connsiteX5743" y="connsiteY5743"/>
              </a:cxn>
              <a:cxn ang="0">
                <a:pos x="connsiteX5744" y="connsiteY5744"/>
              </a:cxn>
              <a:cxn ang="0">
                <a:pos x="connsiteX5745" y="connsiteY5745"/>
              </a:cxn>
              <a:cxn ang="0">
                <a:pos x="connsiteX5746" y="connsiteY5746"/>
              </a:cxn>
              <a:cxn ang="0">
                <a:pos x="connsiteX5747" y="connsiteY5747"/>
              </a:cxn>
              <a:cxn ang="0">
                <a:pos x="connsiteX5748" y="connsiteY5748"/>
              </a:cxn>
              <a:cxn ang="0">
                <a:pos x="connsiteX5749" y="connsiteY5749"/>
              </a:cxn>
              <a:cxn ang="0">
                <a:pos x="connsiteX5750" y="connsiteY5750"/>
              </a:cxn>
              <a:cxn ang="0">
                <a:pos x="connsiteX5751" y="connsiteY5751"/>
              </a:cxn>
              <a:cxn ang="0">
                <a:pos x="connsiteX5752" y="connsiteY5752"/>
              </a:cxn>
              <a:cxn ang="0">
                <a:pos x="connsiteX5753" y="connsiteY5753"/>
              </a:cxn>
              <a:cxn ang="0">
                <a:pos x="connsiteX5754" y="connsiteY5754"/>
              </a:cxn>
              <a:cxn ang="0">
                <a:pos x="connsiteX5755" y="connsiteY5755"/>
              </a:cxn>
              <a:cxn ang="0">
                <a:pos x="connsiteX5756" y="connsiteY5756"/>
              </a:cxn>
              <a:cxn ang="0">
                <a:pos x="connsiteX5757" y="connsiteY5757"/>
              </a:cxn>
              <a:cxn ang="0">
                <a:pos x="connsiteX5758" y="connsiteY5758"/>
              </a:cxn>
              <a:cxn ang="0">
                <a:pos x="connsiteX5759" y="connsiteY5759"/>
              </a:cxn>
              <a:cxn ang="0">
                <a:pos x="connsiteX5760" y="connsiteY5760"/>
              </a:cxn>
              <a:cxn ang="0">
                <a:pos x="connsiteX5761" y="connsiteY5761"/>
              </a:cxn>
              <a:cxn ang="0">
                <a:pos x="connsiteX5762" y="connsiteY5762"/>
              </a:cxn>
              <a:cxn ang="0">
                <a:pos x="connsiteX5763" y="connsiteY5763"/>
              </a:cxn>
              <a:cxn ang="0">
                <a:pos x="connsiteX5764" y="connsiteY5764"/>
              </a:cxn>
              <a:cxn ang="0">
                <a:pos x="connsiteX5765" y="connsiteY5765"/>
              </a:cxn>
              <a:cxn ang="0">
                <a:pos x="connsiteX5766" y="connsiteY5766"/>
              </a:cxn>
              <a:cxn ang="0">
                <a:pos x="connsiteX5767" y="connsiteY5767"/>
              </a:cxn>
              <a:cxn ang="0">
                <a:pos x="connsiteX5768" y="connsiteY5768"/>
              </a:cxn>
              <a:cxn ang="0">
                <a:pos x="connsiteX5769" y="connsiteY5769"/>
              </a:cxn>
              <a:cxn ang="0">
                <a:pos x="connsiteX5770" y="connsiteY5770"/>
              </a:cxn>
              <a:cxn ang="0">
                <a:pos x="connsiteX5771" y="connsiteY5771"/>
              </a:cxn>
              <a:cxn ang="0">
                <a:pos x="connsiteX5772" y="connsiteY5772"/>
              </a:cxn>
              <a:cxn ang="0">
                <a:pos x="connsiteX5773" y="connsiteY5773"/>
              </a:cxn>
              <a:cxn ang="0">
                <a:pos x="connsiteX5774" y="connsiteY5774"/>
              </a:cxn>
              <a:cxn ang="0">
                <a:pos x="connsiteX5775" y="connsiteY5775"/>
              </a:cxn>
              <a:cxn ang="0">
                <a:pos x="connsiteX5776" y="connsiteY5776"/>
              </a:cxn>
              <a:cxn ang="0">
                <a:pos x="connsiteX5777" y="connsiteY5777"/>
              </a:cxn>
              <a:cxn ang="0">
                <a:pos x="connsiteX5778" y="connsiteY5778"/>
              </a:cxn>
              <a:cxn ang="0">
                <a:pos x="connsiteX5779" y="connsiteY5779"/>
              </a:cxn>
              <a:cxn ang="0">
                <a:pos x="connsiteX5780" y="connsiteY5780"/>
              </a:cxn>
              <a:cxn ang="0">
                <a:pos x="connsiteX5781" y="connsiteY5781"/>
              </a:cxn>
              <a:cxn ang="0">
                <a:pos x="connsiteX5782" y="connsiteY5782"/>
              </a:cxn>
              <a:cxn ang="0">
                <a:pos x="connsiteX5783" y="connsiteY5783"/>
              </a:cxn>
              <a:cxn ang="0">
                <a:pos x="connsiteX5784" y="connsiteY5784"/>
              </a:cxn>
              <a:cxn ang="0">
                <a:pos x="connsiteX5785" y="connsiteY5785"/>
              </a:cxn>
              <a:cxn ang="0">
                <a:pos x="connsiteX5786" y="connsiteY5786"/>
              </a:cxn>
              <a:cxn ang="0">
                <a:pos x="connsiteX5787" y="connsiteY5787"/>
              </a:cxn>
              <a:cxn ang="0">
                <a:pos x="connsiteX5788" y="connsiteY5788"/>
              </a:cxn>
              <a:cxn ang="0">
                <a:pos x="connsiteX5789" y="connsiteY5789"/>
              </a:cxn>
              <a:cxn ang="0">
                <a:pos x="connsiteX5790" y="connsiteY5790"/>
              </a:cxn>
              <a:cxn ang="0">
                <a:pos x="connsiteX5791" y="connsiteY5791"/>
              </a:cxn>
              <a:cxn ang="0">
                <a:pos x="connsiteX5792" y="connsiteY5792"/>
              </a:cxn>
              <a:cxn ang="0">
                <a:pos x="connsiteX5793" y="connsiteY5793"/>
              </a:cxn>
              <a:cxn ang="0">
                <a:pos x="connsiteX5794" y="connsiteY5794"/>
              </a:cxn>
              <a:cxn ang="0">
                <a:pos x="connsiteX5795" y="connsiteY5795"/>
              </a:cxn>
              <a:cxn ang="0">
                <a:pos x="connsiteX5796" y="connsiteY5796"/>
              </a:cxn>
              <a:cxn ang="0">
                <a:pos x="connsiteX5797" y="connsiteY5797"/>
              </a:cxn>
              <a:cxn ang="0">
                <a:pos x="connsiteX5798" y="connsiteY5798"/>
              </a:cxn>
              <a:cxn ang="0">
                <a:pos x="connsiteX5799" y="connsiteY5799"/>
              </a:cxn>
              <a:cxn ang="0">
                <a:pos x="connsiteX5800" y="connsiteY5800"/>
              </a:cxn>
              <a:cxn ang="0">
                <a:pos x="connsiteX5801" y="connsiteY5801"/>
              </a:cxn>
              <a:cxn ang="0">
                <a:pos x="connsiteX5802" y="connsiteY5802"/>
              </a:cxn>
              <a:cxn ang="0">
                <a:pos x="connsiteX5803" y="connsiteY5803"/>
              </a:cxn>
              <a:cxn ang="0">
                <a:pos x="connsiteX5804" y="connsiteY5804"/>
              </a:cxn>
              <a:cxn ang="0">
                <a:pos x="connsiteX5805" y="connsiteY5805"/>
              </a:cxn>
              <a:cxn ang="0">
                <a:pos x="connsiteX5806" y="connsiteY5806"/>
              </a:cxn>
              <a:cxn ang="0">
                <a:pos x="connsiteX5807" y="connsiteY5807"/>
              </a:cxn>
              <a:cxn ang="0">
                <a:pos x="connsiteX5808" y="connsiteY5808"/>
              </a:cxn>
              <a:cxn ang="0">
                <a:pos x="connsiteX5809" y="connsiteY5809"/>
              </a:cxn>
              <a:cxn ang="0">
                <a:pos x="connsiteX5810" y="connsiteY5810"/>
              </a:cxn>
              <a:cxn ang="0">
                <a:pos x="connsiteX5811" y="connsiteY5811"/>
              </a:cxn>
              <a:cxn ang="0">
                <a:pos x="connsiteX5812" y="connsiteY5812"/>
              </a:cxn>
              <a:cxn ang="0">
                <a:pos x="connsiteX5813" y="connsiteY5813"/>
              </a:cxn>
              <a:cxn ang="0">
                <a:pos x="connsiteX5814" y="connsiteY5814"/>
              </a:cxn>
              <a:cxn ang="0">
                <a:pos x="connsiteX5815" y="connsiteY5815"/>
              </a:cxn>
              <a:cxn ang="0">
                <a:pos x="connsiteX5816" y="connsiteY5816"/>
              </a:cxn>
              <a:cxn ang="0">
                <a:pos x="connsiteX5817" y="connsiteY5817"/>
              </a:cxn>
              <a:cxn ang="0">
                <a:pos x="connsiteX5818" y="connsiteY5818"/>
              </a:cxn>
              <a:cxn ang="0">
                <a:pos x="connsiteX5819" y="connsiteY5819"/>
              </a:cxn>
              <a:cxn ang="0">
                <a:pos x="connsiteX5820" y="connsiteY5820"/>
              </a:cxn>
              <a:cxn ang="0">
                <a:pos x="connsiteX5821" y="connsiteY5821"/>
              </a:cxn>
              <a:cxn ang="0">
                <a:pos x="connsiteX5822" y="connsiteY5822"/>
              </a:cxn>
              <a:cxn ang="0">
                <a:pos x="connsiteX5823" y="connsiteY5823"/>
              </a:cxn>
              <a:cxn ang="0">
                <a:pos x="connsiteX5824" y="connsiteY5824"/>
              </a:cxn>
              <a:cxn ang="0">
                <a:pos x="connsiteX5825" y="connsiteY5825"/>
              </a:cxn>
              <a:cxn ang="0">
                <a:pos x="connsiteX5826" y="connsiteY5826"/>
              </a:cxn>
              <a:cxn ang="0">
                <a:pos x="connsiteX5827" y="connsiteY5827"/>
              </a:cxn>
              <a:cxn ang="0">
                <a:pos x="connsiteX5828" y="connsiteY5828"/>
              </a:cxn>
              <a:cxn ang="0">
                <a:pos x="connsiteX5829" y="connsiteY5829"/>
              </a:cxn>
              <a:cxn ang="0">
                <a:pos x="connsiteX5830" y="connsiteY5830"/>
              </a:cxn>
              <a:cxn ang="0">
                <a:pos x="connsiteX5831" y="connsiteY5831"/>
              </a:cxn>
              <a:cxn ang="0">
                <a:pos x="connsiteX5832" y="connsiteY5832"/>
              </a:cxn>
              <a:cxn ang="0">
                <a:pos x="connsiteX5833" y="connsiteY5833"/>
              </a:cxn>
              <a:cxn ang="0">
                <a:pos x="connsiteX5834" y="connsiteY5834"/>
              </a:cxn>
              <a:cxn ang="0">
                <a:pos x="connsiteX5835" y="connsiteY5835"/>
              </a:cxn>
              <a:cxn ang="0">
                <a:pos x="connsiteX5836" y="connsiteY5836"/>
              </a:cxn>
              <a:cxn ang="0">
                <a:pos x="connsiteX5837" y="connsiteY5837"/>
              </a:cxn>
              <a:cxn ang="0">
                <a:pos x="connsiteX5838" y="connsiteY5838"/>
              </a:cxn>
              <a:cxn ang="0">
                <a:pos x="connsiteX5839" y="connsiteY5839"/>
              </a:cxn>
              <a:cxn ang="0">
                <a:pos x="connsiteX5840" y="connsiteY5840"/>
              </a:cxn>
              <a:cxn ang="0">
                <a:pos x="connsiteX5841" y="connsiteY5841"/>
              </a:cxn>
              <a:cxn ang="0">
                <a:pos x="connsiteX5842" y="connsiteY5842"/>
              </a:cxn>
              <a:cxn ang="0">
                <a:pos x="connsiteX5843" y="connsiteY5843"/>
              </a:cxn>
              <a:cxn ang="0">
                <a:pos x="connsiteX5844" y="connsiteY5844"/>
              </a:cxn>
              <a:cxn ang="0">
                <a:pos x="connsiteX5845" y="connsiteY5845"/>
              </a:cxn>
              <a:cxn ang="0">
                <a:pos x="connsiteX5846" y="connsiteY5846"/>
              </a:cxn>
              <a:cxn ang="0">
                <a:pos x="connsiteX5847" y="connsiteY5847"/>
              </a:cxn>
              <a:cxn ang="0">
                <a:pos x="connsiteX5848" y="connsiteY5848"/>
              </a:cxn>
              <a:cxn ang="0">
                <a:pos x="connsiteX5849" y="connsiteY5849"/>
              </a:cxn>
              <a:cxn ang="0">
                <a:pos x="connsiteX5850" y="connsiteY5850"/>
              </a:cxn>
              <a:cxn ang="0">
                <a:pos x="connsiteX5851" y="connsiteY5851"/>
              </a:cxn>
              <a:cxn ang="0">
                <a:pos x="connsiteX5852" y="connsiteY5852"/>
              </a:cxn>
              <a:cxn ang="0">
                <a:pos x="connsiteX5853" y="connsiteY5853"/>
              </a:cxn>
              <a:cxn ang="0">
                <a:pos x="connsiteX5854" y="connsiteY5854"/>
              </a:cxn>
              <a:cxn ang="0">
                <a:pos x="connsiteX5855" y="connsiteY5855"/>
              </a:cxn>
              <a:cxn ang="0">
                <a:pos x="connsiteX5856" y="connsiteY5856"/>
              </a:cxn>
              <a:cxn ang="0">
                <a:pos x="connsiteX5857" y="connsiteY5857"/>
              </a:cxn>
              <a:cxn ang="0">
                <a:pos x="connsiteX5858" y="connsiteY5858"/>
              </a:cxn>
              <a:cxn ang="0">
                <a:pos x="connsiteX5859" y="connsiteY5859"/>
              </a:cxn>
              <a:cxn ang="0">
                <a:pos x="connsiteX5860" y="connsiteY5860"/>
              </a:cxn>
              <a:cxn ang="0">
                <a:pos x="connsiteX5861" y="connsiteY5861"/>
              </a:cxn>
              <a:cxn ang="0">
                <a:pos x="connsiteX5862" y="connsiteY5862"/>
              </a:cxn>
              <a:cxn ang="0">
                <a:pos x="connsiteX5863" y="connsiteY5863"/>
              </a:cxn>
              <a:cxn ang="0">
                <a:pos x="connsiteX5864" y="connsiteY5864"/>
              </a:cxn>
              <a:cxn ang="0">
                <a:pos x="connsiteX5865" y="connsiteY5865"/>
              </a:cxn>
              <a:cxn ang="0">
                <a:pos x="connsiteX5866" y="connsiteY5866"/>
              </a:cxn>
              <a:cxn ang="0">
                <a:pos x="connsiteX5867" y="connsiteY5867"/>
              </a:cxn>
              <a:cxn ang="0">
                <a:pos x="connsiteX5868" y="connsiteY5868"/>
              </a:cxn>
              <a:cxn ang="0">
                <a:pos x="connsiteX5869" y="connsiteY5869"/>
              </a:cxn>
              <a:cxn ang="0">
                <a:pos x="connsiteX5870" y="connsiteY5870"/>
              </a:cxn>
              <a:cxn ang="0">
                <a:pos x="connsiteX5871" y="connsiteY5871"/>
              </a:cxn>
              <a:cxn ang="0">
                <a:pos x="connsiteX5872" y="connsiteY5872"/>
              </a:cxn>
              <a:cxn ang="0">
                <a:pos x="connsiteX5873" y="connsiteY5873"/>
              </a:cxn>
              <a:cxn ang="0">
                <a:pos x="connsiteX5874" y="connsiteY5874"/>
              </a:cxn>
              <a:cxn ang="0">
                <a:pos x="connsiteX5875" y="connsiteY5875"/>
              </a:cxn>
              <a:cxn ang="0">
                <a:pos x="connsiteX5876" y="connsiteY5876"/>
              </a:cxn>
              <a:cxn ang="0">
                <a:pos x="connsiteX5877" y="connsiteY5877"/>
              </a:cxn>
              <a:cxn ang="0">
                <a:pos x="connsiteX5878" y="connsiteY5878"/>
              </a:cxn>
              <a:cxn ang="0">
                <a:pos x="connsiteX5879" y="connsiteY5879"/>
              </a:cxn>
              <a:cxn ang="0">
                <a:pos x="connsiteX5880" y="connsiteY5880"/>
              </a:cxn>
              <a:cxn ang="0">
                <a:pos x="connsiteX5881" y="connsiteY5881"/>
              </a:cxn>
              <a:cxn ang="0">
                <a:pos x="connsiteX5882" y="connsiteY5882"/>
              </a:cxn>
              <a:cxn ang="0">
                <a:pos x="connsiteX5883" y="connsiteY5883"/>
              </a:cxn>
              <a:cxn ang="0">
                <a:pos x="connsiteX5884" y="connsiteY5884"/>
              </a:cxn>
              <a:cxn ang="0">
                <a:pos x="connsiteX5885" y="connsiteY5885"/>
              </a:cxn>
              <a:cxn ang="0">
                <a:pos x="connsiteX5886" y="connsiteY5886"/>
              </a:cxn>
              <a:cxn ang="0">
                <a:pos x="connsiteX5887" y="connsiteY5887"/>
              </a:cxn>
              <a:cxn ang="0">
                <a:pos x="connsiteX5888" y="connsiteY5888"/>
              </a:cxn>
              <a:cxn ang="0">
                <a:pos x="connsiteX5889" y="connsiteY5889"/>
              </a:cxn>
              <a:cxn ang="0">
                <a:pos x="connsiteX5890" y="connsiteY5890"/>
              </a:cxn>
              <a:cxn ang="0">
                <a:pos x="connsiteX5891" y="connsiteY5891"/>
              </a:cxn>
              <a:cxn ang="0">
                <a:pos x="connsiteX5892" y="connsiteY5892"/>
              </a:cxn>
              <a:cxn ang="0">
                <a:pos x="connsiteX5893" y="connsiteY5893"/>
              </a:cxn>
              <a:cxn ang="0">
                <a:pos x="connsiteX5894" y="connsiteY5894"/>
              </a:cxn>
              <a:cxn ang="0">
                <a:pos x="connsiteX5895" y="connsiteY5895"/>
              </a:cxn>
              <a:cxn ang="0">
                <a:pos x="connsiteX5896" y="connsiteY5896"/>
              </a:cxn>
              <a:cxn ang="0">
                <a:pos x="connsiteX5897" y="connsiteY5897"/>
              </a:cxn>
              <a:cxn ang="0">
                <a:pos x="connsiteX5898" y="connsiteY5898"/>
              </a:cxn>
              <a:cxn ang="0">
                <a:pos x="connsiteX5899" y="connsiteY5899"/>
              </a:cxn>
              <a:cxn ang="0">
                <a:pos x="connsiteX5900" y="connsiteY5900"/>
              </a:cxn>
              <a:cxn ang="0">
                <a:pos x="connsiteX5901" y="connsiteY5901"/>
              </a:cxn>
              <a:cxn ang="0">
                <a:pos x="connsiteX5902" y="connsiteY5902"/>
              </a:cxn>
              <a:cxn ang="0">
                <a:pos x="connsiteX5903" y="connsiteY5903"/>
              </a:cxn>
              <a:cxn ang="0">
                <a:pos x="connsiteX5904" y="connsiteY5904"/>
              </a:cxn>
              <a:cxn ang="0">
                <a:pos x="connsiteX5905" y="connsiteY5905"/>
              </a:cxn>
              <a:cxn ang="0">
                <a:pos x="connsiteX5906" y="connsiteY5906"/>
              </a:cxn>
              <a:cxn ang="0">
                <a:pos x="connsiteX5907" y="connsiteY5907"/>
              </a:cxn>
              <a:cxn ang="0">
                <a:pos x="connsiteX5908" y="connsiteY5908"/>
              </a:cxn>
              <a:cxn ang="0">
                <a:pos x="connsiteX5909" y="connsiteY5909"/>
              </a:cxn>
              <a:cxn ang="0">
                <a:pos x="connsiteX5910" y="connsiteY5910"/>
              </a:cxn>
              <a:cxn ang="0">
                <a:pos x="connsiteX5911" y="connsiteY5911"/>
              </a:cxn>
              <a:cxn ang="0">
                <a:pos x="connsiteX5912" y="connsiteY5912"/>
              </a:cxn>
              <a:cxn ang="0">
                <a:pos x="connsiteX5913" y="connsiteY5913"/>
              </a:cxn>
              <a:cxn ang="0">
                <a:pos x="connsiteX5914" y="connsiteY5914"/>
              </a:cxn>
              <a:cxn ang="0">
                <a:pos x="connsiteX5915" y="connsiteY5915"/>
              </a:cxn>
              <a:cxn ang="0">
                <a:pos x="connsiteX5916" y="connsiteY5916"/>
              </a:cxn>
              <a:cxn ang="0">
                <a:pos x="connsiteX5917" y="connsiteY5917"/>
              </a:cxn>
              <a:cxn ang="0">
                <a:pos x="connsiteX5918" y="connsiteY5918"/>
              </a:cxn>
              <a:cxn ang="0">
                <a:pos x="connsiteX5919" y="connsiteY5919"/>
              </a:cxn>
              <a:cxn ang="0">
                <a:pos x="connsiteX5920" y="connsiteY5920"/>
              </a:cxn>
              <a:cxn ang="0">
                <a:pos x="connsiteX5921" y="connsiteY5921"/>
              </a:cxn>
              <a:cxn ang="0">
                <a:pos x="connsiteX5922" y="connsiteY5922"/>
              </a:cxn>
              <a:cxn ang="0">
                <a:pos x="connsiteX5923" y="connsiteY5923"/>
              </a:cxn>
              <a:cxn ang="0">
                <a:pos x="connsiteX5924" y="connsiteY5924"/>
              </a:cxn>
              <a:cxn ang="0">
                <a:pos x="connsiteX5925" y="connsiteY5925"/>
              </a:cxn>
              <a:cxn ang="0">
                <a:pos x="connsiteX5926" y="connsiteY5926"/>
              </a:cxn>
              <a:cxn ang="0">
                <a:pos x="connsiteX5927" y="connsiteY5927"/>
              </a:cxn>
              <a:cxn ang="0">
                <a:pos x="connsiteX5928" y="connsiteY5928"/>
              </a:cxn>
              <a:cxn ang="0">
                <a:pos x="connsiteX5929" y="connsiteY5929"/>
              </a:cxn>
              <a:cxn ang="0">
                <a:pos x="connsiteX5930" y="connsiteY5930"/>
              </a:cxn>
              <a:cxn ang="0">
                <a:pos x="connsiteX5931" y="connsiteY5931"/>
              </a:cxn>
              <a:cxn ang="0">
                <a:pos x="connsiteX5932" y="connsiteY5932"/>
              </a:cxn>
              <a:cxn ang="0">
                <a:pos x="connsiteX5933" y="connsiteY5933"/>
              </a:cxn>
              <a:cxn ang="0">
                <a:pos x="connsiteX5934" y="connsiteY5934"/>
              </a:cxn>
              <a:cxn ang="0">
                <a:pos x="connsiteX5935" y="connsiteY5935"/>
              </a:cxn>
              <a:cxn ang="0">
                <a:pos x="connsiteX5936" y="connsiteY5936"/>
              </a:cxn>
              <a:cxn ang="0">
                <a:pos x="connsiteX5937" y="connsiteY5937"/>
              </a:cxn>
              <a:cxn ang="0">
                <a:pos x="connsiteX5938" y="connsiteY5938"/>
              </a:cxn>
              <a:cxn ang="0">
                <a:pos x="connsiteX5939" y="connsiteY5939"/>
              </a:cxn>
              <a:cxn ang="0">
                <a:pos x="connsiteX5940" y="connsiteY5940"/>
              </a:cxn>
              <a:cxn ang="0">
                <a:pos x="connsiteX5941" y="connsiteY5941"/>
              </a:cxn>
              <a:cxn ang="0">
                <a:pos x="connsiteX5942" y="connsiteY5942"/>
              </a:cxn>
              <a:cxn ang="0">
                <a:pos x="connsiteX5943" y="connsiteY5943"/>
              </a:cxn>
              <a:cxn ang="0">
                <a:pos x="connsiteX5944" y="connsiteY5944"/>
              </a:cxn>
              <a:cxn ang="0">
                <a:pos x="connsiteX5945" y="connsiteY5945"/>
              </a:cxn>
              <a:cxn ang="0">
                <a:pos x="connsiteX5946" y="connsiteY5946"/>
              </a:cxn>
              <a:cxn ang="0">
                <a:pos x="connsiteX5947" y="connsiteY5947"/>
              </a:cxn>
              <a:cxn ang="0">
                <a:pos x="connsiteX5948" y="connsiteY5948"/>
              </a:cxn>
              <a:cxn ang="0">
                <a:pos x="connsiteX5949" y="connsiteY5949"/>
              </a:cxn>
              <a:cxn ang="0">
                <a:pos x="connsiteX5950" y="connsiteY5950"/>
              </a:cxn>
              <a:cxn ang="0">
                <a:pos x="connsiteX5951" y="connsiteY5951"/>
              </a:cxn>
              <a:cxn ang="0">
                <a:pos x="connsiteX5952" y="connsiteY5952"/>
              </a:cxn>
              <a:cxn ang="0">
                <a:pos x="connsiteX5953" y="connsiteY5953"/>
              </a:cxn>
              <a:cxn ang="0">
                <a:pos x="connsiteX5954" y="connsiteY5954"/>
              </a:cxn>
              <a:cxn ang="0">
                <a:pos x="connsiteX5955" y="connsiteY5955"/>
              </a:cxn>
              <a:cxn ang="0">
                <a:pos x="connsiteX5956" y="connsiteY5956"/>
              </a:cxn>
              <a:cxn ang="0">
                <a:pos x="connsiteX5957" y="connsiteY5957"/>
              </a:cxn>
              <a:cxn ang="0">
                <a:pos x="connsiteX5958" y="connsiteY5958"/>
              </a:cxn>
              <a:cxn ang="0">
                <a:pos x="connsiteX5959" y="connsiteY5959"/>
              </a:cxn>
              <a:cxn ang="0">
                <a:pos x="connsiteX5960" y="connsiteY5960"/>
              </a:cxn>
              <a:cxn ang="0">
                <a:pos x="connsiteX5961" y="connsiteY5961"/>
              </a:cxn>
              <a:cxn ang="0">
                <a:pos x="connsiteX5962" y="connsiteY5962"/>
              </a:cxn>
              <a:cxn ang="0">
                <a:pos x="connsiteX5963" y="connsiteY5963"/>
              </a:cxn>
              <a:cxn ang="0">
                <a:pos x="connsiteX5964" y="connsiteY5964"/>
              </a:cxn>
              <a:cxn ang="0">
                <a:pos x="connsiteX5965" y="connsiteY5965"/>
              </a:cxn>
              <a:cxn ang="0">
                <a:pos x="connsiteX5966" y="connsiteY5966"/>
              </a:cxn>
              <a:cxn ang="0">
                <a:pos x="connsiteX5967" y="connsiteY5967"/>
              </a:cxn>
              <a:cxn ang="0">
                <a:pos x="connsiteX5968" y="connsiteY5968"/>
              </a:cxn>
              <a:cxn ang="0">
                <a:pos x="connsiteX5969" y="connsiteY5969"/>
              </a:cxn>
              <a:cxn ang="0">
                <a:pos x="connsiteX5970" y="connsiteY5970"/>
              </a:cxn>
              <a:cxn ang="0">
                <a:pos x="connsiteX5971" y="connsiteY5971"/>
              </a:cxn>
              <a:cxn ang="0">
                <a:pos x="connsiteX5972" y="connsiteY5972"/>
              </a:cxn>
              <a:cxn ang="0">
                <a:pos x="connsiteX5973" y="connsiteY5973"/>
              </a:cxn>
              <a:cxn ang="0">
                <a:pos x="connsiteX5974" y="connsiteY5974"/>
              </a:cxn>
              <a:cxn ang="0">
                <a:pos x="connsiteX5975" y="connsiteY5975"/>
              </a:cxn>
              <a:cxn ang="0">
                <a:pos x="connsiteX5976" y="connsiteY5976"/>
              </a:cxn>
              <a:cxn ang="0">
                <a:pos x="connsiteX5977" y="connsiteY5977"/>
              </a:cxn>
              <a:cxn ang="0">
                <a:pos x="connsiteX5978" y="connsiteY5978"/>
              </a:cxn>
              <a:cxn ang="0">
                <a:pos x="connsiteX5979" y="connsiteY5979"/>
              </a:cxn>
              <a:cxn ang="0">
                <a:pos x="connsiteX5980" y="connsiteY5980"/>
              </a:cxn>
              <a:cxn ang="0">
                <a:pos x="connsiteX5981" y="connsiteY5981"/>
              </a:cxn>
              <a:cxn ang="0">
                <a:pos x="connsiteX5982" y="connsiteY5982"/>
              </a:cxn>
              <a:cxn ang="0">
                <a:pos x="connsiteX5983" y="connsiteY5983"/>
              </a:cxn>
              <a:cxn ang="0">
                <a:pos x="connsiteX5984" y="connsiteY5984"/>
              </a:cxn>
              <a:cxn ang="0">
                <a:pos x="connsiteX5985" y="connsiteY5985"/>
              </a:cxn>
              <a:cxn ang="0">
                <a:pos x="connsiteX5986" y="connsiteY5986"/>
              </a:cxn>
              <a:cxn ang="0">
                <a:pos x="connsiteX5987" y="connsiteY5987"/>
              </a:cxn>
              <a:cxn ang="0">
                <a:pos x="connsiteX5988" y="connsiteY5988"/>
              </a:cxn>
              <a:cxn ang="0">
                <a:pos x="connsiteX5989" y="connsiteY5989"/>
              </a:cxn>
              <a:cxn ang="0">
                <a:pos x="connsiteX5990" y="connsiteY5990"/>
              </a:cxn>
              <a:cxn ang="0">
                <a:pos x="connsiteX5991" y="connsiteY5991"/>
              </a:cxn>
              <a:cxn ang="0">
                <a:pos x="connsiteX5992" y="connsiteY5992"/>
              </a:cxn>
              <a:cxn ang="0">
                <a:pos x="connsiteX5993" y="connsiteY5993"/>
              </a:cxn>
              <a:cxn ang="0">
                <a:pos x="connsiteX5994" y="connsiteY5994"/>
              </a:cxn>
              <a:cxn ang="0">
                <a:pos x="connsiteX5995" y="connsiteY5995"/>
              </a:cxn>
              <a:cxn ang="0">
                <a:pos x="connsiteX5996" y="connsiteY5996"/>
              </a:cxn>
              <a:cxn ang="0">
                <a:pos x="connsiteX5997" y="connsiteY5997"/>
              </a:cxn>
              <a:cxn ang="0">
                <a:pos x="connsiteX5998" y="connsiteY5998"/>
              </a:cxn>
              <a:cxn ang="0">
                <a:pos x="connsiteX5999" y="connsiteY5999"/>
              </a:cxn>
              <a:cxn ang="0">
                <a:pos x="connsiteX6000" y="connsiteY6000"/>
              </a:cxn>
              <a:cxn ang="0">
                <a:pos x="connsiteX6001" y="connsiteY6001"/>
              </a:cxn>
              <a:cxn ang="0">
                <a:pos x="connsiteX6002" y="connsiteY6002"/>
              </a:cxn>
              <a:cxn ang="0">
                <a:pos x="connsiteX6003" y="connsiteY6003"/>
              </a:cxn>
              <a:cxn ang="0">
                <a:pos x="connsiteX6004" y="connsiteY6004"/>
              </a:cxn>
              <a:cxn ang="0">
                <a:pos x="connsiteX6005" y="connsiteY6005"/>
              </a:cxn>
              <a:cxn ang="0">
                <a:pos x="connsiteX6006" y="connsiteY6006"/>
              </a:cxn>
              <a:cxn ang="0">
                <a:pos x="connsiteX6007" y="connsiteY6007"/>
              </a:cxn>
              <a:cxn ang="0">
                <a:pos x="connsiteX6008" y="connsiteY6008"/>
              </a:cxn>
              <a:cxn ang="0">
                <a:pos x="connsiteX6009" y="connsiteY6009"/>
              </a:cxn>
              <a:cxn ang="0">
                <a:pos x="connsiteX6010" y="connsiteY6010"/>
              </a:cxn>
              <a:cxn ang="0">
                <a:pos x="connsiteX6011" y="connsiteY6011"/>
              </a:cxn>
              <a:cxn ang="0">
                <a:pos x="connsiteX6012" y="connsiteY6012"/>
              </a:cxn>
              <a:cxn ang="0">
                <a:pos x="connsiteX6013" y="connsiteY6013"/>
              </a:cxn>
              <a:cxn ang="0">
                <a:pos x="connsiteX6014" y="connsiteY6014"/>
              </a:cxn>
              <a:cxn ang="0">
                <a:pos x="connsiteX6015" y="connsiteY6015"/>
              </a:cxn>
              <a:cxn ang="0">
                <a:pos x="connsiteX6016" y="connsiteY6016"/>
              </a:cxn>
              <a:cxn ang="0">
                <a:pos x="connsiteX6017" y="connsiteY6017"/>
              </a:cxn>
              <a:cxn ang="0">
                <a:pos x="connsiteX6018" y="connsiteY6018"/>
              </a:cxn>
              <a:cxn ang="0">
                <a:pos x="connsiteX6019" y="connsiteY6019"/>
              </a:cxn>
              <a:cxn ang="0">
                <a:pos x="connsiteX6020" y="connsiteY6020"/>
              </a:cxn>
              <a:cxn ang="0">
                <a:pos x="connsiteX6021" y="connsiteY6021"/>
              </a:cxn>
              <a:cxn ang="0">
                <a:pos x="connsiteX6022" y="connsiteY6022"/>
              </a:cxn>
              <a:cxn ang="0">
                <a:pos x="connsiteX6023" y="connsiteY6023"/>
              </a:cxn>
              <a:cxn ang="0">
                <a:pos x="connsiteX6024" y="connsiteY6024"/>
              </a:cxn>
              <a:cxn ang="0">
                <a:pos x="connsiteX6025" y="connsiteY6025"/>
              </a:cxn>
              <a:cxn ang="0">
                <a:pos x="connsiteX6026" y="connsiteY6026"/>
              </a:cxn>
              <a:cxn ang="0">
                <a:pos x="connsiteX6027" y="connsiteY6027"/>
              </a:cxn>
              <a:cxn ang="0">
                <a:pos x="connsiteX6028" y="connsiteY6028"/>
              </a:cxn>
              <a:cxn ang="0">
                <a:pos x="connsiteX6029" y="connsiteY6029"/>
              </a:cxn>
              <a:cxn ang="0">
                <a:pos x="connsiteX6030" y="connsiteY6030"/>
              </a:cxn>
              <a:cxn ang="0">
                <a:pos x="connsiteX6031" y="connsiteY6031"/>
              </a:cxn>
              <a:cxn ang="0">
                <a:pos x="connsiteX6032" y="connsiteY6032"/>
              </a:cxn>
              <a:cxn ang="0">
                <a:pos x="connsiteX6033" y="connsiteY6033"/>
              </a:cxn>
              <a:cxn ang="0">
                <a:pos x="connsiteX6034" y="connsiteY6034"/>
              </a:cxn>
              <a:cxn ang="0">
                <a:pos x="connsiteX6035" y="connsiteY6035"/>
              </a:cxn>
              <a:cxn ang="0">
                <a:pos x="connsiteX6036" y="connsiteY6036"/>
              </a:cxn>
              <a:cxn ang="0">
                <a:pos x="connsiteX6037" y="connsiteY6037"/>
              </a:cxn>
              <a:cxn ang="0">
                <a:pos x="connsiteX6038" y="connsiteY6038"/>
              </a:cxn>
              <a:cxn ang="0">
                <a:pos x="connsiteX6039" y="connsiteY6039"/>
              </a:cxn>
              <a:cxn ang="0">
                <a:pos x="connsiteX6040" y="connsiteY6040"/>
              </a:cxn>
              <a:cxn ang="0">
                <a:pos x="connsiteX6041" y="connsiteY6041"/>
              </a:cxn>
              <a:cxn ang="0">
                <a:pos x="connsiteX6042" y="connsiteY6042"/>
              </a:cxn>
              <a:cxn ang="0">
                <a:pos x="connsiteX6043" y="connsiteY6043"/>
              </a:cxn>
              <a:cxn ang="0">
                <a:pos x="connsiteX6044" y="connsiteY6044"/>
              </a:cxn>
              <a:cxn ang="0">
                <a:pos x="connsiteX6045" y="connsiteY6045"/>
              </a:cxn>
              <a:cxn ang="0">
                <a:pos x="connsiteX6046" y="connsiteY6046"/>
              </a:cxn>
              <a:cxn ang="0">
                <a:pos x="connsiteX6047" y="connsiteY6047"/>
              </a:cxn>
              <a:cxn ang="0">
                <a:pos x="connsiteX6048" y="connsiteY6048"/>
              </a:cxn>
              <a:cxn ang="0">
                <a:pos x="connsiteX6049" y="connsiteY6049"/>
              </a:cxn>
              <a:cxn ang="0">
                <a:pos x="connsiteX6050" y="connsiteY6050"/>
              </a:cxn>
              <a:cxn ang="0">
                <a:pos x="connsiteX6051" y="connsiteY6051"/>
              </a:cxn>
              <a:cxn ang="0">
                <a:pos x="connsiteX6052" y="connsiteY6052"/>
              </a:cxn>
              <a:cxn ang="0">
                <a:pos x="connsiteX6053" y="connsiteY6053"/>
              </a:cxn>
              <a:cxn ang="0">
                <a:pos x="connsiteX6054" y="connsiteY6054"/>
              </a:cxn>
              <a:cxn ang="0">
                <a:pos x="connsiteX6055" y="connsiteY6055"/>
              </a:cxn>
              <a:cxn ang="0">
                <a:pos x="connsiteX6056" y="connsiteY6056"/>
              </a:cxn>
              <a:cxn ang="0">
                <a:pos x="connsiteX6057" y="connsiteY6057"/>
              </a:cxn>
              <a:cxn ang="0">
                <a:pos x="connsiteX6058" y="connsiteY6058"/>
              </a:cxn>
              <a:cxn ang="0">
                <a:pos x="connsiteX6059" y="connsiteY6059"/>
              </a:cxn>
              <a:cxn ang="0">
                <a:pos x="connsiteX6060" y="connsiteY6060"/>
              </a:cxn>
              <a:cxn ang="0">
                <a:pos x="connsiteX6061" y="connsiteY6061"/>
              </a:cxn>
              <a:cxn ang="0">
                <a:pos x="connsiteX6062" y="connsiteY6062"/>
              </a:cxn>
              <a:cxn ang="0">
                <a:pos x="connsiteX6063" y="connsiteY6063"/>
              </a:cxn>
              <a:cxn ang="0">
                <a:pos x="connsiteX6064" y="connsiteY6064"/>
              </a:cxn>
              <a:cxn ang="0">
                <a:pos x="connsiteX6065" y="connsiteY6065"/>
              </a:cxn>
              <a:cxn ang="0">
                <a:pos x="connsiteX6066" y="connsiteY6066"/>
              </a:cxn>
              <a:cxn ang="0">
                <a:pos x="connsiteX6067" y="connsiteY6067"/>
              </a:cxn>
              <a:cxn ang="0">
                <a:pos x="connsiteX6068" y="connsiteY6068"/>
              </a:cxn>
              <a:cxn ang="0">
                <a:pos x="connsiteX6069" y="connsiteY6069"/>
              </a:cxn>
              <a:cxn ang="0">
                <a:pos x="connsiteX6070" y="connsiteY6070"/>
              </a:cxn>
              <a:cxn ang="0">
                <a:pos x="connsiteX6071" y="connsiteY6071"/>
              </a:cxn>
              <a:cxn ang="0">
                <a:pos x="connsiteX6072" y="connsiteY6072"/>
              </a:cxn>
              <a:cxn ang="0">
                <a:pos x="connsiteX6073" y="connsiteY6073"/>
              </a:cxn>
              <a:cxn ang="0">
                <a:pos x="connsiteX6074" y="connsiteY6074"/>
              </a:cxn>
              <a:cxn ang="0">
                <a:pos x="connsiteX6075" y="connsiteY6075"/>
              </a:cxn>
              <a:cxn ang="0">
                <a:pos x="connsiteX6076" y="connsiteY6076"/>
              </a:cxn>
              <a:cxn ang="0">
                <a:pos x="connsiteX6077" y="connsiteY6077"/>
              </a:cxn>
              <a:cxn ang="0">
                <a:pos x="connsiteX6078" y="connsiteY6078"/>
              </a:cxn>
              <a:cxn ang="0">
                <a:pos x="connsiteX6079" y="connsiteY6079"/>
              </a:cxn>
              <a:cxn ang="0">
                <a:pos x="connsiteX6080" y="connsiteY6080"/>
              </a:cxn>
              <a:cxn ang="0">
                <a:pos x="connsiteX6081" y="connsiteY6081"/>
              </a:cxn>
              <a:cxn ang="0">
                <a:pos x="connsiteX6082" y="connsiteY6082"/>
              </a:cxn>
              <a:cxn ang="0">
                <a:pos x="connsiteX6083" y="connsiteY6083"/>
              </a:cxn>
              <a:cxn ang="0">
                <a:pos x="connsiteX6084" y="connsiteY6084"/>
              </a:cxn>
              <a:cxn ang="0">
                <a:pos x="connsiteX6085" y="connsiteY6085"/>
              </a:cxn>
              <a:cxn ang="0">
                <a:pos x="connsiteX6086" y="connsiteY6086"/>
              </a:cxn>
              <a:cxn ang="0">
                <a:pos x="connsiteX6087" y="connsiteY6087"/>
              </a:cxn>
              <a:cxn ang="0">
                <a:pos x="connsiteX6088" y="connsiteY6088"/>
              </a:cxn>
              <a:cxn ang="0">
                <a:pos x="connsiteX6089" y="connsiteY6089"/>
              </a:cxn>
              <a:cxn ang="0">
                <a:pos x="connsiteX6090" y="connsiteY6090"/>
              </a:cxn>
              <a:cxn ang="0">
                <a:pos x="connsiteX6091" y="connsiteY6091"/>
              </a:cxn>
              <a:cxn ang="0">
                <a:pos x="connsiteX6092" y="connsiteY6092"/>
              </a:cxn>
              <a:cxn ang="0">
                <a:pos x="connsiteX6093" y="connsiteY6093"/>
              </a:cxn>
              <a:cxn ang="0">
                <a:pos x="connsiteX6094" y="connsiteY6094"/>
              </a:cxn>
              <a:cxn ang="0">
                <a:pos x="connsiteX6095" y="connsiteY6095"/>
              </a:cxn>
              <a:cxn ang="0">
                <a:pos x="connsiteX6096" y="connsiteY6096"/>
              </a:cxn>
              <a:cxn ang="0">
                <a:pos x="connsiteX6097" y="connsiteY6097"/>
              </a:cxn>
              <a:cxn ang="0">
                <a:pos x="connsiteX6098" y="connsiteY6098"/>
              </a:cxn>
              <a:cxn ang="0">
                <a:pos x="connsiteX6099" y="connsiteY6099"/>
              </a:cxn>
              <a:cxn ang="0">
                <a:pos x="connsiteX6100" y="connsiteY6100"/>
              </a:cxn>
              <a:cxn ang="0">
                <a:pos x="connsiteX6101" y="connsiteY6101"/>
              </a:cxn>
              <a:cxn ang="0">
                <a:pos x="connsiteX6102" y="connsiteY6102"/>
              </a:cxn>
              <a:cxn ang="0">
                <a:pos x="connsiteX6103" y="connsiteY6103"/>
              </a:cxn>
              <a:cxn ang="0">
                <a:pos x="connsiteX6104" y="connsiteY6104"/>
              </a:cxn>
              <a:cxn ang="0">
                <a:pos x="connsiteX6105" y="connsiteY6105"/>
              </a:cxn>
              <a:cxn ang="0">
                <a:pos x="connsiteX6106" y="connsiteY6106"/>
              </a:cxn>
              <a:cxn ang="0">
                <a:pos x="connsiteX6107" y="connsiteY6107"/>
              </a:cxn>
              <a:cxn ang="0">
                <a:pos x="connsiteX6108" y="connsiteY6108"/>
              </a:cxn>
              <a:cxn ang="0">
                <a:pos x="connsiteX6109" y="connsiteY6109"/>
              </a:cxn>
              <a:cxn ang="0">
                <a:pos x="connsiteX6110" y="connsiteY6110"/>
              </a:cxn>
              <a:cxn ang="0">
                <a:pos x="connsiteX6111" y="connsiteY6111"/>
              </a:cxn>
              <a:cxn ang="0">
                <a:pos x="connsiteX6112" y="connsiteY6112"/>
              </a:cxn>
              <a:cxn ang="0">
                <a:pos x="connsiteX6113" y="connsiteY6113"/>
              </a:cxn>
              <a:cxn ang="0">
                <a:pos x="connsiteX6114" y="connsiteY6114"/>
              </a:cxn>
              <a:cxn ang="0">
                <a:pos x="connsiteX6115" y="connsiteY6115"/>
              </a:cxn>
              <a:cxn ang="0">
                <a:pos x="connsiteX6116" y="connsiteY6116"/>
              </a:cxn>
              <a:cxn ang="0">
                <a:pos x="connsiteX6117" y="connsiteY6117"/>
              </a:cxn>
              <a:cxn ang="0">
                <a:pos x="connsiteX6118" y="connsiteY6118"/>
              </a:cxn>
              <a:cxn ang="0">
                <a:pos x="connsiteX6119" y="connsiteY6119"/>
              </a:cxn>
              <a:cxn ang="0">
                <a:pos x="connsiteX6120" y="connsiteY6120"/>
              </a:cxn>
              <a:cxn ang="0">
                <a:pos x="connsiteX6121" y="connsiteY6121"/>
              </a:cxn>
              <a:cxn ang="0">
                <a:pos x="connsiteX6122" y="connsiteY6122"/>
              </a:cxn>
              <a:cxn ang="0">
                <a:pos x="connsiteX6123" y="connsiteY6123"/>
              </a:cxn>
              <a:cxn ang="0">
                <a:pos x="connsiteX6124" y="connsiteY6124"/>
              </a:cxn>
              <a:cxn ang="0">
                <a:pos x="connsiteX6125" y="connsiteY6125"/>
              </a:cxn>
              <a:cxn ang="0">
                <a:pos x="connsiteX6126" y="connsiteY6126"/>
              </a:cxn>
              <a:cxn ang="0">
                <a:pos x="connsiteX6127" y="connsiteY6127"/>
              </a:cxn>
              <a:cxn ang="0">
                <a:pos x="connsiteX6128" y="connsiteY6128"/>
              </a:cxn>
              <a:cxn ang="0">
                <a:pos x="connsiteX6129" y="connsiteY6129"/>
              </a:cxn>
              <a:cxn ang="0">
                <a:pos x="connsiteX6130" y="connsiteY6130"/>
              </a:cxn>
              <a:cxn ang="0">
                <a:pos x="connsiteX6131" y="connsiteY6131"/>
              </a:cxn>
              <a:cxn ang="0">
                <a:pos x="connsiteX6132" y="connsiteY6132"/>
              </a:cxn>
              <a:cxn ang="0">
                <a:pos x="connsiteX6133" y="connsiteY6133"/>
              </a:cxn>
              <a:cxn ang="0">
                <a:pos x="connsiteX6134" y="connsiteY6134"/>
              </a:cxn>
              <a:cxn ang="0">
                <a:pos x="connsiteX6135" y="connsiteY6135"/>
              </a:cxn>
              <a:cxn ang="0">
                <a:pos x="connsiteX6136" y="connsiteY6136"/>
              </a:cxn>
              <a:cxn ang="0">
                <a:pos x="connsiteX6137" y="connsiteY6137"/>
              </a:cxn>
              <a:cxn ang="0">
                <a:pos x="connsiteX6138" y="connsiteY6138"/>
              </a:cxn>
              <a:cxn ang="0">
                <a:pos x="connsiteX6139" y="connsiteY6139"/>
              </a:cxn>
              <a:cxn ang="0">
                <a:pos x="connsiteX6140" y="connsiteY6140"/>
              </a:cxn>
              <a:cxn ang="0">
                <a:pos x="connsiteX6141" y="connsiteY6141"/>
              </a:cxn>
              <a:cxn ang="0">
                <a:pos x="connsiteX6142" y="connsiteY6142"/>
              </a:cxn>
              <a:cxn ang="0">
                <a:pos x="connsiteX6143" y="connsiteY6143"/>
              </a:cxn>
              <a:cxn ang="0">
                <a:pos x="connsiteX6144" y="connsiteY6144"/>
              </a:cxn>
              <a:cxn ang="0">
                <a:pos x="connsiteX6145" y="connsiteY6145"/>
              </a:cxn>
              <a:cxn ang="0">
                <a:pos x="connsiteX6146" y="connsiteY6146"/>
              </a:cxn>
              <a:cxn ang="0">
                <a:pos x="connsiteX6147" y="connsiteY6147"/>
              </a:cxn>
              <a:cxn ang="0">
                <a:pos x="connsiteX6148" y="connsiteY6148"/>
              </a:cxn>
              <a:cxn ang="0">
                <a:pos x="connsiteX6149" y="connsiteY6149"/>
              </a:cxn>
              <a:cxn ang="0">
                <a:pos x="connsiteX6150" y="connsiteY6150"/>
              </a:cxn>
              <a:cxn ang="0">
                <a:pos x="connsiteX6151" y="connsiteY6151"/>
              </a:cxn>
              <a:cxn ang="0">
                <a:pos x="connsiteX6152" y="connsiteY6152"/>
              </a:cxn>
              <a:cxn ang="0">
                <a:pos x="connsiteX6153" y="connsiteY6153"/>
              </a:cxn>
              <a:cxn ang="0">
                <a:pos x="connsiteX6154" y="connsiteY6154"/>
              </a:cxn>
              <a:cxn ang="0">
                <a:pos x="connsiteX6155" y="connsiteY6155"/>
              </a:cxn>
              <a:cxn ang="0">
                <a:pos x="connsiteX6156" y="connsiteY6156"/>
              </a:cxn>
              <a:cxn ang="0">
                <a:pos x="connsiteX6157" y="connsiteY6157"/>
              </a:cxn>
              <a:cxn ang="0">
                <a:pos x="connsiteX6158" y="connsiteY6158"/>
              </a:cxn>
              <a:cxn ang="0">
                <a:pos x="connsiteX6159" y="connsiteY6159"/>
              </a:cxn>
              <a:cxn ang="0">
                <a:pos x="connsiteX6160" y="connsiteY6160"/>
              </a:cxn>
              <a:cxn ang="0">
                <a:pos x="connsiteX6161" y="connsiteY6161"/>
              </a:cxn>
              <a:cxn ang="0">
                <a:pos x="connsiteX6162" y="connsiteY6162"/>
              </a:cxn>
              <a:cxn ang="0">
                <a:pos x="connsiteX6163" y="connsiteY6163"/>
              </a:cxn>
              <a:cxn ang="0">
                <a:pos x="connsiteX6164" y="connsiteY6164"/>
              </a:cxn>
              <a:cxn ang="0">
                <a:pos x="connsiteX6165" y="connsiteY6165"/>
              </a:cxn>
              <a:cxn ang="0">
                <a:pos x="connsiteX6166" y="connsiteY6166"/>
              </a:cxn>
              <a:cxn ang="0">
                <a:pos x="connsiteX6167" y="connsiteY6167"/>
              </a:cxn>
              <a:cxn ang="0">
                <a:pos x="connsiteX6168" y="connsiteY6168"/>
              </a:cxn>
              <a:cxn ang="0">
                <a:pos x="connsiteX6169" y="connsiteY6169"/>
              </a:cxn>
              <a:cxn ang="0">
                <a:pos x="connsiteX6170" y="connsiteY6170"/>
              </a:cxn>
              <a:cxn ang="0">
                <a:pos x="connsiteX6171" y="connsiteY6171"/>
              </a:cxn>
              <a:cxn ang="0">
                <a:pos x="connsiteX6172" y="connsiteY6172"/>
              </a:cxn>
              <a:cxn ang="0">
                <a:pos x="connsiteX6173" y="connsiteY6173"/>
              </a:cxn>
              <a:cxn ang="0">
                <a:pos x="connsiteX6174" y="connsiteY6174"/>
              </a:cxn>
              <a:cxn ang="0">
                <a:pos x="connsiteX6175" y="connsiteY6175"/>
              </a:cxn>
              <a:cxn ang="0">
                <a:pos x="connsiteX6176" y="connsiteY6176"/>
              </a:cxn>
              <a:cxn ang="0">
                <a:pos x="connsiteX6177" y="connsiteY6177"/>
              </a:cxn>
              <a:cxn ang="0">
                <a:pos x="connsiteX6178" y="connsiteY6178"/>
              </a:cxn>
              <a:cxn ang="0">
                <a:pos x="connsiteX6179" y="connsiteY6179"/>
              </a:cxn>
              <a:cxn ang="0">
                <a:pos x="connsiteX6180" y="connsiteY6180"/>
              </a:cxn>
              <a:cxn ang="0">
                <a:pos x="connsiteX6181" y="connsiteY6181"/>
              </a:cxn>
              <a:cxn ang="0">
                <a:pos x="connsiteX6182" y="connsiteY6182"/>
              </a:cxn>
              <a:cxn ang="0">
                <a:pos x="connsiteX6183" y="connsiteY6183"/>
              </a:cxn>
              <a:cxn ang="0">
                <a:pos x="connsiteX6184" y="connsiteY6184"/>
              </a:cxn>
              <a:cxn ang="0">
                <a:pos x="connsiteX6185" y="connsiteY6185"/>
              </a:cxn>
              <a:cxn ang="0">
                <a:pos x="connsiteX6186" y="connsiteY6186"/>
              </a:cxn>
              <a:cxn ang="0">
                <a:pos x="connsiteX6187" y="connsiteY6187"/>
              </a:cxn>
              <a:cxn ang="0">
                <a:pos x="connsiteX6188" y="connsiteY6188"/>
              </a:cxn>
              <a:cxn ang="0">
                <a:pos x="connsiteX6189" y="connsiteY6189"/>
              </a:cxn>
              <a:cxn ang="0">
                <a:pos x="connsiteX6190" y="connsiteY6190"/>
              </a:cxn>
              <a:cxn ang="0">
                <a:pos x="connsiteX6191" y="connsiteY6191"/>
              </a:cxn>
              <a:cxn ang="0">
                <a:pos x="connsiteX6192" y="connsiteY6192"/>
              </a:cxn>
              <a:cxn ang="0">
                <a:pos x="connsiteX6193" y="connsiteY6193"/>
              </a:cxn>
              <a:cxn ang="0">
                <a:pos x="connsiteX6194" y="connsiteY6194"/>
              </a:cxn>
              <a:cxn ang="0">
                <a:pos x="connsiteX6195" y="connsiteY6195"/>
              </a:cxn>
              <a:cxn ang="0">
                <a:pos x="connsiteX6196" y="connsiteY6196"/>
              </a:cxn>
              <a:cxn ang="0">
                <a:pos x="connsiteX6197" y="connsiteY6197"/>
              </a:cxn>
              <a:cxn ang="0">
                <a:pos x="connsiteX6198" y="connsiteY6198"/>
              </a:cxn>
              <a:cxn ang="0">
                <a:pos x="connsiteX6199" y="connsiteY6199"/>
              </a:cxn>
              <a:cxn ang="0">
                <a:pos x="connsiteX6200" y="connsiteY6200"/>
              </a:cxn>
              <a:cxn ang="0">
                <a:pos x="connsiteX6201" y="connsiteY6201"/>
              </a:cxn>
              <a:cxn ang="0">
                <a:pos x="connsiteX6202" y="connsiteY6202"/>
              </a:cxn>
              <a:cxn ang="0">
                <a:pos x="connsiteX6203" y="connsiteY6203"/>
              </a:cxn>
              <a:cxn ang="0">
                <a:pos x="connsiteX6204" y="connsiteY6204"/>
              </a:cxn>
              <a:cxn ang="0">
                <a:pos x="connsiteX6205" y="connsiteY6205"/>
              </a:cxn>
              <a:cxn ang="0">
                <a:pos x="connsiteX6206" y="connsiteY6206"/>
              </a:cxn>
              <a:cxn ang="0">
                <a:pos x="connsiteX6207" y="connsiteY6207"/>
              </a:cxn>
              <a:cxn ang="0">
                <a:pos x="connsiteX6208" y="connsiteY6208"/>
              </a:cxn>
              <a:cxn ang="0">
                <a:pos x="connsiteX6209" y="connsiteY6209"/>
              </a:cxn>
              <a:cxn ang="0">
                <a:pos x="connsiteX6210" y="connsiteY6210"/>
              </a:cxn>
              <a:cxn ang="0">
                <a:pos x="connsiteX6211" y="connsiteY6211"/>
              </a:cxn>
              <a:cxn ang="0">
                <a:pos x="connsiteX6212" y="connsiteY6212"/>
              </a:cxn>
              <a:cxn ang="0">
                <a:pos x="connsiteX6213" y="connsiteY6213"/>
              </a:cxn>
              <a:cxn ang="0">
                <a:pos x="connsiteX6214" y="connsiteY6214"/>
              </a:cxn>
              <a:cxn ang="0">
                <a:pos x="connsiteX6215" y="connsiteY6215"/>
              </a:cxn>
              <a:cxn ang="0">
                <a:pos x="connsiteX6216" y="connsiteY6216"/>
              </a:cxn>
              <a:cxn ang="0">
                <a:pos x="connsiteX6217" y="connsiteY6217"/>
              </a:cxn>
              <a:cxn ang="0">
                <a:pos x="connsiteX6218" y="connsiteY6218"/>
              </a:cxn>
              <a:cxn ang="0">
                <a:pos x="connsiteX6219" y="connsiteY6219"/>
              </a:cxn>
              <a:cxn ang="0">
                <a:pos x="connsiteX6220" y="connsiteY6220"/>
              </a:cxn>
              <a:cxn ang="0">
                <a:pos x="connsiteX6221" y="connsiteY6221"/>
              </a:cxn>
              <a:cxn ang="0">
                <a:pos x="connsiteX6222" y="connsiteY6222"/>
              </a:cxn>
              <a:cxn ang="0">
                <a:pos x="connsiteX6223" y="connsiteY6223"/>
              </a:cxn>
              <a:cxn ang="0">
                <a:pos x="connsiteX6224" y="connsiteY6224"/>
              </a:cxn>
              <a:cxn ang="0">
                <a:pos x="connsiteX6225" y="connsiteY6225"/>
              </a:cxn>
              <a:cxn ang="0">
                <a:pos x="connsiteX6226" y="connsiteY6226"/>
              </a:cxn>
              <a:cxn ang="0">
                <a:pos x="connsiteX6227" y="connsiteY6227"/>
              </a:cxn>
              <a:cxn ang="0">
                <a:pos x="connsiteX6228" y="connsiteY6228"/>
              </a:cxn>
              <a:cxn ang="0">
                <a:pos x="connsiteX6229" y="connsiteY6229"/>
              </a:cxn>
              <a:cxn ang="0">
                <a:pos x="connsiteX6230" y="connsiteY6230"/>
              </a:cxn>
              <a:cxn ang="0">
                <a:pos x="connsiteX6231" y="connsiteY6231"/>
              </a:cxn>
              <a:cxn ang="0">
                <a:pos x="connsiteX6232" y="connsiteY6232"/>
              </a:cxn>
              <a:cxn ang="0">
                <a:pos x="connsiteX6233" y="connsiteY6233"/>
              </a:cxn>
              <a:cxn ang="0">
                <a:pos x="connsiteX6234" y="connsiteY6234"/>
              </a:cxn>
              <a:cxn ang="0">
                <a:pos x="connsiteX6235" y="connsiteY6235"/>
              </a:cxn>
              <a:cxn ang="0">
                <a:pos x="connsiteX6236" y="connsiteY6236"/>
              </a:cxn>
              <a:cxn ang="0">
                <a:pos x="connsiteX6237" y="connsiteY6237"/>
              </a:cxn>
              <a:cxn ang="0">
                <a:pos x="connsiteX6238" y="connsiteY6238"/>
              </a:cxn>
              <a:cxn ang="0">
                <a:pos x="connsiteX6239" y="connsiteY6239"/>
              </a:cxn>
              <a:cxn ang="0">
                <a:pos x="connsiteX6240" y="connsiteY6240"/>
              </a:cxn>
              <a:cxn ang="0">
                <a:pos x="connsiteX6241" y="connsiteY6241"/>
              </a:cxn>
              <a:cxn ang="0">
                <a:pos x="connsiteX6242" y="connsiteY6242"/>
              </a:cxn>
              <a:cxn ang="0">
                <a:pos x="connsiteX6243" y="connsiteY6243"/>
              </a:cxn>
              <a:cxn ang="0">
                <a:pos x="connsiteX6244" y="connsiteY6244"/>
              </a:cxn>
              <a:cxn ang="0">
                <a:pos x="connsiteX6245" y="connsiteY6245"/>
              </a:cxn>
              <a:cxn ang="0">
                <a:pos x="connsiteX6246" y="connsiteY6246"/>
              </a:cxn>
              <a:cxn ang="0">
                <a:pos x="connsiteX6247" y="connsiteY6247"/>
              </a:cxn>
              <a:cxn ang="0">
                <a:pos x="connsiteX6248" y="connsiteY6248"/>
              </a:cxn>
              <a:cxn ang="0">
                <a:pos x="connsiteX6249" y="connsiteY6249"/>
              </a:cxn>
              <a:cxn ang="0">
                <a:pos x="connsiteX6250" y="connsiteY6250"/>
              </a:cxn>
              <a:cxn ang="0">
                <a:pos x="connsiteX6251" y="connsiteY6251"/>
              </a:cxn>
              <a:cxn ang="0">
                <a:pos x="connsiteX6252" y="connsiteY6252"/>
              </a:cxn>
              <a:cxn ang="0">
                <a:pos x="connsiteX6253" y="connsiteY6253"/>
              </a:cxn>
              <a:cxn ang="0">
                <a:pos x="connsiteX6254" y="connsiteY6254"/>
              </a:cxn>
              <a:cxn ang="0">
                <a:pos x="connsiteX6255" y="connsiteY6255"/>
              </a:cxn>
              <a:cxn ang="0">
                <a:pos x="connsiteX6256" y="connsiteY6256"/>
              </a:cxn>
              <a:cxn ang="0">
                <a:pos x="connsiteX6257" y="connsiteY6257"/>
              </a:cxn>
              <a:cxn ang="0">
                <a:pos x="connsiteX6258" y="connsiteY6258"/>
              </a:cxn>
              <a:cxn ang="0">
                <a:pos x="connsiteX6259" y="connsiteY6259"/>
              </a:cxn>
              <a:cxn ang="0">
                <a:pos x="connsiteX6260" y="connsiteY6260"/>
              </a:cxn>
              <a:cxn ang="0">
                <a:pos x="connsiteX6261" y="connsiteY6261"/>
              </a:cxn>
              <a:cxn ang="0">
                <a:pos x="connsiteX6262" y="connsiteY6262"/>
              </a:cxn>
              <a:cxn ang="0">
                <a:pos x="connsiteX6263" y="connsiteY6263"/>
              </a:cxn>
              <a:cxn ang="0">
                <a:pos x="connsiteX6264" y="connsiteY6264"/>
              </a:cxn>
              <a:cxn ang="0">
                <a:pos x="connsiteX6265" y="connsiteY6265"/>
              </a:cxn>
              <a:cxn ang="0">
                <a:pos x="connsiteX6266" y="connsiteY6266"/>
              </a:cxn>
              <a:cxn ang="0">
                <a:pos x="connsiteX6267" y="connsiteY6267"/>
              </a:cxn>
              <a:cxn ang="0">
                <a:pos x="connsiteX6268" y="connsiteY6268"/>
              </a:cxn>
              <a:cxn ang="0">
                <a:pos x="connsiteX6269" y="connsiteY6269"/>
              </a:cxn>
              <a:cxn ang="0">
                <a:pos x="connsiteX6270" y="connsiteY6270"/>
              </a:cxn>
              <a:cxn ang="0">
                <a:pos x="connsiteX6271" y="connsiteY6271"/>
              </a:cxn>
              <a:cxn ang="0">
                <a:pos x="connsiteX6272" y="connsiteY6272"/>
              </a:cxn>
              <a:cxn ang="0">
                <a:pos x="connsiteX6273" y="connsiteY6273"/>
              </a:cxn>
              <a:cxn ang="0">
                <a:pos x="connsiteX6274" y="connsiteY6274"/>
              </a:cxn>
              <a:cxn ang="0">
                <a:pos x="connsiteX6275" y="connsiteY6275"/>
              </a:cxn>
              <a:cxn ang="0">
                <a:pos x="connsiteX6276" y="connsiteY6276"/>
              </a:cxn>
              <a:cxn ang="0">
                <a:pos x="connsiteX6277" y="connsiteY6277"/>
              </a:cxn>
              <a:cxn ang="0">
                <a:pos x="connsiteX6278" y="connsiteY6278"/>
              </a:cxn>
              <a:cxn ang="0">
                <a:pos x="connsiteX6279" y="connsiteY6279"/>
              </a:cxn>
              <a:cxn ang="0">
                <a:pos x="connsiteX6280" y="connsiteY6280"/>
              </a:cxn>
              <a:cxn ang="0">
                <a:pos x="connsiteX6281" y="connsiteY6281"/>
              </a:cxn>
              <a:cxn ang="0">
                <a:pos x="connsiteX6282" y="connsiteY6282"/>
              </a:cxn>
              <a:cxn ang="0">
                <a:pos x="connsiteX6283" y="connsiteY6283"/>
              </a:cxn>
              <a:cxn ang="0">
                <a:pos x="connsiteX6284" y="connsiteY6284"/>
              </a:cxn>
              <a:cxn ang="0">
                <a:pos x="connsiteX6285" y="connsiteY6285"/>
              </a:cxn>
              <a:cxn ang="0">
                <a:pos x="connsiteX6286" y="connsiteY6286"/>
              </a:cxn>
              <a:cxn ang="0">
                <a:pos x="connsiteX6287" y="connsiteY6287"/>
              </a:cxn>
              <a:cxn ang="0">
                <a:pos x="connsiteX6288" y="connsiteY6288"/>
              </a:cxn>
              <a:cxn ang="0">
                <a:pos x="connsiteX6289" y="connsiteY6289"/>
              </a:cxn>
              <a:cxn ang="0">
                <a:pos x="connsiteX6290" y="connsiteY6290"/>
              </a:cxn>
              <a:cxn ang="0">
                <a:pos x="connsiteX6291" y="connsiteY6291"/>
              </a:cxn>
              <a:cxn ang="0">
                <a:pos x="connsiteX6292" y="connsiteY6292"/>
              </a:cxn>
              <a:cxn ang="0">
                <a:pos x="connsiteX6293" y="connsiteY6293"/>
              </a:cxn>
              <a:cxn ang="0">
                <a:pos x="connsiteX6294" y="connsiteY6294"/>
              </a:cxn>
              <a:cxn ang="0">
                <a:pos x="connsiteX6295" y="connsiteY6295"/>
              </a:cxn>
              <a:cxn ang="0">
                <a:pos x="connsiteX6296" y="connsiteY6296"/>
              </a:cxn>
              <a:cxn ang="0">
                <a:pos x="connsiteX6297" y="connsiteY6297"/>
              </a:cxn>
              <a:cxn ang="0">
                <a:pos x="connsiteX6298" y="connsiteY6298"/>
              </a:cxn>
              <a:cxn ang="0">
                <a:pos x="connsiteX6299" y="connsiteY6299"/>
              </a:cxn>
              <a:cxn ang="0">
                <a:pos x="connsiteX6300" y="connsiteY6300"/>
              </a:cxn>
              <a:cxn ang="0">
                <a:pos x="connsiteX6301" y="connsiteY6301"/>
              </a:cxn>
              <a:cxn ang="0">
                <a:pos x="connsiteX6302" y="connsiteY6302"/>
              </a:cxn>
              <a:cxn ang="0">
                <a:pos x="connsiteX6303" y="connsiteY6303"/>
              </a:cxn>
              <a:cxn ang="0">
                <a:pos x="connsiteX6304" y="connsiteY6304"/>
              </a:cxn>
              <a:cxn ang="0">
                <a:pos x="connsiteX6305" y="connsiteY6305"/>
              </a:cxn>
              <a:cxn ang="0">
                <a:pos x="connsiteX6306" y="connsiteY6306"/>
              </a:cxn>
              <a:cxn ang="0">
                <a:pos x="connsiteX6307" y="connsiteY6307"/>
              </a:cxn>
              <a:cxn ang="0">
                <a:pos x="connsiteX6308" y="connsiteY6308"/>
              </a:cxn>
              <a:cxn ang="0">
                <a:pos x="connsiteX6309" y="connsiteY6309"/>
              </a:cxn>
              <a:cxn ang="0">
                <a:pos x="connsiteX6310" y="connsiteY6310"/>
              </a:cxn>
              <a:cxn ang="0">
                <a:pos x="connsiteX6311" y="connsiteY6311"/>
              </a:cxn>
              <a:cxn ang="0">
                <a:pos x="connsiteX6312" y="connsiteY6312"/>
              </a:cxn>
              <a:cxn ang="0">
                <a:pos x="connsiteX6313" y="connsiteY6313"/>
              </a:cxn>
              <a:cxn ang="0">
                <a:pos x="connsiteX6314" y="connsiteY6314"/>
              </a:cxn>
              <a:cxn ang="0">
                <a:pos x="connsiteX6315" y="connsiteY6315"/>
              </a:cxn>
              <a:cxn ang="0">
                <a:pos x="connsiteX6316" y="connsiteY6316"/>
              </a:cxn>
              <a:cxn ang="0">
                <a:pos x="connsiteX6317" y="connsiteY6317"/>
              </a:cxn>
              <a:cxn ang="0">
                <a:pos x="connsiteX6318" y="connsiteY6318"/>
              </a:cxn>
              <a:cxn ang="0">
                <a:pos x="connsiteX6319" y="connsiteY6319"/>
              </a:cxn>
              <a:cxn ang="0">
                <a:pos x="connsiteX6320" y="connsiteY6320"/>
              </a:cxn>
              <a:cxn ang="0">
                <a:pos x="connsiteX6321" y="connsiteY6321"/>
              </a:cxn>
              <a:cxn ang="0">
                <a:pos x="connsiteX6322" y="connsiteY6322"/>
              </a:cxn>
              <a:cxn ang="0">
                <a:pos x="connsiteX6323" y="connsiteY6323"/>
              </a:cxn>
              <a:cxn ang="0">
                <a:pos x="connsiteX6324" y="connsiteY6324"/>
              </a:cxn>
              <a:cxn ang="0">
                <a:pos x="connsiteX6325" y="connsiteY6325"/>
              </a:cxn>
              <a:cxn ang="0">
                <a:pos x="connsiteX6326" y="connsiteY6326"/>
              </a:cxn>
              <a:cxn ang="0">
                <a:pos x="connsiteX6327" y="connsiteY6327"/>
              </a:cxn>
              <a:cxn ang="0">
                <a:pos x="connsiteX6328" y="connsiteY6328"/>
              </a:cxn>
              <a:cxn ang="0">
                <a:pos x="connsiteX6329" y="connsiteY6329"/>
              </a:cxn>
              <a:cxn ang="0">
                <a:pos x="connsiteX6330" y="connsiteY6330"/>
              </a:cxn>
              <a:cxn ang="0">
                <a:pos x="connsiteX6331" y="connsiteY6331"/>
              </a:cxn>
              <a:cxn ang="0">
                <a:pos x="connsiteX6332" y="connsiteY6332"/>
              </a:cxn>
              <a:cxn ang="0">
                <a:pos x="connsiteX6333" y="connsiteY6333"/>
              </a:cxn>
              <a:cxn ang="0">
                <a:pos x="connsiteX6334" y="connsiteY6334"/>
              </a:cxn>
              <a:cxn ang="0">
                <a:pos x="connsiteX6335" y="connsiteY6335"/>
              </a:cxn>
              <a:cxn ang="0">
                <a:pos x="connsiteX6336" y="connsiteY6336"/>
              </a:cxn>
              <a:cxn ang="0">
                <a:pos x="connsiteX6337" y="connsiteY6337"/>
              </a:cxn>
              <a:cxn ang="0">
                <a:pos x="connsiteX6338" y="connsiteY6338"/>
              </a:cxn>
              <a:cxn ang="0">
                <a:pos x="connsiteX6339" y="connsiteY6339"/>
              </a:cxn>
              <a:cxn ang="0">
                <a:pos x="connsiteX6340" y="connsiteY6340"/>
              </a:cxn>
              <a:cxn ang="0">
                <a:pos x="connsiteX6341" y="connsiteY6341"/>
              </a:cxn>
              <a:cxn ang="0">
                <a:pos x="connsiteX6342" y="connsiteY6342"/>
              </a:cxn>
              <a:cxn ang="0">
                <a:pos x="connsiteX6343" y="connsiteY6343"/>
              </a:cxn>
              <a:cxn ang="0">
                <a:pos x="connsiteX6344" y="connsiteY6344"/>
              </a:cxn>
              <a:cxn ang="0">
                <a:pos x="connsiteX6345" y="connsiteY6345"/>
              </a:cxn>
              <a:cxn ang="0">
                <a:pos x="connsiteX6346" y="connsiteY6346"/>
              </a:cxn>
              <a:cxn ang="0">
                <a:pos x="connsiteX6347" y="connsiteY6347"/>
              </a:cxn>
              <a:cxn ang="0">
                <a:pos x="connsiteX6348" y="connsiteY6348"/>
              </a:cxn>
              <a:cxn ang="0">
                <a:pos x="connsiteX6349" y="connsiteY6349"/>
              </a:cxn>
              <a:cxn ang="0">
                <a:pos x="connsiteX6350" y="connsiteY6350"/>
              </a:cxn>
              <a:cxn ang="0">
                <a:pos x="connsiteX6351" y="connsiteY6351"/>
              </a:cxn>
              <a:cxn ang="0">
                <a:pos x="connsiteX6352" y="connsiteY6352"/>
              </a:cxn>
              <a:cxn ang="0">
                <a:pos x="connsiteX6353" y="connsiteY6353"/>
              </a:cxn>
              <a:cxn ang="0">
                <a:pos x="connsiteX6354" y="connsiteY6354"/>
              </a:cxn>
              <a:cxn ang="0">
                <a:pos x="connsiteX6355" y="connsiteY6355"/>
              </a:cxn>
              <a:cxn ang="0">
                <a:pos x="connsiteX6356" y="connsiteY6356"/>
              </a:cxn>
              <a:cxn ang="0">
                <a:pos x="connsiteX6357" y="connsiteY6357"/>
              </a:cxn>
              <a:cxn ang="0">
                <a:pos x="connsiteX6358" y="connsiteY6358"/>
              </a:cxn>
              <a:cxn ang="0">
                <a:pos x="connsiteX6359" y="connsiteY6359"/>
              </a:cxn>
              <a:cxn ang="0">
                <a:pos x="connsiteX6360" y="connsiteY6360"/>
              </a:cxn>
              <a:cxn ang="0">
                <a:pos x="connsiteX6361" y="connsiteY6361"/>
              </a:cxn>
              <a:cxn ang="0">
                <a:pos x="connsiteX6362" y="connsiteY6362"/>
              </a:cxn>
              <a:cxn ang="0">
                <a:pos x="connsiteX6363" y="connsiteY6363"/>
              </a:cxn>
              <a:cxn ang="0">
                <a:pos x="connsiteX6364" y="connsiteY6364"/>
              </a:cxn>
              <a:cxn ang="0">
                <a:pos x="connsiteX6365" y="connsiteY6365"/>
              </a:cxn>
              <a:cxn ang="0">
                <a:pos x="connsiteX6366" y="connsiteY6366"/>
              </a:cxn>
              <a:cxn ang="0">
                <a:pos x="connsiteX6367" y="connsiteY6367"/>
              </a:cxn>
              <a:cxn ang="0">
                <a:pos x="connsiteX6368" y="connsiteY6368"/>
              </a:cxn>
              <a:cxn ang="0">
                <a:pos x="connsiteX6369" y="connsiteY6369"/>
              </a:cxn>
              <a:cxn ang="0">
                <a:pos x="connsiteX6370" y="connsiteY6370"/>
              </a:cxn>
              <a:cxn ang="0">
                <a:pos x="connsiteX6371" y="connsiteY6371"/>
              </a:cxn>
              <a:cxn ang="0">
                <a:pos x="connsiteX6372" y="connsiteY6372"/>
              </a:cxn>
              <a:cxn ang="0">
                <a:pos x="connsiteX6373" y="connsiteY6373"/>
              </a:cxn>
              <a:cxn ang="0">
                <a:pos x="connsiteX6374" y="connsiteY6374"/>
              </a:cxn>
              <a:cxn ang="0">
                <a:pos x="connsiteX6375" y="connsiteY6375"/>
              </a:cxn>
              <a:cxn ang="0">
                <a:pos x="connsiteX6376" y="connsiteY6376"/>
              </a:cxn>
              <a:cxn ang="0">
                <a:pos x="connsiteX6377" y="connsiteY6377"/>
              </a:cxn>
              <a:cxn ang="0">
                <a:pos x="connsiteX6378" y="connsiteY6378"/>
              </a:cxn>
              <a:cxn ang="0">
                <a:pos x="connsiteX6379" y="connsiteY6379"/>
              </a:cxn>
              <a:cxn ang="0">
                <a:pos x="connsiteX6380" y="connsiteY6380"/>
              </a:cxn>
              <a:cxn ang="0">
                <a:pos x="connsiteX6381" y="connsiteY6381"/>
              </a:cxn>
              <a:cxn ang="0">
                <a:pos x="connsiteX6382" y="connsiteY6382"/>
              </a:cxn>
              <a:cxn ang="0">
                <a:pos x="connsiteX6383" y="connsiteY6383"/>
              </a:cxn>
              <a:cxn ang="0">
                <a:pos x="connsiteX6384" y="connsiteY6384"/>
              </a:cxn>
              <a:cxn ang="0">
                <a:pos x="connsiteX6385" y="connsiteY6385"/>
              </a:cxn>
              <a:cxn ang="0">
                <a:pos x="connsiteX6386" y="connsiteY6386"/>
              </a:cxn>
              <a:cxn ang="0">
                <a:pos x="connsiteX6387" y="connsiteY6387"/>
              </a:cxn>
              <a:cxn ang="0">
                <a:pos x="connsiteX6388" y="connsiteY6388"/>
              </a:cxn>
              <a:cxn ang="0">
                <a:pos x="connsiteX6389" y="connsiteY6389"/>
              </a:cxn>
              <a:cxn ang="0">
                <a:pos x="connsiteX6390" y="connsiteY6390"/>
              </a:cxn>
              <a:cxn ang="0">
                <a:pos x="connsiteX6391" y="connsiteY6391"/>
              </a:cxn>
              <a:cxn ang="0">
                <a:pos x="connsiteX6392" y="connsiteY6392"/>
              </a:cxn>
              <a:cxn ang="0">
                <a:pos x="connsiteX6393" y="connsiteY6393"/>
              </a:cxn>
              <a:cxn ang="0">
                <a:pos x="connsiteX6394" y="connsiteY6394"/>
              </a:cxn>
              <a:cxn ang="0">
                <a:pos x="connsiteX6395" y="connsiteY6395"/>
              </a:cxn>
              <a:cxn ang="0">
                <a:pos x="connsiteX6396" y="connsiteY6396"/>
              </a:cxn>
              <a:cxn ang="0">
                <a:pos x="connsiteX6397" y="connsiteY6397"/>
              </a:cxn>
              <a:cxn ang="0">
                <a:pos x="connsiteX6398" y="connsiteY6398"/>
              </a:cxn>
              <a:cxn ang="0">
                <a:pos x="connsiteX6399" y="connsiteY6399"/>
              </a:cxn>
              <a:cxn ang="0">
                <a:pos x="connsiteX6400" y="connsiteY6400"/>
              </a:cxn>
              <a:cxn ang="0">
                <a:pos x="connsiteX6401" y="connsiteY6401"/>
              </a:cxn>
              <a:cxn ang="0">
                <a:pos x="connsiteX6402" y="connsiteY6402"/>
              </a:cxn>
              <a:cxn ang="0">
                <a:pos x="connsiteX6403" y="connsiteY6403"/>
              </a:cxn>
              <a:cxn ang="0">
                <a:pos x="connsiteX6404" y="connsiteY6404"/>
              </a:cxn>
              <a:cxn ang="0">
                <a:pos x="connsiteX6405" y="connsiteY6405"/>
              </a:cxn>
              <a:cxn ang="0">
                <a:pos x="connsiteX6406" y="connsiteY6406"/>
              </a:cxn>
              <a:cxn ang="0">
                <a:pos x="connsiteX6407" y="connsiteY6407"/>
              </a:cxn>
              <a:cxn ang="0">
                <a:pos x="connsiteX6408" y="connsiteY6408"/>
              </a:cxn>
              <a:cxn ang="0">
                <a:pos x="connsiteX6409" y="connsiteY6409"/>
              </a:cxn>
              <a:cxn ang="0">
                <a:pos x="connsiteX6410" y="connsiteY6410"/>
              </a:cxn>
              <a:cxn ang="0">
                <a:pos x="connsiteX6411" y="connsiteY6411"/>
              </a:cxn>
              <a:cxn ang="0">
                <a:pos x="connsiteX6412" y="connsiteY6412"/>
              </a:cxn>
              <a:cxn ang="0">
                <a:pos x="connsiteX6413" y="connsiteY6413"/>
              </a:cxn>
              <a:cxn ang="0">
                <a:pos x="connsiteX6414" y="connsiteY6414"/>
              </a:cxn>
              <a:cxn ang="0">
                <a:pos x="connsiteX6415" y="connsiteY6415"/>
              </a:cxn>
              <a:cxn ang="0">
                <a:pos x="connsiteX6416" y="connsiteY6416"/>
              </a:cxn>
              <a:cxn ang="0">
                <a:pos x="connsiteX6417" y="connsiteY6417"/>
              </a:cxn>
              <a:cxn ang="0">
                <a:pos x="connsiteX6418" y="connsiteY6418"/>
              </a:cxn>
              <a:cxn ang="0">
                <a:pos x="connsiteX6419" y="connsiteY6419"/>
              </a:cxn>
              <a:cxn ang="0">
                <a:pos x="connsiteX6420" y="connsiteY6420"/>
              </a:cxn>
              <a:cxn ang="0">
                <a:pos x="connsiteX6421" y="connsiteY6421"/>
              </a:cxn>
              <a:cxn ang="0">
                <a:pos x="connsiteX6422" y="connsiteY6422"/>
              </a:cxn>
              <a:cxn ang="0">
                <a:pos x="connsiteX6423" y="connsiteY6423"/>
              </a:cxn>
              <a:cxn ang="0">
                <a:pos x="connsiteX6424" y="connsiteY6424"/>
              </a:cxn>
              <a:cxn ang="0">
                <a:pos x="connsiteX6425" y="connsiteY6425"/>
              </a:cxn>
              <a:cxn ang="0">
                <a:pos x="connsiteX6426" y="connsiteY6426"/>
              </a:cxn>
              <a:cxn ang="0">
                <a:pos x="connsiteX6427" y="connsiteY6427"/>
              </a:cxn>
              <a:cxn ang="0">
                <a:pos x="connsiteX6428" y="connsiteY6428"/>
              </a:cxn>
              <a:cxn ang="0">
                <a:pos x="connsiteX6429" y="connsiteY6429"/>
              </a:cxn>
              <a:cxn ang="0">
                <a:pos x="connsiteX6430" y="connsiteY6430"/>
              </a:cxn>
              <a:cxn ang="0">
                <a:pos x="connsiteX6431" y="connsiteY6431"/>
              </a:cxn>
              <a:cxn ang="0">
                <a:pos x="connsiteX6432" y="connsiteY6432"/>
              </a:cxn>
              <a:cxn ang="0">
                <a:pos x="connsiteX6433" y="connsiteY6433"/>
              </a:cxn>
              <a:cxn ang="0">
                <a:pos x="connsiteX6434" y="connsiteY6434"/>
              </a:cxn>
              <a:cxn ang="0">
                <a:pos x="connsiteX6435" y="connsiteY6435"/>
              </a:cxn>
              <a:cxn ang="0">
                <a:pos x="connsiteX6436" y="connsiteY6436"/>
              </a:cxn>
              <a:cxn ang="0">
                <a:pos x="connsiteX6437" y="connsiteY6437"/>
              </a:cxn>
              <a:cxn ang="0">
                <a:pos x="connsiteX6438" y="connsiteY6438"/>
              </a:cxn>
              <a:cxn ang="0">
                <a:pos x="connsiteX6439" y="connsiteY6439"/>
              </a:cxn>
              <a:cxn ang="0">
                <a:pos x="connsiteX6440" y="connsiteY6440"/>
              </a:cxn>
              <a:cxn ang="0">
                <a:pos x="connsiteX6441" y="connsiteY6441"/>
              </a:cxn>
              <a:cxn ang="0">
                <a:pos x="connsiteX6442" y="connsiteY6442"/>
              </a:cxn>
              <a:cxn ang="0">
                <a:pos x="connsiteX6443" y="connsiteY6443"/>
              </a:cxn>
              <a:cxn ang="0">
                <a:pos x="connsiteX6444" y="connsiteY6444"/>
              </a:cxn>
              <a:cxn ang="0">
                <a:pos x="connsiteX6445" y="connsiteY6445"/>
              </a:cxn>
              <a:cxn ang="0">
                <a:pos x="connsiteX6446" y="connsiteY6446"/>
              </a:cxn>
              <a:cxn ang="0">
                <a:pos x="connsiteX6447" y="connsiteY6447"/>
              </a:cxn>
              <a:cxn ang="0">
                <a:pos x="connsiteX6448" y="connsiteY6448"/>
              </a:cxn>
              <a:cxn ang="0">
                <a:pos x="connsiteX6449" y="connsiteY6449"/>
              </a:cxn>
              <a:cxn ang="0">
                <a:pos x="connsiteX6450" y="connsiteY6450"/>
              </a:cxn>
              <a:cxn ang="0">
                <a:pos x="connsiteX6451" y="connsiteY6451"/>
              </a:cxn>
              <a:cxn ang="0">
                <a:pos x="connsiteX6452" y="connsiteY6452"/>
              </a:cxn>
              <a:cxn ang="0">
                <a:pos x="connsiteX6453" y="connsiteY6453"/>
              </a:cxn>
              <a:cxn ang="0">
                <a:pos x="connsiteX6454" y="connsiteY6454"/>
              </a:cxn>
              <a:cxn ang="0">
                <a:pos x="connsiteX6455" y="connsiteY6455"/>
              </a:cxn>
              <a:cxn ang="0">
                <a:pos x="connsiteX6456" y="connsiteY6456"/>
              </a:cxn>
              <a:cxn ang="0">
                <a:pos x="connsiteX6457" y="connsiteY6457"/>
              </a:cxn>
              <a:cxn ang="0">
                <a:pos x="connsiteX6458" y="connsiteY6458"/>
              </a:cxn>
              <a:cxn ang="0">
                <a:pos x="connsiteX6459" y="connsiteY6459"/>
              </a:cxn>
              <a:cxn ang="0">
                <a:pos x="connsiteX6460" y="connsiteY6460"/>
              </a:cxn>
              <a:cxn ang="0">
                <a:pos x="connsiteX6461" y="connsiteY6461"/>
              </a:cxn>
              <a:cxn ang="0">
                <a:pos x="connsiteX6462" y="connsiteY6462"/>
              </a:cxn>
              <a:cxn ang="0">
                <a:pos x="connsiteX6463" y="connsiteY6463"/>
              </a:cxn>
              <a:cxn ang="0">
                <a:pos x="connsiteX6464" y="connsiteY6464"/>
              </a:cxn>
              <a:cxn ang="0">
                <a:pos x="connsiteX6465" y="connsiteY6465"/>
              </a:cxn>
              <a:cxn ang="0">
                <a:pos x="connsiteX6466" y="connsiteY6466"/>
              </a:cxn>
              <a:cxn ang="0">
                <a:pos x="connsiteX6467" y="connsiteY6467"/>
              </a:cxn>
              <a:cxn ang="0">
                <a:pos x="connsiteX6468" y="connsiteY6468"/>
              </a:cxn>
              <a:cxn ang="0">
                <a:pos x="connsiteX6469" y="connsiteY6469"/>
              </a:cxn>
              <a:cxn ang="0">
                <a:pos x="connsiteX6470" y="connsiteY6470"/>
              </a:cxn>
              <a:cxn ang="0">
                <a:pos x="connsiteX6471" y="connsiteY6471"/>
              </a:cxn>
              <a:cxn ang="0">
                <a:pos x="connsiteX6472" y="connsiteY6472"/>
              </a:cxn>
              <a:cxn ang="0">
                <a:pos x="connsiteX6473" y="connsiteY6473"/>
              </a:cxn>
              <a:cxn ang="0">
                <a:pos x="connsiteX6474" y="connsiteY6474"/>
              </a:cxn>
              <a:cxn ang="0">
                <a:pos x="connsiteX6475" y="connsiteY6475"/>
              </a:cxn>
              <a:cxn ang="0">
                <a:pos x="connsiteX6476" y="connsiteY6476"/>
              </a:cxn>
              <a:cxn ang="0">
                <a:pos x="connsiteX6477" y="connsiteY6477"/>
              </a:cxn>
              <a:cxn ang="0">
                <a:pos x="connsiteX6478" y="connsiteY6478"/>
              </a:cxn>
              <a:cxn ang="0">
                <a:pos x="connsiteX6479" y="connsiteY6479"/>
              </a:cxn>
              <a:cxn ang="0">
                <a:pos x="connsiteX6480" y="connsiteY6480"/>
              </a:cxn>
              <a:cxn ang="0">
                <a:pos x="connsiteX6481" y="connsiteY6481"/>
              </a:cxn>
              <a:cxn ang="0">
                <a:pos x="connsiteX6482" y="connsiteY6482"/>
              </a:cxn>
              <a:cxn ang="0">
                <a:pos x="connsiteX6483" y="connsiteY6483"/>
              </a:cxn>
              <a:cxn ang="0">
                <a:pos x="connsiteX6484" y="connsiteY6484"/>
              </a:cxn>
              <a:cxn ang="0">
                <a:pos x="connsiteX6485" y="connsiteY6485"/>
              </a:cxn>
              <a:cxn ang="0">
                <a:pos x="connsiteX6486" y="connsiteY6486"/>
              </a:cxn>
              <a:cxn ang="0">
                <a:pos x="connsiteX6487" y="connsiteY6487"/>
              </a:cxn>
              <a:cxn ang="0">
                <a:pos x="connsiteX6488" y="connsiteY6488"/>
              </a:cxn>
              <a:cxn ang="0">
                <a:pos x="connsiteX6489" y="connsiteY6489"/>
              </a:cxn>
              <a:cxn ang="0">
                <a:pos x="connsiteX6490" y="connsiteY6490"/>
              </a:cxn>
              <a:cxn ang="0">
                <a:pos x="connsiteX6491" y="connsiteY6491"/>
              </a:cxn>
              <a:cxn ang="0">
                <a:pos x="connsiteX6492" y="connsiteY6492"/>
              </a:cxn>
              <a:cxn ang="0">
                <a:pos x="connsiteX6493" y="connsiteY6493"/>
              </a:cxn>
              <a:cxn ang="0">
                <a:pos x="connsiteX6494" y="connsiteY6494"/>
              </a:cxn>
              <a:cxn ang="0">
                <a:pos x="connsiteX6495" y="connsiteY6495"/>
              </a:cxn>
              <a:cxn ang="0">
                <a:pos x="connsiteX6496" y="connsiteY6496"/>
              </a:cxn>
              <a:cxn ang="0">
                <a:pos x="connsiteX6497" y="connsiteY6497"/>
              </a:cxn>
              <a:cxn ang="0">
                <a:pos x="connsiteX6498" y="connsiteY6498"/>
              </a:cxn>
              <a:cxn ang="0">
                <a:pos x="connsiteX6499" y="connsiteY6499"/>
              </a:cxn>
              <a:cxn ang="0">
                <a:pos x="connsiteX6500" y="connsiteY6500"/>
              </a:cxn>
              <a:cxn ang="0">
                <a:pos x="connsiteX6501" y="connsiteY6501"/>
              </a:cxn>
              <a:cxn ang="0">
                <a:pos x="connsiteX6502" y="connsiteY6502"/>
              </a:cxn>
              <a:cxn ang="0">
                <a:pos x="connsiteX6503" y="connsiteY6503"/>
              </a:cxn>
              <a:cxn ang="0">
                <a:pos x="connsiteX6504" y="connsiteY6504"/>
              </a:cxn>
              <a:cxn ang="0">
                <a:pos x="connsiteX6505" y="connsiteY6505"/>
              </a:cxn>
              <a:cxn ang="0">
                <a:pos x="connsiteX6506" y="connsiteY6506"/>
              </a:cxn>
              <a:cxn ang="0">
                <a:pos x="connsiteX6507" y="connsiteY6507"/>
              </a:cxn>
              <a:cxn ang="0">
                <a:pos x="connsiteX6508" y="connsiteY6508"/>
              </a:cxn>
              <a:cxn ang="0">
                <a:pos x="connsiteX6509" y="connsiteY6509"/>
              </a:cxn>
              <a:cxn ang="0">
                <a:pos x="connsiteX6510" y="connsiteY6510"/>
              </a:cxn>
              <a:cxn ang="0">
                <a:pos x="connsiteX6511" y="connsiteY6511"/>
              </a:cxn>
              <a:cxn ang="0">
                <a:pos x="connsiteX6512" y="connsiteY6512"/>
              </a:cxn>
              <a:cxn ang="0">
                <a:pos x="connsiteX6513" y="connsiteY6513"/>
              </a:cxn>
              <a:cxn ang="0">
                <a:pos x="connsiteX6514" y="connsiteY6514"/>
              </a:cxn>
              <a:cxn ang="0">
                <a:pos x="connsiteX6515" y="connsiteY6515"/>
              </a:cxn>
              <a:cxn ang="0">
                <a:pos x="connsiteX6516" y="connsiteY6516"/>
              </a:cxn>
              <a:cxn ang="0">
                <a:pos x="connsiteX6517" y="connsiteY6517"/>
              </a:cxn>
              <a:cxn ang="0">
                <a:pos x="connsiteX6518" y="connsiteY6518"/>
              </a:cxn>
              <a:cxn ang="0">
                <a:pos x="connsiteX6519" y="connsiteY6519"/>
              </a:cxn>
              <a:cxn ang="0">
                <a:pos x="connsiteX6520" y="connsiteY6520"/>
              </a:cxn>
              <a:cxn ang="0">
                <a:pos x="connsiteX6521" y="connsiteY6521"/>
              </a:cxn>
              <a:cxn ang="0">
                <a:pos x="connsiteX6522" y="connsiteY6522"/>
              </a:cxn>
              <a:cxn ang="0">
                <a:pos x="connsiteX6523" y="connsiteY6523"/>
              </a:cxn>
              <a:cxn ang="0">
                <a:pos x="connsiteX6524" y="connsiteY6524"/>
              </a:cxn>
              <a:cxn ang="0">
                <a:pos x="connsiteX6525" y="connsiteY6525"/>
              </a:cxn>
              <a:cxn ang="0">
                <a:pos x="connsiteX6526" y="connsiteY6526"/>
              </a:cxn>
              <a:cxn ang="0">
                <a:pos x="connsiteX6527" y="connsiteY6527"/>
              </a:cxn>
              <a:cxn ang="0">
                <a:pos x="connsiteX6528" y="connsiteY6528"/>
              </a:cxn>
              <a:cxn ang="0">
                <a:pos x="connsiteX6529" y="connsiteY6529"/>
              </a:cxn>
              <a:cxn ang="0">
                <a:pos x="connsiteX6530" y="connsiteY6530"/>
              </a:cxn>
              <a:cxn ang="0">
                <a:pos x="connsiteX6531" y="connsiteY6531"/>
              </a:cxn>
              <a:cxn ang="0">
                <a:pos x="connsiteX6532" y="connsiteY6532"/>
              </a:cxn>
              <a:cxn ang="0">
                <a:pos x="connsiteX6533" y="connsiteY6533"/>
              </a:cxn>
              <a:cxn ang="0">
                <a:pos x="connsiteX6534" y="connsiteY6534"/>
              </a:cxn>
              <a:cxn ang="0">
                <a:pos x="connsiteX6535" y="connsiteY6535"/>
              </a:cxn>
              <a:cxn ang="0">
                <a:pos x="connsiteX6536" y="connsiteY6536"/>
              </a:cxn>
              <a:cxn ang="0">
                <a:pos x="connsiteX6537" y="connsiteY6537"/>
              </a:cxn>
              <a:cxn ang="0">
                <a:pos x="connsiteX6538" y="connsiteY6538"/>
              </a:cxn>
              <a:cxn ang="0">
                <a:pos x="connsiteX6539" y="connsiteY6539"/>
              </a:cxn>
              <a:cxn ang="0">
                <a:pos x="connsiteX6540" y="connsiteY6540"/>
              </a:cxn>
              <a:cxn ang="0">
                <a:pos x="connsiteX6541" y="connsiteY6541"/>
              </a:cxn>
              <a:cxn ang="0">
                <a:pos x="connsiteX6542" y="connsiteY6542"/>
              </a:cxn>
              <a:cxn ang="0">
                <a:pos x="connsiteX6543" y="connsiteY6543"/>
              </a:cxn>
              <a:cxn ang="0">
                <a:pos x="connsiteX6544" y="connsiteY6544"/>
              </a:cxn>
              <a:cxn ang="0">
                <a:pos x="connsiteX6545" y="connsiteY6545"/>
              </a:cxn>
              <a:cxn ang="0">
                <a:pos x="connsiteX6546" y="connsiteY6546"/>
              </a:cxn>
              <a:cxn ang="0">
                <a:pos x="connsiteX6547" y="connsiteY6547"/>
              </a:cxn>
              <a:cxn ang="0">
                <a:pos x="connsiteX6548" y="connsiteY6548"/>
              </a:cxn>
              <a:cxn ang="0">
                <a:pos x="connsiteX6549" y="connsiteY6549"/>
              </a:cxn>
              <a:cxn ang="0">
                <a:pos x="connsiteX6550" y="connsiteY6550"/>
              </a:cxn>
              <a:cxn ang="0">
                <a:pos x="connsiteX6551" y="connsiteY6551"/>
              </a:cxn>
              <a:cxn ang="0">
                <a:pos x="connsiteX6552" y="connsiteY6552"/>
              </a:cxn>
              <a:cxn ang="0">
                <a:pos x="connsiteX6553" y="connsiteY6553"/>
              </a:cxn>
              <a:cxn ang="0">
                <a:pos x="connsiteX6554" y="connsiteY6554"/>
              </a:cxn>
              <a:cxn ang="0">
                <a:pos x="connsiteX6555" y="connsiteY6555"/>
              </a:cxn>
              <a:cxn ang="0">
                <a:pos x="connsiteX6556" y="connsiteY6556"/>
              </a:cxn>
              <a:cxn ang="0">
                <a:pos x="connsiteX6557" y="connsiteY6557"/>
              </a:cxn>
              <a:cxn ang="0">
                <a:pos x="connsiteX6558" y="connsiteY6558"/>
              </a:cxn>
              <a:cxn ang="0">
                <a:pos x="connsiteX6559" y="connsiteY6559"/>
              </a:cxn>
              <a:cxn ang="0">
                <a:pos x="connsiteX6560" y="connsiteY6560"/>
              </a:cxn>
              <a:cxn ang="0">
                <a:pos x="connsiteX6561" y="connsiteY6561"/>
              </a:cxn>
              <a:cxn ang="0">
                <a:pos x="connsiteX6562" y="connsiteY6562"/>
              </a:cxn>
              <a:cxn ang="0">
                <a:pos x="connsiteX6563" y="connsiteY6563"/>
              </a:cxn>
              <a:cxn ang="0">
                <a:pos x="connsiteX6564" y="connsiteY6564"/>
              </a:cxn>
              <a:cxn ang="0">
                <a:pos x="connsiteX6565" y="connsiteY6565"/>
              </a:cxn>
              <a:cxn ang="0">
                <a:pos x="connsiteX6566" y="connsiteY6566"/>
              </a:cxn>
              <a:cxn ang="0">
                <a:pos x="connsiteX6567" y="connsiteY6567"/>
              </a:cxn>
              <a:cxn ang="0">
                <a:pos x="connsiteX6568" y="connsiteY6568"/>
              </a:cxn>
              <a:cxn ang="0">
                <a:pos x="connsiteX6569" y="connsiteY6569"/>
              </a:cxn>
              <a:cxn ang="0">
                <a:pos x="connsiteX6570" y="connsiteY6570"/>
              </a:cxn>
              <a:cxn ang="0">
                <a:pos x="connsiteX6571" y="connsiteY6571"/>
              </a:cxn>
              <a:cxn ang="0">
                <a:pos x="connsiteX6572" y="connsiteY6572"/>
              </a:cxn>
              <a:cxn ang="0">
                <a:pos x="connsiteX6573" y="connsiteY6573"/>
              </a:cxn>
              <a:cxn ang="0">
                <a:pos x="connsiteX6574" y="connsiteY6574"/>
              </a:cxn>
              <a:cxn ang="0">
                <a:pos x="connsiteX6575" y="connsiteY6575"/>
              </a:cxn>
              <a:cxn ang="0">
                <a:pos x="connsiteX6576" y="connsiteY6576"/>
              </a:cxn>
              <a:cxn ang="0">
                <a:pos x="connsiteX6577" y="connsiteY6577"/>
              </a:cxn>
              <a:cxn ang="0">
                <a:pos x="connsiteX6578" y="connsiteY6578"/>
              </a:cxn>
              <a:cxn ang="0">
                <a:pos x="connsiteX6579" y="connsiteY6579"/>
              </a:cxn>
              <a:cxn ang="0">
                <a:pos x="connsiteX6580" y="connsiteY6580"/>
              </a:cxn>
              <a:cxn ang="0">
                <a:pos x="connsiteX6581" y="connsiteY6581"/>
              </a:cxn>
              <a:cxn ang="0">
                <a:pos x="connsiteX6582" y="connsiteY6582"/>
              </a:cxn>
              <a:cxn ang="0">
                <a:pos x="connsiteX6583" y="connsiteY6583"/>
              </a:cxn>
              <a:cxn ang="0">
                <a:pos x="connsiteX6584" y="connsiteY6584"/>
              </a:cxn>
              <a:cxn ang="0">
                <a:pos x="connsiteX6585" y="connsiteY6585"/>
              </a:cxn>
              <a:cxn ang="0">
                <a:pos x="connsiteX6586" y="connsiteY6586"/>
              </a:cxn>
              <a:cxn ang="0">
                <a:pos x="connsiteX6587" y="connsiteY6587"/>
              </a:cxn>
              <a:cxn ang="0">
                <a:pos x="connsiteX6588" y="connsiteY6588"/>
              </a:cxn>
              <a:cxn ang="0">
                <a:pos x="connsiteX6589" y="connsiteY6589"/>
              </a:cxn>
              <a:cxn ang="0">
                <a:pos x="connsiteX6590" y="connsiteY6590"/>
              </a:cxn>
              <a:cxn ang="0">
                <a:pos x="connsiteX6591" y="connsiteY6591"/>
              </a:cxn>
              <a:cxn ang="0">
                <a:pos x="connsiteX6592" y="connsiteY6592"/>
              </a:cxn>
              <a:cxn ang="0">
                <a:pos x="connsiteX6593" y="connsiteY6593"/>
              </a:cxn>
              <a:cxn ang="0">
                <a:pos x="connsiteX6594" y="connsiteY6594"/>
              </a:cxn>
              <a:cxn ang="0">
                <a:pos x="connsiteX6595" y="connsiteY6595"/>
              </a:cxn>
              <a:cxn ang="0">
                <a:pos x="connsiteX6596" y="connsiteY6596"/>
              </a:cxn>
              <a:cxn ang="0">
                <a:pos x="connsiteX6597" y="connsiteY6597"/>
              </a:cxn>
              <a:cxn ang="0">
                <a:pos x="connsiteX6598" y="connsiteY6598"/>
              </a:cxn>
              <a:cxn ang="0">
                <a:pos x="connsiteX6599" y="connsiteY6599"/>
              </a:cxn>
              <a:cxn ang="0">
                <a:pos x="connsiteX6600" y="connsiteY6600"/>
              </a:cxn>
              <a:cxn ang="0">
                <a:pos x="connsiteX6601" y="connsiteY6601"/>
              </a:cxn>
              <a:cxn ang="0">
                <a:pos x="connsiteX6602" y="connsiteY6602"/>
              </a:cxn>
              <a:cxn ang="0">
                <a:pos x="connsiteX6603" y="connsiteY6603"/>
              </a:cxn>
              <a:cxn ang="0">
                <a:pos x="connsiteX6604" y="connsiteY6604"/>
              </a:cxn>
              <a:cxn ang="0">
                <a:pos x="connsiteX6605" y="connsiteY6605"/>
              </a:cxn>
              <a:cxn ang="0">
                <a:pos x="connsiteX6606" y="connsiteY6606"/>
              </a:cxn>
              <a:cxn ang="0">
                <a:pos x="connsiteX6607" y="connsiteY6607"/>
              </a:cxn>
              <a:cxn ang="0">
                <a:pos x="connsiteX6608" y="connsiteY6608"/>
              </a:cxn>
              <a:cxn ang="0">
                <a:pos x="connsiteX6609" y="connsiteY6609"/>
              </a:cxn>
              <a:cxn ang="0">
                <a:pos x="connsiteX6610" y="connsiteY6610"/>
              </a:cxn>
              <a:cxn ang="0">
                <a:pos x="connsiteX6611" y="connsiteY6611"/>
              </a:cxn>
              <a:cxn ang="0">
                <a:pos x="connsiteX6612" y="connsiteY6612"/>
              </a:cxn>
              <a:cxn ang="0">
                <a:pos x="connsiteX6613" y="connsiteY6613"/>
              </a:cxn>
              <a:cxn ang="0">
                <a:pos x="connsiteX6614" y="connsiteY6614"/>
              </a:cxn>
              <a:cxn ang="0">
                <a:pos x="connsiteX6615" y="connsiteY6615"/>
              </a:cxn>
              <a:cxn ang="0">
                <a:pos x="connsiteX6616" y="connsiteY6616"/>
              </a:cxn>
              <a:cxn ang="0">
                <a:pos x="connsiteX6617" y="connsiteY6617"/>
              </a:cxn>
              <a:cxn ang="0">
                <a:pos x="connsiteX6618" y="connsiteY6618"/>
              </a:cxn>
              <a:cxn ang="0">
                <a:pos x="connsiteX6619" y="connsiteY6619"/>
              </a:cxn>
              <a:cxn ang="0">
                <a:pos x="connsiteX6620" y="connsiteY6620"/>
              </a:cxn>
              <a:cxn ang="0">
                <a:pos x="connsiteX6621" y="connsiteY6621"/>
              </a:cxn>
              <a:cxn ang="0">
                <a:pos x="connsiteX6622" y="connsiteY6622"/>
              </a:cxn>
              <a:cxn ang="0">
                <a:pos x="connsiteX6623" y="connsiteY6623"/>
              </a:cxn>
              <a:cxn ang="0">
                <a:pos x="connsiteX6624" y="connsiteY6624"/>
              </a:cxn>
              <a:cxn ang="0">
                <a:pos x="connsiteX6625" y="connsiteY6625"/>
              </a:cxn>
              <a:cxn ang="0">
                <a:pos x="connsiteX6626" y="connsiteY6626"/>
              </a:cxn>
              <a:cxn ang="0">
                <a:pos x="connsiteX6627" y="connsiteY6627"/>
              </a:cxn>
              <a:cxn ang="0">
                <a:pos x="connsiteX6628" y="connsiteY6628"/>
              </a:cxn>
              <a:cxn ang="0">
                <a:pos x="connsiteX6629" y="connsiteY6629"/>
              </a:cxn>
              <a:cxn ang="0">
                <a:pos x="connsiteX6630" y="connsiteY6630"/>
              </a:cxn>
              <a:cxn ang="0">
                <a:pos x="connsiteX6631" y="connsiteY6631"/>
              </a:cxn>
              <a:cxn ang="0">
                <a:pos x="connsiteX6632" y="connsiteY6632"/>
              </a:cxn>
              <a:cxn ang="0">
                <a:pos x="connsiteX6633" y="connsiteY6633"/>
              </a:cxn>
              <a:cxn ang="0">
                <a:pos x="connsiteX6634" y="connsiteY6634"/>
              </a:cxn>
              <a:cxn ang="0">
                <a:pos x="connsiteX6635" y="connsiteY6635"/>
              </a:cxn>
              <a:cxn ang="0">
                <a:pos x="connsiteX6636" y="connsiteY6636"/>
              </a:cxn>
              <a:cxn ang="0">
                <a:pos x="connsiteX6637" y="connsiteY6637"/>
              </a:cxn>
              <a:cxn ang="0">
                <a:pos x="connsiteX6638" y="connsiteY6638"/>
              </a:cxn>
              <a:cxn ang="0">
                <a:pos x="connsiteX6639" y="connsiteY6639"/>
              </a:cxn>
              <a:cxn ang="0">
                <a:pos x="connsiteX6640" y="connsiteY6640"/>
              </a:cxn>
              <a:cxn ang="0">
                <a:pos x="connsiteX6641" y="connsiteY6641"/>
              </a:cxn>
              <a:cxn ang="0">
                <a:pos x="connsiteX6642" y="connsiteY6642"/>
              </a:cxn>
              <a:cxn ang="0">
                <a:pos x="connsiteX6643" y="connsiteY6643"/>
              </a:cxn>
              <a:cxn ang="0">
                <a:pos x="connsiteX6644" y="connsiteY6644"/>
              </a:cxn>
              <a:cxn ang="0">
                <a:pos x="connsiteX6645" y="connsiteY6645"/>
              </a:cxn>
              <a:cxn ang="0">
                <a:pos x="connsiteX6646" y="connsiteY6646"/>
              </a:cxn>
              <a:cxn ang="0">
                <a:pos x="connsiteX6647" y="connsiteY6647"/>
              </a:cxn>
              <a:cxn ang="0">
                <a:pos x="connsiteX6648" y="connsiteY6648"/>
              </a:cxn>
              <a:cxn ang="0">
                <a:pos x="connsiteX6649" y="connsiteY6649"/>
              </a:cxn>
              <a:cxn ang="0">
                <a:pos x="connsiteX6650" y="connsiteY6650"/>
              </a:cxn>
              <a:cxn ang="0">
                <a:pos x="connsiteX6651" y="connsiteY6651"/>
              </a:cxn>
              <a:cxn ang="0">
                <a:pos x="connsiteX6652" y="connsiteY6652"/>
              </a:cxn>
              <a:cxn ang="0">
                <a:pos x="connsiteX6653" y="connsiteY6653"/>
              </a:cxn>
              <a:cxn ang="0">
                <a:pos x="connsiteX6654" y="connsiteY6654"/>
              </a:cxn>
              <a:cxn ang="0">
                <a:pos x="connsiteX6655" y="connsiteY6655"/>
              </a:cxn>
              <a:cxn ang="0">
                <a:pos x="connsiteX6656" y="connsiteY6656"/>
              </a:cxn>
              <a:cxn ang="0">
                <a:pos x="connsiteX6657" y="connsiteY6657"/>
              </a:cxn>
              <a:cxn ang="0">
                <a:pos x="connsiteX6658" y="connsiteY6658"/>
              </a:cxn>
              <a:cxn ang="0">
                <a:pos x="connsiteX6659" y="connsiteY6659"/>
              </a:cxn>
              <a:cxn ang="0">
                <a:pos x="connsiteX6660" y="connsiteY6660"/>
              </a:cxn>
              <a:cxn ang="0">
                <a:pos x="connsiteX6661" y="connsiteY6661"/>
              </a:cxn>
              <a:cxn ang="0">
                <a:pos x="connsiteX6662" y="connsiteY6662"/>
              </a:cxn>
              <a:cxn ang="0">
                <a:pos x="connsiteX6663" y="connsiteY6663"/>
              </a:cxn>
              <a:cxn ang="0">
                <a:pos x="connsiteX6664" y="connsiteY6664"/>
              </a:cxn>
              <a:cxn ang="0">
                <a:pos x="connsiteX6665" y="connsiteY6665"/>
              </a:cxn>
              <a:cxn ang="0">
                <a:pos x="connsiteX6666" y="connsiteY6666"/>
              </a:cxn>
              <a:cxn ang="0">
                <a:pos x="connsiteX6667" y="connsiteY6667"/>
              </a:cxn>
              <a:cxn ang="0">
                <a:pos x="connsiteX6668" y="connsiteY6668"/>
              </a:cxn>
              <a:cxn ang="0">
                <a:pos x="connsiteX6669" y="connsiteY6669"/>
              </a:cxn>
              <a:cxn ang="0">
                <a:pos x="connsiteX6670" y="connsiteY6670"/>
              </a:cxn>
              <a:cxn ang="0">
                <a:pos x="connsiteX6671" y="connsiteY6671"/>
              </a:cxn>
              <a:cxn ang="0">
                <a:pos x="connsiteX6672" y="connsiteY6672"/>
              </a:cxn>
              <a:cxn ang="0">
                <a:pos x="connsiteX6673" y="connsiteY6673"/>
              </a:cxn>
              <a:cxn ang="0">
                <a:pos x="connsiteX6674" y="connsiteY6674"/>
              </a:cxn>
              <a:cxn ang="0">
                <a:pos x="connsiteX6675" y="connsiteY6675"/>
              </a:cxn>
              <a:cxn ang="0">
                <a:pos x="connsiteX6676" y="connsiteY6676"/>
              </a:cxn>
              <a:cxn ang="0">
                <a:pos x="connsiteX6677" y="connsiteY6677"/>
              </a:cxn>
              <a:cxn ang="0">
                <a:pos x="connsiteX6678" y="connsiteY6678"/>
              </a:cxn>
              <a:cxn ang="0">
                <a:pos x="connsiteX6679" y="connsiteY6679"/>
              </a:cxn>
              <a:cxn ang="0">
                <a:pos x="connsiteX6680" y="connsiteY6680"/>
              </a:cxn>
              <a:cxn ang="0">
                <a:pos x="connsiteX6681" y="connsiteY6681"/>
              </a:cxn>
              <a:cxn ang="0">
                <a:pos x="connsiteX6682" y="connsiteY6682"/>
              </a:cxn>
              <a:cxn ang="0">
                <a:pos x="connsiteX6683" y="connsiteY6683"/>
              </a:cxn>
              <a:cxn ang="0">
                <a:pos x="connsiteX6684" y="connsiteY6684"/>
              </a:cxn>
              <a:cxn ang="0">
                <a:pos x="connsiteX6685" y="connsiteY6685"/>
              </a:cxn>
              <a:cxn ang="0">
                <a:pos x="connsiteX6686" y="connsiteY6686"/>
              </a:cxn>
              <a:cxn ang="0">
                <a:pos x="connsiteX6687" y="connsiteY6687"/>
              </a:cxn>
              <a:cxn ang="0">
                <a:pos x="connsiteX6688" y="connsiteY6688"/>
              </a:cxn>
              <a:cxn ang="0">
                <a:pos x="connsiteX6689" y="connsiteY6689"/>
              </a:cxn>
              <a:cxn ang="0">
                <a:pos x="connsiteX6690" y="connsiteY6690"/>
              </a:cxn>
              <a:cxn ang="0">
                <a:pos x="connsiteX6691" y="connsiteY6691"/>
              </a:cxn>
              <a:cxn ang="0">
                <a:pos x="connsiteX6692" y="connsiteY6692"/>
              </a:cxn>
              <a:cxn ang="0">
                <a:pos x="connsiteX6693" y="connsiteY6693"/>
              </a:cxn>
              <a:cxn ang="0">
                <a:pos x="connsiteX6694" y="connsiteY6694"/>
              </a:cxn>
              <a:cxn ang="0">
                <a:pos x="connsiteX6695" y="connsiteY6695"/>
              </a:cxn>
              <a:cxn ang="0">
                <a:pos x="connsiteX6696" y="connsiteY6696"/>
              </a:cxn>
              <a:cxn ang="0">
                <a:pos x="connsiteX6697" y="connsiteY6697"/>
              </a:cxn>
              <a:cxn ang="0">
                <a:pos x="connsiteX6698" y="connsiteY6698"/>
              </a:cxn>
              <a:cxn ang="0">
                <a:pos x="connsiteX6699" y="connsiteY6699"/>
              </a:cxn>
              <a:cxn ang="0">
                <a:pos x="connsiteX6700" y="connsiteY6700"/>
              </a:cxn>
              <a:cxn ang="0">
                <a:pos x="connsiteX6701" y="connsiteY6701"/>
              </a:cxn>
              <a:cxn ang="0">
                <a:pos x="connsiteX6702" y="connsiteY6702"/>
              </a:cxn>
              <a:cxn ang="0">
                <a:pos x="connsiteX6703" y="connsiteY6703"/>
              </a:cxn>
              <a:cxn ang="0">
                <a:pos x="connsiteX6704" y="connsiteY6704"/>
              </a:cxn>
              <a:cxn ang="0">
                <a:pos x="connsiteX6705" y="connsiteY6705"/>
              </a:cxn>
              <a:cxn ang="0">
                <a:pos x="connsiteX6706" y="connsiteY6706"/>
              </a:cxn>
              <a:cxn ang="0">
                <a:pos x="connsiteX6707" y="connsiteY6707"/>
              </a:cxn>
              <a:cxn ang="0">
                <a:pos x="connsiteX6708" y="connsiteY6708"/>
              </a:cxn>
              <a:cxn ang="0">
                <a:pos x="connsiteX6709" y="connsiteY6709"/>
              </a:cxn>
              <a:cxn ang="0">
                <a:pos x="connsiteX6710" y="connsiteY6710"/>
              </a:cxn>
              <a:cxn ang="0">
                <a:pos x="connsiteX6711" y="connsiteY6711"/>
              </a:cxn>
              <a:cxn ang="0">
                <a:pos x="connsiteX6712" y="connsiteY6712"/>
              </a:cxn>
              <a:cxn ang="0">
                <a:pos x="connsiteX6713" y="connsiteY6713"/>
              </a:cxn>
              <a:cxn ang="0">
                <a:pos x="connsiteX6714" y="connsiteY6714"/>
              </a:cxn>
              <a:cxn ang="0">
                <a:pos x="connsiteX6715" y="connsiteY6715"/>
              </a:cxn>
              <a:cxn ang="0">
                <a:pos x="connsiteX6716" y="connsiteY6716"/>
              </a:cxn>
              <a:cxn ang="0">
                <a:pos x="connsiteX6717" y="connsiteY6717"/>
              </a:cxn>
              <a:cxn ang="0">
                <a:pos x="connsiteX6718" y="connsiteY6718"/>
              </a:cxn>
              <a:cxn ang="0">
                <a:pos x="connsiteX6719" y="connsiteY6719"/>
              </a:cxn>
              <a:cxn ang="0">
                <a:pos x="connsiteX6720" y="connsiteY6720"/>
              </a:cxn>
              <a:cxn ang="0">
                <a:pos x="connsiteX6721" y="connsiteY6721"/>
              </a:cxn>
              <a:cxn ang="0">
                <a:pos x="connsiteX6722" y="connsiteY6722"/>
              </a:cxn>
              <a:cxn ang="0">
                <a:pos x="connsiteX6723" y="connsiteY6723"/>
              </a:cxn>
              <a:cxn ang="0">
                <a:pos x="connsiteX6724" y="connsiteY6724"/>
              </a:cxn>
              <a:cxn ang="0">
                <a:pos x="connsiteX6725" y="connsiteY6725"/>
              </a:cxn>
              <a:cxn ang="0">
                <a:pos x="connsiteX6726" y="connsiteY6726"/>
              </a:cxn>
              <a:cxn ang="0">
                <a:pos x="connsiteX6727" y="connsiteY6727"/>
              </a:cxn>
              <a:cxn ang="0">
                <a:pos x="connsiteX6728" y="connsiteY6728"/>
              </a:cxn>
              <a:cxn ang="0">
                <a:pos x="connsiteX6729" y="connsiteY6729"/>
              </a:cxn>
              <a:cxn ang="0">
                <a:pos x="connsiteX6730" y="connsiteY6730"/>
              </a:cxn>
              <a:cxn ang="0">
                <a:pos x="connsiteX6731" y="connsiteY6731"/>
              </a:cxn>
              <a:cxn ang="0">
                <a:pos x="connsiteX6732" y="connsiteY6732"/>
              </a:cxn>
              <a:cxn ang="0">
                <a:pos x="connsiteX6733" y="connsiteY6733"/>
              </a:cxn>
              <a:cxn ang="0">
                <a:pos x="connsiteX6734" y="connsiteY6734"/>
              </a:cxn>
              <a:cxn ang="0">
                <a:pos x="connsiteX6735" y="connsiteY6735"/>
              </a:cxn>
              <a:cxn ang="0">
                <a:pos x="connsiteX6736" y="connsiteY6736"/>
              </a:cxn>
              <a:cxn ang="0">
                <a:pos x="connsiteX6737" y="connsiteY6737"/>
              </a:cxn>
              <a:cxn ang="0">
                <a:pos x="connsiteX6738" y="connsiteY6738"/>
              </a:cxn>
              <a:cxn ang="0">
                <a:pos x="connsiteX6739" y="connsiteY6739"/>
              </a:cxn>
              <a:cxn ang="0">
                <a:pos x="connsiteX6740" y="connsiteY6740"/>
              </a:cxn>
              <a:cxn ang="0">
                <a:pos x="connsiteX6741" y="connsiteY6741"/>
              </a:cxn>
              <a:cxn ang="0">
                <a:pos x="connsiteX6742" y="connsiteY6742"/>
              </a:cxn>
              <a:cxn ang="0">
                <a:pos x="connsiteX6743" y="connsiteY6743"/>
              </a:cxn>
              <a:cxn ang="0">
                <a:pos x="connsiteX6744" y="connsiteY6744"/>
              </a:cxn>
              <a:cxn ang="0">
                <a:pos x="connsiteX6745" y="connsiteY6745"/>
              </a:cxn>
              <a:cxn ang="0">
                <a:pos x="connsiteX6746" y="connsiteY6746"/>
              </a:cxn>
              <a:cxn ang="0">
                <a:pos x="connsiteX6747" y="connsiteY6747"/>
              </a:cxn>
              <a:cxn ang="0">
                <a:pos x="connsiteX6748" y="connsiteY6748"/>
              </a:cxn>
              <a:cxn ang="0">
                <a:pos x="connsiteX6749" y="connsiteY6749"/>
              </a:cxn>
              <a:cxn ang="0">
                <a:pos x="connsiteX6750" y="connsiteY6750"/>
              </a:cxn>
              <a:cxn ang="0">
                <a:pos x="connsiteX6751" y="connsiteY6751"/>
              </a:cxn>
              <a:cxn ang="0">
                <a:pos x="connsiteX6752" y="connsiteY6752"/>
              </a:cxn>
              <a:cxn ang="0">
                <a:pos x="connsiteX6753" y="connsiteY6753"/>
              </a:cxn>
              <a:cxn ang="0">
                <a:pos x="connsiteX6754" y="connsiteY6754"/>
              </a:cxn>
              <a:cxn ang="0">
                <a:pos x="connsiteX6755" y="connsiteY6755"/>
              </a:cxn>
              <a:cxn ang="0">
                <a:pos x="connsiteX6756" y="connsiteY6756"/>
              </a:cxn>
              <a:cxn ang="0">
                <a:pos x="connsiteX6757" y="connsiteY6757"/>
              </a:cxn>
              <a:cxn ang="0">
                <a:pos x="connsiteX6758" y="connsiteY6758"/>
              </a:cxn>
              <a:cxn ang="0">
                <a:pos x="connsiteX6759" y="connsiteY6759"/>
              </a:cxn>
              <a:cxn ang="0">
                <a:pos x="connsiteX6760" y="connsiteY6760"/>
              </a:cxn>
              <a:cxn ang="0">
                <a:pos x="connsiteX6761" y="connsiteY6761"/>
              </a:cxn>
              <a:cxn ang="0">
                <a:pos x="connsiteX6762" y="connsiteY6762"/>
              </a:cxn>
              <a:cxn ang="0">
                <a:pos x="connsiteX6763" y="connsiteY6763"/>
              </a:cxn>
              <a:cxn ang="0">
                <a:pos x="connsiteX6764" y="connsiteY6764"/>
              </a:cxn>
              <a:cxn ang="0">
                <a:pos x="connsiteX6765" y="connsiteY6765"/>
              </a:cxn>
              <a:cxn ang="0">
                <a:pos x="connsiteX6766" y="connsiteY6766"/>
              </a:cxn>
              <a:cxn ang="0">
                <a:pos x="connsiteX6767" y="connsiteY6767"/>
              </a:cxn>
              <a:cxn ang="0">
                <a:pos x="connsiteX6768" y="connsiteY6768"/>
              </a:cxn>
              <a:cxn ang="0">
                <a:pos x="connsiteX6769" y="connsiteY6769"/>
              </a:cxn>
              <a:cxn ang="0">
                <a:pos x="connsiteX6770" y="connsiteY6770"/>
              </a:cxn>
              <a:cxn ang="0">
                <a:pos x="connsiteX6771" y="connsiteY6771"/>
              </a:cxn>
              <a:cxn ang="0">
                <a:pos x="connsiteX6772" y="connsiteY6772"/>
              </a:cxn>
              <a:cxn ang="0">
                <a:pos x="connsiteX6773" y="connsiteY6773"/>
              </a:cxn>
              <a:cxn ang="0">
                <a:pos x="connsiteX6774" y="connsiteY6774"/>
              </a:cxn>
              <a:cxn ang="0">
                <a:pos x="connsiteX6775" y="connsiteY6775"/>
              </a:cxn>
              <a:cxn ang="0">
                <a:pos x="connsiteX6776" y="connsiteY6776"/>
              </a:cxn>
              <a:cxn ang="0">
                <a:pos x="connsiteX6777" y="connsiteY6777"/>
              </a:cxn>
              <a:cxn ang="0">
                <a:pos x="connsiteX6778" y="connsiteY6778"/>
              </a:cxn>
              <a:cxn ang="0">
                <a:pos x="connsiteX6779" y="connsiteY6779"/>
              </a:cxn>
              <a:cxn ang="0">
                <a:pos x="connsiteX6780" y="connsiteY6780"/>
              </a:cxn>
              <a:cxn ang="0">
                <a:pos x="connsiteX6781" y="connsiteY6781"/>
              </a:cxn>
              <a:cxn ang="0">
                <a:pos x="connsiteX6782" y="connsiteY6782"/>
              </a:cxn>
              <a:cxn ang="0">
                <a:pos x="connsiteX6783" y="connsiteY6783"/>
              </a:cxn>
              <a:cxn ang="0">
                <a:pos x="connsiteX6784" y="connsiteY6784"/>
              </a:cxn>
              <a:cxn ang="0">
                <a:pos x="connsiteX6785" y="connsiteY6785"/>
              </a:cxn>
              <a:cxn ang="0">
                <a:pos x="connsiteX6786" y="connsiteY6786"/>
              </a:cxn>
              <a:cxn ang="0">
                <a:pos x="connsiteX6787" y="connsiteY6787"/>
              </a:cxn>
              <a:cxn ang="0">
                <a:pos x="connsiteX6788" y="connsiteY6788"/>
              </a:cxn>
              <a:cxn ang="0">
                <a:pos x="connsiteX6789" y="connsiteY6789"/>
              </a:cxn>
              <a:cxn ang="0">
                <a:pos x="connsiteX6790" y="connsiteY6790"/>
              </a:cxn>
              <a:cxn ang="0">
                <a:pos x="connsiteX6791" y="connsiteY6791"/>
              </a:cxn>
              <a:cxn ang="0">
                <a:pos x="connsiteX6792" y="connsiteY6792"/>
              </a:cxn>
              <a:cxn ang="0">
                <a:pos x="connsiteX6793" y="connsiteY6793"/>
              </a:cxn>
              <a:cxn ang="0">
                <a:pos x="connsiteX6794" y="connsiteY6794"/>
              </a:cxn>
              <a:cxn ang="0">
                <a:pos x="connsiteX6795" y="connsiteY6795"/>
              </a:cxn>
              <a:cxn ang="0">
                <a:pos x="connsiteX6796" y="connsiteY6796"/>
              </a:cxn>
              <a:cxn ang="0">
                <a:pos x="connsiteX6797" y="connsiteY6797"/>
              </a:cxn>
              <a:cxn ang="0">
                <a:pos x="connsiteX6798" y="connsiteY6798"/>
              </a:cxn>
              <a:cxn ang="0">
                <a:pos x="connsiteX6799" y="connsiteY6799"/>
              </a:cxn>
              <a:cxn ang="0">
                <a:pos x="connsiteX6800" y="connsiteY6800"/>
              </a:cxn>
              <a:cxn ang="0">
                <a:pos x="connsiteX6801" y="connsiteY6801"/>
              </a:cxn>
              <a:cxn ang="0">
                <a:pos x="connsiteX6802" y="connsiteY6802"/>
              </a:cxn>
              <a:cxn ang="0">
                <a:pos x="connsiteX6803" y="connsiteY6803"/>
              </a:cxn>
              <a:cxn ang="0">
                <a:pos x="connsiteX6804" y="connsiteY6804"/>
              </a:cxn>
              <a:cxn ang="0">
                <a:pos x="connsiteX6805" y="connsiteY6805"/>
              </a:cxn>
              <a:cxn ang="0">
                <a:pos x="connsiteX6806" y="connsiteY6806"/>
              </a:cxn>
              <a:cxn ang="0">
                <a:pos x="connsiteX6807" y="connsiteY6807"/>
              </a:cxn>
              <a:cxn ang="0">
                <a:pos x="connsiteX6808" y="connsiteY6808"/>
              </a:cxn>
              <a:cxn ang="0">
                <a:pos x="connsiteX6809" y="connsiteY6809"/>
              </a:cxn>
              <a:cxn ang="0">
                <a:pos x="connsiteX6810" y="connsiteY6810"/>
              </a:cxn>
              <a:cxn ang="0">
                <a:pos x="connsiteX6811" y="connsiteY6811"/>
              </a:cxn>
              <a:cxn ang="0">
                <a:pos x="connsiteX6812" y="connsiteY6812"/>
              </a:cxn>
              <a:cxn ang="0">
                <a:pos x="connsiteX6813" y="connsiteY6813"/>
              </a:cxn>
              <a:cxn ang="0">
                <a:pos x="connsiteX6814" y="connsiteY6814"/>
              </a:cxn>
              <a:cxn ang="0">
                <a:pos x="connsiteX6815" y="connsiteY6815"/>
              </a:cxn>
              <a:cxn ang="0">
                <a:pos x="connsiteX6816" y="connsiteY6816"/>
              </a:cxn>
              <a:cxn ang="0">
                <a:pos x="connsiteX6817" y="connsiteY6817"/>
              </a:cxn>
              <a:cxn ang="0">
                <a:pos x="connsiteX6818" y="connsiteY6818"/>
              </a:cxn>
              <a:cxn ang="0">
                <a:pos x="connsiteX6819" y="connsiteY6819"/>
              </a:cxn>
              <a:cxn ang="0">
                <a:pos x="connsiteX6820" y="connsiteY6820"/>
              </a:cxn>
              <a:cxn ang="0">
                <a:pos x="connsiteX6821" y="connsiteY6821"/>
              </a:cxn>
              <a:cxn ang="0">
                <a:pos x="connsiteX6822" y="connsiteY6822"/>
              </a:cxn>
              <a:cxn ang="0">
                <a:pos x="connsiteX6823" y="connsiteY6823"/>
              </a:cxn>
              <a:cxn ang="0">
                <a:pos x="connsiteX6824" y="connsiteY6824"/>
              </a:cxn>
              <a:cxn ang="0">
                <a:pos x="connsiteX6825" y="connsiteY6825"/>
              </a:cxn>
              <a:cxn ang="0">
                <a:pos x="connsiteX6826" y="connsiteY6826"/>
              </a:cxn>
              <a:cxn ang="0">
                <a:pos x="connsiteX6827" y="connsiteY6827"/>
              </a:cxn>
              <a:cxn ang="0">
                <a:pos x="connsiteX6828" y="connsiteY6828"/>
              </a:cxn>
              <a:cxn ang="0">
                <a:pos x="connsiteX6829" y="connsiteY6829"/>
              </a:cxn>
              <a:cxn ang="0">
                <a:pos x="connsiteX6830" y="connsiteY6830"/>
              </a:cxn>
              <a:cxn ang="0">
                <a:pos x="connsiteX6831" y="connsiteY6831"/>
              </a:cxn>
              <a:cxn ang="0">
                <a:pos x="connsiteX6832" y="connsiteY6832"/>
              </a:cxn>
              <a:cxn ang="0">
                <a:pos x="connsiteX6833" y="connsiteY6833"/>
              </a:cxn>
              <a:cxn ang="0">
                <a:pos x="connsiteX6834" y="connsiteY6834"/>
              </a:cxn>
              <a:cxn ang="0">
                <a:pos x="connsiteX6835" y="connsiteY6835"/>
              </a:cxn>
              <a:cxn ang="0">
                <a:pos x="connsiteX6836" y="connsiteY6836"/>
              </a:cxn>
              <a:cxn ang="0">
                <a:pos x="connsiteX6837" y="connsiteY6837"/>
              </a:cxn>
              <a:cxn ang="0">
                <a:pos x="connsiteX6838" y="connsiteY6838"/>
              </a:cxn>
              <a:cxn ang="0">
                <a:pos x="connsiteX6839" y="connsiteY6839"/>
              </a:cxn>
              <a:cxn ang="0">
                <a:pos x="connsiteX6840" y="connsiteY6840"/>
              </a:cxn>
              <a:cxn ang="0">
                <a:pos x="connsiteX6841" y="connsiteY6841"/>
              </a:cxn>
              <a:cxn ang="0">
                <a:pos x="connsiteX6842" y="connsiteY6842"/>
              </a:cxn>
              <a:cxn ang="0">
                <a:pos x="connsiteX6843" y="connsiteY6843"/>
              </a:cxn>
              <a:cxn ang="0">
                <a:pos x="connsiteX6844" y="connsiteY6844"/>
              </a:cxn>
              <a:cxn ang="0">
                <a:pos x="connsiteX6845" y="connsiteY6845"/>
              </a:cxn>
              <a:cxn ang="0">
                <a:pos x="connsiteX6846" y="connsiteY6846"/>
              </a:cxn>
              <a:cxn ang="0">
                <a:pos x="connsiteX6847" y="connsiteY6847"/>
              </a:cxn>
              <a:cxn ang="0">
                <a:pos x="connsiteX6848" y="connsiteY6848"/>
              </a:cxn>
              <a:cxn ang="0">
                <a:pos x="connsiteX6849" y="connsiteY6849"/>
              </a:cxn>
              <a:cxn ang="0">
                <a:pos x="connsiteX6850" y="connsiteY6850"/>
              </a:cxn>
              <a:cxn ang="0">
                <a:pos x="connsiteX6851" y="connsiteY6851"/>
              </a:cxn>
              <a:cxn ang="0">
                <a:pos x="connsiteX6852" y="connsiteY6852"/>
              </a:cxn>
              <a:cxn ang="0">
                <a:pos x="connsiteX6853" y="connsiteY6853"/>
              </a:cxn>
              <a:cxn ang="0">
                <a:pos x="connsiteX6854" y="connsiteY6854"/>
              </a:cxn>
              <a:cxn ang="0">
                <a:pos x="connsiteX6855" y="connsiteY6855"/>
              </a:cxn>
              <a:cxn ang="0">
                <a:pos x="connsiteX6856" y="connsiteY6856"/>
              </a:cxn>
              <a:cxn ang="0">
                <a:pos x="connsiteX6857" y="connsiteY6857"/>
              </a:cxn>
              <a:cxn ang="0">
                <a:pos x="connsiteX6858" y="connsiteY6858"/>
              </a:cxn>
              <a:cxn ang="0">
                <a:pos x="connsiteX6859" y="connsiteY6859"/>
              </a:cxn>
              <a:cxn ang="0">
                <a:pos x="connsiteX6860" y="connsiteY6860"/>
              </a:cxn>
              <a:cxn ang="0">
                <a:pos x="connsiteX6861" y="connsiteY6861"/>
              </a:cxn>
              <a:cxn ang="0">
                <a:pos x="connsiteX6862" y="connsiteY6862"/>
              </a:cxn>
              <a:cxn ang="0">
                <a:pos x="connsiteX6863" y="connsiteY6863"/>
              </a:cxn>
              <a:cxn ang="0">
                <a:pos x="connsiteX6864" y="connsiteY6864"/>
              </a:cxn>
              <a:cxn ang="0">
                <a:pos x="connsiteX6865" y="connsiteY6865"/>
              </a:cxn>
              <a:cxn ang="0">
                <a:pos x="connsiteX6866" y="connsiteY6866"/>
              </a:cxn>
              <a:cxn ang="0">
                <a:pos x="connsiteX6867" y="connsiteY6867"/>
              </a:cxn>
              <a:cxn ang="0">
                <a:pos x="connsiteX6868" y="connsiteY6868"/>
              </a:cxn>
              <a:cxn ang="0">
                <a:pos x="connsiteX6869" y="connsiteY6869"/>
              </a:cxn>
              <a:cxn ang="0">
                <a:pos x="connsiteX6870" y="connsiteY6870"/>
              </a:cxn>
              <a:cxn ang="0">
                <a:pos x="connsiteX6871" y="connsiteY6871"/>
              </a:cxn>
              <a:cxn ang="0">
                <a:pos x="connsiteX6872" y="connsiteY6872"/>
              </a:cxn>
              <a:cxn ang="0">
                <a:pos x="connsiteX6873" y="connsiteY6873"/>
              </a:cxn>
              <a:cxn ang="0">
                <a:pos x="connsiteX6874" y="connsiteY6874"/>
              </a:cxn>
              <a:cxn ang="0">
                <a:pos x="connsiteX6875" y="connsiteY6875"/>
              </a:cxn>
              <a:cxn ang="0">
                <a:pos x="connsiteX6876" y="connsiteY6876"/>
              </a:cxn>
              <a:cxn ang="0">
                <a:pos x="connsiteX6877" y="connsiteY6877"/>
              </a:cxn>
              <a:cxn ang="0">
                <a:pos x="connsiteX6878" y="connsiteY6878"/>
              </a:cxn>
              <a:cxn ang="0">
                <a:pos x="connsiteX6879" y="connsiteY6879"/>
              </a:cxn>
              <a:cxn ang="0">
                <a:pos x="connsiteX6880" y="connsiteY6880"/>
              </a:cxn>
              <a:cxn ang="0">
                <a:pos x="connsiteX6881" y="connsiteY6881"/>
              </a:cxn>
              <a:cxn ang="0">
                <a:pos x="connsiteX6882" y="connsiteY6882"/>
              </a:cxn>
              <a:cxn ang="0">
                <a:pos x="connsiteX6883" y="connsiteY6883"/>
              </a:cxn>
              <a:cxn ang="0">
                <a:pos x="connsiteX6884" y="connsiteY6884"/>
              </a:cxn>
              <a:cxn ang="0">
                <a:pos x="connsiteX6885" y="connsiteY6885"/>
              </a:cxn>
              <a:cxn ang="0">
                <a:pos x="connsiteX6886" y="connsiteY6886"/>
              </a:cxn>
              <a:cxn ang="0">
                <a:pos x="connsiteX6887" y="connsiteY6887"/>
              </a:cxn>
              <a:cxn ang="0">
                <a:pos x="connsiteX6888" y="connsiteY6888"/>
              </a:cxn>
              <a:cxn ang="0">
                <a:pos x="connsiteX6889" y="connsiteY6889"/>
              </a:cxn>
              <a:cxn ang="0">
                <a:pos x="connsiteX6890" y="connsiteY6890"/>
              </a:cxn>
              <a:cxn ang="0">
                <a:pos x="connsiteX6891" y="connsiteY6891"/>
              </a:cxn>
              <a:cxn ang="0">
                <a:pos x="connsiteX6892" y="connsiteY6892"/>
              </a:cxn>
              <a:cxn ang="0">
                <a:pos x="connsiteX6893" y="connsiteY6893"/>
              </a:cxn>
              <a:cxn ang="0">
                <a:pos x="connsiteX6894" y="connsiteY6894"/>
              </a:cxn>
              <a:cxn ang="0">
                <a:pos x="connsiteX6895" y="connsiteY6895"/>
              </a:cxn>
              <a:cxn ang="0">
                <a:pos x="connsiteX6896" y="connsiteY6896"/>
              </a:cxn>
              <a:cxn ang="0">
                <a:pos x="connsiteX6897" y="connsiteY6897"/>
              </a:cxn>
              <a:cxn ang="0">
                <a:pos x="connsiteX6898" y="connsiteY6898"/>
              </a:cxn>
              <a:cxn ang="0">
                <a:pos x="connsiteX6899" y="connsiteY6899"/>
              </a:cxn>
              <a:cxn ang="0">
                <a:pos x="connsiteX6900" y="connsiteY6900"/>
              </a:cxn>
              <a:cxn ang="0">
                <a:pos x="connsiteX6901" y="connsiteY6901"/>
              </a:cxn>
              <a:cxn ang="0">
                <a:pos x="connsiteX6902" y="connsiteY6902"/>
              </a:cxn>
              <a:cxn ang="0">
                <a:pos x="connsiteX6903" y="connsiteY6903"/>
              </a:cxn>
              <a:cxn ang="0">
                <a:pos x="connsiteX6904" y="connsiteY6904"/>
              </a:cxn>
              <a:cxn ang="0">
                <a:pos x="connsiteX6905" y="connsiteY6905"/>
              </a:cxn>
              <a:cxn ang="0">
                <a:pos x="connsiteX6906" y="connsiteY6906"/>
              </a:cxn>
              <a:cxn ang="0">
                <a:pos x="connsiteX6907" y="connsiteY6907"/>
              </a:cxn>
              <a:cxn ang="0">
                <a:pos x="connsiteX6908" y="connsiteY6908"/>
              </a:cxn>
              <a:cxn ang="0">
                <a:pos x="connsiteX6909" y="connsiteY6909"/>
              </a:cxn>
              <a:cxn ang="0">
                <a:pos x="connsiteX6910" y="connsiteY6910"/>
              </a:cxn>
              <a:cxn ang="0">
                <a:pos x="connsiteX6911" y="connsiteY6911"/>
              </a:cxn>
              <a:cxn ang="0">
                <a:pos x="connsiteX6912" y="connsiteY6912"/>
              </a:cxn>
              <a:cxn ang="0">
                <a:pos x="connsiteX6913" y="connsiteY6913"/>
              </a:cxn>
              <a:cxn ang="0">
                <a:pos x="connsiteX6914" y="connsiteY6914"/>
              </a:cxn>
              <a:cxn ang="0">
                <a:pos x="connsiteX6915" y="connsiteY6915"/>
              </a:cxn>
              <a:cxn ang="0">
                <a:pos x="connsiteX6916" y="connsiteY6916"/>
              </a:cxn>
              <a:cxn ang="0">
                <a:pos x="connsiteX6917" y="connsiteY6917"/>
              </a:cxn>
              <a:cxn ang="0">
                <a:pos x="connsiteX6918" y="connsiteY6918"/>
              </a:cxn>
              <a:cxn ang="0">
                <a:pos x="connsiteX6919" y="connsiteY6919"/>
              </a:cxn>
              <a:cxn ang="0">
                <a:pos x="connsiteX6920" y="connsiteY6920"/>
              </a:cxn>
              <a:cxn ang="0">
                <a:pos x="connsiteX6921" y="connsiteY6921"/>
              </a:cxn>
              <a:cxn ang="0">
                <a:pos x="connsiteX6922" y="connsiteY6922"/>
              </a:cxn>
              <a:cxn ang="0">
                <a:pos x="connsiteX6923" y="connsiteY6923"/>
              </a:cxn>
              <a:cxn ang="0">
                <a:pos x="connsiteX6924" y="connsiteY6924"/>
              </a:cxn>
              <a:cxn ang="0">
                <a:pos x="connsiteX6925" y="connsiteY6925"/>
              </a:cxn>
              <a:cxn ang="0">
                <a:pos x="connsiteX6926" y="connsiteY6926"/>
              </a:cxn>
              <a:cxn ang="0">
                <a:pos x="connsiteX6927" y="connsiteY6927"/>
              </a:cxn>
              <a:cxn ang="0">
                <a:pos x="connsiteX6928" y="connsiteY6928"/>
              </a:cxn>
              <a:cxn ang="0">
                <a:pos x="connsiteX6929" y="connsiteY6929"/>
              </a:cxn>
              <a:cxn ang="0">
                <a:pos x="connsiteX6930" y="connsiteY6930"/>
              </a:cxn>
              <a:cxn ang="0">
                <a:pos x="connsiteX6931" y="connsiteY6931"/>
              </a:cxn>
              <a:cxn ang="0">
                <a:pos x="connsiteX6932" y="connsiteY6932"/>
              </a:cxn>
              <a:cxn ang="0">
                <a:pos x="connsiteX6933" y="connsiteY6933"/>
              </a:cxn>
              <a:cxn ang="0">
                <a:pos x="connsiteX6934" y="connsiteY6934"/>
              </a:cxn>
              <a:cxn ang="0">
                <a:pos x="connsiteX6935" y="connsiteY6935"/>
              </a:cxn>
              <a:cxn ang="0">
                <a:pos x="connsiteX6936" y="connsiteY6936"/>
              </a:cxn>
              <a:cxn ang="0">
                <a:pos x="connsiteX6937" y="connsiteY6937"/>
              </a:cxn>
              <a:cxn ang="0">
                <a:pos x="connsiteX6938" y="connsiteY6938"/>
              </a:cxn>
              <a:cxn ang="0">
                <a:pos x="connsiteX6939" y="connsiteY6939"/>
              </a:cxn>
              <a:cxn ang="0">
                <a:pos x="connsiteX6940" y="connsiteY6940"/>
              </a:cxn>
              <a:cxn ang="0">
                <a:pos x="connsiteX6941" y="connsiteY6941"/>
              </a:cxn>
              <a:cxn ang="0">
                <a:pos x="connsiteX6942" y="connsiteY6942"/>
              </a:cxn>
              <a:cxn ang="0">
                <a:pos x="connsiteX6943" y="connsiteY6943"/>
              </a:cxn>
              <a:cxn ang="0">
                <a:pos x="connsiteX6944" y="connsiteY6944"/>
              </a:cxn>
              <a:cxn ang="0">
                <a:pos x="connsiteX6945" y="connsiteY6945"/>
              </a:cxn>
              <a:cxn ang="0">
                <a:pos x="connsiteX6946" y="connsiteY6946"/>
              </a:cxn>
              <a:cxn ang="0">
                <a:pos x="connsiteX6947" y="connsiteY6947"/>
              </a:cxn>
              <a:cxn ang="0">
                <a:pos x="connsiteX6948" y="connsiteY6948"/>
              </a:cxn>
              <a:cxn ang="0">
                <a:pos x="connsiteX6949" y="connsiteY6949"/>
              </a:cxn>
              <a:cxn ang="0">
                <a:pos x="connsiteX6950" y="connsiteY6950"/>
              </a:cxn>
              <a:cxn ang="0">
                <a:pos x="connsiteX6951" y="connsiteY6951"/>
              </a:cxn>
              <a:cxn ang="0">
                <a:pos x="connsiteX6952" y="connsiteY6952"/>
              </a:cxn>
              <a:cxn ang="0">
                <a:pos x="connsiteX6953" y="connsiteY6953"/>
              </a:cxn>
              <a:cxn ang="0">
                <a:pos x="connsiteX6954" y="connsiteY6954"/>
              </a:cxn>
              <a:cxn ang="0">
                <a:pos x="connsiteX6955" y="connsiteY6955"/>
              </a:cxn>
              <a:cxn ang="0">
                <a:pos x="connsiteX6956" y="connsiteY6956"/>
              </a:cxn>
              <a:cxn ang="0">
                <a:pos x="connsiteX6957" y="connsiteY6957"/>
              </a:cxn>
              <a:cxn ang="0">
                <a:pos x="connsiteX6958" y="connsiteY6958"/>
              </a:cxn>
              <a:cxn ang="0">
                <a:pos x="connsiteX6959" y="connsiteY6959"/>
              </a:cxn>
              <a:cxn ang="0">
                <a:pos x="connsiteX6960" y="connsiteY6960"/>
              </a:cxn>
              <a:cxn ang="0">
                <a:pos x="connsiteX6961" y="connsiteY6961"/>
              </a:cxn>
              <a:cxn ang="0">
                <a:pos x="connsiteX6962" y="connsiteY6962"/>
              </a:cxn>
              <a:cxn ang="0">
                <a:pos x="connsiteX6963" y="connsiteY6963"/>
              </a:cxn>
              <a:cxn ang="0">
                <a:pos x="connsiteX6964" y="connsiteY6964"/>
              </a:cxn>
              <a:cxn ang="0">
                <a:pos x="connsiteX6965" y="connsiteY6965"/>
              </a:cxn>
              <a:cxn ang="0">
                <a:pos x="connsiteX6966" y="connsiteY6966"/>
              </a:cxn>
              <a:cxn ang="0">
                <a:pos x="connsiteX6967" y="connsiteY6967"/>
              </a:cxn>
              <a:cxn ang="0">
                <a:pos x="connsiteX6968" y="connsiteY6968"/>
              </a:cxn>
              <a:cxn ang="0">
                <a:pos x="connsiteX6969" y="connsiteY6969"/>
              </a:cxn>
              <a:cxn ang="0">
                <a:pos x="connsiteX6970" y="connsiteY6970"/>
              </a:cxn>
              <a:cxn ang="0">
                <a:pos x="connsiteX6971" y="connsiteY6971"/>
              </a:cxn>
              <a:cxn ang="0">
                <a:pos x="connsiteX6972" y="connsiteY6972"/>
              </a:cxn>
              <a:cxn ang="0">
                <a:pos x="connsiteX6973" y="connsiteY6973"/>
              </a:cxn>
              <a:cxn ang="0">
                <a:pos x="connsiteX6974" y="connsiteY6974"/>
              </a:cxn>
              <a:cxn ang="0">
                <a:pos x="connsiteX6975" y="connsiteY6975"/>
              </a:cxn>
              <a:cxn ang="0">
                <a:pos x="connsiteX6976" y="connsiteY6976"/>
              </a:cxn>
              <a:cxn ang="0">
                <a:pos x="connsiteX6977" y="connsiteY6977"/>
              </a:cxn>
              <a:cxn ang="0">
                <a:pos x="connsiteX6978" y="connsiteY6978"/>
              </a:cxn>
              <a:cxn ang="0">
                <a:pos x="connsiteX6979" y="connsiteY6979"/>
              </a:cxn>
              <a:cxn ang="0">
                <a:pos x="connsiteX6980" y="connsiteY6980"/>
              </a:cxn>
              <a:cxn ang="0">
                <a:pos x="connsiteX6981" y="connsiteY6981"/>
              </a:cxn>
              <a:cxn ang="0">
                <a:pos x="connsiteX6982" y="connsiteY6982"/>
              </a:cxn>
              <a:cxn ang="0">
                <a:pos x="connsiteX6983" y="connsiteY6983"/>
              </a:cxn>
              <a:cxn ang="0">
                <a:pos x="connsiteX6984" y="connsiteY6984"/>
              </a:cxn>
              <a:cxn ang="0">
                <a:pos x="connsiteX6985" y="connsiteY6985"/>
              </a:cxn>
              <a:cxn ang="0">
                <a:pos x="connsiteX6986" y="connsiteY6986"/>
              </a:cxn>
              <a:cxn ang="0">
                <a:pos x="connsiteX6987" y="connsiteY6987"/>
              </a:cxn>
              <a:cxn ang="0">
                <a:pos x="connsiteX6988" y="connsiteY6988"/>
              </a:cxn>
              <a:cxn ang="0">
                <a:pos x="connsiteX6989" y="connsiteY6989"/>
              </a:cxn>
              <a:cxn ang="0">
                <a:pos x="connsiteX6990" y="connsiteY6990"/>
              </a:cxn>
              <a:cxn ang="0">
                <a:pos x="connsiteX6991" y="connsiteY6991"/>
              </a:cxn>
              <a:cxn ang="0">
                <a:pos x="connsiteX6992" y="connsiteY6992"/>
              </a:cxn>
              <a:cxn ang="0">
                <a:pos x="connsiteX6993" y="connsiteY6993"/>
              </a:cxn>
              <a:cxn ang="0">
                <a:pos x="connsiteX6994" y="connsiteY6994"/>
              </a:cxn>
              <a:cxn ang="0">
                <a:pos x="connsiteX6995" y="connsiteY6995"/>
              </a:cxn>
              <a:cxn ang="0">
                <a:pos x="connsiteX6996" y="connsiteY6996"/>
              </a:cxn>
              <a:cxn ang="0">
                <a:pos x="connsiteX6997" y="connsiteY6997"/>
              </a:cxn>
              <a:cxn ang="0">
                <a:pos x="connsiteX6998" y="connsiteY6998"/>
              </a:cxn>
              <a:cxn ang="0">
                <a:pos x="connsiteX6999" y="connsiteY6999"/>
              </a:cxn>
              <a:cxn ang="0">
                <a:pos x="connsiteX7000" y="connsiteY7000"/>
              </a:cxn>
              <a:cxn ang="0">
                <a:pos x="connsiteX7001" y="connsiteY7001"/>
              </a:cxn>
              <a:cxn ang="0">
                <a:pos x="connsiteX7002" y="connsiteY7002"/>
              </a:cxn>
              <a:cxn ang="0">
                <a:pos x="connsiteX7003" y="connsiteY7003"/>
              </a:cxn>
              <a:cxn ang="0">
                <a:pos x="connsiteX7004" y="connsiteY7004"/>
              </a:cxn>
              <a:cxn ang="0">
                <a:pos x="connsiteX7005" y="connsiteY7005"/>
              </a:cxn>
              <a:cxn ang="0">
                <a:pos x="connsiteX7006" y="connsiteY7006"/>
              </a:cxn>
              <a:cxn ang="0">
                <a:pos x="connsiteX7007" y="connsiteY7007"/>
              </a:cxn>
              <a:cxn ang="0">
                <a:pos x="connsiteX7008" y="connsiteY7008"/>
              </a:cxn>
              <a:cxn ang="0">
                <a:pos x="connsiteX7009" y="connsiteY7009"/>
              </a:cxn>
              <a:cxn ang="0">
                <a:pos x="connsiteX7010" y="connsiteY7010"/>
              </a:cxn>
              <a:cxn ang="0">
                <a:pos x="connsiteX7011" y="connsiteY7011"/>
              </a:cxn>
              <a:cxn ang="0">
                <a:pos x="connsiteX7012" y="connsiteY7012"/>
              </a:cxn>
              <a:cxn ang="0">
                <a:pos x="connsiteX7013" y="connsiteY7013"/>
              </a:cxn>
              <a:cxn ang="0">
                <a:pos x="connsiteX7014" y="connsiteY7014"/>
              </a:cxn>
              <a:cxn ang="0">
                <a:pos x="connsiteX7015" y="connsiteY7015"/>
              </a:cxn>
              <a:cxn ang="0">
                <a:pos x="connsiteX7016" y="connsiteY7016"/>
              </a:cxn>
              <a:cxn ang="0">
                <a:pos x="connsiteX7017" y="connsiteY7017"/>
              </a:cxn>
              <a:cxn ang="0">
                <a:pos x="connsiteX7018" y="connsiteY7018"/>
              </a:cxn>
              <a:cxn ang="0">
                <a:pos x="connsiteX7019" y="connsiteY7019"/>
              </a:cxn>
              <a:cxn ang="0">
                <a:pos x="connsiteX7020" y="connsiteY7020"/>
              </a:cxn>
              <a:cxn ang="0">
                <a:pos x="connsiteX7021" y="connsiteY7021"/>
              </a:cxn>
              <a:cxn ang="0">
                <a:pos x="connsiteX7022" y="connsiteY7022"/>
              </a:cxn>
              <a:cxn ang="0">
                <a:pos x="connsiteX7023" y="connsiteY7023"/>
              </a:cxn>
              <a:cxn ang="0">
                <a:pos x="connsiteX7024" y="connsiteY7024"/>
              </a:cxn>
              <a:cxn ang="0">
                <a:pos x="connsiteX7025" y="connsiteY7025"/>
              </a:cxn>
              <a:cxn ang="0">
                <a:pos x="connsiteX7026" y="connsiteY7026"/>
              </a:cxn>
              <a:cxn ang="0">
                <a:pos x="connsiteX7027" y="connsiteY7027"/>
              </a:cxn>
              <a:cxn ang="0">
                <a:pos x="connsiteX7028" y="connsiteY7028"/>
              </a:cxn>
              <a:cxn ang="0">
                <a:pos x="connsiteX7029" y="connsiteY7029"/>
              </a:cxn>
              <a:cxn ang="0">
                <a:pos x="connsiteX7030" y="connsiteY7030"/>
              </a:cxn>
              <a:cxn ang="0">
                <a:pos x="connsiteX7031" y="connsiteY7031"/>
              </a:cxn>
              <a:cxn ang="0">
                <a:pos x="connsiteX7032" y="connsiteY7032"/>
              </a:cxn>
              <a:cxn ang="0">
                <a:pos x="connsiteX7033" y="connsiteY7033"/>
              </a:cxn>
              <a:cxn ang="0">
                <a:pos x="connsiteX7034" y="connsiteY7034"/>
              </a:cxn>
              <a:cxn ang="0">
                <a:pos x="connsiteX7035" y="connsiteY7035"/>
              </a:cxn>
              <a:cxn ang="0">
                <a:pos x="connsiteX7036" y="connsiteY7036"/>
              </a:cxn>
              <a:cxn ang="0">
                <a:pos x="connsiteX7037" y="connsiteY7037"/>
              </a:cxn>
              <a:cxn ang="0">
                <a:pos x="connsiteX7038" y="connsiteY7038"/>
              </a:cxn>
              <a:cxn ang="0">
                <a:pos x="connsiteX7039" y="connsiteY7039"/>
              </a:cxn>
              <a:cxn ang="0">
                <a:pos x="connsiteX7040" y="connsiteY7040"/>
              </a:cxn>
              <a:cxn ang="0">
                <a:pos x="connsiteX7041" y="connsiteY7041"/>
              </a:cxn>
              <a:cxn ang="0">
                <a:pos x="connsiteX7042" y="connsiteY7042"/>
              </a:cxn>
              <a:cxn ang="0">
                <a:pos x="connsiteX7043" y="connsiteY7043"/>
              </a:cxn>
              <a:cxn ang="0">
                <a:pos x="connsiteX7044" y="connsiteY7044"/>
              </a:cxn>
              <a:cxn ang="0">
                <a:pos x="connsiteX7045" y="connsiteY7045"/>
              </a:cxn>
              <a:cxn ang="0">
                <a:pos x="connsiteX7046" y="connsiteY7046"/>
              </a:cxn>
              <a:cxn ang="0">
                <a:pos x="connsiteX7047" y="connsiteY7047"/>
              </a:cxn>
              <a:cxn ang="0">
                <a:pos x="connsiteX7048" y="connsiteY7048"/>
              </a:cxn>
              <a:cxn ang="0">
                <a:pos x="connsiteX7049" y="connsiteY7049"/>
              </a:cxn>
              <a:cxn ang="0">
                <a:pos x="connsiteX7050" y="connsiteY7050"/>
              </a:cxn>
              <a:cxn ang="0">
                <a:pos x="connsiteX7051" y="connsiteY7051"/>
              </a:cxn>
              <a:cxn ang="0">
                <a:pos x="connsiteX7052" y="connsiteY7052"/>
              </a:cxn>
              <a:cxn ang="0">
                <a:pos x="connsiteX7053" y="connsiteY7053"/>
              </a:cxn>
              <a:cxn ang="0">
                <a:pos x="connsiteX7054" y="connsiteY7054"/>
              </a:cxn>
              <a:cxn ang="0">
                <a:pos x="connsiteX7055" y="connsiteY7055"/>
              </a:cxn>
              <a:cxn ang="0">
                <a:pos x="connsiteX7056" y="connsiteY7056"/>
              </a:cxn>
              <a:cxn ang="0">
                <a:pos x="connsiteX7057" y="connsiteY7057"/>
              </a:cxn>
              <a:cxn ang="0">
                <a:pos x="connsiteX7058" y="connsiteY7058"/>
              </a:cxn>
              <a:cxn ang="0">
                <a:pos x="connsiteX7059" y="connsiteY7059"/>
              </a:cxn>
              <a:cxn ang="0">
                <a:pos x="connsiteX7060" y="connsiteY7060"/>
              </a:cxn>
              <a:cxn ang="0">
                <a:pos x="connsiteX7061" y="connsiteY7061"/>
              </a:cxn>
              <a:cxn ang="0">
                <a:pos x="connsiteX7062" y="connsiteY7062"/>
              </a:cxn>
              <a:cxn ang="0">
                <a:pos x="connsiteX7063" y="connsiteY7063"/>
              </a:cxn>
              <a:cxn ang="0">
                <a:pos x="connsiteX7064" y="connsiteY7064"/>
              </a:cxn>
              <a:cxn ang="0">
                <a:pos x="connsiteX7065" y="connsiteY7065"/>
              </a:cxn>
              <a:cxn ang="0">
                <a:pos x="connsiteX7066" y="connsiteY7066"/>
              </a:cxn>
              <a:cxn ang="0">
                <a:pos x="connsiteX7067" y="connsiteY7067"/>
              </a:cxn>
              <a:cxn ang="0">
                <a:pos x="connsiteX7068" y="connsiteY7068"/>
              </a:cxn>
              <a:cxn ang="0">
                <a:pos x="connsiteX7069" y="connsiteY7069"/>
              </a:cxn>
              <a:cxn ang="0">
                <a:pos x="connsiteX7070" y="connsiteY7070"/>
              </a:cxn>
              <a:cxn ang="0">
                <a:pos x="connsiteX7071" y="connsiteY7071"/>
              </a:cxn>
              <a:cxn ang="0">
                <a:pos x="connsiteX7072" y="connsiteY7072"/>
              </a:cxn>
              <a:cxn ang="0">
                <a:pos x="connsiteX7073" y="connsiteY7073"/>
              </a:cxn>
              <a:cxn ang="0">
                <a:pos x="connsiteX7074" y="connsiteY7074"/>
              </a:cxn>
              <a:cxn ang="0">
                <a:pos x="connsiteX7075" y="connsiteY7075"/>
              </a:cxn>
              <a:cxn ang="0">
                <a:pos x="connsiteX7076" y="connsiteY7076"/>
              </a:cxn>
              <a:cxn ang="0">
                <a:pos x="connsiteX7077" y="connsiteY7077"/>
              </a:cxn>
              <a:cxn ang="0">
                <a:pos x="connsiteX7078" y="connsiteY7078"/>
              </a:cxn>
              <a:cxn ang="0">
                <a:pos x="connsiteX7079" y="connsiteY7079"/>
              </a:cxn>
              <a:cxn ang="0">
                <a:pos x="connsiteX7080" y="connsiteY7080"/>
              </a:cxn>
              <a:cxn ang="0">
                <a:pos x="connsiteX7081" y="connsiteY7081"/>
              </a:cxn>
              <a:cxn ang="0">
                <a:pos x="connsiteX7082" y="connsiteY7082"/>
              </a:cxn>
              <a:cxn ang="0">
                <a:pos x="connsiteX7083" y="connsiteY7083"/>
              </a:cxn>
              <a:cxn ang="0">
                <a:pos x="connsiteX7084" y="connsiteY7084"/>
              </a:cxn>
              <a:cxn ang="0">
                <a:pos x="connsiteX7085" y="connsiteY7085"/>
              </a:cxn>
              <a:cxn ang="0">
                <a:pos x="connsiteX7086" y="connsiteY7086"/>
              </a:cxn>
              <a:cxn ang="0">
                <a:pos x="connsiteX7087" y="connsiteY7087"/>
              </a:cxn>
              <a:cxn ang="0">
                <a:pos x="connsiteX7088" y="connsiteY7088"/>
              </a:cxn>
              <a:cxn ang="0">
                <a:pos x="connsiteX7089" y="connsiteY7089"/>
              </a:cxn>
              <a:cxn ang="0">
                <a:pos x="connsiteX7090" y="connsiteY7090"/>
              </a:cxn>
              <a:cxn ang="0">
                <a:pos x="connsiteX7091" y="connsiteY7091"/>
              </a:cxn>
              <a:cxn ang="0">
                <a:pos x="connsiteX7092" y="connsiteY7092"/>
              </a:cxn>
              <a:cxn ang="0">
                <a:pos x="connsiteX7093" y="connsiteY7093"/>
              </a:cxn>
              <a:cxn ang="0">
                <a:pos x="connsiteX7094" y="connsiteY7094"/>
              </a:cxn>
              <a:cxn ang="0">
                <a:pos x="connsiteX7095" y="connsiteY7095"/>
              </a:cxn>
              <a:cxn ang="0">
                <a:pos x="connsiteX7096" y="connsiteY7096"/>
              </a:cxn>
              <a:cxn ang="0">
                <a:pos x="connsiteX7097" y="connsiteY7097"/>
              </a:cxn>
              <a:cxn ang="0">
                <a:pos x="connsiteX7098" y="connsiteY7098"/>
              </a:cxn>
              <a:cxn ang="0">
                <a:pos x="connsiteX7099" y="connsiteY7099"/>
              </a:cxn>
              <a:cxn ang="0">
                <a:pos x="connsiteX7100" y="connsiteY7100"/>
              </a:cxn>
              <a:cxn ang="0">
                <a:pos x="connsiteX7101" y="connsiteY7101"/>
              </a:cxn>
              <a:cxn ang="0">
                <a:pos x="connsiteX7102" y="connsiteY7102"/>
              </a:cxn>
              <a:cxn ang="0">
                <a:pos x="connsiteX7103" y="connsiteY7103"/>
              </a:cxn>
              <a:cxn ang="0">
                <a:pos x="connsiteX7104" y="connsiteY7104"/>
              </a:cxn>
              <a:cxn ang="0">
                <a:pos x="connsiteX7105" y="connsiteY7105"/>
              </a:cxn>
              <a:cxn ang="0">
                <a:pos x="connsiteX7106" y="connsiteY7106"/>
              </a:cxn>
              <a:cxn ang="0">
                <a:pos x="connsiteX7107" y="connsiteY7107"/>
              </a:cxn>
              <a:cxn ang="0">
                <a:pos x="connsiteX7108" y="connsiteY7108"/>
              </a:cxn>
              <a:cxn ang="0">
                <a:pos x="connsiteX7109" y="connsiteY7109"/>
              </a:cxn>
              <a:cxn ang="0">
                <a:pos x="connsiteX7110" y="connsiteY7110"/>
              </a:cxn>
              <a:cxn ang="0">
                <a:pos x="connsiteX7111" y="connsiteY7111"/>
              </a:cxn>
              <a:cxn ang="0">
                <a:pos x="connsiteX7112" y="connsiteY7112"/>
              </a:cxn>
              <a:cxn ang="0">
                <a:pos x="connsiteX7113" y="connsiteY7113"/>
              </a:cxn>
              <a:cxn ang="0">
                <a:pos x="connsiteX7114" y="connsiteY7114"/>
              </a:cxn>
              <a:cxn ang="0">
                <a:pos x="connsiteX7115" y="connsiteY7115"/>
              </a:cxn>
              <a:cxn ang="0">
                <a:pos x="connsiteX7116" y="connsiteY7116"/>
              </a:cxn>
              <a:cxn ang="0">
                <a:pos x="connsiteX7117" y="connsiteY7117"/>
              </a:cxn>
              <a:cxn ang="0">
                <a:pos x="connsiteX7118" y="connsiteY7118"/>
              </a:cxn>
              <a:cxn ang="0">
                <a:pos x="connsiteX7119" y="connsiteY7119"/>
              </a:cxn>
              <a:cxn ang="0">
                <a:pos x="connsiteX7120" y="connsiteY7120"/>
              </a:cxn>
              <a:cxn ang="0">
                <a:pos x="connsiteX7121" y="connsiteY7121"/>
              </a:cxn>
              <a:cxn ang="0">
                <a:pos x="connsiteX7122" y="connsiteY7122"/>
              </a:cxn>
              <a:cxn ang="0">
                <a:pos x="connsiteX7123" y="connsiteY7123"/>
              </a:cxn>
              <a:cxn ang="0">
                <a:pos x="connsiteX7124" y="connsiteY7124"/>
              </a:cxn>
              <a:cxn ang="0">
                <a:pos x="connsiteX7125" y="connsiteY7125"/>
              </a:cxn>
              <a:cxn ang="0">
                <a:pos x="connsiteX7126" y="connsiteY7126"/>
              </a:cxn>
              <a:cxn ang="0">
                <a:pos x="connsiteX7127" y="connsiteY7127"/>
              </a:cxn>
              <a:cxn ang="0">
                <a:pos x="connsiteX7128" y="connsiteY7128"/>
              </a:cxn>
              <a:cxn ang="0">
                <a:pos x="connsiteX7129" y="connsiteY7129"/>
              </a:cxn>
              <a:cxn ang="0">
                <a:pos x="connsiteX7130" y="connsiteY7130"/>
              </a:cxn>
              <a:cxn ang="0">
                <a:pos x="connsiteX7131" y="connsiteY7131"/>
              </a:cxn>
              <a:cxn ang="0">
                <a:pos x="connsiteX7132" y="connsiteY7132"/>
              </a:cxn>
              <a:cxn ang="0">
                <a:pos x="connsiteX7133" y="connsiteY7133"/>
              </a:cxn>
              <a:cxn ang="0">
                <a:pos x="connsiteX7134" y="connsiteY7134"/>
              </a:cxn>
              <a:cxn ang="0">
                <a:pos x="connsiteX7135" y="connsiteY7135"/>
              </a:cxn>
              <a:cxn ang="0">
                <a:pos x="connsiteX7136" y="connsiteY7136"/>
              </a:cxn>
              <a:cxn ang="0">
                <a:pos x="connsiteX7137" y="connsiteY7137"/>
              </a:cxn>
              <a:cxn ang="0">
                <a:pos x="connsiteX7138" y="connsiteY7138"/>
              </a:cxn>
              <a:cxn ang="0">
                <a:pos x="connsiteX7139" y="connsiteY7139"/>
              </a:cxn>
              <a:cxn ang="0">
                <a:pos x="connsiteX7140" y="connsiteY7140"/>
              </a:cxn>
              <a:cxn ang="0">
                <a:pos x="connsiteX7141" y="connsiteY7141"/>
              </a:cxn>
              <a:cxn ang="0">
                <a:pos x="connsiteX7142" y="connsiteY7142"/>
              </a:cxn>
              <a:cxn ang="0">
                <a:pos x="connsiteX7143" y="connsiteY7143"/>
              </a:cxn>
              <a:cxn ang="0">
                <a:pos x="connsiteX7144" y="connsiteY7144"/>
              </a:cxn>
              <a:cxn ang="0">
                <a:pos x="connsiteX7145" y="connsiteY7145"/>
              </a:cxn>
              <a:cxn ang="0">
                <a:pos x="connsiteX7146" y="connsiteY7146"/>
              </a:cxn>
              <a:cxn ang="0">
                <a:pos x="connsiteX7147" y="connsiteY7147"/>
              </a:cxn>
              <a:cxn ang="0">
                <a:pos x="connsiteX7148" y="connsiteY7148"/>
              </a:cxn>
              <a:cxn ang="0">
                <a:pos x="connsiteX7149" y="connsiteY7149"/>
              </a:cxn>
              <a:cxn ang="0">
                <a:pos x="connsiteX7150" y="connsiteY7150"/>
              </a:cxn>
              <a:cxn ang="0">
                <a:pos x="connsiteX7151" y="connsiteY7151"/>
              </a:cxn>
              <a:cxn ang="0">
                <a:pos x="connsiteX7152" y="connsiteY7152"/>
              </a:cxn>
              <a:cxn ang="0">
                <a:pos x="connsiteX7153" y="connsiteY7153"/>
              </a:cxn>
              <a:cxn ang="0">
                <a:pos x="connsiteX7154" y="connsiteY7154"/>
              </a:cxn>
              <a:cxn ang="0">
                <a:pos x="connsiteX7155" y="connsiteY7155"/>
              </a:cxn>
              <a:cxn ang="0">
                <a:pos x="connsiteX7156" y="connsiteY7156"/>
              </a:cxn>
              <a:cxn ang="0">
                <a:pos x="connsiteX7157" y="connsiteY7157"/>
              </a:cxn>
              <a:cxn ang="0">
                <a:pos x="connsiteX7158" y="connsiteY7158"/>
              </a:cxn>
              <a:cxn ang="0">
                <a:pos x="connsiteX7159" y="connsiteY7159"/>
              </a:cxn>
              <a:cxn ang="0">
                <a:pos x="connsiteX7160" y="connsiteY7160"/>
              </a:cxn>
              <a:cxn ang="0">
                <a:pos x="connsiteX7161" y="connsiteY7161"/>
              </a:cxn>
              <a:cxn ang="0">
                <a:pos x="connsiteX7162" y="connsiteY7162"/>
              </a:cxn>
              <a:cxn ang="0">
                <a:pos x="connsiteX7163" y="connsiteY7163"/>
              </a:cxn>
              <a:cxn ang="0">
                <a:pos x="connsiteX7164" y="connsiteY7164"/>
              </a:cxn>
              <a:cxn ang="0">
                <a:pos x="connsiteX7165" y="connsiteY7165"/>
              </a:cxn>
              <a:cxn ang="0">
                <a:pos x="connsiteX7166" y="connsiteY7166"/>
              </a:cxn>
              <a:cxn ang="0">
                <a:pos x="connsiteX7167" y="connsiteY7167"/>
              </a:cxn>
              <a:cxn ang="0">
                <a:pos x="connsiteX7168" y="connsiteY7168"/>
              </a:cxn>
              <a:cxn ang="0">
                <a:pos x="connsiteX7169" y="connsiteY7169"/>
              </a:cxn>
              <a:cxn ang="0">
                <a:pos x="connsiteX7170" y="connsiteY7170"/>
              </a:cxn>
              <a:cxn ang="0">
                <a:pos x="connsiteX7171" y="connsiteY7171"/>
              </a:cxn>
              <a:cxn ang="0">
                <a:pos x="connsiteX7172" y="connsiteY7172"/>
              </a:cxn>
              <a:cxn ang="0">
                <a:pos x="connsiteX7173" y="connsiteY7173"/>
              </a:cxn>
              <a:cxn ang="0">
                <a:pos x="connsiteX7174" y="connsiteY7174"/>
              </a:cxn>
              <a:cxn ang="0">
                <a:pos x="connsiteX7175" y="connsiteY7175"/>
              </a:cxn>
              <a:cxn ang="0">
                <a:pos x="connsiteX7176" y="connsiteY7176"/>
              </a:cxn>
              <a:cxn ang="0">
                <a:pos x="connsiteX7177" y="connsiteY7177"/>
              </a:cxn>
              <a:cxn ang="0">
                <a:pos x="connsiteX7178" y="connsiteY7178"/>
              </a:cxn>
              <a:cxn ang="0">
                <a:pos x="connsiteX7179" y="connsiteY7179"/>
              </a:cxn>
              <a:cxn ang="0">
                <a:pos x="connsiteX7180" y="connsiteY7180"/>
              </a:cxn>
              <a:cxn ang="0">
                <a:pos x="connsiteX7181" y="connsiteY7181"/>
              </a:cxn>
              <a:cxn ang="0">
                <a:pos x="connsiteX7182" y="connsiteY7182"/>
              </a:cxn>
              <a:cxn ang="0">
                <a:pos x="connsiteX7183" y="connsiteY7183"/>
              </a:cxn>
              <a:cxn ang="0">
                <a:pos x="connsiteX7184" y="connsiteY7184"/>
              </a:cxn>
              <a:cxn ang="0">
                <a:pos x="connsiteX7185" y="connsiteY7185"/>
              </a:cxn>
              <a:cxn ang="0">
                <a:pos x="connsiteX7186" y="connsiteY7186"/>
              </a:cxn>
              <a:cxn ang="0">
                <a:pos x="connsiteX7187" y="connsiteY7187"/>
              </a:cxn>
              <a:cxn ang="0">
                <a:pos x="connsiteX7188" y="connsiteY7188"/>
              </a:cxn>
              <a:cxn ang="0">
                <a:pos x="connsiteX7189" y="connsiteY7189"/>
              </a:cxn>
              <a:cxn ang="0">
                <a:pos x="connsiteX7190" y="connsiteY7190"/>
              </a:cxn>
              <a:cxn ang="0">
                <a:pos x="connsiteX7191" y="connsiteY7191"/>
              </a:cxn>
              <a:cxn ang="0">
                <a:pos x="connsiteX7192" y="connsiteY7192"/>
              </a:cxn>
              <a:cxn ang="0">
                <a:pos x="connsiteX7193" y="connsiteY7193"/>
              </a:cxn>
              <a:cxn ang="0">
                <a:pos x="connsiteX7194" y="connsiteY7194"/>
              </a:cxn>
              <a:cxn ang="0">
                <a:pos x="connsiteX7195" y="connsiteY7195"/>
              </a:cxn>
              <a:cxn ang="0">
                <a:pos x="connsiteX7196" y="connsiteY7196"/>
              </a:cxn>
              <a:cxn ang="0">
                <a:pos x="connsiteX7197" y="connsiteY7197"/>
              </a:cxn>
              <a:cxn ang="0">
                <a:pos x="connsiteX7198" y="connsiteY7198"/>
              </a:cxn>
              <a:cxn ang="0">
                <a:pos x="connsiteX7199" y="connsiteY7199"/>
              </a:cxn>
              <a:cxn ang="0">
                <a:pos x="connsiteX7200" y="connsiteY7200"/>
              </a:cxn>
              <a:cxn ang="0">
                <a:pos x="connsiteX7201" y="connsiteY7201"/>
              </a:cxn>
              <a:cxn ang="0">
                <a:pos x="connsiteX7202" y="connsiteY7202"/>
              </a:cxn>
              <a:cxn ang="0">
                <a:pos x="connsiteX7203" y="connsiteY7203"/>
              </a:cxn>
              <a:cxn ang="0">
                <a:pos x="connsiteX7204" y="connsiteY7204"/>
              </a:cxn>
              <a:cxn ang="0">
                <a:pos x="connsiteX7205" y="connsiteY7205"/>
              </a:cxn>
              <a:cxn ang="0">
                <a:pos x="connsiteX7206" y="connsiteY7206"/>
              </a:cxn>
              <a:cxn ang="0">
                <a:pos x="connsiteX7207" y="connsiteY7207"/>
              </a:cxn>
              <a:cxn ang="0">
                <a:pos x="connsiteX7208" y="connsiteY7208"/>
              </a:cxn>
              <a:cxn ang="0">
                <a:pos x="connsiteX7209" y="connsiteY7209"/>
              </a:cxn>
              <a:cxn ang="0">
                <a:pos x="connsiteX7210" y="connsiteY7210"/>
              </a:cxn>
              <a:cxn ang="0">
                <a:pos x="connsiteX7211" y="connsiteY7211"/>
              </a:cxn>
              <a:cxn ang="0">
                <a:pos x="connsiteX7212" y="connsiteY7212"/>
              </a:cxn>
              <a:cxn ang="0">
                <a:pos x="connsiteX7213" y="connsiteY7213"/>
              </a:cxn>
              <a:cxn ang="0">
                <a:pos x="connsiteX7214" y="connsiteY7214"/>
              </a:cxn>
              <a:cxn ang="0">
                <a:pos x="connsiteX7215" y="connsiteY7215"/>
              </a:cxn>
              <a:cxn ang="0">
                <a:pos x="connsiteX7216" y="connsiteY7216"/>
              </a:cxn>
              <a:cxn ang="0">
                <a:pos x="connsiteX7217" y="connsiteY7217"/>
              </a:cxn>
              <a:cxn ang="0">
                <a:pos x="connsiteX7218" y="connsiteY7218"/>
              </a:cxn>
              <a:cxn ang="0">
                <a:pos x="connsiteX7219" y="connsiteY7219"/>
              </a:cxn>
              <a:cxn ang="0">
                <a:pos x="connsiteX7220" y="connsiteY7220"/>
              </a:cxn>
              <a:cxn ang="0">
                <a:pos x="connsiteX7221" y="connsiteY7221"/>
              </a:cxn>
              <a:cxn ang="0">
                <a:pos x="connsiteX7222" y="connsiteY7222"/>
              </a:cxn>
              <a:cxn ang="0">
                <a:pos x="connsiteX7223" y="connsiteY7223"/>
              </a:cxn>
              <a:cxn ang="0">
                <a:pos x="connsiteX7224" y="connsiteY7224"/>
              </a:cxn>
              <a:cxn ang="0">
                <a:pos x="connsiteX7225" y="connsiteY7225"/>
              </a:cxn>
              <a:cxn ang="0">
                <a:pos x="connsiteX7226" y="connsiteY7226"/>
              </a:cxn>
              <a:cxn ang="0">
                <a:pos x="connsiteX7227" y="connsiteY7227"/>
              </a:cxn>
              <a:cxn ang="0">
                <a:pos x="connsiteX7228" y="connsiteY7228"/>
              </a:cxn>
              <a:cxn ang="0">
                <a:pos x="connsiteX7229" y="connsiteY7229"/>
              </a:cxn>
              <a:cxn ang="0">
                <a:pos x="connsiteX7230" y="connsiteY7230"/>
              </a:cxn>
              <a:cxn ang="0">
                <a:pos x="connsiteX7231" y="connsiteY7231"/>
              </a:cxn>
              <a:cxn ang="0">
                <a:pos x="connsiteX7232" y="connsiteY7232"/>
              </a:cxn>
              <a:cxn ang="0">
                <a:pos x="connsiteX7233" y="connsiteY7233"/>
              </a:cxn>
              <a:cxn ang="0">
                <a:pos x="connsiteX7234" y="connsiteY7234"/>
              </a:cxn>
              <a:cxn ang="0">
                <a:pos x="connsiteX7235" y="connsiteY7235"/>
              </a:cxn>
              <a:cxn ang="0">
                <a:pos x="connsiteX7236" y="connsiteY7236"/>
              </a:cxn>
              <a:cxn ang="0">
                <a:pos x="connsiteX7237" y="connsiteY7237"/>
              </a:cxn>
              <a:cxn ang="0">
                <a:pos x="connsiteX7238" y="connsiteY7238"/>
              </a:cxn>
              <a:cxn ang="0">
                <a:pos x="connsiteX7239" y="connsiteY7239"/>
              </a:cxn>
              <a:cxn ang="0">
                <a:pos x="connsiteX7240" y="connsiteY7240"/>
              </a:cxn>
              <a:cxn ang="0">
                <a:pos x="connsiteX7241" y="connsiteY7241"/>
              </a:cxn>
              <a:cxn ang="0">
                <a:pos x="connsiteX7242" y="connsiteY7242"/>
              </a:cxn>
              <a:cxn ang="0">
                <a:pos x="connsiteX7243" y="connsiteY7243"/>
              </a:cxn>
              <a:cxn ang="0">
                <a:pos x="connsiteX7244" y="connsiteY7244"/>
              </a:cxn>
              <a:cxn ang="0">
                <a:pos x="connsiteX7245" y="connsiteY7245"/>
              </a:cxn>
              <a:cxn ang="0">
                <a:pos x="connsiteX7246" y="connsiteY7246"/>
              </a:cxn>
              <a:cxn ang="0">
                <a:pos x="connsiteX7247" y="connsiteY7247"/>
              </a:cxn>
              <a:cxn ang="0">
                <a:pos x="connsiteX7248" y="connsiteY7248"/>
              </a:cxn>
              <a:cxn ang="0">
                <a:pos x="connsiteX7249" y="connsiteY7249"/>
              </a:cxn>
              <a:cxn ang="0">
                <a:pos x="connsiteX7250" y="connsiteY7250"/>
              </a:cxn>
              <a:cxn ang="0">
                <a:pos x="connsiteX7251" y="connsiteY7251"/>
              </a:cxn>
              <a:cxn ang="0">
                <a:pos x="connsiteX7252" y="connsiteY7252"/>
              </a:cxn>
              <a:cxn ang="0">
                <a:pos x="connsiteX7253" y="connsiteY7253"/>
              </a:cxn>
              <a:cxn ang="0">
                <a:pos x="connsiteX7254" y="connsiteY7254"/>
              </a:cxn>
              <a:cxn ang="0">
                <a:pos x="connsiteX7255" y="connsiteY7255"/>
              </a:cxn>
              <a:cxn ang="0">
                <a:pos x="connsiteX7256" y="connsiteY7256"/>
              </a:cxn>
              <a:cxn ang="0">
                <a:pos x="connsiteX7257" y="connsiteY7257"/>
              </a:cxn>
              <a:cxn ang="0">
                <a:pos x="connsiteX7258" y="connsiteY7258"/>
              </a:cxn>
              <a:cxn ang="0">
                <a:pos x="connsiteX7259" y="connsiteY7259"/>
              </a:cxn>
              <a:cxn ang="0">
                <a:pos x="connsiteX7260" y="connsiteY7260"/>
              </a:cxn>
              <a:cxn ang="0">
                <a:pos x="connsiteX7261" y="connsiteY7261"/>
              </a:cxn>
              <a:cxn ang="0">
                <a:pos x="connsiteX7262" y="connsiteY7262"/>
              </a:cxn>
              <a:cxn ang="0">
                <a:pos x="connsiteX7263" y="connsiteY7263"/>
              </a:cxn>
              <a:cxn ang="0">
                <a:pos x="connsiteX7264" y="connsiteY7264"/>
              </a:cxn>
              <a:cxn ang="0">
                <a:pos x="connsiteX7265" y="connsiteY7265"/>
              </a:cxn>
              <a:cxn ang="0">
                <a:pos x="connsiteX7266" y="connsiteY7266"/>
              </a:cxn>
              <a:cxn ang="0">
                <a:pos x="connsiteX7267" y="connsiteY7267"/>
              </a:cxn>
              <a:cxn ang="0">
                <a:pos x="connsiteX7268" y="connsiteY7268"/>
              </a:cxn>
              <a:cxn ang="0">
                <a:pos x="connsiteX7269" y="connsiteY7269"/>
              </a:cxn>
              <a:cxn ang="0">
                <a:pos x="connsiteX7270" y="connsiteY7270"/>
              </a:cxn>
              <a:cxn ang="0">
                <a:pos x="connsiteX7271" y="connsiteY7271"/>
              </a:cxn>
              <a:cxn ang="0">
                <a:pos x="connsiteX7272" y="connsiteY7272"/>
              </a:cxn>
              <a:cxn ang="0">
                <a:pos x="connsiteX7273" y="connsiteY7273"/>
              </a:cxn>
              <a:cxn ang="0">
                <a:pos x="connsiteX7274" y="connsiteY7274"/>
              </a:cxn>
              <a:cxn ang="0">
                <a:pos x="connsiteX7275" y="connsiteY7275"/>
              </a:cxn>
              <a:cxn ang="0">
                <a:pos x="connsiteX7276" y="connsiteY7276"/>
              </a:cxn>
              <a:cxn ang="0">
                <a:pos x="connsiteX7277" y="connsiteY7277"/>
              </a:cxn>
              <a:cxn ang="0">
                <a:pos x="connsiteX7278" y="connsiteY7278"/>
              </a:cxn>
              <a:cxn ang="0">
                <a:pos x="connsiteX7279" y="connsiteY7279"/>
              </a:cxn>
              <a:cxn ang="0">
                <a:pos x="connsiteX7280" y="connsiteY7280"/>
              </a:cxn>
              <a:cxn ang="0">
                <a:pos x="connsiteX7281" y="connsiteY7281"/>
              </a:cxn>
              <a:cxn ang="0">
                <a:pos x="connsiteX7282" y="connsiteY7282"/>
              </a:cxn>
              <a:cxn ang="0">
                <a:pos x="connsiteX7283" y="connsiteY7283"/>
              </a:cxn>
              <a:cxn ang="0">
                <a:pos x="connsiteX7284" y="connsiteY7284"/>
              </a:cxn>
              <a:cxn ang="0">
                <a:pos x="connsiteX7285" y="connsiteY7285"/>
              </a:cxn>
              <a:cxn ang="0">
                <a:pos x="connsiteX7286" y="connsiteY7286"/>
              </a:cxn>
              <a:cxn ang="0">
                <a:pos x="connsiteX7287" y="connsiteY7287"/>
              </a:cxn>
              <a:cxn ang="0">
                <a:pos x="connsiteX7288" y="connsiteY7288"/>
              </a:cxn>
              <a:cxn ang="0">
                <a:pos x="connsiteX7289" y="connsiteY7289"/>
              </a:cxn>
              <a:cxn ang="0">
                <a:pos x="connsiteX7290" y="connsiteY7290"/>
              </a:cxn>
              <a:cxn ang="0">
                <a:pos x="connsiteX7291" y="connsiteY7291"/>
              </a:cxn>
              <a:cxn ang="0">
                <a:pos x="connsiteX7292" y="connsiteY7292"/>
              </a:cxn>
              <a:cxn ang="0">
                <a:pos x="connsiteX7293" y="connsiteY7293"/>
              </a:cxn>
              <a:cxn ang="0">
                <a:pos x="connsiteX7294" y="connsiteY7294"/>
              </a:cxn>
              <a:cxn ang="0">
                <a:pos x="connsiteX7295" y="connsiteY7295"/>
              </a:cxn>
              <a:cxn ang="0">
                <a:pos x="connsiteX7296" y="connsiteY7296"/>
              </a:cxn>
              <a:cxn ang="0">
                <a:pos x="connsiteX7297" y="connsiteY7297"/>
              </a:cxn>
              <a:cxn ang="0">
                <a:pos x="connsiteX7298" y="connsiteY7298"/>
              </a:cxn>
              <a:cxn ang="0">
                <a:pos x="connsiteX7299" y="connsiteY7299"/>
              </a:cxn>
              <a:cxn ang="0">
                <a:pos x="connsiteX7300" y="connsiteY7300"/>
              </a:cxn>
              <a:cxn ang="0">
                <a:pos x="connsiteX7301" y="connsiteY7301"/>
              </a:cxn>
              <a:cxn ang="0">
                <a:pos x="connsiteX7302" y="connsiteY7302"/>
              </a:cxn>
              <a:cxn ang="0">
                <a:pos x="connsiteX7303" y="connsiteY7303"/>
              </a:cxn>
              <a:cxn ang="0">
                <a:pos x="connsiteX7304" y="connsiteY7304"/>
              </a:cxn>
              <a:cxn ang="0">
                <a:pos x="connsiteX7305" y="connsiteY7305"/>
              </a:cxn>
              <a:cxn ang="0">
                <a:pos x="connsiteX7306" y="connsiteY7306"/>
              </a:cxn>
              <a:cxn ang="0">
                <a:pos x="connsiteX7307" y="connsiteY7307"/>
              </a:cxn>
              <a:cxn ang="0">
                <a:pos x="connsiteX7308" y="connsiteY7308"/>
              </a:cxn>
              <a:cxn ang="0">
                <a:pos x="connsiteX7309" y="connsiteY7309"/>
              </a:cxn>
              <a:cxn ang="0">
                <a:pos x="connsiteX7310" y="connsiteY7310"/>
              </a:cxn>
              <a:cxn ang="0">
                <a:pos x="connsiteX7311" y="connsiteY7311"/>
              </a:cxn>
              <a:cxn ang="0">
                <a:pos x="connsiteX7312" y="connsiteY7312"/>
              </a:cxn>
              <a:cxn ang="0">
                <a:pos x="connsiteX7313" y="connsiteY7313"/>
              </a:cxn>
              <a:cxn ang="0">
                <a:pos x="connsiteX7314" y="connsiteY7314"/>
              </a:cxn>
              <a:cxn ang="0">
                <a:pos x="connsiteX7315" y="connsiteY7315"/>
              </a:cxn>
              <a:cxn ang="0">
                <a:pos x="connsiteX7316" y="connsiteY7316"/>
              </a:cxn>
              <a:cxn ang="0">
                <a:pos x="connsiteX7317" y="connsiteY7317"/>
              </a:cxn>
              <a:cxn ang="0">
                <a:pos x="connsiteX7318" y="connsiteY7318"/>
              </a:cxn>
              <a:cxn ang="0">
                <a:pos x="connsiteX7319" y="connsiteY7319"/>
              </a:cxn>
              <a:cxn ang="0">
                <a:pos x="connsiteX7320" y="connsiteY7320"/>
              </a:cxn>
              <a:cxn ang="0">
                <a:pos x="connsiteX7321" y="connsiteY7321"/>
              </a:cxn>
              <a:cxn ang="0">
                <a:pos x="connsiteX7322" y="connsiteY7322"/>
              </a:cxn>
              <a:cxn ang="0">
                <a:pos x="connsiteX7323" y="connsiteY7323"/>
              </a:cxn>
              <a:cxn ang="0">
                <a:pos x="connsiteX7324" y="connsiteY7324"/>
              </a:cxn>
              <a:cxn ang="0">
                <a:pos x="connsiteX7325" y="connsiteY7325"/>
              </a:cxn>
              <a:cxn ang="0">
                <a:pos x="connsiteX7326" y="connsiteY7326"/>
              </a:cxn>
              <a:cxn ang="0">
                <a:pos x="connsiteX7327" y="connsiteY7327"/>
              </a:cxn>
              <a:cxn ang="0">
                <a:pos x="connsiteX7328" y="connsiteY7328"/>
              </a:cxn>
              <a:cxn ang="0">
                <a:pos x="connsiteX7329" y="connsiteY7329"/>
              </a:cxn>
              <a:cxn ang="0">
                <a:pos x="connsiteX7330" y="connsiteY7330"/>
              </a:cxn>
              <a:cxn ang="0">
                <a:pos x="connsiteX7331" y="connsiteY7331"/>
              </a:cxn>
              <a:cxn ang="0">
                <a:pos x="connsiteX7332" y="connsiteY7332"/>
              </a:cxn>
              <a:cxn ang="0">
                <a:pos x="connsiteX7333" y="connsiteY7333"/>
              </a:cxn>
              <a:cxn ang="0">
                <a:pos x="connsiteX7334" y="connsiteY7334"/>
              </a:cxn>
              <a:cxn ang="0">
                <a:pos x="connsiteX7335" y="connsiteY7335"/>
              </a:cxn>
              <a:cxn ang="0">
                <a:pos x="connsiteX7336" y="connsiteY7336"/>
              </a:cxn>
              <a:cxn ang="0">
                <a:pos x="connsiteX7337" y="connsiteY7337"/>
              </a:cxn>
              <a:cxn ang="0">
                <a:pos x="connsiteX7338" y="connsiteY7338"/>
              </a:cxn>
              <a:cxn ang="0">
                <a:pos x="connsiteX7339" y="connsiteY7339"/>
              </a:cxn>
              <a:cxn ang="0">
                <a:pos x="connsiteX7340" y="connsiteY7340"/>
              </a:cxn>
              <a:cxn ang="0">
                <a:pos x="connsiteX7341" y="connsiteY7341"/>
              </a:cxn>
              <a:cxn ang="0">
                <a:pos x="connsiteX7342" y="connsiteY7342"/>
              </a:cxn>
              <a:cxn ang="0">
                <a:pos x="connsiteX7343" y="connsiteY7343"/>
              </a:cxn>
              <a:cxn ang="0">
                <a:pos x="connsiteX7344" y="connsiteY7344"/>
              </a:cxn>
              <a:cxn ang="0">
                <a:pos x="connsiteX7345" y="connsiteY7345"/>
              </a:cxn>
              <a:cxn ang="0">
                <a:pos x="connsiteX7346" y="connsiteY7346"/>
              </a:cxn>
              <a:cxn ang="0">
                <a:pos x="connsiteX7347" y="connsiteY7347"/>
              </a:cxn>
              <a:cxn ang="0">
                <a:pos x="connsiteX7348" y="connsiteY7348"/>
              </a:cxn>
              <a:cxn ang="0">
                <a:pos x="connsiteX7349" y="connsiteY7349"/>
              </a:cxn>
              <a:cxn ang="0">
                <a:pos x="connsiteX7350" y="connsiteY7350"/>
              </a:cxn>
              <a:cxn ang="0">
                <a:pos x="connsiteX7351" y="connsiteY7351"/>
              </a:cxn>
              <a:cxn ang="0">
                <a:pos x="connsiteX7352" y="connsiteY7352"/>
              </a:cxn>
              <a:cxn ang="0">
                <a:pos x="connsiteX7353" y="connsiteY7353"/>
              </a:cxn>
              <a:cxn ang="0">
                <a:pos x="connsiteX7354" y="connsiteY7354"/>
              </a:cxn>
              <a:cxn ang="0">
                <a:pos x="connsiteX7355" y="connsiteY7355"/>
              </a:cxn>
              <a:cxn ang="0">
                <a:pos x="connsiteX7356" y="connsiteY7356"/>
              </a:cxn>
              <a:cxn ang="0">
                <a:pos x="connsiteX7357" y="connsiteY7357"/>
              </a:cxn>
              <a:cxn ang="0">
                <a:pos x="connsiteX7358" y="connsiteY7358"/>
              </a:cxn>
              <a:cxn ang="0">
                <a:pos x="connsiteX7359" y="connsiteY7359"/>
              </a:cxn>
              <a:cxn ang="0">
                <a:pos x="connsiteX7360" y="connsiteY7360"/>
              </a:cxn>
              <a:cxn ang="0">
                <a:pos x="connsiteX7361" y="connsiteY7361"/>
              </a:cxn>
              <a:cxn ang="0">
                <a:pos x="connsiteX7362" y="connsiteY7362"/>
              </a:cxn>
              <a:cxn ang="0">
                <a:pos x="connsiteX7363" y="connsiteY7363"/>
              </a:cxn>
              <a:cxn ang="0">
                <a:pos x="connsiteX7364" y="connsiteY7364"/>
              </a:cxn>
              <a:cxn ang="0">
                <a:pos x="connsiteX7365" y="connsiteY7365"/>
              </a:cxn>
              <a:cxn ang="0">
                <a:pos x="connsiteX7366" y="connsiteY7366"/>
              </a:cxn>
              <a:cxn ang="0">
                <a:pos x="connsiteX7367" y="connsiteY7367"/>
              </a:cxn>
              <a:cxn ang="0">
                <a:pos x="connsiteX7368" y="connsiteY7368"/>
              </a:cxn>
              <a:cxn ang="0">
                <a:pos x="connsiteX7369" y="connsiteY7369"/>
              </a:cxn>
              <a:cxn ang="0">
                <a:pos x="connsiteX7370" y="connsiteY7370"/>
              </a:cxn>
              <a:cxn ang="0">
                <a:pos x="connsiteX7371" y="connsiteY7371"/>
              </a:cxn>
              <a:cxn ang="0">
                <a:pos x="connsiteX7372" y="connsiteY7372"/>
              </a:cxn>
              <a:cxn ang="0">
                <a:pos x="connsiteX7373" y="connsiteY7373"/>
              </a:cxn>
              <a:cxn ang="0">
                <a:pos x="connsiteX7374" y="connsiteY7374"/>
              </a:cxn>
              <a:cxn ang="0">
                <a:pos x="connsiteX7375" y="connsiteY7375"/>
              </a:cxn>
              <a:cxn ang="0">
                <a:pos x="connsiteX7376" y="connsiteY7376"/>
              </a:cxn>
              <a:cxn ang="0">
                <a:pos x="connsiteX7377" y="connsiteY7377"/>
              </a:cxn>
              <a:cxn ang="0">
                <a:pos x="connsiteX7378" y="connsiteY7378"/>
              </a:cxn>
              <a:cxn ang="0">
                <a:pos x="connsiteX7379" y="connsiteY7379"/>
              </a:cxn>
              <a:cxn ang="0">
                <a:pos x="connsiteX7380" y="connsiteY7380"/>
              </a:cxn>
              <a:cxn ang="0">
                <a:pos x="connsiteX7381" y="connsiteY7381"/>
              </a:cxn>
              <a:cxn ang="0">
                <a:pos x="connsiteX7382" y="connsiteY7382"/>
              </a:cxn>
              <a:cxn ang="0">
                <a:pos x="connsiteX7383" y="connsiteY7383"/>
              </a:cxn>
              <a:cxn ang="0">
                <a:pos x="connsiteX7384" y="connsiteY7384"/>
              </a:cxn>
              <a:cxn ang="0">
                <a:pos x="connsiteX7385" y="connsiteY7385"/>
              </a:cxn>
              <a:cxn ang="0">
                <a:pos x="connsiteX7386" y="connsiteY7386"/>
              </a:cxn>
              <a:cxn ang="0">
                <a:pos x="connsiteX7387" y="connsiteY7387"/>
              </a:cxn>
              <a:cxn ang="0">
                <a:pos x="connsiteX7388" y="connsiteY7388"/>
              </a:cxn>
              <a:cxn ang="0">
                <a:pos x="connsiteX7389" y="connsiteY7389"/>
              </a:cxn>
              <a:cxn ang="0">
                <a:pos x="connsiteX7390" y="connsiteY7390"/>
              </a:cxn>
              <a:cxn ang="0">
                <a:pos x="connsiteX7391" y="connsiteY7391"/>
              </a:cxn>
              <a:cxn ang="0">
                <a:pos x="connsiteX7392" y="connsiteY7392"/>
              </a:cxn>
              <a:cxn ang="0">
                <a:pos x="connsiteX7393" y="connsiteY7393"/>
              </a:cxn>
              <a:cxn ang="0">
                <a:pos x="connsiteX7394" y="connsiteY7394"/>
              </a:cxn>
              <a:cxn ang="0">
                <a:pos x="connsiteX7395" y="connsiteY7395"/>
              </a:cxn>
              <a:cxn ang="0">
                <a:pos x="connsiteX7396" y="connsiteY7396"/>
              </a:cxn>
              <a:cxn ang="0">
                <a:pos x="connsiteX7397" y="connsiteY7397"/>
              </a:cxn>
              <a:cxn ang="0">
                <a:pos x="connsiteX7398" y="connsiteY7398"/>
              </a:cxn>
              <a:cxn ang="0">
                <a:pos x="connsiteX7399" y="connsiteY7399"/>
              </a:cxn>
              <a:cxn ang="0">
                <a:pos x="connsiteX7400" y="connsiteY7400"/>
              </a:cxn>
              <a:cxn ang="0">
                <a:pos x="connsiteX7401" y="connsiteY7401"/>
              </a:cxn>
              <a:cxn ang="0">
                <a:pos x="connsiteX7402" y="connsiteY7402"/>
              </a:cxn>
              <a:cxn ang="0">
                <a:pos x="connsiteX7403" y="connsiteY7403"/>
              </a:cxn>
              <a:cxn ang="0">
                <a:pos x="connsiteX7404" y="connsiteY7404"/>
              </a:cxn>
              <a:cxn ang="0">
                <a:pos x="connsiteX7405" y="connsiteY7405"/>
              </a:cxn>
              <a:cxn ang="0">
                <a:pos x="connsiteX7406" y="connsiteY7406"/>
              </a:cxn>
              <a:cxn ang="0">
                <a:pos x="connsiteX7407" y="connsiteY7407"/>
              </a:cxn>
              <a:cxn ang="0">
                <a:pos x="connsiteX7408" y="connsiteY7408"/>
              </a:cxn>
              <a:cxn ang="0">
                <a:pos x="connsiteX7409" y="connsiteY7409"/>
              </a:cxn>
              <a:cxn ang="0">
                <a:pos x="connsiteX7410" y="connsiteY7410"/>
              </a:cxn>
              <a:cxn ang="0">
                <a:pos x="connsiteX7411" y="connsiteY7411"/>
              </a:cxn>
              <a:cxn ang="0">
                <a:pos x="connsiteX7412" y="connsiteY7412"/>
              </a:cxn>
              <a:cxn ang="0">
                <a:pos x="connsiteX7413" y="connsiteY7413"/>
              </a:cxn>
              <a:cxn ang="0">
                <a:pos x="connsiteX7414" y="connsiteY7414"/>
              </a:cxn>
              <a:cxn ang="0">
                <a:pos x="connsiteX7415" y="connsiteY7415"/>
              </a:cxn>
              <a:cxn ang="0">
                <a:pos x="connsiteX7416" y="connsiteY7416"/>
              </a:cxn>
              <a:cxn ang="0">
                <a:pos x="connsiteX7417" y="connsiteY7417"/>
              </a:cxn>
              <a:cxn ang="0">
                <a:pos x="connsiteX7418" y="connsiteY7418"/>
              </a:cxn>
              <a:cxn ang="0">
                <a:pos x="connsiteX7419" y="connsiteY7419"/>
              </a:cxn>
              <a:cxn ang="0">
                <a:pos x="connsiteX7420" y="connsiteY7420"/>
              </a:cxn>
              <a:cxn ang="0">
                <a:pos x="connsiteX7421" y="connsiteY7421"/>
              </a:cxn>
              <a:cxn ang="0">
                <a:pos x="connsiteX7422" y="connsiteY7422"/>
              </a:cxn>
              <a:cxn ang="0">
                <a:pos x="connsiteX7423" y="connsiteY7423"/>
              </a:cxn>
              <a:cxn ang="0">
                <a:pos x="connsiteX7424" y="connsiteY7424"/>
              </a:cxn>
              <a:cxn ang="0">
                <a:pos x="connsiteX7425" y="connsiteY7425"/>
              </a:cxn>
              <a:cxn ang="0">
                <a:pos x="connsiteX7426" y="connsiteY7426"/>
              </a:cxn>
              <a:cxn ang="0">
                <a:pos x="connsiteX7427" y="connsiteY7427"/>
              </a:cxn>
              <a:cxn ang="0">
                <a:pos x="connsiteX7428" y="connsiteY7428"/>
              </a:cxn>
              <a:cxn ang="0">
                <a:pos x="connsiteX7429" y="connsiteY7429"/>
              </a:cxn>
              <a:cxn ang="0">
                <a:pos x="connsiteX7430" y="connsiteY7430"/>
              </a:cxn>
              <a:cxn ang="0">
                <a:pos x="connsiteX7431" y="connsiteY7431"/>
              </a:cxn>
              <a:cxn ang="0">
                <a:pos x="connsiteX7432" y="connsiteY7432"/>
              </a:cxn>
              <a:cxn ang="0">
                <a:pos x="connsiteX7433" y="connsiteY7433"/>
              </a:cxn>
              <a:cxn ang="0">
                <a:pos x="connsiteX7434" y="connsiteY7434"/>
              </a:cxn>
              <a:cxn ang="0">
                <a:pos x="connsiteX7435" y="connsiteY7435"/>
              </a:cxn>
              <a:cxn ang="0">
                <a:pos x="connsiteX7436" y="connsiteY7436"/>
              </a:cxn>
              <a:cxn ang="0">
                <a:pos x="connsiteX7437" y="connsiteY7437"/>
              </a:cxn>
              <a:cxn ang="0">
                <a:pos x="connsiteX7438" y="connsiteY7438"/>
              </a:cxn>
              <a:cxn ang="0">
                <a:pos x="connsiteX7439" y="connsiteY7439"/>
              </a:cxn>
              <a:cxn ang="0">
                <a:pos x="connsiteX7440" y="connsiteY7440"/>
              </a:cxn>
              <a:cxn ang="0">
                <a:pos x="connsiteX7441" y="connsiteY7441"/>
              </a:cxn>
              <a:cxn ang="0">
                <a:pos x="connsiteX7442" y="connsiteY7442"/>
              </a:cxn>
              <a:cxn ang="0">
                <a:pos x="connsiteX7443" y="connsiteY7443"/>
              </a:cxn>
              <a:cxn ang="0">
                <a:pos x="connsiteX7444" y="connsiteY7444"/>
              </a:cxn>
              <a:cxn ang="0">
                <a:pos x="connsiteX7445" y="connsiteY7445"/>
              </a:cxn>
              <a:cxn ang="0">
                <a:pos x="connsiteX7446" y="connsiteY7446"/>
              </a:cxn>
              <a:cxn ang="0">
                <a:pos x="connsiteX7447" y="connsiteY7447"/>
              </a:cxn>
              <a:cxn ang="0">
                <a:pos x="connsiteX7448" y="connsiteY7448"/>
              </a:cxn>
              <a:cxn ang="0">
                <a:pos x="connsiteX7449" y="connsiteY7449"/>
              </a:cxn>
              <a:cxn ang="0">
                <a:pos x="connsiteX7450" y="connsiteY7450"/>
              </a:cxn>
              <a:cxn ang="0">
                <a:pos x="connsiteX7451" y="connsiteY7451"/>
              </a:cxn>
              <a:cxn ang="0">
                <a:pos x="connsiteX7452" y="connsiteY7452"/>
              </a:cxn>
              <a:cxn ang="0">
                <a:pos x="connsiteX7453" y="connsiteY7453"/>
              </a:cxn>
              <a:cxn ang="0">
                <a:pos x="connsiteX7454" y="connsiteY7454"/>
              </a:cxn>
              <a:cxn ang="0">
                <a:pos x="connsiteX7455" y="connsiteY7455"/>
              </a:cxn>
              <a:cxn ang="0">
                <a:pos x="connsiteX7456" y="connsiteY7456"/>
              </a:cxn>
              <a:cxn ang="0">
                <a:pos x="connsiteX7457" y="connsiteY7457"/>
              </a:cxn>
              <a:cxn ang="0">
                <a:pos x="connsiteX7458" y="connsiteY7458"/>
              </a:cxn>
              <a:cxn ang="0">
                <a:pos x="connsiteX7459" y="connsiteY7459"/>
              </a:cxn>
              <a:cxn ang="0">
                <a:pos x="connsiteX7460" y="connsiteY7460"/>
              </a:cxn>
              <a:cxn ang="0">
                <a:pos x="connsiteX7461" y="connsiteY7461"/>
              </a:cxn>
              <a:cxn ang="0">
                <a:pos x="connsiteX7462" y="connsiteY7462"/>
              </a:cxn>
              <a:cxn ang="0">
                <a:pos x="connsiteX7463" y="connsiteY7463"/>
              </a:cxn>
              <a:cxn ang="0">
                <a:pos x="connsiteX7464" y="connsiteY7464"/>
              </a:cxn>
              <a:cxn ang="0">
                <a:pos x="connsiteX7465" y="connsiteY7465"/>
              </a:cxn>
              <a:cxn ang="0">
                <a:pos x="connsiteX7466" y="connsiteY7466"/>
              </a:cxn>
              <a:cxn ang="0">
                <a:pos x="connsiteX7467" y="connsiteY7467"/>
              </a:cxn>
              <a:cxn ang="0">
                <a:pos x="connsiteX7468" y="connsiteY7468"/>
              </a:cxn>
              <a:cxn ang="0">
                <a:pos x="connsiteX7469" y="connsiteY7469"/>
              </a:cxn>
              <a:cxn ang="0">
                <a:pos x="connsiteX7470" y="connsiteY7470"/>
              </a:cxn>
              <a:cxn ang="0">
                <a:pos x="connsiteX7471" y="connsiteY7471"/>
              </a:cxn>
              <a:cxn ang="0">
                <a:pos x="connsiteX7472" y="connsiteY7472"/>
              </a:cxn>
              <a:cxn ang="0">
                <a:pos x="connsiteX7473" y="connsiteY7473"/>
              </a:cxn>
              <a:cxn ang="0">
                <a:pos x="connsiteX7474" y="connsiteY7474"/>
              </a:cxn>
              <a:cxn ang="0">
                <a:pos x="connsiteX7475" y="connsiteY7475"/>
              </a:cxn>
              <a:cxn ang="0">
                <a:pos x="connsiteX7476" y="connsiteY7476"/>
              </a:cxn>
              <a:cxn ang="0">
                <a:pos x="connsiteX7477" y="connsiteY7477"/>
              </a:cxn>
              <a:cxn ang="0">
                <a:pos x="connsiteX7478" y="connsiteY7478"/>
              </a:cxn>
              <a:cxn ang="0">
                <a:pos x="connsiteX7479" y="connsiteY7479"/>
              </a:cxn>
              <a:cxn ang="0">
                <a:pos x="connsiteX7480" y="connsiteY7480"/>
              </a:cxn>
              <a:cxn ang="0">
                <a:pos x="connsiteX7481" y="connsiteY7481"/>
              </a:cxn>
              <a:cxn ang="0">
                <a:pos x="connsiteX7482" y="connsiteY7482"/>
              </a:cxn>
              <a:cxn ang="0">
                <a:pos x="connsiteX7483" y="connsiteY7483"/>
              </a:cxn>
              <a:cxn ang="0">
                <a:pos x="connsiteX7484" y="connsiteY7484"/>
              </a:cxn>
              <a:cxn ang="0">
                <a:pos x="connsiteX7485" y="connsiteY7485"/>
              </a:cxn>
              <a:cxn ang="0">
                <a:pos x="connsiteX7486" y="connsiteY7486"/>
              </a:cxn>
              <a:cxn ang="0">
                <a:pos x="connsiteX7487" y="connsiteY7487"/>
              </a:cxn>
              <a:cxn ang="0">
                <a:pos x="connsiteX7488" y="connsiteY7488"/>
              </a:cxn>
              <a:cxn ang="0">
                <a:pos x="connsiteX7489" y="connsiteY7489"/>
              </a:cxn>
              <a:cxn ang="0">
                <a:pos x="connsiteX7490" y="connsiteY7490"/>
              </a:cxn>
              <a:cxn ang="0">
                <a:pos x="connsiteX7491" y="connsiteY7491"/>
              </a:cxn>
              <a:cxn ang="0">
                <a:pos x="connsiteX7492" y="connsiteY7492"/>
              </a:cxn>
              <a:cxn ang="0">
                <a:pos x="connsiteX7493" y="connsiteY7493"/>
              </a:cxn>
              <a:cxn ang="0">
                <a:pos x="connsiteX7494" y="connsiteY7494"/>
              </a:cxn>
              <a:cxn ang="0">
                <a:pos x="connsiteX7495" y="connsiteY7495"/>
              </a:cxn>
              <a:cxn ang="0">
                <a:pos x="connsiteX7496" y="connsiteY7496"/>
              </a:cxn>
              <a:cxn ang="0">
                <a:pos x="connsiteX7497" y="connsiteY7497"/>
              </a:cxn>
              <a:cxn ang="0">
                <a:pos x="connsiteX7498" y="connsiteY7498"/>
              </a:cxn>
              <a:cxn ang="0">
                <a:pos x="connsiteX7499" y="connsiteY7499"/>
              </a:cxn>
              <a:cxn ang="0">
                <a:pos x="connsiteX7500" y="connsiteY7500"/>
              </a:cxn>
              <a:cxn ang="0">
                <a:pos x="connsiteX7501" y="connsiteY7501"/>
              </a:cxn>
              <a:cxn ang="0">
                <a:pos x="connsiteX7502" y="connsiteY7502"/>
              </a:cxn>
              <a:cxn ang="0">
                <a:pos x="connsiteX7503" y="connsiteY7503"/>
              </a:cxn>
              <a:cxn ang="0">
                <a:pos x="connsiteX7504" y="connsiteY7504"/>
              </a:cxn>
              <a:cxn ang="0">
                <a:pos x="connsiteX7505" y="connsiteY7505"/>
              </a:cxn>
              <a:cxn ang="0">
                <a:pos x="connsiteX7506" y="connsiteY7506"/>
              </a:cxn>
              <a:cxn ang="0">
                <a:pos x="connsiteX7507" y="connsiteY7507"/>
              </a:cxn>
              <a:cxn ang="0">
                <a:pos x="connsiteX7508" y="connsiteY7508"/>
              </a:cxn>
              <a:cxn ang="0">
                <a:pos x="connsiteX7509" y="connsiteY7509"/>
              </a:cxn>
              <a:cxn ang="0">
                <a:pos x="connsiteX7510" y="connsiteY7510"/>
              </a:cxn>
              <a:cxn ang="0">
                <a:pos x="connsiteX7511" y="connsiteY7511"/>
              </a:cxn>
              <a:cxn ang="0">
                <a:pos x="connsiteX7512" y="connsiteY7512"/>
              </a:cxn>
              <a:cxn ang="0">
                <a:pos x="connsiteX7513" y="connsiteY7513"/>
              </a:cxn>
              <a:cxn ang="0">
                <a:pos x="connsiteX7514" y="connsiteY7514"/>
              </a:cxn>
              <a:cxn ang="0">
                <a:pos x="connsiteX7515" y="connsiteY7515"/>
              </a:cxn>
              <a:cxn ang="0">
                <a:pos x="connsiteX7516" y="connsiteY7516"/>
              </a:cxn>
              <a:cxn ang="0">
                <a:pos x="connsiteX7517" y="connsiteY7517"/>
              </a:cxn>
              <a:cxn ang="0">
                <a:pos x="connsiteX7518" y="connsiteY7518"/>
              </a:cxn>
              <a:cxn ang="0">
                <a:pos x="connsiteX7519" y="connsiteY7519"/>
              </a:cxn>
              <a:cxn ang="0">
                <a:pos x="connsiteX7520" y="connsiteY7520"/>
              </a:cxn>
              <a:cxn ang="0">
                <a:pos x="connsiteX7521" y="connsiteY7521"/>
              </a:cxn>
              <a:cxn ang="0">
                <a:pos x="connsiteX7522" y="connsiteY7522"/>
              </a:cxn>
              <a:cxn ang="0">
                <a:pos x="connsiteX7523" y="connsiteY7523"/>
              </a:cxn>
              <a:cxn ang="0">
                <a:pos x="connsiteX7524" y="connsiteY7524"/>
              </a:cxn>
              <a:cxn ang="0">
                <a:pos x="connsiteX7525" y="connsiteY7525"/>
              </a:cxn>
              <a:cxn ang="0">
                <a:pos x="connsiteX7526" y="connsiteY7526"/>
              </a:cxn>
              <a:cxn ang="0">
                <a:pos x="connsiteX7527" y="connsiteY7527"/>
              </a:cxn>
              <a:cxn ang="0">
                <a:pos x="connsiteX7528" y="connsiteY7528"/>
              </a:cxn>
              <a:cxn ang="0">
                <a:pos x="connsiteX7529" y="connsiteY7529"/>
              </a:cxn>
              <a:cxn ang="0">
                <a:pos x="connsiteX7530" y="connsiteY7530"/>
              </a:cxn>
              <a:cxn ang="0">
                <a:pos x="connsiteX7531" y="connsiteY7531"/>
              </a:cxn>
              <a:cxn ang="0">
                <a:pos x="connsiteX7532" y="connsiteY7532"/>
              </a:cxn>
              <a:cxn ang="0">
                <a:pos x="connsiteX7533" y="connsiteY7533"/>
              </a:cxn>
              <a:cxn ang="0">
                <a:pos x="connsiteX7534" y="connsiteY7534"/>
              </a:cxn>
              <a:cxn ang="0">
                <a:pos x="connsiteX7535" y="connsiteY7535"/>
              </a:cxn>
              <a:cxn ang="0">
                <a:pos x="connsiteX7536" y="connsiteY7536"/>
              </a:cxn>
              <a:cxn ang="0">
                <a:pos x="connsiteX7537" y="connsiteY7537"/>
              </a:cxn>
              <a:cxn ang="0">
                <a:pos x="connsiteX7538" y="connsiteY7538"/>
              </a:cxn>
              <a:cxn ang="0">
                <a:pos x="connsiteX7539" y="connsiteY7539"/>
              </a:cxn>
              <a:cxn ang="0">
                <a:pos x="connsiteX7540" y="connsiteY7540"/>
              </a:cxn>
              <a:cxn ang="0">
                <a:pos x="connsiteX7541" y="connsiteY7541"/>
              </a:cxn>
              <a:cxn ang="0">
                <a:pos x="connsiteX7542" y="connsiteY7542"/>
              </a:cxn>
              <a:cxn ang="0">
                <a:pos x="connsiteX7543" y="connsiteY7543"/>
              </a:cxn>
              <a:cxn ang="0">
                <a:pos x="connsiteX7544" y="connsiteY7544"/>
              </a:cxn>
              <a:cxn ang="0">
                <a:pos x="connsiteX7545" y="connsiteY7545"/>
              </a:cxn>
              <a:cxn ang="0">
                <a:pos x="connsiteX7546" y="connsiteY7546"/>
              </a:cxn>
              <a:cxn ang="0">
                <a:pos x="connsiteX7547" y="connsiteY7547"/>
              </a:cxn>
              <a:cxn ang="0">
                <a:pos x="connsiteX7548" y="connsiteY7548"/>
              </a:cxn>
              <a:cxn ang="0">
                <a:pos x="connsiteX7549" y="connsiteY7549"/>
              </a:cxn>
              <a:cxn ang="0">
                <a:pos x="connsiteX7550" y="connsiteY7550"/>
              </a:cxn>
              <a:cxn ang="0">
                <a:pos x="connsiteX7551" y="connsiteY7551"/>
              </a:cxn>
              <a:cxn ang="0">
                <a:pos x="connsiteX7552" y="connsiteY7552"/>
              </a:cxn>
              <a:cxn ang="0">
                <a:pos x="connsiteX7553" y="connsiteY7553"/>
              </a:cxn>
              <a:cxn ang="0">
                <a:pos x="connsiteX7554" y="connsiteY7554"/>
              </a:cxn>
              <a:cxn ang="0">
                <a:pos x="connsiteX7555" y="connsiteY7555"/>
              </a:cxn>
              <a:cxn ang="0">
                <a:pos x="connsiteX7556" y="connsiteY7556"/>
              </a:cxn>
              <a:cxn ang="0">
                <a:pos x="connsiteX7557" y="connsiteY7557"/>
              </a:cxn>
              <a:cxn ang="0">
                <a:pos x="connsiteX7558" y="connsiteY7558"/>
              </a:cxn>
              <a:cxn ang="0">
                <a:pos x="connsiteX7559" y="connsiteY7559"/>
              </a:cxn>
              <a:cxn ang="0">
                <a:pos x="connsiteX7560" y="connsiteY7560"/>
              </a:cxn>
              <a:cxn ang="0">
                <a:pos x="connsiteX7561" y="connsiteY7561"/>
              </a:cxn>
              <a:cxn ang="0">
                <a:pos x="connsiteX7562" y="connsiteY7562"/>
              </a:cxn>
              <a:cxn ang="0">
                <a:pos x="connsiteX7563" y="connsiteY7563"/>
              </a:cxn>
              <a:cxn ang="0">
                <a:pos x="connsiteX7564" y="connsiteY7564"/>
              </a:cxn>
              <a:cxn ang="0">
                <a:pos x="connsiteX7565" y="connsiteY7565"/>
              </a:cxn>
              <a:cxn ang="0">
                <a:pos x="connsiteX7566" y="connsiteY7566"/>
              </a:cxn>
              <a:cxn ang="0">
                <a:pos x="connsiteX7567" y="connsiteY7567"/>
              </a:cxn>
              <a:cxn ang="0">
                <a:pos x="connsiteX7568" y="connsiteY7568"/>
              </a:cxn>
              <a:cxn ang="0">
                <a:pos x="connsiteX7569" y="connsiteY7569"/>
              </a:cxn>
              <a:cxn ang="0">
                <a:pos x="connsiteX7570" y="connsiteY7570"/>
              </a:cxn>
              <a:cxn ang="0">
                <a:pos x="connsiteX7571" y="connsiteY7571"/>
              </a:cxn>
              <a:cxn ang="0">
                <a:pos x="connsiteX7572" y="connsiteY7572"/>
              </a:cxn>
              <a:cxn ang="0">
                <a:pos x="connsiteX7573" y="connsiteY7573"/>
              </a:cxn>
              <a:cxn ang="0">
                <a:pos x="connsiteX7574" y="connsiteY7574"/>
              </a:cxn>
              <a:cxn ang="0">
                <a:pos x="connsiteX7575" y="connsiteY7575"/>
              </a:cxn>
              <a:cxn ang="0">
                <a:pos x="connsiteX7576" y="connsiteY7576"/>
              </a:cxn>
              <a:cxn ang="0">
                <a:pos x="connsiteX7577" y="connsiteY7577"/>
              </a:cxn>
              <a:cxn ang="0">
                <a:pos x="connsiteX7578" y="connsiteY7578"/>
              </a:cxn>
              <a:cxn ang="0">
                <a:pos x="connsiteX7579" y="connsiteY7579"/>
              </a:cxn>
              <a:cxn ang="0">
                <a:pos x="connsiteX7580" y="connsiteY7580"/>
              </a:cxn>
              <a:cxn ang="0">
                <a:pos x="connsiteX7581" y="connsiteY7581"/>
              </a:cxn>
              <a:cxn ang="0">
                <a:pos x="connsiteX7582" y="connsiteY7582"/>
              </a:cxn>
              <a:cxn ang="0">
                <a:pos x="connsiteX7583" y="connsiteY7583"/>
              </a:cxn>
              <a:cxn ang="0">
                <a:pos x="connsiteX7584" y="connsiteY7584"/>
              </a:cxn>
              <a:cxn ang="0">
                <a:pos x="connsiteX7585" y="connsiteY7585"/>
              </a:cxn>
              <a:cxn ang="0">
                <a:pos x="connsiteX7586" y="connsiteY7586"/>
              </a:cxn>
              <a:cxn ang="0">
                <a:pos x="connsiteX7587" y="connsiteY7587"/>
              </a:cxn>
              <a:cxn ang="0">
                <a:pos x="connsiteX7588" y="connsiteY7588"/>
              </a:cxn>
              <a:cxn ang="0">
                <a:pos x="connsiteX7589" y="connsiteY7589"/>
              </a:cxn>
              <a:cxn ang="0">
                <a:pos x="connsiteX7590" y="connsiteY7590"/>
              </a:cxn>
              <a:cxn ang="0">
                <a:pos x="connsiteX7591" y="connsiteY7591"/>
              </a:cxn>
              <a:cxn ang="0">
                <a:pos x="connsiteX7592" y="connsiteY7592"/>
              </a:cxn>
              <a:cxn ang="0">
                <a:pos x="connsiteX7593" y="connsiteY7593"/>
              </a:cxn>
              <a:cxn ang="0">
                <a:pos x="connsiteX7594" y="connsiteY7594"/>
              </a:cxn>
              <a:cxn ang="0">
                <a:pos x="connsiteX7595" y="connsiteY7595"/>
              </a:cxn>
              <a:cxn ang="0">
                <a:pos x="connsiteX7596" y="connsiteY7596"/>
              </a:cxn>
              <a:cxn ang="0">
                <a:pos x="connsiteX7597" y="connsiteY7597"/>
              </a:cxn>
              <a:cxn ang="0">
                <a:pos x="connsiteX7598" y="connsiteY7598"/>
              </a:cxn>
              <a:cxn ang="0">
                <a:pos x="connsiteX7599" y="connsiteY7599"/>
              </a:cxn>
              <a:cxn ang="0">
                <a:pos x="connsiteX7600" y="connsiteY7600"/>
              </a:cxn>
              <a:cxn ang="0">
                <a:pos x="connsiteX7601" y="connsiteY7601"/>
              </a:cxn>
              <a:cxn ang="0">
                <a:pos x="connsiteX7602" y="connsiteY7602"/>
              </a:cxn>
              <a:cxn ang="0">
                <a:pos x="connsiteX7603" y="connsiteY7603"/>
              </a:cxn>
              <a:cxn ang="0">
                <a:pos x="connsiteX7604" y="connsiteY7604"/>
              </a:cxn>
              <a:cxn ang="0">
                <a:pos x="connsiteX7605" y="connsiteY7605"/>
              </a:cxn>
              <a:cxn ang="0">
                <a:pos x="connsiteX7606" y="connsiteY7606"/>
              </a:cxn>
              <a:cxn ang="0">
                <a:pos x="connsiteX7607" y="connsiteY7607"/>
              </a:cxn>
              <a:cxn ang="0">
                <a:pos x="connsiteX7608" y="connsiteY7608"/>
              </a:cxn>
              <a:cxn ang="0">
                <a:pos x="connsiteX7609" y="connsiteY7609"/>
              </a:cxn>
              <a:cxn ang="0">
                <a:pos x="connsiteX7610" y="connsiteY7610"/>
              </a:cxn>
              <a:cxn ang="0">
                <a:pos x="connsiteX7611" y="connsiteY7611"/>
              </a:cxn>
              <a:cxn ang="0">
                <a:pos x="connsiteX7612" y="connsiteY7612"/>
              </a:cxn>
              <a:cxn ang="0">
                <a:pos x="connsiteX7613" y="connsiteY7613"/>
              </a:cxn>
              <a:cxn ang="0">
                <a:pos x="connsiteX7614" y="connsiteY7614"/>
              </a:cxn>
              <a:cxn ang="0">
                <a:pos x="connsiteX7615" y="connsiteY7615"/>
              </a:cxn>
              <a:cxn ang="0">
                <a:pos x="connsiteX7616" y="connsiteY7616"/>
              </a:cxn>
              <a:cxn ang="0">
                <a:pos x="connsiteX7617" y="connsiteY7617"/>
              </a:cxn>
              <a:cxn ang="0">
                <a:pos x="connsiteX7618" y="connsiteY7618"/>
              </a:cxn>
              <a:cxn ang="0">
                <a:pos x="connsiteX7619" y="connsiteY7619"/>
              </a:cxn>
              <a:cxn ang="0">
                <a:pos x="connsiteX7620" y="connsiteY7620"/>
              </a:cxn>
              <a:cxn ang="0">
                <a:pos x="connsiteX7621" y="connsiteY7621"/>
              </a:cxn>
              <a:cxn ang="0">
                <a:pos x="connsiteX7622" y="connsiteY7622"/>
              </a:cxn>
              <a:cxn ang="0">
                <a:pos x="connsiteX7623" y="connsiteY7623"/>
              </a:cxn>
              <a:cxn ang="0">
                <a:pos x="connsiteX7624" y="connsiteY7624"/>
              </a:cxn>
              <a:cxn ang="0">
                <a:pos x="connsiteX7625" y="connsiteY7625"/>
              </a:cxn>
              <a:cxn ang="0">
                <a:pos x="connsiteX7626" y="connsiteY7626"/>
              </a:cxn>
              <a:cxn ang="0">
                <a:pos x="connsiteX7627" y="connsiteY7627"/>
              </a:cxn>
              <a:cxn ang="0">
                <a:pos x="connsiteX7628" y="connsiteY7628"/>
              </a:cxn>
              <a:cxn ang="0">
                <a:pos x="connsiteX7629" y="connsiteY7629"/>
              </a:cxn>
              <a:cxn ang="0">
                <a:pos x="connsiteX7630" y="connsiteY7630"/>
              </a:cxn>
              <a:cxn ang="0">
                <a:pos x="connsiteX7631" y="connsiteY7631"/>
              </a:cxn>
              <a:cxn ang="0">
                <a:pos x="connsiteX7632" y="connsiteY7632"/>
              </a:cxn>
              <a:cxn ang="0">
                <a:pos x="connsiteX7633" y="connsiteY7633"/>
              </a:cxn>
              <a:cxn ang="0">
                <a:pos x="connsiteX7634" y="connsiteY7634"/>
              </a:cxn>
              <a:cxn ang="0">
                <a:pos x="connsiteX7635" y="connsiteY7635"/>
              </a:cxn>
              <a:cxn ang="0">
                <a:pos x="connsiteX7636" y="connsiteY7636"/>
              </a:cxn>
              <a:cxn ang="0">
                <a:pos x="connsiteX7637" y="connsiteY7637"/>
              </a:cxn>
              <a:cxn ang="0">
                <a:pos x="connsiteX7638" y="connsiteY7638"/>
              </a:cxn>
              <a:cxn ang="0">
                <a:pos x="connsiteX7639" y="connsiteY7639"/>
              </a:cxn>
              <a:cxn ang="0">
                <a:pos x="connsiteX7640" y="connsiteY7640"/>
              </a:cxn>
              <a:cxn ang="0">
                <a:pos x="connsiteX7641" y="connsiteY7641"/>
              </a:cxn>
              <a:cxn ang="0">
                <a:pos x="connsiteX7642" y="connsiteY7642"/>
              </a:cxn>
              <a:cxn ang="0">
                <a:pos x="connsiteX7643" y="connsiteY7643"/>
              </a:cxn>
              <a:cxn ang="0">
                <a:pos x="connsiteX7644" y="connsiteY7644"/>
              </a:cxn>
              <a:cxn ang="0">
                <a:pos x="connsiteX7645" y="connsiteY7645"/>
              </a:cxn>
              <a:cxn ang="0">
                <a:pos x="connsiteX7646" y="connsiteY7646"/>
              </a:cxn>
              <a:cxn ang="0">
                <a:pos x="connsiteX7647" y="connsiteY7647"/>
              </a:cxn>
              <a:cxn ang="0">
                <a:pos x="connsiteX7648" y="connsiteY7648"/>
              </a:cxn>
              <a:cxn ang="0">
                <a:pos x="connsiteX7649" y="connsiteY7649"/>
              </a:cxn>
              <a:cxn ang="0">
                <a:pos x="connsiteX7650" y="connsiteY7650"/>
              </a:cxn>
              <a:cxn ang="0">
                <a:pos x="connsiteX7651" y="connsiteY7651"/>
              </a:cxn>
              <a:cxn ang="0">
                <a:pos x="connsiteX7652" y="connsiteY7652"/>
              </a:cxn>
              <a:cxn ang="0">
                <a:pos x="connsiteX7653" y="connsiteY7653"/>
              </a:cxn>
              <a:cxn ang="0">
                <a:pos x="connsiteX7654" y="connsiteY7654"/>
              </a:cxn>
              <a:cxn ang="0">
                <a:pos x="connsiteX7655" y="connsiteY7655"/>
              </a:cxn>
              <a:cxn ang="0">
                <a:pos x="connsiteX7656" y="connsiteY7656"/>
              </a:cxn>
              <a:cxn ang="0">
                <a:pos x="connsiteX7657" y="connsiteY7657"/>
              </a:cxn>
              <a:cxn ang="0">
                <a:pos x="connsiteX7658" y="connsiteY7658"/>
              </a:cxn>
              <a:cxn ang="0">
                <a:pos x="connsiteX7659" y="connsiteY7659"/>
              </a:cxn>
              <a:cxn ang="0">
                <a:pos x="connsiteX7660" y="connsiteY7660"/>
              </a:cxn>
              <a:cxn ang="0">
                <a:pos x="connsiteX7661" y="connsiteY7661"/>
              </a:cxn>
              <a:cxn ang="0">
                <a:pos x="connsiteX7662" y="connsiteY7662"/>
              </a:cxn>
              <a:cxn ang="0">
                <a:pos x="connsiteX7663" y="connsiteY7663"/>
              </a:cxn>
              <a:cxn ang="0">
                <a:pos x="connsiteX7664" y="connsiteY7664"/>
              </a:cxn>
              <a:cxn ang="0">
                <a:pos x="connsiteX7665" y="connsiteY7665"/>
              </a:cxn>
              <a:cxn ang="0">
                <a:pos x="connsiteX7666" y="connsiteY7666"/>
              </a:cxn>
              <a:cxn ang="0">
                <a:pos x="connsiteX7667" y="connsiteY7667"/>
              </a:cxn>
              <a:cxn ang="0">
                <a:pos x="connsiteX7668" y="connsiteY7668"/>
              </a:cxn>
              <a:cxn ang="0">
                <a:pos x="connsiteX7669" y="connsiteY7669"/>
              </a:cxn>
              <a:cxn ang="0">
                <a:pos x="connsiteX7670" y="connsiteY7670"/>
              </a:cxn>
              <a:cxn ang="0">
                <a:pos x="connsiteX7671" y="connsiteY7671"/>
              </a:cxn>
              <a:cxn ang="0">
                <a:pos x="connsiteX7672" y="connsiteY7672"/>
              </a:cxn>
              <a:cxn ang="0">
                <a:pos x="connsiteX7673" y="connsiteY7673"/>
              </a:cxn>
              <a:cxn ang="0">
                <a:pos x="connsiteX7674" y="connsiteY7674"/>
              </a:cxn>
              <a:cxn ang="0">
                <a:pos x="connsiteX7675" y="connsiteY7675"/>
              </a:cxn>
              <a:cxn ang="0">
                <a:pos x="connsiteX7676" y="connsiteY7676"/>
              </a:cxn>
              <a:cxn ang="0">
                <a:pos x="connsiteX7677" y="connsiteY7677"/>
              </a:cxn>
              <a:cxn ang="0">
                <a:pos x="connsiteX7678" y="connsiteY7678"/>
              </a:cxn>
              <a:cxn ang="0">
                <a:pos x="connsiteX7679" y="connsiteY7679"/>
              </a:cxn>
              <a:cxn ang="0">
                <a:pos x="connsiteX7680" y="connsiteY7680"/>
              </a:cxn>
              <a:cxn ang="0">
                <a:pos x="connsiteX7681" y="connsiteY7681"/>
              </a:cxn>
              <a:cxn ang="0">
                <a:pos x="connsiteX7682" y="connsiteY7682"/>
              </a:cxn>
              <a:cxn ang="0">
                <a:pos x="connsiteX7683" y="connsiteY7683"/>
              </a:cxn>
              <a:cxn ang="0">
                <a:pos x="connsiteX7684" y="connsiteY7684"/>
              </a:cxn>
              <a:cxn ang="0">
                <a:pos x="connsiteX7685" y="connsiteY7685"/>
              </a:cxn>
              <a:cxn ang="0">
                <a:pos x="connsiteX7686" y="connsiteY7686"/>
              </a:cxn>
              <a:cxn ang="0">
                <a:pos x="connsiteX7687" y="connsiteY7687"/>
              </a:cxn>
              <a:cxn ang="0">
                <a:pos x="connsiteX7688" y="connsiteY7688"/>
              </a:cxn>
              <a:cxn ang="0">
                <a:pos x="connsiteX7689" y="connsiteY7689"/>
              </a:cxn>
              <a:cxn ang="0">
                <a:pos x="connsiteX7690" y="connsiteY7690"/>
              </a:cxn>
              <a:cxn ang="0">
                <a:pos x="connsiteX7691" y="connsiteY7691"/>
              </a:cxn>
              <a:cxn ang="0">
                <a:pos x="connsiteX7692" y="connsiteY7692"/>
              </a:cxn>
              <a:cxn ang="0">
                <a:pos x="connsiteX7693" y="connsiteY7693"/>
              </a:cxn>
              <a:cxn ang="0">
                <a:pos x="connsiteX7694" y="connsiteY7694"/>
              </a:cxn>
              <a:cxn ang="0">
                <a:pos x="connsiteX7695" y="connsiteY7695"/>
              </a:cxn>
              <a:cxn ang="0">
                <a:pos x="connsiteX7696" y="connsiteY7696"/>
              </a:cxn>
              <a:cxn ang="0">
                <a:pos x="connsiteX7697" y="connsiteY7697"/>
              </a:cxn>
              <a:cxn ang="0">
                <a:pos x="connsiteX7698" y="connsiteY7698"/>
              </a:cxn>
              <a:cxn ang="0">
                <a:pos x="connsiteX7699" y="connsiteY7699"/>
              </a:cxn>
              <a:cxn ang="0">
                <a:pos x="connsiteX7700" y="connsiteY7700"/>
              </a:cxn>
              <a:cxn ang="0">
                <a:pos x="connsiteX7701" y="connsiteY7701"/>
              </a:cxn>
              <a:cxn ang="0">
                <a:pos x="connsiteX7702" y="connsiteY7702"/>
              </a:cxn>
              <a:cxn ang="0">
                <a:pos x="connsiteX7703" y="connsiteY7703"/>
              </a:cxn>
              <a:cxn ang="0">
                <a:pos x="connsiteX7704" y="connsiteY7704"/>
              </a:cxn>
              <a:cxn ang="0">
                <a:pos x="connsiteX7705" y="connsiteY7705"/>
              </a:cxn>
              <a:cxn ang="0">
                <a:pos x="connsiteX7706" y="connsiteY7706"/>
              </a:cxn>
              <a:cxn ang="0">
                <a:pos x="connsiteX7707" y="connsiteY7707"/>
              </a:cxn>
              <a:cxn ang="0">
                <a:pos x="connsiteX7708" y="connsiteY7708"/>
              </a:cxn>
              <a:cxn ang="0">
                <a:pos x="connsiteX7709" y="connsiteY7709"/>
              </a:cxn>
              <a:cxn ang="0">
                <a:pos x="connsiteX7710" y="connsiteY7710"/>
              </a:cxn>
              <a:cxn ang="0">
                <a:pos x="connsiteX7711" y="connsiteY7711"/>
              </a:cxn>
              <a:cxn ang="0">
                <a:pos x="connsiteX7712" y="connsiteY7712"/>
              </a:cxn>
              <a:cxn ang="0">
                <a:pos x="connsiteX7713" y="connsiteY7713"/>
              </a:cxn>
              <a:cxn ang="0">
                <a:pos x="connsiteX7714" y="connsiteY7714"/>
              </a:cxn>
              <a:cxn ang="0">
                <a:pos x="connsiteX7715" y="connsiteY7715"/>
              </a:cxn>
              <a:cxn ang="0">
                <a:pos x="connsiteX7716" y="connsiteY7716"/>
              </a:cxn>
              <a:cxn ang="0">
                <a:pos x="connsiteX7717" y="connsiteY7717"/>
              </a:cxn>
              <a:cxn ang="0">
                <a:pos x="connsiteX7718" y="connsiteY7718"/>
              </a:cxn>
              <a:cxn ang="0">
                <a:pos x="connsiteX7719" y="connsiteY7719"/>
              </a:cxn>
              <a:cxn ang="0">
                <a:pos x="connsiteX7720" y="connsiteY7720"/>
              </a:cxn>
              <a:cxn ang="0">
                <a:pos x="connsiteX7721" y="connsiteY7721"/>
              </a:cxn>
              <a:cxn ang="0">
                <a:pos x="connsiteX7722" y="connsiteY7722"/>
              </a:cxn>
              <a:cxn ang="0">
                <a:pos x="connsiteX7723" y="connsiteY7723"/>
              </a:cxn>
              <a:cxn ang="0">
                <a:pos x="connsiteX7724" y="connsiteY7724"/>
              </a:cxn>
              <a:cxn ang="0">
                <a:pos x="connsiteX7725" y="connsiteY7725"/>
              </a:cxn>
              <a:cxn ang="0">
                <a:pos x="connsiteX7726" y="connsiteY7726"/>
              </a:cxn>
              <a:cxn ang="0">
                <a:pos x="connsiteX7727" y="connsiteY7727"/>
              </a:cxn>
              <a:cxn ang="0">
                <a:pos x="connsiteX7728" y="connsiteY7728"/>
              </a:cxn>
              <a:cxn ang="0">
                <a:pos x="connsiteX7729" y="connsiteY7729"/>
              </a:cxn>
              <a:cxn ang="0">
                <a:pos x="connsiteX7730" y="connsiteY7730"/>
              </a:cxn>
              <a:cxn ang="0">
                <a:pos x="connsiteX7731" y="connsiteY7731"/>
              </a:cxn>
              <a:cxn ang="0">
                <a:pos x="connsiteX7732" y="connsiteY7732"/>
              </a:cxn>
              <a:cxn ang="0">
                <a:pos x="connsiteX7733" y="connsiteY7733"/>
              </a:cxn>
              <a:cxn ang="0">
                <a:pos x="connsiteX7734" y="connsiteY7734"/>
              </a:cxn>
              <a:cxn ang="0">
                <a:pos x="connsiteX7735" y="connsiteY7735"/>
              </a:cxn>
              <a:cxn ang="0">
                <a:pos x="connsiteX7736" y="connsiteY7736"/>
              </a:cxn>
              <a:cxn ang="0">
                <a:pos x="connsiteX7737" y="connsiteY7737"/>
              </a:cxn>
              <a:cxn ang="0">
                <a:pos x="connsiteX7738" y="connsiteY7738"/>
              </a:cxn>
              <a:cxn ang="0">
                <a:pos x="connsiteX7739" y="connsiteY7739"/>
              </a:cxn>
              <a:cxn ang="0">
                <a:pos x="connsiteX7740" y="connsiteY7740"/>
              </a:cxn>
              <a:cxn ang="0">
                <a:pos x="connsiteX7741" y="connsiteY7741"/>
              </a:cxn>
              <a:cxn ang="0">
                <a:pos x="connsiteX7742" y="connsiteY7742"/>
              </a:cxn>
              <a:cxn ang="0">
                <a:pos x="connsiteX7743" y="connsiteY7743"/>
              </a:cxn>
              <a:cxn ang="0">
                <a:pos x="connsiteX7744" y="connsiteY7744"/>
              </a:cxn>
              <a:cxn ang="0">
                <a:pos x="connsiteX7745" y="connsiteY7745"/>
              </a:cxn>
              <a:cxn ang="0">
                <a:pos x="connsiteX7746" y="connsiteY7746"/>
              </a:cxn>
              <a:cxn ang="0">
                <a:pos x="connsiteX7747" y="connsiteY7747"/>
              </a:cxn>
              <a:cxn ang="0">
                <a:pos x="connsiteX7748" y="connsiteY7748"/>
              </a:cxn>
              <a:cxn ang="0">
                <a:pos x="connsiteX7749" y="connsiteY7749"/>
              </a:cxn>
              <a:cxn ang="0">
                <a:pos x="connsiteX7750" y="connsiteY7750"/>
              </a:cxn>
              <a:cxn ang="0">
                <a:pos x="connsiteX7751" y="connsiteY7751"/>
              </a:cxn>
              <a:cxn ang="0">
                <a:pos x="connsiteX7752" y="connsiteY7752"/>
              </a:cxn>
              <a:cxn ang="0">
                <a:pos x="connsiteX7753" y="connsiteY7753"/>
              </a:cxn>
              <a:cxn ang="0">
                <a:pos x="connsiteX7754" y="connsiteY7754"/>
              </a:cxn>
              <a:cxn ang="0">
                <a:pos x="connsiteX7755" y="connsiteY7755"/>
              </a:cxn>
              <a:cxn ang="0">
                <a:pos x="connsiteX7756" y="connsiteY7756"/>
              </a:cxn>
              <a:cxn ang="0">
                <a:pos x="connsiteX7757" y="connsiteY7757"/>
              </a:cxn>
              <a:cxn ang="0">
                <a:pos x="connsiteX7758" y="connsiteY7758"/>
              </a:cxn>
              <a:cxn ang="0">
                <a:pos x="connsiteX7759" y="connsiteY7759"/>
              </a:cxn>
              <a:cxn ang="0">
                <a:pos x="connsiteX7760" y="connsiteY7760"/>
              </a:cxn>
              <a:cxn ang="0">
                <a:pos x="connsiteX7761" y="connsiteY7761"/>
              </a:cxn>
              <a:cxn ang="0">
                <a:pos x="connsiteX7762" y="connsiteY7762"/>
              </a:cxn>
              <a:cxn ang="0">
                <a:pos x="connsiteX7763" y="connsiteY7763"/>
              </a:cxn>
              <a:cxn ang="0">
                <a:pos x="connsiteX7764" y="connsiteY7764"/>
              </a:cxn>
              <a:cxn ang="0">
                <a:pos x="connsiteX7765" y="connsiteY7765"/>
              </a:cxn>
              <a:cxn ang="0">
                <a:pos x="connsiteX7766" y="connsiteY7766"/>
              </a:cxn>
              <a:cxn ang="0">
                <a:pos x="connsiteX7767" y="connsiteY7767"/>
              </a:cxn>
              <a:cxn ang="0">
                <a:pos x="connsiteX7768" y="connsiteY7768"/>
              </a:cxn>
              <a:cxn ang="0">
                <a:pos x="connsiteX7769" y="connsiteY7769"/>
              </a:cxn>
              <a:cxn ang="0">
                <a:pos x="connsiteX7770" y="connsiteY7770"/>
              </a:cxn>
              <a:cxn ang="0">
                <a:pos x="connsiteX7771" y="connsiteY7771"/>
              </a:cxn>
              <a:cxn ang="0">
                <a:pos x="connsiteX7772" y="connsiteY7772"/>
              </a:cxn>
              <a:cxn ang="0">
                <a:pos x="connsiteX7773" y="connsiteY7773"/>
              </a:cxn>
              <a:cxn ang="0">
                <a:pos x="connsiteX7774" y="connsiteY7774"/>
              </a:cxn>
              <a:cxn ang="0">
                <a:pos x="connsiteX7775" y="connsiteY7775"/>
              </a:cxn>
              <a:cxn ang="0">
                <a:pos x="connsiteX7776" y="connsiteY7776"/>
              </a:cxn>
              <a:cxn ang="0">
                <a:pos x="connsiteX7777" y="connsiteY7777"/>
              </a:cxn>
              <a:cxn ang="0">
                <a:pos x="connsiteX7778" y="connsiteY7778"/>
              </a:cxn>
              <a:cxn ang="0">
                <a:pos x="connsiteX7779" y="connsiteY7779"/>
              </a:cxn>
              <a:cxn ang="0">
                <a:pos x="connsiteX7780" y="connsiteY7780"/>
              </a:cxn>
              <a:cxn ang="0">
                <a:pos x="connsiteX7781" y="connsiteY7781"/>
              </a:cxn>
              <a:cxn ang="0">
                <a:pos x="connsiteX7782" y="connsiteY7782"/>
              </a:cxn>
              <a:cxn ang="0">
                <a:pos x="connsiteX7783" y="connsiteY7783"/>
              </a:cxn>
              <a:cxn ang="0">
                <a:pos x="connsiteX7784" y="connsiteY7784"/>
              </a:cxn>
              <a:cxn ang="0">
                <a:pos x="connsiteX7785" y="connsiteY7785"/>
              </a:cxn>
              <a:cxn ang="0">
                <a:pos x="connsiteX7786" y="connsiteY7786"/>
              </a:cxn>
              <a:cxn ang="0">
                <a:pos x="connsiteX7787" y="connsiteY7787"/>
              </a:cxn>
              <a:cxn ang="0">
                <a:pos x="connsiteX7788" y="connsiteY7788"/>
              </a:cxn>
              <a:cxn ang="0">
                <a:pos x="connsiteX7789" y="connsiteY7789"/>
              </a:cxn>
              <a:cxn ang="0">
                <a:pos x="connsiteX7790" y="connsiteY7790"/>
              </a:cxn>
              <a:cxn ang="0">
                <a:pos x="connsiteX7791" y="connsiteY7791"/>
              </a:cxn>
              <a:cxn ang="0">
                <a:pos x="connsiteX7792" y="connsiteY7792"/>
              </a:cxn>
              <a:cxn ang="0">
                <a:pos x="connsiteX7793" y="connsiteY7793"/>
              </a:cxn>
              <a:cxn ang="0">
                <a:pos x="connsiteX7794" y="connsiteY7794"/>
              </a:cxn>
              <a:cxn ang="0">
                <a:pos x="connsiteX7795" y="connsiteY7795"/>
              </a:cxn>
              <a:cxn ang="0">
                <a:pos x="connsiteX7796" y="connsiteY7796"/>
              </a:cxn>
              <a:cxn ang="0">
                <a:pos x="connsiteX7797" y="connsiteY7797"/>
              </a:cxn>
              <a:cxn ang="0">
                <a:pos x="connsiteX7798" y="connsiteY7798"/>
              </a:cxn>
              <a:cxn ang="0">
                <a:pos x="connsiteX7799" y="connsiteY7799"/>
              </a:cxn>
              <a:cxn ang="0">
                <a:pos x="connsiteX7800" y="connsiteY7800"/>
              </a:cxn>
              <a:cxn ang="0">
                <a:pos x="connsiteX7801" y="connsiteY7801"/>
              </a:cxn>
              <a:cxn ang="0">
                <a:pos x="connsiteX7802" y="connsiteY7802"/>
              </a:cxn>
              <a:cxn ang="0">
                <a:pos x="connsiteX7803" y="connsiteY7803"/>
              </a:cxn>
              <a:cxn ang="0">
                <a:pos x="connsiteX7804" y="connsiteY7804"/>
              </a:cxn>
              <a:cxn ang="0">
                <a:pos x="connsiteX7805" y="connsiteY7805"/>
              </a:cxn>
              <a:cxn ang="0">
                <a:pos x="connsiteX7806" y="connsiteY7806"/>
              </a:cxn>
              <a:cxn ang="0">
                <a:pos x="connsiteX7807" y="connsiteY7807"/>
              </a:cxn>
              <a:cxn ang="0">
                <a:pos x="connsiteX7808" y="connsiteY7808"/>
              </a:cxn>
              <a:cxn ang="0">
                <a:pos x="connsiteX7809" y="connsiteY7809"/>
              </a:cxn>
              <a:cxn ang="0">
                <a:pos x="connsiteX7810" y="connsiteY7810"/>
              </a:cxn>
              <a:cxn ang="0">
                <a:pos x="connsiteX7811" y="connsiteY7811"/>
              </a:cxn>
              <a:cxn ang="0">
                <a:pos x="connsiteX7812" y="connsiteY7812"/>
              </a:cxn>
              <a:cxn ang="0">
                <a:pos x="connsiteX7813" y="connsiteY7813"/>
              </a:cxn>
              <a:cxn ang="0">
                <a:pos x="connsiteX7814" y="connsiteY7814"/>
              </a:cxn>
              <a:cxn ang="0">
                <a:pos x="connsiteX7815" y="connsiteY7815"/>
              </a:cxn>
              <a:cxn ang="0">
                <a:pos x="connsiteX7816" y="connsiteY7816"/>
              </a:cxn>
              <a:cxn ang="0">
                <a:pos x="connsiteX7817" y="connsiteY7817"/>
              </a:cxn>
              <a:cxn ang="0">
                <a:pos x="connsiteX7818" y="connsiteY7818"/>
              </a:cxn>
              <a:cxn ang="0">
                <a:pos x="connsiteX7819" y="connsiteY7819"/>
              </a:cxn>
              <a:cxn ang="0">
                <a:pos x="connsiteX7820" y="connsiteY7820"/>
              </a:cxn>
              <a:cxn ang="0">
                <a:pos x="connsiteX7821" y="connsiteY7821"/>
              </a:cxn>
              <a:cxn ang="0">
                <a:pos x="connsiteX7822" y="connsiteY7822"/>
              </a:cxn>
              <a:cxn ang="0">
                <a:pos x="connsiteX7823" y="connsiteY7823"/>
              </a:cxn>
              <a:cxn ang="0">
                <a:pos x="connsiteX7824" y="connsiteY7824"/>
              </a:cxn>
              <a:cxn ang="0">
                <a:pos x="connsiteX7825" y="connsiteY7825"/>
              </a:cxn>
              <a:cxn ang="0">
                <a:pos x="connsiteX7826" y="connsiteY7826"/>
              </a:cxn>
              <a:cxn ang="0">
                <a:pos x="connsiteX7827" y="connsiteY7827"/>
              </a:cxn>
              <a:cxn ang="0">
                <a:pos x="connsiteX7828" y="connsiteY7828"/>
              </a:cxn>
              <a:cxn ang="0">
                <a:pos x="connsiteX7829" y="connsiteY7829"/>
              </a:cxn>
              <a:cxn ang="0">
                <a:pos x="connsiteX7830" y="connsiteY7830"/>
              </a:cxn>
              <a:cxn ang="0">
                <a:pos x="connsiteX7831" y="connsiteY7831"/>
              </a:cxn>
              <a:cxn ang="0">
                <a:pos x="connsiteX7832" y="connsiteY7832"/>
              </a:cxn>
              <a:cxn ang="0">
                <a:pos x="connsiteX7833" y="connsiteY7833"/>
              </a:cxn>
              <a:cxn ang="0">
                <a:pos x="connsiteX7834" y="connsiteY7834"/>
              </a:cxn>
              <a:cxn ang="0">
                <a:pos x="connsiteX7835" y="connsiteY7835"/>
              </a:cxn>
              <a:cxn ang="0">
                <a:pos x="connsiteX7836" y="connsiteY7836"/>
              </a:cxn>
              <a:cxn ang="0">
                <a:pos x="connsiteX7837" y="connsiteY7837"/>
              </a:cxn>
              <a:cxn ang="0">
                <a:pos x="connsiteX7838" y="connsiteY7838"/>
              </a:cxn>
              <a:cxn ang="0">
                <a:pos x="connsiteX7839" y="connsiteY7839"/>
              </a:cxn>
              <a:cxn ang="0">
                <a:pos x="connsiteX7840" y="connsiteY7840"/>
              </a:cxn>
              <a:cxn ang="0">
                <a:pos x="connsiteX7841" y="connsiteY7841"/>
              </a:cxn>
              <a:cxn ang="0">
                <a:pos x="connsiteX7842" y="connsiteY7842"/>
              </a:cxn>
              <a:cxn ang="0">
                <a:pos x="connsiteX7843" y="connsiteY7843"/>
              </a:cxn>
              <a:cxn ang="0">
                <a:pos x="connsiteX7844" y="connsiteY7844"/>
              </a:cxn>
              <a:cxn ang="0">
                <a:pos x="connsiteX7845" y="connsiteY7845"/>
              </a:cxn>
              <a:cxn ang="0">
                <a:pos x="connsiteX7846" y="connsiteY7846"/>
              </a:cxn>
              <a:cxn ang="0">
                <a:pos x="connsiteX7847" y="connsiteY7847"/>
              </a:cxn>
              <a:cxn ang="0">
                <a:pos x="connsiteX7848" y="connsiteY7848"/>
              </a:cxn>
              <a:cxn ang="0">
                <a:pos x="connsiteX7849" y="connsiteY7849"/>
              </a:cxn>
              <a:cxn ang="0">
                <a:pos x="connsiteX7850" y="connsiteY7850"/>
              </a:cxn>
              <a:cxn ang="0">
                <a:pos x="connsiteX7851" y="connsiteY7851"/>
              </a:cxn>
              <a:cxn ang="0">
                <a:pos x="connsiteX7852" y="connsiteY7852"/>
              </a:cxn>
              <a:cxn ang="0">
                <a:pos x="connsiteX7853" y="connsiteY7853"/>
              </a:cxn>
              <a:cxn ang="0">
                <a:pos x="connsiteX7854" y="connsiteY7854"/>
              </a:cxn>
              <a:cxn ang="0">
                <a:pos x="connsiteX7855" y="connsiteY7855"/>
              </a:cxn>
              <a:cxn ang="0">
                <a:pos x="connsiteX7856" y="connsiteY7856"/>
              </a:cxn>
              <a:cxn ang="0">
                <a:pos x="connsiteX7857" y="connsiteY7857"/>
              </a:cxn>
              <a:cxn ang="0">
                <a:pos x="connsiteX7858" y="connsiteY7858"/>
              </a:cxn>
              <a:cxn ang="0">
                <a:pos x="connsiteX7859" y="connsiteY7859"/>
              </a:cxn>
              <a:cxn ang="0">
                <a:pos x="connsiteX7860" y="connsiteY7860"/>
              </a:cxn>
              <a:cxn ang="0">
                <a:pos x="connsiteX7861" y="connsiteY7861"/>
              </a:cxn>
              <a:cxn ang="0">
                <a:pos x="connsiteX7862" y="connsiteY7862"/>
              </a:cxn>
              <a:cxn ang="0">
                <a:pos x="connsiteX7863" y="connsiteY7863"/>
              </a:cxn>
              <a:cxn ang="0">
                <a:pos x="connsiteX7864" y="connsiteY7864"/>
              </a:cxn>
              <a:cxn ang="0">
                <a:pos x="connsiteX7865" y="connsiteY7865"/>
              </a:cxn>
              <a:cxn ang="0">
                <a:pos x="connsiteX7866" y="connsiteY7866"/>
              </a:cxn>
              <a:cxn ang="0">
                <a:pos x="connsiteX7867" y="connsiteY7867"/>
              </a:cxn>
              <a:cxn ang="0">
                <a:pos x="connsiteX7868" y="connsiteY7868"/>
              </a:cxn>
              <a:cxn ang="0">
                <a:pos x="connsiteX7869" y="connsiteY7869"/>
              </a:cxn>
              <a:cxn ang="0">
                <a:pos x="connsiteX7870" y="connsiteY7870"/>
              </a:cxn>
              <a:cxn ang="0">
                <a:pos x="connsiteX7871" y="connsiteY7871"/>
              </a:cxn>
              <a:cxn ang="0">
                <a:pos x="connsiteX7872" y="connsiteY7872"/>
              </a:cxn>
              <a:cxn ang="0">
                <a:pos x="connsiteX7873" y="connsiteY7873"/>
              </a:cxn>
              <a:cxn ang="0">
                <a:pos x="connsiteX7874" y="connsiteY7874"/>
              </a:cxn>
              <a:cxn ang="0">
                <a:pos x="connsiteX7875" y="connsiteY7875"/>
              </a:cxn>
              <a:cxn ang="0">
                <a:pos x="connsiteX7876" y="connsiteY7876"/>
              </a:cxn>
              <a:cxn ang="0">
                <a:pos x="connsiteX7877" y="connsiteY7877"/>
              </a:cxn>
              <a:cxn ang="0">
                <a:pos x="connsiteX7878" y="connsiteY7878"/>
              </a:cxn>
              <a:cxn ang="0">
                <a:pos x="connsiteX7879" y="connsiteY7879"/>
              </a:cxn>
              <a:cxn ang="0">
                <a:pos x="connsiteX7880" y="connsiteY7880"/>
              </a:cxn>
              <a:cxn ang="0">
                <a:pos x="connsiteX7881" y="connsiteY7881"/>
              </a:cxn>
              <a:cxn ang="0">
                <a:pos x="connsiteX7882" y="connsiteY7882"/>
              </a:cxn>
              <a:cxn ang="0">
                <a:pos x="connsiteX7883" y="connsiteY7883"/>
              </a:cxn>
              <a:cxn ang="0">
                <a:pos x="connsiteX7884" y="connsiteY7884"/>
              </a:cxn>
              <a:cxn ang="0">
                <a:pos x="connsiteX7885" y="connsiteY7885"/>
              </a:cxn>
              <a:cxn ang="0">
                <a:pos x="connsiteX7886" y="connsiteY7886"/>
              </a:cxn>
              <a:cxn ang="0">
                <a:pos x="connsiteX7887" y="connsiteY7887"/>
              </a:cxn>
              <a:cxn ang="0">
                <a:pos x="connsiteX7888" y="connsiteY7888"/>
              </a:cxn>
              <a:cxn ang="0">
                <a:pos x="connsiteX7889" y="connsiteY7889"/>
              </a:cxn>
              <a:cxn ang="0">
                <a:pos x="connsiteX7890" y="connsiteY7890"/>
              </a:cxn>
              <a:cxn ang="0">
                <a:pos x="connsiteX7891" y="connsiteY7891"/>
              </a:cxn>
              <a:cxn ang="0">
                <a:pos x="connsiteX7892" y="connsiteY7892"/>
              </a:cxn>
              <a:cxn ang="0">
                <a:pos x="connsiteX7893" y="connsiteY7893"/>
              </a:cxn>
              <a:cxn ang="0">
                <a:pos x="connsiteX7894" y="connsiteY7894"/>
              </a:cxn>
              <a:cxn ang="0">
                <a:pos x="connsiteX7895" y="connsiteY7895"/>
              </a:cxn>
              <a:cxn ang="0">
                <a:pos x="connsiteX7896" y="connsiteY7896"/>
              </a:cxn>
              <a:cxn ang="0">
                <a:pos x="connsiteX7897" y="connsiteY7897"/>
              </a:cxn>
              <a:cxn ang="0">
                <a:pos x="connsiteX7898" y="connsiteY7898"/>
              </a:cxn>
              <a:cxn ang="0">
                <a:pos x="connsiteX7899" y="connsiteY7899"/>
              </a:cxn>
              <a:cxn ang="0">
                <a:pos x="connsiteX7900" y="connsiteY7900"/>
              </a:cxn>
              <a:cxn ang="0">
                <a:pos x="connsiteX7901" y="connsiteY7901"/>
              </a:cxn>
              <a:cxn ang="0">
                <a:pos x="connsiteX7902" y="connsiteY7902"/>
              </a:cxn>
              <a:cxn ang="0">
                <a:pos x="connsiteX7903" y="connsiteY7903"/>
              </a:cxn>
              <a:cxn ang="0">
                <a:pos x="connsiteX7904" y="connsiteY7904"/>
              </a:cxn>
              <a:cxn ang="0">
                <a:pos x="connsiteX7905" y="connsiteY7905"/>
              </a:cxn>
              <a:cxn ang="0">
                <a:pos x="connsiteX7906" y="connsiteY7906"/>
              </a:cxn>
              <a:cxn ang="0">
                <a:pos x="connsiteX7907" y="connsiteY7907"/>
              </a:cxn>
              <a:cxn ang="0">
                <a:pos x="connsiteX7908" y="connsiteY7908"/>
              </a:cxn>
              <a:cxn ang="0">
                <a:pos x="connsiteX7909" y="connsiteY7909"/>
              </a:cxn>
              <a:cxn ang="0">
                <a:pos x="connsiteX7910" y="connsiteY7910"/>
              </a:cxn>
              <a:cxn ang="0">
                <a:pos x="connsiteX7911" y="connsiteY7911"/>
              </a:cxn>
              <a:cxn ang="0">
                <a:pos x="connsiteX7912" y="connsiteY7912"/>
              </a:cxn>
              <a:cxn ang="0">
                <a:pos x="connsiteX7913" y="connsiteY7913"/>
              </a:cxn>
              <a:cxn ang="0">
                <a:pos x="connsiteX7914" y="connsiteY7914"/>
              </a:cxn>
              <a:cxn ang="0">
                <a:pos x="connsiteX7915" y="connsiteY7915"/>
              </a:cxn>
              <a:cxn ang="0">
                <a:pos x="connsiteX7916" y="connsiteY7916"/>
              </a:cxn>
              <a:cxn ang="0">
                <a:pos x="connsiteX7917" y="connsiteY7917"/>
              </a:cxn>
              <a:cxn ang="0">
                <a:pos x="connsiteX7918" y="connsiteY7918"/>
              </a:cxn>
              <a:cxn ang="0">
                <a:pos x="connsiteX7919" y="connsiteY7919"/>
              </a:cxn>
              <a:cxn ang="0">
                <a:pos x="connsiteX7920" y="connsiteY7920"/>
              </a:cxn>
              <a:cxn ang="0">
                <a:pos x="connsiteX7921" y="connsiteY7921"/>
              </a:cxn>
              <a:cxn ang="0">
                <a:pos x="connsiteX7922" y="connsiteY7922"/>
              </a:cxn>
              <a:cxn ang="0">
                <a:pos x="connsiteX7923" y="connsiteY7923"/>
              </a:cxn>
              <a:cxn ang="0">
                <a:pos x="connsiteX7924" y="connsiteY7924"/>
              </a:cxn>
              <a:cxn ang="0">
                <a:pos x="connsiteX7925" y="connsiteY7925"/>
              </a:cxn>
              <a:cxn ang="0">
                <a:pos x="connsiteX7926" y="connsiteY7926"/>
              </a:cxn>
              <a:cxn ang="0">
                <a:pos x="connsiteX7927" y="connsiteY7927"/>
              </a:cxn>
              <a:cxn ang="0">
                <a:pos x="connsiteX7928" y="connsiteY7928"/>
              </a:cxn>
              <a:cxn ang="0">
                <a:pos x="connsiteX7929" y="connsiteY7929"/>
              </a:cxn>
              <a:cxn ang="0">
                <a:pos x="connsiteX7930" y="connsiteY7930"/>
              </a:cxn>
              <a:cxn ang="0">
                <a:pos x="connsiteX7931" y="connsiteY7931"/>
              </a:cxn>
              <a:cxn ang="0">
                <a:pos x="connsiteX7932" y="connsiteY7932"/>
              </a:cxn>
              <a:cxn ang="0">
                <a:pos x="connsiteX7933" y="connsiteY7933"/>
              </a:cxn>
              <a:cxn ang="0">
                <a:pos x="connsiteX7934" y="connsiteY7934"/>
              </a:cxn>
              <a:cxn ang="0">
                <a:pos x="connsiteX7935" y="connsiteY7935"/>
              </a:cxn>
              <a:cxn ang="0">
                <a:pos x="connsiteX7936" y="connsiteY7936"/>
              </a:cxn>
              <a:cxn ang="0">
                <a:pos x="connsiteX7937" y="connsiteY7937"/>
              </a:cxn>
              <a:cxn ang="0">
                <a:pos x="connsiteX7938" y="connsiteY7938"/>
              </a:cxn>
              <a:cxn ang="0">
                <a:pos x="connsiteX7939" y="connsiteY7939"/>
              </a:cxn>
              <a:cxn ang="0">
                <a:pos x="connsiteX7940" y="connsiteY7940"/>
              </a:cxn>
              <a:cxn ang="0">
                <a:pos x="connsiteX7941" y="connsiteY7941"/>
              </a:cxn>
              <a:cxn ang="0">
                <a:pos x="connsiteX7942" y="connsiteY7942"/>
              </a:cxn>
              <a:cxn ang="0">
                <a:pos x="connsiteX7943" y="connsiteY7943"/>
              </a:cxn>
              <a:cxn ang="0">
                <a:pos x="connsiteX7944" y="connsiteY7944"/>
              </a:cxn>
              <a:cxn ang="0">
                <a:pos x="connsiteX7945" y="connsiteY7945"/>
              </a:cxn>
              <a:cxn ang="0">
                <a:pos x="connsiteX7946" y="connsiteY7946"/>
              </a:cxn>
              <a:cxn ang="0">
                <a:pos x="connsiteX7947" y="connsiteY7947"/>
              </a:cxn>
              <a:cxn ang="0">
                <a:pos x="connsiteX7948" y="connsiteY7948"/>
              </a:cxn>
              <a:cxn ang="0">
                <a:pos x="connsiteX7949" y="connsiteY7949"/>
              </a:cxn>
              <a:cxn ang="0">
                <a:pos x="connsiteX7950" y="connsiteY7950"/>
              </a:cxn>
              <a:cxn ang="0">
                <a:pos x="connsiteX7951" y="connsiteY7951"/>
              </a:cxn>
              <a:cxn ang="0">
                <a:pos x="connsiteX7952" y="connsiteY7952"/>
              </a:cxn>
              <a:cxn ang="0">
                <a:pos x="connsiteX7953" y="connsiteY7953"/>
              </a:cxn>
              <a:cxn ang="0">
                <a:pos x="connsiteX7954" y="connsiteY7954"/>
              </a:cxn>
              <a:cxn ang="0">
                <a:pos x="connsiteX7955" y="connsiteY7955"/>
              </a:cxn>
              <a:cxn ang="0">
                <a:pos x="connsiteX7956" y="connsiteY7956"/>
              </a:cxn>
              <a:cxn ang="0">
                <a:pos x="connsiteX7957" y="connsiteY7957"/>
              </a:cxn>
              <a:cxn ang="0">
                <a:pos x="connsiteX7958" y="connsiteY7958"/>
              </a:cxn>
              <a:cxn ang="0">
                <a:pos x="connsiteX7959" y="connsiteY7959"/>
              </a:cxn>
              <a:cxn ang="0">
                <a:pos x="connsiteX7960" y="connsiteY7960"/>
              </a:cxn>
              <a:cxn ang="0">
                <a:pos x="connsiteX7961" y="connsiteY7961"/>
              </a:cxn>
              <a:cxn ang="0">
                <a:pos x="connsiteX7962" y="connsiteY7962"/>
              </a:cxn>
              <a:cxn ang="0">
                <a:pos x="connsiteX7963" y="connsiteY7963"/>
              </a:cxn>
              <a:cxn ang="0">
                <a:pos x="connsiteX7964" y="connsiteY7964"/>
              </a:cxn>
              <a:cxn ang="0">
                <a:pos x="connsiteX7965" y="connsiteY7965"/>
              </a:cxn>
              <a:cxn ang="0">
                <a:pos x="connsiteX7966" y="connsiteY7966"/>
              </a:cxn>
              <a:cxn ang="0">
                <a:pos x="connsiteX7967" y="connsiteY7967"/>
              </a:cxn>
              <a:cxn ang="0">
                <a:pos x="connsiteX7968" y="connsiteY7968"/>
              </a:cxn>
              <a:cxn ang="0">
                <a:pos x="connsiteX7969" y="connsiteY7969"/>
              </a:cxn>
              <a:cxn ang="0">
                <a:pos x="connsiteX7970" y="connsiteY7970"/>
              </a:cxn>
              <a:cxn ang="0">
                <a:pos x="connsiteX7971" y="connsiteY7971"/>
              </a:cxn>
              <a:cxn ang="0">
                <a:pos x="connsiteX7972" y="connsiteY7972"/>
              </a:cxn>
              <a:cxn ang="0">
                <a:pos x="connsiteX7973" y="connsiteY7973"/>
              </a:cxn>
              <a:cxn ang="0">
                <a:pos x="connsiteX7974" y="connsiteY7974"/>
              </a:cxn>
              <a:cxn ang="0">
                <a:pos x="connsiteX7975" y="connsiteY7975"/>
              </a:cxn>
              <a:cxn ang="0">
                <a:pos x="connsiteX7976" y="connsiteY7976"/>
              </a:cxn>
              <a:cxn ang="0">
                <a:pos x="connsiteX7977" y="connsiteY7977"/>
              </a:cxn>
              <a:cxn ang="0">
                <a:pos x="connsiteX7978" y="connsiteY7978"/>
              </a:cxn>
              <a:cxn ang="0">
                <a:pos x="connsiteX7979" y="connsiteY7979"/>
              </a:cxn>
              <a:cxn ang="0">
                <a:pos x="connsiteX7980" y="connsiteY7980"/>
              </a:cxn>
              <a:cxn ang="0">
                <a:pos x="connsiteX7981" y="connsiteY7981"/>
              </a:cxn>
              <a:cxn ang="0">
                <a:pos x="connsiteX7982" y="connsiteY7982"/>
              </a:cxn>
              <a:cxn ang="0">
                <a:pos x="connsiteX7983" y="connsiteY7983"/>
              </a:cxn>
              <a:cxn ang="0">
                <a:pos x="connsiteX7984" y="connsiteY7984"/>
              </a:cxn>
              <a:cxn ang="0">
                <a:pos x="connsiteX7985" y="connsiteY7985"/>
              </a:cxn>
              <a:cxn ang="0">
                <a:pos x="connsiteX7986" y="connsiteY7986"/>
              </a:cxn>
              <a:cxn ang="0">
                <a:pos x="connsiteX7987" y="connsiteY7987"/>
              </a:cxn>
              <a:cxn ang="0">
                <a:pos x="connsiteX7988" y="connsiteY7988"/>
              </a:cxn>
              <a:cxn ang="0">
                <a:pos x="connsiteX7989" y="connsiteY7989"/>
              </a:cxn>
              <a:cxn ang="0">
                <a:pos x="connsiteX7990" y="connsiteY7990"/>
              </a:cxn>
              <a:cxn ang="0">
                <a:pos x="connsiteX7991" y="connsiteY7991"/>
              </a:cxn>
              <a:cxn ang="0">
                <a:pos x="connsiteX7992" y="connsiteY7992"/>
              </a:cxn>
              <a:cxn ang="0">
                <a:pos x="connsiteX7993" y="connsiteY7993"/>
              </a:cxn>
              <a:cxn ang="0">
                <a:pos x="connsiteX7994" y="connsiteY7994"/>
              </a:cxn>
              <a:cxn ang="0">
                <a:pos x="connsiteX7995" y="connsiteY7995"/>
              </a:cxn>
              <a:cxn ang="0">
                <a:pos x="connsiteX7996" y="connsiteY7996"/>
              </a:cxn>
              <a:cxn ang="0">
                <a:pos x="connsiteX7997" y="connsiteY7997"/>
              </a:cxn>
              <a:cxn ang="0">
                <a:pos x="connsiteX7998" y="connsiteY7998"/>
              </a:cxn>
              <a:cxn ang="0">
                <a:pos x="connsiteX7999" y="connsiteY7999"/>
              </a:cxn>
              <a:cxn ang="0">
                <a:pos x="connsiteX8000" y="connsiteY8000"/>
              </a:cxn>
              <a:cxn ang="0">
                <a:pos x="connsiteX8001" y="connsiteY8001"/>
              </a:cxn>
              <a:cxn ang="0">
                <a:pos x="connsiteX8002" y="connsiteY8002"/>
              </a:cxn>
              <a:cxn ang="0">
                <a:pos x="connsiteX8003" y="connsiteY8003"/>
              </a:cxn>
              <a:cxn ang="0">
                <a:pos x="connsiteX8004" y="connsiteY8004"/>
              </a:cxn>
              <a:cxn ang="0">
                <a:pos x="connsiteX8005" y="connsiteY8005"/>
              </a:cxn>
              <a:cxn ang="0">
                <a:pos x="connsiteX8006" y="connsiteY8006"/>
              </a:cxn>
              <a:cxn ang="0">
                <a:pos x="connsiteX8007" y="connsiteY8007"/>
              </a:cxn>
              <a:cxn ang="0">
                <a:pos x="connsiteX8008" y="connsiteY8008"/>
              </a:cxn>
              <a:cxn ang="0">
                <a:pos x="connsiteX8009" y="connsiteY8009"/>
              </a:cxn>
              <a:cxn ang="0">
                <a:pos x="connsiteX8010" y="connsiteY8010"/>
              </a:cxn>
              <a:cxn ang="0">
                <a:pos x="connsiteX8011" y="connsiteY8011"/>
              </a:cxn>
              <a:cxn ang="0">
                <a:pos x="connsiteX8012" y="connsiteY8012"/>
              </a:cxn>
              <a:cxn ang="0">
                <a:pos x="connsiteX8013" y="connsiteY8013"/>
              </a:cxn>
              <a:cxn ang="0">
                <a:pos x="connsiteX8014" y="connsiteY8014"/>
              </a:cxn>
              <a:cxn ang="0">
                <a:pos x="connsiteX8015" y="connsiteY8015"/>
              </a:cxn>
              <a:cxn ang="0">
                <a:pos x="connsiteX8016" y="connsiteY8016"/>
              </a:cxn>
              <a:cxn ang="0">
                <a:pos x="connsiteX8017" y="connsiteY8017"/>
              </a:cxn>
              <a:cxn ang="0">
                <a:pos x="connsiteX8018" y="connsiteY8018"/>
              </a:cxn>
              <a:cxn ang="0">
                <a:pos x="connsiteX8019" y="connsiteY8019"/>
              </a:cxn>
              <a:cxn ang="0">
                <a:pos x="connsiteX8020" y="connsiteY8020"/>
              </a:cxn>
              <a:cxn ang="0">
                <a:pos x="connsiteX8021" y="connsiteY8021"/>
              </a:cxn>
              <a:cxn ang="0">
                <a:pos x="connsiteX8022" y="connsiteY8022"/>
              </a:cxn>
              <a:cxn ang="0">
                <a:pos x="connsiteX8023" y="connsiteY8023"/>
              </a:cxn>
              <a:cxn ang="0">
                <a:pos x="connsiteX8024" y="connsiteY8024"/>
              </a:cxn>
              <a:cxn ang="0">
                <a:pos x="connsiteX8025" y="connsiteY8025"/>
              </a:cxn>
              <a:cxn ang="0">
                <a:pos x="connsiteX8026" y="connsiteY8026"/>
              </a:cxn>
              <a:cxn ang="0">
                <a:pos x="connsiteX8027" y="connsiteY8027"/>
              </a:cxn>
              <a:cxn ang="0">
                <a:pos x="connsiteX8028" y="connsiteY8028"/>
              </a:cxn>
              <a:cxn ang="0">
                <a:pos x="connsiteX8029" y="connsiteY8029"/>
              </a:cxn>
              <a:cxn ang="0">
                <a:pos x="connsiteX8030" y="connsiteY8030"/>
              </a:cxn>
              <a:cxn ang="0">
                <a:pos x="connsiteX8031" y="connsiteY8031"/>
              </a:cxn>
              <a:cxn ang="0">
                <a:pos x="connsiteX8032" y="connsiteY8032"/>
              </a:cxn>
              <a:cxn ang="0">
                <a:pos x="connsiteX8033" y="connsiteY8033"/>
              </a:cxn>
              <a:cxn ang="0">
                <a:pos x="connsiteX8034" y="connsiteY8034"/>
              </a:cxn>
              <a:cxn ang="0">
                <a:pos x="connsiteX8035" y="connsiteY8035"/>
              </a:cxn>
              <a:cxn ang="0">
                <a:pos x="connsiteX8036" y="connsiteY8036"/>
              </a:cxn>
              <a:cxn ang="0">
                <a:pos x="connsiteX8037" y="connsiteY8037"/>
              </a:cxn>
              <a:cxn ang="0">
                <a:pos x="connsiteX8038" y="connsiteY8038"/>
              </a:cxn>
              <a:cxn ang="0">
                <a:pos x="connsiteX8039" y="connsiteY8039"/>
              </a:cxn>
              <a:cxn ang="0">
                <a:pos x="connsiteX8040" y="connsiteY8040"/>
              </a:cxn>
              <a:cxn ang="0">
                <a:pos x="connsiteX8041" y="connsiteY8041"/>
              </a:cxn>
              <a:cxn ang="0">
                <a:pos x="connsiteX8042" y="connsiteY8042"/>
              </a:cxn>
              <a:cxn ang="0">
                <a:pos x="connsiteX8043" y="connsiteY8043"/>
              </a:cxn>
              <a:cxn ang="0">
                <a:pos x="connsiteX8044" y="connsiteY8044"/>
              </a:cxn>
              <a:cxn ang="0">
                <a:pos x="connsiteX8045" y="connsiteY8045"/>
              </a:cxn>
              <a:cxn ang="0">
                <a:pos x="connsiteX8046" y="connsiteY8046"/>
              </a:cxn>
              <a:cxn ang="0">
                <a:pos x="connsiteX8047" y="connsiteY8047"/>
              </a:cxn>
              <a:cxn ang="0">
                <a:pos x="connsiteX8048" y="connsiteY8048"/>
              </a:cxn>
              <a:cxn ang="0">
                <a:pos x="connsiteX8049" y="connsiteY8049"/>
              </a:cxn>
              <a:cxn ang="0">
                <a:pos x="connsiteX8050" y="connsiteY8050"/>
              </a:cxn>
              <a:cxn ang="0">
                <a:pos x="connsiteX8051" y="connsiteY8051"/>
              </a:cxn>
              <a:cxn ang="0">
                <a:pos x="connsiteX8052" y="connsiteY8052"/>
              </a:cxn>
              <a:cxn ang="0">
                <a:pos x="connsiteX8053" y="connsiteY8053"/>
              </a:cxn>
              <a:cxn ang="0">
                <a:pos x="connsiteX8054" y="connsiteY8054"/>
              </a:cxn>
              <a:cxn ang="0">
                <a:pos x="connsiteX8055" y="connsiteY8055"/>
              </a:cxn>
              <a:cxn ang="0">
                <a:pos x="connsiteX8056" y="connsiteY8056"/>
              </a:cxn>
              <a:cxn ang="0">
                <a:pos x="connsiteX8057" y="connsiteY8057"/>
              </a:cxn>
              <a:cxn ang="0">
                <a:pos x="connsiteX8058" y="connsiteY8058"/>
              </a:cxn>
              <a:cxn ang="0">
                <a:pos x="connsiteX8059" y="connsiteY8059"/>
              </a:cxn>
              <a:cxn ang="0">
                <a:pos x="connsiteX8060" y="connsiteY8060"/>
              </a:cxn>
              <a:cxn ang="0">
                <a:pos x="connsiteX8061" y="connsiteY8061"/>
              </a:cxn>
              <a:cxn ang="0">
                <a:pos x="connsiteX8062" y="connsiteY8062"/>
              </a:cxn>
              <a:cxn ang="0">
                <a:pos x="connsiteX8063" y="connsiteY8063"/>
              </a:cxn>
              <a:cxn ang="0">
                <a:pos x="connsiteX8064" y="connsiteY8064"/>
              </a:cxn>
              <a:cxn ang="0">
                <a:pos x="connsiteX8065" y="connsiteY8065"/>
              </a:cxn>
              <a:cxn ang="0">
                <a:pos x="connsiteX8066" y="connsiteY8066"/>
              </a:cxn>
              <a:cxn ang="0">
                <a:pos x="connsiteX8067" y="connsiteY8067"/>
              </a:cxn>
              <a:cxn ang="0">
                <a:pos x="connsiteX8068" y="connsiteY8068"/>
              </a:cxn>
              <a:cxn ang="0">
                <a:pos x="connsiteX8069" y="connsiteY8069"/>
              </a:cxn>
              <a:cxn ang="0">
                <a:pos x="connsiteX8070" y="connsiteY8070"/>
              </a:cxn>
              <a:cxn ang="0">
                <a:pos x="connsiteX8071" y="connsiteY8071"/>
              </a:cxn>
              <a:cxn ang="0">
                <a:pos x="connsiteX8072" y="connsiteY8072"/>
              </a:cxn>
              <a:cxn ang="0">
                <a:pos x="connsiteX8073" y="connsiteY8073"/>
              </a:cxn>
              <a:cxn ang="0">
                <a:pos x="connsiteX8074" y="connsiteY8074"/>
              </a:cxn>
              <a:cxn ang="0">
                <a:pos x="connsiteX8075" y="connsiteY8075"/>
              </a:cxn>
              <a:cxn ang="0">
                <a:pos x="connsiteX8076" y="connsiteY8076"/>
              </a:cxn>
              <a:cxn ang="0">
                <a:pos x="connsiteX8077" y="connsiteY8077"/>
              </a:cxn>
              <a:cxn ang="0">
                <a:pos x="connsiteX8078" y="connsiteY8078"/>
              </a:cxn>
              <a:cxn ang="0">
                <a:pos x="connsiteX8079" y="connsiteY8079"/>
              </a:cxn>
              <a:cxn ang="0">
                <a:pos x="connsiteX8080" y="connsiteY8080"/>
              </a:cxn>
              <a:cxn ang="0">
                <a:pos x="connsiteX8081" y="connsiteY8081"/>
              </a:cxn>
              <a:cxn ang="0">
                <a:pos x="connsiteX8082" y="connsiteY8082"/>
              </a:cxn>
              <a:cxn ang="0">
                <a:pos x="connsiteX8083" y="connsiteY8083"/>
              </a:cxn>
              <a:cxn ang="0">
                <a:pos x="connsiteX8084" y="connsiteY8084"/>
              </a:cxn>
              <a:cxn ang="0">
                <a:pos x="connsiteX8085" y="connsiteY8085"/>
              </a:cxn>
              <a:cxn ang="0">
                <a:pos x="connsiteX8086" y="connsiteY8086"/>
              </a:cxn>
              <a:cxn ang="0">
                <a:pos x="connsiteX8087" y="connsiteY8087"/>
              </a:cxn>
              <a:cxn ang="0">
                <a:pos x="connsiteX8088" y="connsiteY8088"/>
              </a:cxn>
              <a:cxn ang="0">
                <a:pos x="connsiteX8089" y="connsiteY8089"/>
              </a:cxn>
              <a:cxn ang="0">
                <a:pos x="connsiteX8090" y="connsiteY8090"/>
              </a:cxn>
              <a:cxn ang="0">
                <a:pos x="connsiteX8091" y="connsiteY8091"/>
              </a:cxn>
              <a:cxn ang="0">
                <a:pos x="connsiteX8092" y="connsiteY8092"/>
              </a:cxn>
              <a:cxn ang="0">
                <a:pos x="connsiteX8093" y="connsiteY8093"/>
              </a:cxn>
              <a:cxn ang="0">
                <a:pos x="connsiteX8094" y="connsiteY8094"/>
              </a:cxn>
              <a:cxn ang="0">
                <a:pos x="connsiteX8095" y="connsiteY8095"/>
              </a:cxn>
              <a:cxn ang="0">
                <a:pos x="connsiteX8096" y="connsiteY8096"/>
              </a:cxn>
              <a:cxn ang="0">
                <a:pos x="connsiteX8097" y="connsiteY8097"/>
              </a:cxn>
              <a:cxn ang="0">
                <a:pos x="connsiteX8098" y="connsiteY8098"/>
              </a:cxn>
              <a:cxn ang="0">
                <a:pos x="connsiteX8099" y="connsiteY8099"/>
              </a:cxn>
              <a:cxn ang="0">
                <a:pos x="connsiteX8100" y="connsiteY8100"/>
              </a:cxn>
              <a:cxn ang="0">
                <a:pos x="connsiteX8101" y="connsiteY8101"/>
              </a:cxn>
              <a:cxn ang="0">
                <a:pos x="connsiteX8102" y="connsiteY8102"/>
              </a:cxn>
              <a:cxn ang="0">
                <a:pos x="connsiteX8103" y="connsiteY8103"/>
              </a:cxn>
              <a:cxn ang="0">
                <a:pos x="connsiteX8104" y="connsiteY8104"/>
              </a:cxn>
              <a:cxn ang="0">
                <a:pos x="connsiteX8105" y="connsiteY8105"/>
              </a:cxn>
              <a:cxn ang="0">
                <a:pos x="connsiteX8106" y="connsiteY8106"/>
              </a:cxn>
              <a:cxn ang="0">
                <a:pos x="connsiteX8107" y="connsiteY8107"/>
              </a:cxn>
              <a:cxn ang="0">
                <a:pos x="connsiteX8108" y="connsiteY8108"/>
              </a:cxn>
              <a:cxn ang="0">
                <a:pos x="connsiteX8109" y="connsiteY8109"/>
              </a:cxn>
              <a:cxn ang="0">
                <a:pos x="connsiteX8110" y="connsiteY8110"/>
              </a:cxn>
              <a:cxn ang="0">
                <a:pos x="connsiteX8111" y="connsiteY8111"/>
              </a:cxn>
              <a:cxn ang="0">
                <a:pos x="connsiteX8112" y="connsiteY8112"/>
              </a:cxn>
              <a:cxn ang="0">
                <a:pos x="connsiteX8113" y="connsiteY8113"/>
              </a:cxn>
              <a:cxn ang="0">
                <a:pos x="connsiteX8114" y="connsiteY8114"/>
              </a:cxn>
              <a:cxn ang="0">
                <a:pos x="connsiteX8115" y="connsiteY8115"/>
              </a:cxn>
              <a:cxn ang="0">
                <a:pos x="connsiteX8116" y="connsiteY8116"/>
              </a:cxn>
              <a:cxn ang="0">
                <a:pos x="connsiteX8117" y="connsiteY8117"/>
              </a:cxn>
              <a:cxn ang="0">
                <a:pos x="connsiteX8118" y="connsiteY8118"/>
              </a:cxn>
              <a:cxn ang="0">
                <a:pos x="connsiteX8119" y="connsiteY8119"/>
              </a:cxn>
              <a:cxn ang="0">
                <a:pos x="connsiteX8120" y="connsiteY8120"/>
              </a:cxn>
              <a:cxn ang="0">
                <a:pos x="connsiteX8121" y="connsiteY8121"/>
              </a:cxn>
              <a:cxn ang="0">
                <a:pos x="connsiteX8122" y="connsiteY8122"/>
              </a:cxn>
              <a:cxn ang="0">
                <a:pos x="connsiteX8123" y="connsiteY8123"/>
              </a:cxn>
              <a:cxn ang="0">
                <a:pos x="connsiteX8124" y="connsiteY8124"/>
              </a:cxn>
              <a:cxn ang="0">
                <a:pos x="connsiteX8125" y="connsiteY8125"/>
              </a:cxn>
              <a:cxn ang="0">
                <a:pos x="connsiteX8126" y="connsiteY8126"/>
              </a:cxn>
              <a:cxn ang="0">
                <a:pos x="connsiteX8127" y="connsiteY8127"/>
              </a:cxn>
              <a:cxn ang="0">
                <a:pos x="connsiteX8128" y="connsiteY8128"/>
              </a:cxn>
              <a:cxn ang="0">
                <a:pos x="connsiteX8129" y="connsiteY8129"/>
              </a:cxn>
              <a:cxn ang="0">
                <a:pos x="connsiteX8130" y="connsiteY8130"/>
              </a:cxn>
              <a:cxn ang="0">
                <a:pos x="connsiteX8131" y="connsiteY8131"/>
              </a:cxn>
              <a:cxn ang="0">
                <a:pos x="connsiteX8132" y="connsiteY8132"/>
              </a:cxn>
              <a:cxn ang="0">
                <a:pos x="connsiteX8133" y="connsiteY8133"/>
              </a:cxn>
              <a:cxn ang="0">
                <a:pos x="connsiteX8134" y="connsiteY8134"/>
              </a:cxn>
              <a:cxn ang="0">
                <a:pos x="connsiteX8135" y="connsiteY8135"/>
              </a:cxn>
              <a:cxn ang="0">
                <a:pos x="connsiteX8136" y="connsiteY8136"/>
              </a:cxn>
              <a:cxn ang="0">
                <a:pos x="connsiteX8137" y="connsiteY8137"/>
              </a:cxn>
              <a:cxn ang="0">
                <a:pos x="connsiteX8138" y="connsiteY8138"/>
              </a:cxn>
              <a:cxn ang="0">
                <a:pos x="connsiteX8139" y="connsiteY8139"/>
              </a:cxn>
              <a:cxn ang="0">
                <a:pos x="connsiteX8140" y="connsiteY8140"/>
              </a:cxn>
              <a:cxn ang="0">
                <a:pos x="connsiteX8141" y="connsiteY8141"/>
              </a:cxn>
              <a:cxn ang="0">
                <a:pos x="connsiteX8142" y="connsiteY8142"/>
              </a:cxn>
              <a:cxn ang="0">
                <a:pos x="connsiteX8143" y="connsiteY8143"/>
              </a:cxn>
              <a:cxn ang="0">
                <a:pos x="connsiteX8144" y="connsiteY8144"/>
              </a:cxn>
              <a:cxn ang="0">
                <a:pos x="connsiteX8145" y="connsiteY8145"/>
              </a:cxn>
              <a:cxn ang="0">
                <a:pos x="connsiteX8146" y="connsiteY8146"/>
              </a:cxn>
              <a:cxn ang="0">
                <a:pos x="connsiteX8147" y="connsiteY8147"/>
              </a:cxn>
              <a:cxn ang="0">
                <a:pos x="connsiteX8148" y="connsiteY8148"/>
              </a:cxn>
              <a:cxn ang="0">
                <a:pos x="connsiteX8149" y="connsiteY8149"/>
              </a:cxn>
              <a:cxn ang="0">
                <a:pos x="connsiteX8150" y="connsiteY8150"/>
              </a:cxn>
              <a:cxn ang="0">
                <a:pos x="connsiteX8151" y="connsiteY8151"/>
              </a:cxn>
              <a:cxn ang="0">
                <a:pos x="connsiteX8152" y="connsiteY8152"/>
              </a:cxn>
              <a:cxn ang="0">
                <a:pos x="connsiteX8153" y="connsiteY8153"/>
              </a:cxn>
              <a:cxn ang="0">
                <a:pos x="connsiteX8154" y="connsiteY8154"/>
              </a:cxn>
              <a:cxn ang="0">
                <a:pos x="connsiteX8155" y="connsiteY8155"/>
              </a:cxn>
              <a:cxn ang="0">
                <a:pos x="connsiteX8156" y="connsiteY8156"/>
              </a:cxn>
              <a:cxn ang="0">
                <a:pos x="connsiteX8157" y="connsiteY8157"/>
              </a:cxn>
              <a:cxn ang="0">
                <a:pos x="connsiteX8158" y="connsiteY8158"/>
              </a:cxn>
              <a:cxn ang="0">
                <a:pos x="connsiteX8159" y="connsiteY8159"/>
              </a:cxn>
              <a:cxn ang="0">
                <a:pos x="connsiteX8160" y="connsiteY8160"/>
              </a:cxn>
              <a:cxn ang="0">
                <a:pos x="connsiteX8161" y="connsiteY8161"/>
              </a:cxn>
              <a:cxn ang="0">
                <a:pos x="connsiteX8162" y="connsiteY8162"/>
              </a:cxn>
              <a:cxn ang="0">
                <a:pos x="connsiteX8163" y="connsiteY8163"/>
              </a:cxn>
              <a:cxn ang="0">
                <a:pos x="connsiteX8164" y="connsiteY8164"/>
              </a:cxn>
              <a:cxn ang="0">
                <a:pos x="connsiteX8165" y="connsiteY8165"/>
              </a:cxn>
              <a:cxn ang="0">
                <a:pos x="connsiteX8166" y="connsiteY8166"/>
              </a:cxn>
              <a:cxn ang="0">
                <a:pos x="connsiteX8167" y="connsiteY8167"/>
              </a:cxn>
              <a:cxn ang="0">
                <a:pos x="connsiteX8168" y="connsiteY8168"/>
              </a:cxn>
              <a:cxn ang="0">
                <a:pos x="connsiteX8169" y="connsiteY8169"/>
              </a:cxn>
              <a:cxn ang="0">
                <a:pos x="connsiteX8170" y="connsiteY8170"/>
              </a:cxn>
              <a:cxn ang="0">
                <a:pos x="connsiteX8171" y="connsiteY8171"/>
              </a:cxn>
              <a:cxn ang="0">
                <a:pos x="connsiteX8172" y="connsiteY8172"/>
              </a:cxn>
              <a:cxn ang="0">
                <a:pos x="connsiteX8173" y="connsiteY8173"/>
              </a:cxn>
              <a:cxn ang="0">
                <a:pos x="connsiteX8174" y="connsiteY8174"/>
              </a:cxn>
              <a:cxn ang="0">
                <a:pos x="connsiteX8175" y="connsiteY8175"/>
              </a:cxn>
              <a:cxn ang="0">
                <a:pos x="connsiteX8176" y="connsiteY8176"/>
              </a:cxn>
              <a:cxn ang="0">
                <a:pos x="connsiteX8177" y="connsiteY8177"/>
              </a:cxn>
              <a:cxn ang="0">
                <a:pos x="connsiteX8178" y="connsiteY8178"/>
              </a:cxn>
              <a:cxn ang="0">
                <a:pos x="connsiteX8179" y="connsiteY8179"/>
              </a:cxn>
              <a:cxn ang="0">
                <a:pos x="connsiteX8180" y="connsiteY8180"/>
              </a:cxn>
              <a:cxn ang="0">
                <a:pos x="connsiteX8181" y="connsiteY8181"/>
              </a:cxn>
              <a:cxn ang="0">
                <a:pos x="connsiteX8182" y="connsiteY8182"/>
              </a:cxn>
              <a:cxn ang="0">
                <a:pos x="connsiteX8183" y="connsiteY8183"/>
              </a:cxn>
              <a:cxn ang="0">
                <a:pos x="connsiteX8184" y="connsiteY8184"/>
              </a:cxn>
              <a:cxn ang="0">
                <a:pos x="connsiteX8185" y="connsiteY8185"/>
              </a:cxn>
              <a:cxn ang="0">
                <a:pos x="connsiteX8186" y="connsiteY8186"/>
              </a:cxn>
              <a:cxn ang="0">
                <a:pos x="connsiteX8187" y="connsiteY8187"/>
              </a:cxn>
              <a:cxn ang="0">
                <a:pos x="connsiteX8188" y="connsiteY8188"/>
              </a:cxn>
              <a:cxn ang="0">
                <a:pos x="connsiteX8189" y="connsiteY8189"/>
              </a:cxn>
              <a:cxn ang="0">
                <a:pos x="connsiteX8190" y="connsiteY8190"/>
              </a:cxn>
              <a:cxn ang="0">
                <a:pos x="connsiteX8191" y="connsiteY8191"/>
              </a:cxn>
              <a:cxn ang="0">
                <a:pos x="connsiteX8192" y="connsiteY8192"/>
              </a:cxn>
              <a:cxn ang="0">
                <a:pos x="connsiteX8193" y="connsiteY8193"/>
              </a:cxn>
              <a:cxn ang="0">
                <a:pos x="connsiteX8194" y="connsiteY8194"/>
              </a:cxn>
              <a:cxn ang="0">
                <a:pos x="connsiteX8195" y="connsiteY8195"/>
              </a:cxn>
              <a:cxn ang="0">
                <a:pos x="connsiteX8196" y="connsiteY8196"/>
              </a:cxn>
              <a:cxn ang="0">
                <a:pos x="connsiteX8197" y="connsiteY8197"/>
              </a:cxn>
              <a:cxn ang="0">
                <a:pos x="connsiteX8198" y="connsiteY8198"/>
              </a:cxn>
              <a:cxn ang="0">
                <a:pos x="connsiteX8199" y="connsiteY8199"/>
              </a:cxn>
              <a:cxn ang="0">
                <a:pos x="connsiteX8200" y="connsiteY8200"/>
              </a:cxn>
              <a:cxn ang="0">
                <a:pos x="connsiteX8201" y="connsiteY8201"/>
              </a:cxn>
              <a:cxn ang="0">
                <a:pos x="connsiteX8202" y="connsiteY8202"/>
              </a:cxn>
              <a:cxn ang="0">
                <a:pos x="connsiteX8203" y="connsiteY8203"/>
              </a:cxn>
              <a:cxn ang="0">
                <a:pos x="connsiteX8204" y="connsiteY8204"/>
              </a:cxn>
              <a:cxn ang="0">
                <a:pos x="connsiteX8205" y="connsiteY8205"/>
              </a:cxn>
              <a:cxn ang="0">
                <a:pos x="connsiteX8206" y="connsiteY8206"/>
              </a:cxn>
              <a:cxn ang="0">
                <a:pos x="connsiteX8207" y="connsiteY8207"/>
              </a:cxn>
              <a:cxn ang="0">
                <a:pos x="connsiteX8208" y="connsiteY8208"/>
              </a:cxn>
              <a:cxn ang="0">
                <a:pos x="connsiteX8209" y="connsiteY8209"/>
              </a:cxn>
              <a:cxn ang="0">
                <a:pos x="connsiteX8210" y="connsiteY8210"/>
              </a:cxn>
              <a:cxn ang="0">
                <a:pos x="connsiteX8211" y="connsiteY8211"/>
              </a:cxn>
              <a:cxn ang="0">
                <a:pos x="connsiteX8212" y="connsiteY8212"/>
              </a:cxn>
              <a:cxn ang="0">
                <a:pos x="connsiteX8213" y="connsiteY8213"/>
              </a:cxn>
              <a:cxn ang="0">
                <a:pos x="connsiteX8214" y="connsiteY8214"/>
              </a:cxn>
              <a:cxn ang="0">
                <a:pos x="connsiteX8215" y="connsiteY8215"/>
              </a:cxn>
              <a:cxn ang="0">
                <a:pos x="connsiteX8216" y="connsiteY8216"/>
              </a:cxn>
              <a:cxn ang="0">
                <a:pos x="connsiteX8217" y="connsiteY8217"/>
              </a:cxn>
              <a:cxn ang="0">
                <a:pos x="connsiteX8218" y="connsiteY8218"/>
              </a:cxn>
              <a:cxn ang="0">
                <a:pos x="connsiteX8219" y="connsiteY8219"/>
              </a:cxn>
              <a:cxn ang="0">
                <a:pos x="connsiteX8220" y="connsiteY8220"/>
              </a:cxn>
              <a:cxn ang="0">
                <a:pos x="connsiteX8221" y="connsiteY8221"/>
              </a:cxn>
              <a:cxn ang="0">
                <a:pos x="connsiteX8222" y="connsiteY8222"/>
              </a:cxn>
              <a:cxn ang="0">
                <a:pos x="connsiteX8223" y="connsiteY8223"/>
              </a:cxn>
              <a:cxn ang="0">
                <a:pos x="connsiteX8224" y="connsiteY8224"/>
              </a:cxn>
              <a:cxn ang="0">
                <a:pos x="connsiteX8225" y="connsiteY8225"/>
              </a:cxn>
              <a:cxn ang="0">
                <a:pos x="connsiteX8226" y="connsiteY8226"/>
              </a:cxn>
              <a:cxn ang="0">
                <a:pos x="connsiteX8227" y="connsiteY8227"/>
              </a:cxn>
              <a:cxn ang="0">
                <a:pos x="connsiteX8228" y="connsiteY8228"/>
              </a:cxn>
              <a:cxn ang="0">
                <a:pos x="connsiteX8229" y="connsiteY8229"/>
              </a:cxn>
              <a:cxn ang="0">
                <a:pos x="connsiteX8230" y="connsiteY8230"/>
              </a:cxn>
              <a:cxn ang="0">
                <a:pos x="connsiteX8231" y="connsiteY8231"/>
              </a:cxn>
              <a:cxn ang="0">
                <a:pos x="connsiteX8232" y="connsiteY8232"/>
              </a:cxn>
              <a:cxn ang="0">
                <a:pos x="connsiteX8233" y="connsiteY8233"/>
              </a:cxn>
              <a:cxn ang="0">
                <a:pos x="connsiteX8234" y="connsiteY8234"/>
              </a:cxn>
              <a:cxn ang="0">
                <a:pos x="connsiteX8235" y="connsiteY8235"/>
              </a:cxn>
              <a:cxn ang="0">
                <a:pos x="connsiteX8236" y="connsiteY8236"/>
              </a:cxn>
              <a:cxn ang="0">
                <a:pos x="connsiteX8237" y="connsiteY8237"/>
              </a:cxn>
              <a:cxn ang="0">
                <a:pos x="connsiteX8238" y="connsiteY8238"/>
              </a:cxn>
              <a:cxn ang="0">
                <a:pos x="connsiteX8239" y="connsiteY8239"/>
              </a:cxn>
              <a:cxn ang="0">
                <a:pos x="connsiteX8240" y="connsiteY8240"/>
              </a:cxn>
              <a:cxn ang="0">
                <a:pos x="connsiteX8241" y="connsiteY8241"/>
              </a:cxn>
              <a:cxn ang="0">
                <a:pos x="connsiteX8242" y="connsiteY8242"/>
              </a:cxn>
              <a:cxn ang="0">
                <a:pos x="connsiteX8243" y="connsiteY8243"/>
              </a:cxn>
              <a:cxn ang="0">
                <a:pos x="connsiteX8244" y="connsiteY8244"/>
              </a:cxn>
              <a:cxn ang="0">
                <a:pos x="connsiteX8245" y="connsiteY8245"/>
              </a:cxn>
              <a:cxn ang="0">
                <a:pos x="connsiteX8246" y="connsiteY8246"/>
              </a:cxn>
              <a:cxn ang="0">
                <a:pos x="connsiteX8247" y="connsiteY8247"/>
              </a:cxn>
              <a:cxn ang="0">
                <a:pos x="connsiteX8248" y="connsiteY8248"/>
              </a:cxn>
              <a:cxn ang="0">
                <a:pos x="connsiteX8249" y="connsiteY8249"/>
              </a:cxn>
              <a:cxn ang="0">
                <a:pos x="connsiteX8250" y="connsiteY8250"/>
              </a:cxn>
              <a:cxn ang="0">
                <a:pos x="connsiteX8251" y="connsiteY8251"/>
              </a:cxn>
              <a:cxn ang="0">
                <a:pos x="connsiteX8252" y="connsiteY8252"/>
              </a:cxn>
              <a:cxn ang="0">
                <a:pos x="connsiteX8253" y="connsiteY8253"/>
              </a:cxn>
              <a:cxn ang="0">
                <a:pos x="connsiteX8254" y="connsiteY8254"/>
              </a:cxn>
              <a:cxn ang="0">
                <a:pos x="connsiteX8255" y="connsiteY8255"/>
              </a:cxn>
              <a:cxn ang="0">
                <a:pos x="connsiteX8256" y="connsiteY8256"/>
              </a:cxn>
              <a:cxn ang="0">
                <a:pos x="connsiteX8257" y="connsiteY8257"/>
              </a:cxn>
              <a:cxn ang="0">
                <a:pos x="connsiteX8258" y="connsiteY8258"/>
              </a:cxn>
              <a:cxn ang="0">
                <a:pos x="connsiteX8259" y="connsiteY8259"/>
              </a:cxn>
              <a:cxn ang="0">
                <a:pos x="connsiteX8260" y="connsiteY8260"/>
              </a:cxn>
              <a:cxn ang="0">
                <a:pos x="connsiteX8261" y="connsiteY8261"/>
              </a:cxn>
              <a:cxn ang="0">
                <a:pos x="connsiteX8262" y="connsiteY8262"/>
              </a:cxn>
              <a:cxn ang="0">
                <a:pos x="connsiteX8263" y="connsiteY8263"/>
              </a:cxn>
              <a:cxn ang="0">
                <a:pos x="connsiteX8264" y="connsiteY8264"/>
              </a:cxn>
              <a:cxn ang="0">
                <a:pos x="connsiteX8265" y="connsiteY8265"/>
              </a:cxn>
              <a:cxn ang="0">
                <a:pos x="connsiteX8266" y="connsiteY8266"/>
              </a:cxn>
              <a:cxn ang="0">
                <a:pos x="connsiteX8267" y="connsiteY8267"/>
              </a:cxn>
              <a:cxn ang="0">
                <a:pos x="connsiteX8268" y="connsiteY8268"/>
              </a:cxn>
              <a:cxn ang="0">
                <a:pos x="connsiteX8269" y="connsiteY8269"/>
              </a:cxn>
              <a:cxn ang="0">
                <a:pos x="connsiteX8270" y="connsiteY8270"/>
              </a:cxn>
              <a:cxn ang="0">
                <a:pos x="connsiteX8271" y="connsiteY8271"/>
              </a:cxn>
              <a:cxn ang="0">
                <a:pos x="connsiteX8272" y="connsiteY8272"/>
              </a:cxn>
              <a:cxn ang="0">
                <a:pos x="connsiteX8273" y="connsiteY8273"/>
              </a:cxn>
              <a:cxn ang="0">
                <a:pos x="connsiteX8274" y="connsiteY8274"/>
              </a:cxn>
              <a:cxn ang="0">
                <a:pos x="connsiteX8275" y="connsiteY8275"/>
              </a:cxn>
              <a:cxn ang="0">
                <a:pos x="connsiteX8276" y="connsiteY8276"/>
              </a:cxn>
              <a:cxn ang="0">
                <a:pos x="connsiteX8277" y="connsiteY8277"/>
              </a:cxn>
              <a:cxn ang="0">
                <a:pos x="connsiteX8278" y="connsiteY8278"/>
              </a:cxn>
              <a:cxn ang="0">
                <a:pos x="connsiteX8279" y="connsiteY8279"/>
              </a:cxn>
              <a:cxn ang="0">
                <a:pos x="connsiteX8280" y="connsiteY8280"/>
              </a:cxn>
              <a:cxn ang="0">
                <a:pos x="connsiteX8281" y="connsiteY8281"/>
              </a:cxn>
              <a:cxn ang="0">
                <a:pos x="connsiteX8282" y="connsiteY8282"/>
              </a:cxn>
              <a:cxn ang="0">
                <a:pos x="connsiteX8283" y="connsiteY8283"/>
              </a:cxn>
              <a:cxn ang="0">
                <a:pos x="connsiteX8284" y="connsiteY8284"/>
              </a:cxn>
              <a:cxn ang="0">
                <a:pos x="connsiteX8285" y="connsiteY8285"/>
              </a:cxn>
              <a:cxn ang="0">
                <a:pos x="connsiteX8286" y="connsiteY8286"/>
              </a:cxn>
              <a:cxn ang="0">
                <a:pos x="connsiteX8287" y="connsiteY8287"/>
              </a:cxn>
              <a:cxn ang="0">
                <a:pos x="connsiteX8288" y="connsiteY8288"/>
              </a:cxn>
              <a:cxn ang="0">
                <a:pos x="connsiteX8289" y="connsiteY8289"/>
              </a:cxn>
              <a:cxn ang="0">
                <a:pos x="connsiteX8290" y="connsiteY8290"/>
              </a:cxn>
              <a:cxn ang="0">
                <a:pos x="connsiteX8291" y="connsiteY8291"/>
              </a:cxn>
              <a:cxn ang="0">
                <a:pos x="connsiteX8292" y="connsiteY8292"/>
              </a:cxn>
              <a:cxn ang="0">
                <a:pos x="connsiteX8293" y="connsiteY8293"/>
              </a:cxn>
              <a:cxn ang="0">
                <a:pos x="connsiteX8294" y="connsiteY8294"/>
              </a:cxn>
              <a:cxn ang="0">
                <a:pos x="connsiteX8295" y="connsiteY8295"/>
              </a:cxn>
              <a:cxn ang="0">
                <a:pos x="connsiteX8296" y="connsiteY8296"/>
              </a:cxn>
              <a:cxn ang="0">
                <a:pos x="connsiteX8297" y="connsiteY8297"/>
              </a:cxn>
              <a:cxn ang="0">
                <a:pos x="connsiteX8298" y="connsiteY8298"/>
              </a:cxn>
              <a:cxn ang="0">
                <a:pos x="connsiteX8299" y="connsiteY8299"/>
              </a:cxn>
              <a:cxn ang="0">
                <a:pos x="connsiteX8300" y="connsiteY8300"/>
              </a:cxn>
              <a:cxn ang="0">
                <a:pos x="connsiteX8301" y="connsiteY8301"/>
              </a:cxn>
              <a:cxn ang="0">
                <a:pos x="connsiteX8302" y="connsiteY8302"/>
              </a:cxn>
              <a:cxn ang="0">
                <a:pos x="connsiteX8303" y="connsiteY8303"/>
              </a:cxn>
              <a:cxn ang="0">
                <a:pos x="connsiteX8304" y="connsiteY8304"/>
              </a:cxn>
              <a:cxn ang="0">
                <a:pos x="connsiteX8305" y="connsiteY8305"/>
              </a:cxn>
              <a:cxn ang="0">
                <a:pos x="connsiteX8306" y="connsiteY8306"/>
              </a:cxn>
              <a:cxn ang="0">
                <a:pos x="connsiteX8307" y="connsiteY8307"/>
              </a:cxn>
              <a:cxn ang="0">
                <a:pos x="connsiteX8308" y="connsiteY8308"/>
              </a:cxn>
              <a:cxn ang="0">
                <a:pos x="connsiteX8309" y="connsiteY8309"/>
              </a:cxn>
              <a:cxn ang="0">
                <a:pos x="connsiteX8310" y="connsiteY8310"/>
              </a:cxn>
              <a:cxn ang="0">
                <a:pos x="connsiteX8311" y="connsiteY8311"/>
              </a:cxn>
              <a:cxn ang="0">
                <a:pos x="connsiteX8312" y="connsiteY8312"/>
              </a:cxn>
              <a:cxn ang="0">
                <a:pos x="connsiteX8313" y="connsiteY8313"/>
              </a:cxn>
              <a:cxn ang="0">
                <a:pos x="connsiteX8314" y="connsiteY8314"/>
              </a:cxn>
              <a:cxn ang="0">
                <a:pos x="connsiteX8315" y="connsiteY8315"/>
              </a:cxn>
              <a:cxn ang="0">
                <a:pos x="connsiteX8316" y="connsiteY8316"/>
              </a:cxn>
              <a:cxn ang="0">
                <a:pos x="connsiteX8317" y="connsiteY8317"/>
              </a:cxn>
              <a:cxn ang="0">
                <a:pos x="connsiteX8318" y="connsiteY8318"/>
              </a:cxn>
              <a:cxn ang="0">
                <a:pos x="connsiteX8319" y="connsiteY8319"/>
              </a:cxn>
              <a:cxn ang="0">
                <a:pos x="connsiteX8320" y="connsiteY8320"/>
              </a:cxn>
              <a:cxn ang="0">
                <a:pos x="connsiteX8321" y="connsiteY8321"/>
              </a:cxn>
              <a:cxn ang="0">
                <a:pos x="connsiteX8322" y="connsiteY8322"/>
              </a:cxn>
              <a:cxn ang="0">
                <a:pos x="connsiteX8323" y="connsiteY8323"/>
              </a:cxn>
              <a:cxn ang="0">
                <a:pos x="connsiteX8324" y="connsiteY8324"/>
              </a:cxn>
              <a:cxn ang="0">
                <a:pos x="connsiteX8325" y="connsiteY8325"/>
              </a:cxn>
              <a:cxn ang="0">
                <a:pos x="connsiteX8326" y="connsiteY8326"/>
              </a:cxn>
              <a:cxn ang="0">
                <a:pos x="connsiteX8327" y="connsiteY8327"/>
              </a:cxn>
              <a:cxn ang="0">
                <a:pos x="connsiteX8328" y="connsiteY8328"/>
              </a:cxn>
              <a:cxn ang="0">
                <a:pos x="connsiteX8329" y="connsiteY8329"/>
              </a:cxn>
              <a:cxn ang="0">
                <a:pos x="connsiteX8330" y="connsiteY8330"/>
              </a:cxn>
              <a:cxn ang="0">
                <a:pos x="connsiteX8331" y="connsiteY8331"/>
              </a:cxn>
              <a:cxn ang="0">
                <a:pos x="connsiteX8332" y="connsiteY8332"/>
              </a:cxn>
              <a:cxn ang="0">
                <a:pos x="connsiteX8333" y="connsiteY8333"/>
              </a:cxn>
              <a:cxn ang="0">
                <a:pos x="connsiteX8334" y="connsiteY8334"/>
              </a:cxn>
              <a:cxn ang="0">
                <a:pos x="connsiteX8335" y="connsiteY8335"/>
              </a:cxn>
              <a:cxn ang="0">
                <a:pos x="connsiteX8336" y="connsiteY8336"/>
              </a:cxn>
              <a:cxn ang="0">
                <a:pos x="connsiteX8337" y="connsiteY8337"/>
              </a:cxn>
              <a:cxn ang="0">
                <a:pos x="connsiteX8338" y="connsiteY8338"/>
              </a:cxn>
              <a:cxn ang="0">
                <a:pos x="connsiteX8339" y="connsiteY8339"/>
              </a:cxn>
              <a:cxn ang="0">
                <a:pos x="connsiteX8340" y="connsiteY8340"/>
              </a:cxn>
              <a:cxn ang="0">
                <a:pos x="connsiteX8341" y="connsiteY8341"/>
              </a:cxn>
              <a:cxn ang="0">
                <a:pos x="connsiteX8342" y="connsiteY8342"/>
              </a:cxn>
              <a:cxn ang="0">
                <a:pos x="connsiteX8343" y="connsiteY8343"/>
              </a:cxn>
              <a:cxn ang="0">
                <a:pos x="connsiteX8344" y="connsiteY8344"/>
              </a:cxn>
              <a:cxn ang="0">
                <a:pos x="connsiteX8345" y="connsiteY8345"/>
              </a:cxn>
              <a:cxn ang="0">
                <a:pos x="connsiteX8346" y="connsiteY8346"/>
              </a:cxn>
              <a:cxn ang="0">
                <a:pos x="connsiteX8347" y="connsiteY8347"/>
              </a:cxn>
              <a:cxn ang="0">
                <a:pos x="connsiteX8348" y="connsiteY8348"/>
              </a:cxn>
              <a:cxn ang="0">
                <a:pos x="connsiteX8349" y="connsiteY8349"/>
              </a:cxn>
              <a:cxn ang="0">
                <a:pos x="connsiteX8350" y="connsiteY8350"/>
              </a:cxn>
              <a:cxn ang="0">
                <a:pos x="connsiteX8351" y="connsiteY8351"/>
              </a:cxn>
              <a:cxn ang="0">
                <a:pos x="connsiteX8352" y="connsiteY8352"/>
              </a:cxn>
              <a:cxn ang="0">
                <a:pos x="connsiteX8353" y="connsiteY8353"/>
              </a:cxn>
              <a:cxn ang="0">
                <a:pos x="connsiteX8354" y="connsiteY8354"/>
              </a:cxn>
              <a:cxn ang="0">
                <a:pos x="connsiteX8355" y="connsiteY8355"/>
              </a:cxn>
              <a:cxn ang="0">
                <a:pos x="connsiteX8356" y="connsiteY8356"/>
              </a:cxn>
              <a:cxn ang="0">
                <a:pos x="connsiteX8357" y="connsiteY8357"/>
              </a:cxn>
              <a:cxn ang="0">
                <a:pos x="connsiteX8358" y="connsiteY8358"/>
              </a:cxn>
              <a:cxn ang="0">
                <a:pos x="connsiteX8359" y="connsiteY8359"/>
              </a:cxn>
              <a:cxn ang="0">
                <a:pos x="connsiteX8360" y="connsiteY8360"/>
              </a:cxn>
              <a:cxn ang="0">
                <a:pos x="connsiteX8361" y="connsiteY8361"/>
              </a:cxn>
              <a:cxn ang="0">
                <a:pos x="connsiteX8362" y="connsiteY8362"/>
              </a:cxn>
              <a:cxn ang="0">
                <a:pos x="connsiteX8363" y="connsiteY8363"/>
              </a:cxn>
              <a:cxn ang="0">
                <a:pos x="connsiteX8364" y="connsiteY8364"/>
              </a:cxn>
              <a:cxn ang="0">
                <a:pos x="connsiteX8365" y="connsiteY8365"/>
              </a:cxn>
              <a:cxn ang="0">
                <a:pos x="connsiteX8366" y="connsiteY8366"/>
              </a:cxn>
              <a:cxn ang="0">
                <a:pos x="connsiteX8367" y="connsiteY8367"/>
              </a:cxn>
              <a:cxn ang="0">
                <a:pos x="connsiteX8368" y="connsiteY8368"/>
              </a:cxn>
              <a:cxn ang="0">
                <a:pos x="connsiteX8369" y="connsiteY8369"/>
              </a:cxn>
              <a:cxn ang="0">
                <a:pos x="connsiteX8370" y="connsiteY8370"/>
              </a:cxn>
              <a:cxn ang="0">
                <a:pos x="connsiteX8371" y="connsiteY8371"/>
              </a:cxn>
              <a:cxn ang="0">
                <a:pos x="connsiteX8372" y="connsiteY8372"/>
              </a:cxn>
              <a:cxn ang="0">
                <a:pos x="connsiteX8373" y="connsiteY8373"/>
              </a:cxn>
              <a:cxn ang="0">
                <a:pos x="connsiteX8374" y="connsiteY8374"/>
              </a:cxn>
              <a:cxn ang="0">
                <a:pos x="connsiteX8375" y="connsiteY8375"/>
              </a:cxn>
              <a:cxn ang="0">
                <a:pos x="connsiteX8376" y="connsiteY8376"/>
              </a:cxn>
              <a:cxn ang="0">
                <a:pos x="connsiteX8377" y="connsiteY8377"/>
              </a:cxn>
              <a:cxn ang="0">
                <a:pos x="connsiteX8378" y="connsiteY8378"/>
              </a:cxn>
              <a:cxn ang="0">
                <a:pos x="connsiteX8379" y="connsiteY8379"/>
              </a:cxn>
              <a:cxn ang="0">
                <a:pos x="connsiteX8380" y="connsiteY8380"/>
              </a:cxn>
              <a:cxn ang="0">
                <a:pos x="connsiteX8381" y="connsiteY8381"/>
              </a:cxn>
              <a:cxn ang="0">
                <a:pos x="connsiteX8382" y="connsiteY8382"/>
              </a:cxn>
              <a:cxn ang="0">
                <a:pos x="connsiteX8383" y="connsiteY8383"/>
              </a:cxn>
              <a:cxn ang="0">
                <a:pos x="connsiteX8384" y="connsiteY8384"/>
              </a:cxn>
              <a:cxn ang="0">
                <a:pos x="connsiteX8385" y="connsiteY8385"/>
              </a:cxn>
              <a:cxn ang="0">
                <a:pos x="connsiteX8386" y="connsiteY8386"/>
              </a:cxn>
              <a:cxn ang="0">
                <a:pos x="connsiteX8387" y="connsiteY8387"/>
              </a:cxn>
              <a:cxn ang="0">
                <a:pos x="connsiteX8388" y="connsiteY8388"/>
              </a:cxn>
              <a:cxn ang="0">
                <a:pos x="connsiteX8389" y="connsiteY8389"/>
              </a:cxn>
              <a:cxn ang="0">
                <a:pos x="connsiteX8390" y="connsiteY8390"/>
              </a:cxn>
              <a:cxn ang="0">
                <a:pos x="connsiteX8391" y="connsiteY8391"/>
              </a:cxn>
              <a:cxn ang="0">
                <a:pos x="connsiteX8392" y="connsiteY8392"/>
              </a:cxn>
              <a:cxn ang="0">
                <a:pos x="connsiteX8393" y="connsiteY8393"/>
              </a:cxn>
              <a:cxn ang="0">
                <a:pos x="connsiteX8394" y="connsiteY8394"/>
              </a:cxn>
              <a:cxn ang="0">
                <a:pos x="connsiteX8395" y="connsiteY8395"/>
              </a:cxn>
              <a:cxn ang="0">
                <a:pos x="connsiteX8396" y="connsiteY8396"/>
              </a:cxn>
              <a:cxn ang="0">
                <a:pos x="connsiteX8397" y="connsiteY8397"/>
              </a:cxn>
              <a:cxn ang="0">
                <a:pos x="connsiteX8398" y="connsiteY8398"/>
              </a:cxn>
              <a:cxn ang="0">
                <a:pos x="connsiteX8399" y="connsiteY8399"/>
              </a:cxn>
              <a:cxn ang="0">
                <a:pos x="connsiteX8400" y="connsiteY8400"/>
              </a:cxn>
              <a:cxn ang="0">
                <a:pos x="connsiteX8401" y="connsiteY8401"/>
              </a:cxn>
              <a:cxn ang="0">
                <a:pos x="connsiteX8402" y="connsiteY8402"/>
              </a:cxn>
              <a:cxn ang="0">
                <a:pos x="connsiteX8403" y="connsiteY8403"/>
              </a:cxn>
              <a:cxn ang="0">
                <a:pos x="connsiteX8404" y="connsiteY8404"/>
              </a:cxn>
              <a:cxn ang="0">
                <a:pos x="connsiteX8405" y="connsiteY8405"/>
              </a:cxn>
              <a:cxn ang="0">
                <a:pos x="connsiteX8406" y="connsiteY8406"/>
              </a:cxn>
              <a:cxn ang="0">
                <a:pos x="connsiteX8407" y="connsiteY8407"/>
              </a:cxn>
              <a:cxn ang="0">
                <a:pos x="connsiteX8408" y="connsiteY8408"/>
              </a:cxn>
              <a:cxn ang="0">
                <a:pos x="connsiteX8409" y="connsiteY8409"/>
              </a:cxn>
              <a:cxn ang="0">
                <a:pos x="connsiteX8410" y="connsiteY8410"/>
              </a:cxn>
              <a:cxn ang="0">
                <a:pos x="connsiteX8411" y="connsiteY8411"/>
              </a:cxn>
              <a:cxn ang="0">
                <a:pos x="connsiteX8412" y="connsiteY8412"/>
              </a:cxn>
              <a:cxn ang="0">
                <a:pos x="connsiteX8413" y="connsiteY8413"/>
              </a:cxn>
              <a:cxn ang="0">
                <a:pos x="connsiteX8414" y="connsiteY8414"/>
              </a:cxn>
              <a:cxn ang="0">
                <a:pos x="connsiteX8415" y="connsiteY8415"/>
              </a:cxn>
              <a:cxn ang="0">
                <a:pos x="connsiteX8416" y="connsiteY8416"/>
              </a:cxn>
              <a:cxn ang="0">
                <a:pos x="connsiteX8417" y="connsiteY8417"/>
              </a:cxn>
              <a:cxn ang="0">
                <a:pos x="connsiteX8418" y="connsiteY8418"/>
              </a:cxn>
              <a:cxn ang="0">
                <a:pos x="connsiteX8419" y="connsiteY8419"/>
              </a:cxn>
              <a:cxn ang="0">
                <a:pos x="connsiteX8420" y="connsiteY8420"/>
              </a:cxn>
              <a:cxn ang="0">
                <a:pos x="connsiteX8421" y="connsiteY8421"/>
              </a:cxn>
              <a:cxn ang="0">
                <a:pos x="connsiteX8422" y="connsiteY8422"/>
              </a:cxn>
              <a:cxn ang="0">
                <a:pos x="connsiteX8423" y="connsiteY8423"/>
              </a:cxn>
              <a:cxn ang="0">
                <a:pos x="connsiteX8424" y="connsiteY8424"/>
              </a:cxn>
              <a:cxn ang="0">
                <a:pos x="connsiteX8425" y="connsiteY8425"/>
              </a:cxn>
              <a:cxn ang="0">
                <a:pos x="connsiteX8426" y="connsiteY8426"/>
              </a:cxn>
              <a:cxn ang="0">
                <a:pos x="connsiteX8427" y="connsiteY8427"/>
              </a:cxn>
              <a:cxn ang="0">
                <a:pos x="connsiteX8428" y="connsiteY8428"/>
              </a:cxn>
              <a:cxn ang="0">
                <a:pos x="connsiteX8429" y="connsiteY8429"/>
              </a:cxn>
              <a:cxn ang="0">
                <a:pos x="connsiteX8430" y="connsiteY8430"/>
              </a:cxn>
              <a:cxn ang="0">
                <a:pos x="connsiteX8431" y="connsiteY8431"/>
              </a:cxn>
              <a:cxn ang="0">
                <a:pos x="connsiteX8432" y="connsiteY8432"/>
              </a:cxn>
              <a:cxn ang="0">
                <a:pos x="connsiteX8433" y="connsiteY8433"/>
              </a:cxn>
              <a:cxn ang="0">
                <a:pos x="connsiteX8434" y="connsiteY8434"/>
              </a:cxn>
              <a:cxn ang="0">
                <a:pos x="connsiteX8435" y="connsiteY8435"/>
              </a:cxn>
              <a:cxn ang="0">
                <a:pos x="connsiteX8436" y="connsiteY8436"/>
              </a:cxn>
              <a:cxn ang="0">
                <a:pos x="connsiteX8437" y="connsiteY8437"/>
              </a:cxn>
              <a:cxn ang="0">
                <a:pos x="connsiteX8438" y="connsiteY8438"/>
              </a:cxn>
              <a:cxn ang="0">
                <a:pos x="connsiteX8439" y="connsiteY8439"/>
              </a:cxn>
              <a:cxn ang="0">
                <a:pos x="connsiteX8440" y="connsiteY8440"/>
              </a:cxn>
              <a:cxn ang="0">
                <a:pos x="connsiteX8441" y="connsiteY8441"/>
              </a:cxn>
              <a:cxn ang="0">
                <a:pos x="connsiteX8442" y="connsiteY8442"/>
              </a:cxn>
              <a:cxn ang="0">
                <a:pos x="connsiteX8443" y="connsiteY8443"/>
              </a:cxn>
              <a:cxn ang="0">
                <a:pos x="connsiteX8444" y="connsiteY8444"/>
              </a:cxn>
              <a:cxn ang="0">
                <a:pos x="connsiteX8445" y="connsiteY8445"/>
              </a:cxn>
              <a:cxn ang="0">
                <a:pos x="connsiteX8446" y="connsiteY8446"/>
              </a:cxn>
              <a:cxn ang="0">
                <a:pos x="connsiteX8447" y="connsiteY8447"/>
              </a:cxn>
              <a:cxn ang="0">
                <a:pos x="connsiteX8448" y="connsiteY8448"/>
              </a:cxn>
              <a:cxn ang="0">
                <a:pos x="connsiteX8449" y="connsiteY8449"/>
              </a:cxn>
              <a:cxn ang="0">
                <a:pos x="connsiteX8450" y="connsiteY8450"/>
              </a:cxn>
              <a:cxn ang="0">
                <a:pos x="connsiteX8451" y="connsiteY8451"/>
              </a:cxn>
              <a:cxn ang="0">
                <a:pos x="connsiteX8452" y="connsiteY8452"/>
              </a:cxn>
              <a:cxn ang="0">
                <a:pos x="connsiteX8453" y="connsiteY8453"/>
              </a:cxn>
              <a:cxn ang="0">
                <a:pos x="connsiteX8454" y="connsiteY8454"/>
              </a:cxn>
              <a:cxn ang="0">
                <a:pos x="connsiteX8455" y="connsiteY8455"/>
              </a:cxn>
              <a:cxn ang="0">
                <a:pos x="connsiteX8456" y="connsiteY8456"/>
              </a:cxn>
              <a:cxn ang="0">
                <a:pos x="connsiteX8457" y="connsiteY8457"/>
              </a:cxn>
              <a:cxn ang="0">
                <a:pos x="connsiteX8458" y="connsiteY8458"/>
              </a:cxn>
              <a:cxn ang="0">
                <a:pos x="connsiteX8459" y="connsiteY8459"/>
              </a:cxn>
              <a:cxn ang="0">
                <a:pos x="connsiteX8460" y="connsiteY8460"/>
              </a:cxn>
              <a:cxn ang="0">
                <a:pos x="connsiteX8461" y="connsiteY8461"/>
              </a:cxn>
              <a:cxn ang="0">
                <a:pos x="connsiteX8462" y="connsiteY8462"/>
              </a:cxn>
              <a:cxn ang="0">
                <a:pos x="connsiteX8463" y="connsiteY8463"/>
              </a:cxn>
              <a:cxn ang="0">
                <a:pos x="connsiteX8464" y="connsiteY8464"/>
              </a:cxn>
              <a:cxn ang="0">
                <a:pos x="connsiteX8465" y="connsiteY8465"/>
              </a:cxn>
              <a:cxn ang="0">
                <a:pos x="connsiteX8466" y="connsiteY8466"/>
              </a:cxn>
              <a:cxn ang="0">
                <a:pos x="connsiteX8467" y="connsiteY8467"/>
              </a:cxn>
              <a:cxn ang="0">
                <a:pos x="connsiteX8468" y="connsiteY8468"/>
              </a:cxn>
              <a:cxn ang="0">
                <a:pos x="connsiteX8469" y="connsiteY8469"/>
              </a:cxn>
              <a:cxn ang="0">
                <a:pos x="connsiteX8470" y="connsiteY8470"/>
              </a:cxn>
              <a:cxn ang="0">
                <a:pos x="connsiteX8471" y="connsiteY8471"/>
              </a:cxn>
              <a:cxn ang="0">
                <a:pos x="connsiteX8472" y="connsiteY8472"/>
              </a:cxn>
              <a:cxn ang="0">
                <a:pos x="connsiteX8473" y="connsiteY8473"/>
              </a:cxn>
              <a:cxn ang="0">
                <a:pos x="connsiteX8474" y="connsiteY8474"/>
              </a:cxn>
              <a:cxn ang="0">
                <a:pos x="connsiteX8475" y="connsiteY8475"/>
              </a:cxn>
              <a:cxn ang="0">
                <a:pos x="connsiteX8476" y="connsiteY8476"/>
              </a:cxn>
              <a:cxn ang="0">
                <a:pos x="connsiteX8477" y="connsiteY8477"/>
              </a:cxn>
              <a:cxn ang="0">
                <a:pos x="connsiteX8478" y="connsiteY8478"/>
              </a:cxn>
              <a:cxn ang="0">
                <a:pos x="connsiteX8479" y="connsiteY8479"/>
              </a:cxn>
              <a:cxn ang="0">
                <a:pos x="connsiteX8480" y="connsiteY8480"/>
              </a:cxn>
              <a:cxn ang="0">
                <a:pos x="connsiteX8481" y="connsiteY8481"/>
              </a:cxn>
              <a:cxn ang="0">
                <a:pos x="connsiteX8482" y="connsiteY8482"/>
              </a:cxn>
              <a:cxn ang="0">
                <a:pos x="connsiteX8483" y="connsiteY8483"/>
              </a:cxn>
              <a:cxn ang="0">
                <a:pos x="connsiteX8484" y="connsiteY8484"/>
              </a:cxn>
              <a:cxn ang="0">
                <a:pos x="connsiteX8485" y="connsiteY8485"/>
              </a:cxn>
              <a:cxn ang="0">
                <a:pos x="connsiteX8486" y="connsiteY8486"/>
              </a:cxn>
              <a:cxn ang="0">
                <a:pos x="connsiteX8487" y="connsiteY8487"/>
              </a:cxn>
              <a:cxn ang="0">
                <a:pos x="connsiteX8488" y="connsiteY8488"/>
              </a:cxn>
              <a:cxn ang="0">
                <a:pos x="connsiteX8489" y="connsiteY8489"/>
              </a:cxn>
              <a:cxn ang="0">
                <a:pos x="connsiteX8490" y="connsiteY8490"/>
              </a:cxn>
              <a:cxn ang="0">
                <a:pos x="connsiteX8491" y="connsiteY8491"/>
              </a:cxn>
              <a:cxn ang="0">
                <a:pos x="connsiteX8492" y="connsiteY8492"/>
              </a:cxn>
              <a:cxn ang="0">
                <a:pos x="connsiteX8493" y="connsiteY8493"/>
              </a:cxn>
              <a:cxn ang="0">
                <a:pos x="connsiteX8494" y="connsiteY8494"/>
              </a:cxn>
              <a:cxn ang="0">
                <a:pos x="connsiteX8495" y="connsiteY8495"/>
              </a:cxn>
              <a:cxn ang="0">
                <a:pos x="connsiteX8496" y="connsiteY8496"/>
              </a:cxn>
              <a:cxn ang="0">
                <a:pos x="connsiteX8497" y="connsiteY8497"/>
              </a:cxn>
              <a:cxn ang="0">
                <a:pos x="connsiteX8498" y="connsiteY8498"/>
              </a:cxn>
              <a:cxn ang="0">
                <a:pos x="connsiteX8499" y="connsiteY8499"/>
              </a:cxn>
              <a:cxn ang="0">
                <a:pos x="connsiteX8500" y="connsiteY8500"/>
              </a:cxn>
              <a:cxn ang="0">
                <a:pos x="connsiteX8501" y="connsiteY8501"/>
              </a:cxn>
              <a:cxn ang="0">
                <a:pos x="connsiteX8502" y="connsiteY8502"/>
              </a:cxn>
              <a:cxn ang="0">
                <a:pos x="connsiteX8503" y="connsiteY8503"/>
              </a:cxn>
              <a:cxn ang="0">
                <a:pos x="connsiteX8504" y="connsiteY8504"/>
              </a:cxn>
              <a:cxn ang="0">
                <a:pos x="connsiteX8505" y="connsiteY8505"/>
              </a:cxn>
              <a:cxn ang="0">
                <a:pos x="connsiteX8506" y="connsiteY8506"/>
              </a:cxn>
              <a:cxn ang="0">
                <a:pos x="connsiteX8507" y="connsiteY8507"/>
              </a:cxn>
              <a:cxn ang="0">
                <a:pos x="connsiteX8508" y="connsiteY8508"/>
              </a:cxn>
              <a:cxn ang="0">
                <a:pos x="connsiteX8509" y="connsiteY8509"/>
              </a:cxn>
              <a:cxn ang="0">
                <a:pos x="connsiteX8510" y="connsiteY8510"/>
              </a:cxn>
              <a:cxn ang="0">
                <a:pos x="connsiteX8511" y="connsiteY8511"/>
              </a:cxn>
              <a:cxn ang="0">
                <a:pos x="connsiteX8512" y="connsiteY8512"/>
              </a:cxn>
              <a:cxn ang="0">
                <a:pos x="connsiteX8513" y="connsiteY8513"/>
              </a:cxn>
              <a:cxn ang="0">
                <a:pos x="connsiteX8514" y="connsiteY8514"/>
              </a:cxn>
              <a:cxn ang="0">
                <a:pos x="connsiteX8515" y="connsiteY8515"/>
              </a:cxn>
              <a:cxn ang="0">
                <a:pos x="connsiteX8516" y="connsiteY8516"/>
              </a:cxn>
              <a:cxn ang="0">
                <a:pos x="connsiteX8517" y="connsiteY8517"/>
              </a:cxn>
              <a:cxn ang="0">
                <a:pos x="connsiteX8518" y="connsiteY8518"/>
              </a:cxn>
              <a:cxn ang="0">
                <a:pos x="connsiteX8519" y="connsiteY8519"/>
              </a:cxn>
              <a:cxn ang="0">
                <a:pos x="connsiteX8520" y="connsiteY8520"/>
              </a:cxn>
              <a:cxn ang="0">
                <a:pos x="connsiteX8521" y="connsiteY8521"/>
              </a:cxn>
              <a:cxn ang="0">
                <a:pos x="connsiteX8522" y="connsiteY8522"/>
              </a:cxn>
              <a:cxn ang="0">
                <a:pos x="connsiteX8523" y="connsiteY8523"/>
              </a:cxn>
              <a:cxn ang="0">
                <a:pos x="connsiteX8524" y="connsiteY8524"/>
              </a:cxn>
              <a:cxn ang="0">
                <a:pos x="connsiteX8525" y="connsiteY8525"/>
              </a:cxn>
              <a:cxn ang="0">
                <a:pos x="connsiteX8526" y="connsiteY8526"/>
              </a:cxn>
              <a:cxn ang="0">
                <a:pos x="connsiteX8527" y="connsiteY8527"/>
              </a:cxn>
              <a:cxn ang="0">
                <a:pos x="connsiteX8528" y="connsiteY8528"/>
              </a:cxn>
              <a:cxn ang="0">
                <a:pos x="connsiteX8529" y="connsiteY8529"/>
              </a:cxn>
              <a:cxn ang="0">
                <a:pos x="connsiteX8530" y="connsiteY8530"/>
              </a:cxn>
              <a:cxn ang="0">
                <a:pos x="connsiteX8531" y="connsiteY8531"/>
              </a:cxn>
              <a:cxn ang="0">
                <a:pos x="connsiteX8532" y="connsiteY8532"/>
              </a:cxn>
              <a:cxn ang="0">
                <a:pos x="connsiteX8533" y="connsiteY8533"/>
              </a:cxn>
              <a:cxn ang="0">
                <a:pos x="connsiteX8534" y="connsiteY8534"/>
              </a:cxn>
              <a:cxn ang="0">
                <a:pos x="connsiteX8535" y="connsiteY8535"/>
              </a:cxn>
              <a:cxn ang="0">
                <a:pos x="connsiteX8536" y="connsiteY8536"/>
              </a:cxn>
              <a:cxn ang="0">
                <a:pos x="connsiteX8537" y="connsiteY8537"/>
              </a:cxn>
              <a:cxn ang="0">
                <a:pos x="connsiteX8538" y="connsiteY8538"/>
              </a:cxn>
              <a:cxn ang="0">
                <a:pos x="connsiteX8539" y="connsiteY8539"/>
              </a:cxn>
              <a:cxn ang="0">
                <a:pos x="connsiteX8540" y="connsiteY8540"/>
              </a:cxn>
              <a:cxn ang="0">
                <a:pos x="connsiteX8541" y="connsiteY8541"/>
              </a:cxn>
              <a:cxn ang="0">
                <a:pos x="connsiteX8542" y="connsiteY8542"/>
              </a:cxn>
              <a:cxn ang="0">
                <a:pos x="connsiteX8543" y="connsiteY8543"/>
              </a:cxn>
              <a:cxn ang="0">
                <a:pos x="connsiteX8544" y="connsiteY8544"/>
              </a:cxn>
              <a:cxn ang="0">
                <a:pos x="connsiteX8545" y="connsiteY8545"/>
              </a:cxn>
              <a:cxn ang="0">
                <a:pos x="connsiteX8546" y="connsiteY8546"/>
              </a:cxn>
              <a:cxn ang="0">
                <a:pos x="connsiteX8547" y="connsiteY8547"/>
              </a:cxn>
              <a:cxn ang="0">
                <a:pos x="connsiteX8548" y="connsiteY8548"/>
              </a:cxn>
              <a:cxn ang="0">
                <a:pos x="connsiteX8549" y="connsiteY8549"/>
              </a:cxn>
              <a:cxn ang="0">
                <a:pos x="connsiteX8550" y="connsiteY8550"/>
              </a:cxn>
              <a:cxn ang="0">
                <a:pos x="connsiteX8551" y="connsiteY8551"/>
              </a:cxn>
              <a:cxn ang="0">
                <a:pos x="connsiteX8552" y="connsiteY8552"/>
              </a:cxn>
              <a:cxn ang="0">
                <a:pos x="connsiteX8553" y="connsiteY8553"/>
              </a:cxn>
              <a:cxn ang="0">
                <a:pos x="connsiteX8554" y="connsiteY8554"/>
              </a:cxn>
              <a:cxn ang="0">
                <a:pos x="connsiteX8555" y="connsiteY8555"/>
              </a:cxn>
              <a:cxn ang="0">
                <a:pos x="connsiteX8556" y="connsiteY8556"/>
              </a:cxn>
              <a:cxn ang="0">
                <a:pos x="connsiteX8557" y="connsiteY8557"/>
              </a:cxn>
              <a:cxn ang="0">
                <a:pos x="connsiteX8558" y="connsiteY8558"/>
              </a:cxn>
              <a:cxn ang="0">
                <a:pos x="connsiteX8559" y="connsiteY8559"/>
              </a:cxn>
              <a:cxn ang="0">
                <a:pos x="connsiteX8560" y="connsiteY8560"/>
              </a:cxn>
              <a:cxn ang="0">
                <a:pos x="connsiteX8561" y="connsiteY8561"/>
              </a:cxn>
              <a:cxn ang="0">
                <a:pos x="connsiteX8562" y="connsiteY8562"/>
              </a:cxn>
              <a:cxn ang="0">
                <a:pos x="connsiteX8563" y="connsiteY8563"/>
              </a:cxn>
              <a:cxn ang="0">
                <a:pos x="connsiteX8564" y="connsiteY8564"/>
              </a:cxn>
              <a:cxn ang="0">
                <a:pos x="connsiteX8565" y="connsiteY8565"/>
              </a:cxn>
              <a:cxn ang="0">
                <a:pos x="connsiteX8566" y="connsiteY8566"/>
              </a:cxn>
              <a:cxn ang="0">
                <a:pos x="connsiteX8567" y="connsiteY8567"/>
              </a:cxn>
              <a:cxn ang="0">
                <a:pos x="connsiteX8568" y="connsiteY8568"/>
              </a:cxn>
              <a:cxn ang="0">
                <a:pos x="connsiteX8569" y="connsiteY8569"/>
              </a:cxn>
              <a:cxn ang="0">
                <a:pos x="connsiteX8570" y="connsiteY8570"/>
              </a:cxn>
              <a:cxn ang="0">
                <a:pos x="connsiteX8571" y="connsiteY8571"/>
              </a:cxn>
              <a:cxn ang="0">
                <a:pos x="connsiteX8572" y="connsiteY8572"/>
              </a:cxn>
              <a:cxn ang="0">
                <a:pos x="connsiteX8573" y="connsiteY8573"/>
              </a:cxn>
              <a:cxn ang="0">
                <a:pos x="connsiteX8574" y="connsiteY8574"/>
              </a:cxn>
              <a:cxn ang="0">
                <a:pos x="connsiteX8575" y="connsiteY8575"/>
              </a:cxn>
              <a:cxn ang="0">
                <a:pos x="connsiteX8576" y="connsiteY8576"/>
              </a:cxn>
              <a:cxn ang="0">
                <a:pos x="connsiteX8577" y="connsiteY8577"/>
              </a:cxn>
              <a:cxn ang="0">
                <a:pos x="connsiteX8578" y="connsiteY8578"/>
              </a:cxn>
              <a:cxn ang="0">
                <a:pos x="connsiteX8579" y="connsiteY8579"/>
              </a:cxn>
              <a:cxn ang="0">
                <a:pos x="connsiteX8580" y="connsiteY8580"/>
              </a:cxn>
              <a:cxn ang="0">
                <a:pos x="connsiteX8581" y="connsiteY8581"/>
              </a:cxn>
              <a:cxn ang="0">
                <a:pos x="connsiteX8582" y="connsiteY8582"/>
              </a:cxn>
              <a:cxn ang="0">
                <a:pos x="connsiteX8583" y="connsiteY8583"/>
              </a:cxn>
              <a:cxn ang="0">
                <a:pos x="connsiteX8584" y="connsiteY8584"/>
              </a:cxn>
              <a:cxn ang="0">
                <a:pos x="connsiteX8585" y="connsiteY8585"/>
              </a:cxn>
              <a:cxn ang="0">
                <a:pos x="connsiteX8586" y="connsiteY8586"/>
              </a:cxn>
              <a:cxn ang="0">
                <a:pos x="connsiteX8587" y="connsiteY8587"/>
              </a:cxn>
              <a:cxn ang="0">
                <a:pos x="connsiteX8588" y="connsiteY8588"/>
              </a:cxn>
              <a:cxn ang="0">
                <a:pos x="connsiteX8589" y="connsiteY8589"/>
              </a:cxn>
              <a:cxn ang="0">
                <a:pos x="connsiteX8590" y="connsiteY8590"/>
              </a:cxn>
              <a:cxn ang="0">
                <a:pos x="connsiteX8591" y="connsiteY8591"/>
              </a:cxn>
              <a:cxn ang="0">
                <a:pos x="connsiteX8592" y="connsiteY8592"/>
              </a:cxn>
              <a:cxn ang="0">
                <a:pos x="connsiteX8593" y="connsiteY8593"/>
              </a:cxn>
              <a:cxn ang="0">
                <a:pos x="connsiteX8594" y="connsiteY8594"/>
              </a:cxn>
              <a:cxn ang="0">
                <a:pos x="connsiteX8595" y="connsiteY8595"/>
              </a:cxn>
              <a:cxn ang="0">
                <a:pos x="connsiteX8596" y="connsiteY8596"/>
              </a:cxn>
              <a:cxn ang="0">
                <a:pos x="connsiteX8597" y="connsiteY8597"/>
              </a:cxn>
              <a:cxn ang="0">
                <a:pos x="connsiteX8598" y="connsiteY8598"/>
              </a:cxn>
              <a:cxn ang="0">
                <a:pos x="connsiteX8599" y="connsiteY8599"/>
              </a:cxn>
              <a:cxn ang="0">
                <a:pos x="connsiteX8600" y="connsiteY8600"/>
              </a:cxn>
              <a:cxn ang="0">
                <a:pos x="connsiteX8601" y="connsiteY8601"/>
              </a:cxn>
              <a:cxn ang="0">
                <a:pos x="connsiteX8602" y="connsiteY8602"/>
              </a:cxn>
              <a:cxn ang="0">
                <a:pos x="connsiteX8603" y="connsiteY8603"/>
              </a:cxn>
              <a:cxn ang="0">
                <a:pos x="connsiteX8604" y="connsiteY8604"/>
              </a:cxn>
              <a:cxn ang="0">
                <a:pos x="connsiteX8605" y="connsiteY8605"/>
              </a:cxn>
              <a:cxn ang="0">
                <a:pos x="connsiteX8606" y="connsiteY8606"/>
              </a:cxn>
              <a:cxn ang="0">
                <a:pos x="connsiteX8607" y="connsiteY8607"/>
              </a:cxn>
              <a:cxn ang="0">
                <a:pos x="connsiteX8608" y="connsiteY8608"/>
              </a:cxn>
              <a:cxn ang="0">
                <a:pos x="connsiteX8609" y="connsiteY8609"/>
              </a:cxn>
              <a:cxn ang="0">
                <a:pos x="connsiteX8610" y="connsiteY8610"/>
              </a:cxn>
              <a:cxn ang="0">
                <a:pos x="connsiteX8611" y="connsiteY8611"/>
              </a:cxn>
              <a:cxn ang="0">
                <a:pos x="connsiteX8612" y="connsiteY8612"/>
              </a:cxn>
              <a:cxn ang="0">
                <a:pos x="connsiteX8613" y="connsiteY8613"/>
              </a:cxn>
              <a:cxn ang="0">
                <a:pos x="connsiteX8614" y="connsiteY8614"/>
              </a:cxn>
              <a:cxn ang="0">
                <a:pos x="connsiteX8615" y="connsiteY8615"/>
              </a:cxn>
              <a:cxn ang="0">
                <a:pos x="connsiteX8616" y="connsiteY8616"/>
              </a:cxn>
              <a:cxn ang="0">
                <a:pos x="connsiteX8617" y="connsiteY8617"/>
              </a:cxn>
              <a:cxn ang="0">
                <a:pos x="connsiteX8618" y="connsiteY8618"/>
              </a:cxn>
              <a:cxn ang="0">
                <a:pos x="connsiteX8619" y="connsiteY8619"/>
              </a:cxn>
              <a:cxn ang="0">
                <a:pos x="connsiteX8620" y="connsiteY8620"/>
              </a:cxn>
              <a:cxn ang="0">
                <a:pos x="connsiteX8621" y="connsiteY8621"/>
              </a:cxn>
              <a:cxn ang="0">
                <a:pos x="connsiteX8622" y="connsiteY8622"/>
              </a:cxn>
              <a:cxn ang="0">
                <a:pos x="connsiteX8623" y="connsiteY8623"/>
              </a:cxn>
              <a:cxn ang="0">
                <a:pos x="connsiteX8624" y="connsiteY8624"/>
              </a:cxn>
              <a:cxn ang="0">
                <a:pos x="connsiteX8625" y="connsiteY8625"/>
              </a:cxn>
              <a:cxn ang="0">
                <a:pos x="connsiteX8626" y="connsiteY8626"/>
              </a:cxn>
              <a:cxn ang="0">
                <a:pos x="connsiteX8627" y="connsiteY8627"/>
              </a:cxn>
              <a:cxn ang="0">
                <a:pos x="connsiteX8628" y="connsiteY8628"/>
              </a:cxn>
              <a:cxn ang="0">
                <a:pos x="connsiteX8629" y="connsiteY8629"/>
              </a:cxn>
              <a:cxn ang="0">
                <a:pos x="connsiteX8630" y="connsiteY8630"/>
              </a:cxn>
              <a:cxn ang="0">
                <a:pos x="connsiteX8631" y="connsiteY8631"/>
              </a:cxn>
              <a:cxn ang="0">
                <a:pos x="connsiteX8632" y="connsiteY8632"/>
              </a:cxn>
              <a:cxn ang="0">
                <a:pos x="connsiteX8633" y="connsiteY8633"/>
              </a:cxn>
              <a:cxn ang="0">
                <a:pos x="connsiteX8634" y="connsiteY8634"/>
              </a:cxn>
              <a:cxn ang="0">
                <a:pos x="connsiteX8635" y="connsiteY8635"/>
              </a:cxn>
              <a:cxn ang="0">
                <a:pos x="connsiteX8636" y="connsiteY8636"/>
              </a:cxn>
              <a:cxn ang="0">
                <a:pos x="connsiteX8637" y="connsiteY8637"/>
              </a:cxn>
              <a:cxn ang="0">
                <a:pos x="connsiteX8638" y="connsiteY8638"/>
              </a:cxn>
              <a:cxn ang="0">
                <a:pos x="connsiteX8639" y="connsiteY8639"/>
              </a:cxn>
              <a:cxn ang="0">
                <a:pos x="connsiteX8640" y="connsiteY8640"/>
              </a:cxn>
              <a:cxn ang="0">
                <a:pos x="connsiteX8641" y="connsiteY8641"/>
              </a:cxn>
              <a:cxn ang="0">
                <a:pos x="connsiteX8642" y="connsiteY8642"/>
              </a:cxn>
              <a:cxn ang="0">
                <a:pos x="connsiteX8643" y="connsiteY8643"/>
              </a:cxn>
              <a:cxn ang="0">
                <a:pos x="connsiteX8644" y="connsiteY8644"/>
              </a:cxn>
              <a:cxn ang="0">
                <a:pos x="connsiteX8645" y="connsiteY8645"/>
              </a:cxn>
              <a:cxn ang="0">
                <a:pos x="connsiteX8646" y="connsiteY8646"/>
              </a:cxn>
              <a:cxn ang="0">
                <a:pos x="connsiteX8647" y="connsiteY8647"/>
              </a:cxn>
              <a:cxn ang="0">
                <a:pos x="connsiteX8648" y="connsiteY8648"/>
              </a:cxn>
              <a:cxn ang="0">
                <a:pos x="connsiteX8649" y="connsiteY8649"/>
              </a:cxn>
              <a:cxn ang="0">
                <a:pos x="connsiteX8650" y="connsiteY8650"/>
              </a:cxn>
              <a:cxn ang="0">
                <a:pos x="connsiteX8651" y="connsiteY8651"/>
              </a:cxn>
              <a:cxn ang="0">
                <a:pos x="connsiteX8652" y="connsiteY8652"/>
              </a:cxn>
              <a:cxn ang="0">
                <a:pos x="connsiteX8653" y="connsiteY8653"/>
              </a:cxn>
              <a:cxn ang="0">
                <a:pos x="connsiteX8654" y="connsiteY8654"/>
              </a:cxn>
              <a:cxn ang="0">
                <a:pos x="connsiteX8655" y="connsiteY8655"/>
              </a:cxn>
              <a:cxn ang="0">
                <a:pos x="connsiteX8656" y="connsiteY8656"/>
              </a:cxn>
              <a:cxn ang="0">
                <a:pos x="connsiteX8657" y="connsiteY8657"/>
              </a:cxn>
              <a:cxn ang="0">
                <a:pos x="connsiteX8658" y="connsiteY8658"/>
              </a:cxn>
              <a:cxn ang="0">
                <a:pos x="connsiteX8659" y="connsiteY8659"/>
              </a:cxn>
              <a:cxn ang="0">
                <a:pos x="connsiteX8660" y="connsiteY8660"/>
              </a:cxn>
              <a:cxn ang="0">
                <a:pos x="connsiteX8661" y="connsiteY8661"/>
              </a:cxn>
              <a:cxn ang="0">
                <a:pos x="connsiteX8662" y="connsiteY8662"/>
              </a:cxn>
              <a:cxn ang="0">
                <a:pos x="connsiteX8663" y="connsiteY8663"/>
              </a:cxn>
              <a:cxn ang="0">
                <a:pos x="connsiteX8664" y="connsiteY8664"/>
              </a:cxn>
              <a:cxn ang="0">
                <a:pos x="connsiteX8665" y="connsiteY8665"/>
              </a:cxn>
              <a:cxn ang="0">
                <a:pos x="connsiteX8666" y="connsiteY8666"/>
              </a:cxn>
              <a:cxn ang="0">
                <a:pos x="connsiteX8667" y="connsiteY8667"/>
              </a:cxn>
              <a:cxn ang="0">
                <a:pos x="connsiteX8668" y="connsiteY8668"/>
              </a:cxn>
              <a:cxn ang="0">
                <a:pos x="connsiteX8669" y="connsiteY8669"/>
              </a:cxn>
              <a:cxn ang="0">
                <a:pos x="connsiteX8670" y="connsiteY8670"/>
              </a:cxn>
              <a:cxn ang="0">
                <a:pos x="connsiteX8671" y="connsiteY8671"/>
              </a:cxn>
              <a:cxn ang="0">
                <a:pos x="connsiteX8672" y="connsiteY8672"/>
              </a:cxn>
              <a:cxn ang="0">
                <a:pos x="connsiteX8673" y="connsiteY8673"/>
              </a:cxn>
              <a:cxn ang="0">
                <a:pos x="connsiteX8674" y="connsiteY8674"/>
              </a:cxn>
              <a:cxn ang="0">
                <a:pos x="connsiteX8675" y="connsiteY8675"/>
              </a:cxn>
              <a:cxn ang="0">
                <a:pos x="connsiteX8676" y="connsiteY8676"/>
              </a:cxn>
              <a:cxn ang="0">
                <a:pos x="connsiteX8677" y="connsiteY8677"/>
              </a:cxn>
              <a:cxn ang="0">
                <a:pos x="connsiteX8678" y="connsiteY8678"/>
              </a:cxn>
              <a:cxn ang="0">
                <a:pos x="connsiteX8679" y="connsiteY8679"/>
              </a:cxn>
              <a:cxn ang="0">
                <a:pos x="connsiteX8680" y="connsiteY8680"/>
              </a:cxn>
              <a:cxn ang="0">
                <a:pos x="connsiteX8681" y="connsiteY8681"/>
              </a:cxn>
              <a:cxn ang="0">
                <a:pos x="connsiteX8682" y="connsiteY8682"/>
              </a:cxn>
              <a:cxn ang="0">
                <a:pos x="connsiteX8683" y="connsiteY8683"/>
              </a:cxn>
              <a:cxn ang="0">
                <a:pos x="connsiteX8684" y="connsiteY8684"/>
              </a:cxn>
              <a:cxn ang="0">
                <a:pos x="connsiteX8685" y="connsiteY8685"/>
              </a:cxn>
              <a:cxn ang="0">
                <a:pos x="connsiteX8686" y="connsiteY8686"/>
              </a:cxn>
              <a:cxn ang="0">
                <a:pos x="connsiteX8687" y="connsiteY8687"/>
              </a:cxn>
              <a:cxn ang="0">
                <a:pos x="connsiteX8688" y="connsiteY8688"/>
              </a:cxn>
              <a:cxn ang="0">
                <a:pos x="connsiteX8689" y="connsiteY8689"/>
              </a:cxn>
              <a:cxn ang="0">
                <a:pos x="connsiteX8690" y="connsiteY8690"/>
              </a:cxn>
              <a:cxn ang="0">
                <a:pos x="connsiteX8691" y="connsiteY8691"/>
              </a:cxn>
              <a:cxn ang="0">
                <a:pos x="connsiteX8692" y="connsiteY8692"/>
              </a:cxn>
              <a:cxn ang="0">
                <a:pos x="connsiteX8693" y="connsiteY8693"/>
              </a:cxn>
              <a:cxn ang="0">
                <a:pos x="connsiteX8694" y="connsiteY8694"/>
              </a:cxn>
              <a:cxn ang="0">
                <a:pos x="connsiteX8695" y="connsiteY8695"/>
              </a:cxn>
              <a:cxn ang="0">
                <a:pos x="connsiteX8696" y="connsiteY8696"/>
              </a:cxn>
              <a:cxn ang="0">
                <a:pos x="connsiteX8697" y="connsiteY8697"/>
              </a:cxn>
              <a:cxn ang="0">
                <a:pos x="connsiteX8698" y="connsiteY8698"/>
              </a:cxn>
              <a:cxn ang="0">
                <a:pos x="connsiteX8699" y="connsiteY8699"/>
              </a:cxn>
              <a:cxn ang="0">
                <a:pos x="connsiteX8700" y="connsiteY8700"/>
              </a:cxn>
              <a:cxn ang="0">
                <a:pos x="connsiteX8701" y="connsiteY8701"/>
              </a:cxn>
              <a:cxn ang="0">
                <a:pos x="connsiteX8702" y="connsiteY8702"/>
              </a:cxn>
              <a:cxn ang="0">
                <a:pos x="connsiteX8703" y="connsiteY8703"/>
              </a:cxn>
              <a:cxn ang="0">
                <a:pos x="connsiteX8704" y="connsiteY8704"/>
              </a:cxn>
              <a:cxn ang="0">
                <a:pos x="connsiteX8705" y="connsiteY8705"/>
              </a:cxn>
              <a:cxn ang="0">
                <a:pos x="connsiteX8706" y="connsiteY8706"/>
              </a:cxn>
              <a:cxn ang="0">
                <a:pos x="connsiteX8707" y="connsiteY8707"/>
              </a:cxn>
              <a:cxn ang="0">
                <a:pos x="connsiteX8708" y="connsiteY8708"/>
              </a:cxn>
              <a:cxn ang="0">
                <a:pos x="connsiteX8709" y="connsiteY8709"/>
              </a:cxn>
              <a:cxn ang="0">
                <a:pos x="connsiteX8710" y="connsiteY8710"/>
              </a:cxn>
              <a:cxn ang="0">
                <a:pos x="connsiteX8711" y="connsiteY8711"/>
              </a:cxn>
              <a:cxn ang="0">
                <a:pos x="connsiteX8712" y="connsiteY8712"/>
              </a:cxn>
              <a:cxn ang="0">
                <a:pos x="connsiteX8713" y="connsiteY8713"/>
              </a:cxn>
              <a:cxn ang="0">
                <a:pos x="connsiteX8714" y="connsiteY8714"/>
              </a:cxn>
              <a:cxn ang="0">
                <a:pos x="connsiteX8715" y="connsiteY8715"/>
              </a:cxn>
              <a:cxn ang="0">
                <a:pos x="connsiteX8716" y="connsiteY8716"/>
              </a:cxn>
              <a:cxn ang="0">
                <a:pos x="connsiteX8717" y="connsiteY8717"/>
              </a:cxn>
              <a:cxn ang="0">
                <a:pos x="connsiteX8718" y="connsiteY8718"/>
              </a:cxn>
              <a:cxn ang="0">
                <a:pos x="connsiteX8719" y="connsiteY8719"/>
              </a:cxn>
              <a:cxn ang="0">
                <a:pos x="connsiteX8720" y="connsiteY8720"/>
              </a:cxn>
              <a:cxn ang="0">
                <a:pos x="connsiteX8721" y="connsiteY8721"/>
              </a:cxn>
              <a:cxn ang="0">
                <a:pos x="connsiteX8722" y="connsiteY8722"/>
              </a:cxn>
              <a:cxn ang="0">
                <a:pos x="connsiteX8723" y="connsiteY8723"/>
              </a:cxn>
              <a:cxn ang="0">
                <a:pos x="connsiteX8724" y="connsiteY8724"/>
              </a:cxn>
              <a:cxn ang="0">
                <a:pos x="connsiteX8725" y="connsiteY8725"/>
              </a:cxn>
              <a:cxn ang="0">
                <a:pos x="connsiteX8726" y="connsiteY8726"/>
              </a:cxn>
              <a:cxn ang="0">
                <a:pos x="connsiteX8727" y="connsiteY8727"/>
              </a:cxn>
              <a:cxn ang="0">
                <a:pos x="connsiteX8728" y="connsiteY8728"/>
              </a:cxn>
              <a:cxn ang="0">
                <a:pos x="connsiteX8729" y="connsiteY8729"/>
              </a:cxn>
              <a:cxn ang="0">
                <a:pos x="connsiteX8730" y="connsiteY8730"/>
              </a:cxn>
              <a:cxn ang="0">
                <a:pos x="connsiteX8731" y="connsiteY8731"/>
              </a:cxn>
              <a:cxn ang="0">
                <a:pos x="connsiteX8732" y="connsiteY8732"/>
              </a:cxn>
              <a:cxn ang="0">
                <a:pos x="connsiteX8733" y="connsiteY8733"/>
              </a:cxn>
              <a:cxn ang="0">
                <a:pos x="connsiteX8734" y="connsiteY8734"/>
              </a:cxn>
              <a:cxn ang="0">
                <a:pos x="connsiteX8735" y="connsiteY8735"/>
              </a:cxn>
              <a:cxn ang="0">
                <a:pos x="connsiteX8736" y="connsiteY8736"/>
              </a:cxn>
              <a:cxn ang="0">
                <a:pos x="connsiteX8737" y="connsiteY8737"/>
              </a:cxn>
              <a:cxn ang="0">
                <a:pos x="connsiteX8738" y="connsiteY8738"/>
              </a:cxn>
              <a:cxn ang="0">
                <a:pos x="connsiteX8739" y="connsiteY8739"/>
              </a:cxn>
              <a:cxn ang="0">
                <a:pos x="connsiteX8740" y="connsiteY8740"/>
              </a:cxn>
              <a:cxn ang="0">
                <a:pos x="connsiteX8741" y="connsiteY8741"/>
              </a:cxn>
              <a:cxn ang="0">
                <a:pos x="connsiteX8742" y="connsiteY8742"/>
              </a:cxn>
              <a:cxn ang="0">
                <a:pos x="connsiteX8743" y="connsiteY8743"/>
              </a:cxn>
              <a:cxn ang="0">
                <a:pos x="connsiteX8744" y="connsiteY8744"/>
              </a:cxn>
              <a:cxn ang="0">
                <a:pos x="connsiteX8745" y="connsiteY8745"/>
              </a:cxn>
              <a:cxn ang="0">
                <a:pos x="connsiteX8746" y="connsiteY8746"/>
              </a:cxn>
              <a:cxn ang="0">
                <a:pos x="connsiteX8747" y="connsiteY8747"/>
              </a:cxn>
              <a:cxn ang="0">
                <a:pos x="connsiteX8748" y="connsiteY8748"/>
              </a:cxn>
              <a:cxn ang="0">
                <a:pos x="connsiteX8749" y="connsiteY8749"/>
              </a:cxn>
              <a:cxn ang="0">
                <a:pos x="connsiteX8750" y="connsiteY8750"/>
              </a:cxn>
              <a:cxn ang="0">
                <a:pos x="connsiteX8751" y="connsiteY8751"/>
              </a:cxn>
              <a:cxn ang="0">
                <a:pos x="connsiteX8752" y="connsiteY8752"/>
              </a:cxn>
              <a:cxn ang="0">
                <a:pos x="connsiteX8753" y="connsiteY8753"/>
              </a:cxn>
              <a:cxn ang="0">
                <a:pos x="connsiteX8754" y="connsiteY8754"/>
              </a:cxn>
              <a:cxn ang="0">
                <a:pos x="connsiteX8755" y="connsiteY8755"/>
              </a:cxn>
              <a:cxn ang="0">
                <a:pos x="connsiteX8756" y="connsiteY8756"/>
              </a:cxn>
              <a:cxn ang="0">
                <a:pos x="connsiteX8757" y="connsiteY8757"/>
              </a:cxn>
              <a:cxn ang="0">
                <a:pos x="connsiteX8758" y="connsiteY8758"/>
              </a:cxn>
              <a:cxn ang="0">
                <a:pos x="connsiteX8759" y="connsiteY8759"/>
              </a:cxn>
              <a:cxn ang="0">
                <a:pos x="connsiteX8760" y="connsiteY8760"/>
              </a:cxn>
              <a:cxn ang="0">
                <a:pos x="connsiteX8761" y="connsiteY8761"/>
              </a:cxn>
              <a:cxn ang="0">
                <a:pos x="connsiteX8762" y="connsiteY8762"/>
              </a:cxn>
              <a:cxn ang="0">
                <a:pos x="connsiteX8763" y="connsiteY8763"/>
              </a:cxn>
              <a:cxn ang="0">
                <a:pos x="connsiteX8764" y="connsiteY8764"/>
              </a:cxn>
              <a:cxn ang="0">
                <a:pos x="connsiteX8765" y="connsiteY8765"/>
              </a:cxn>
              <a:cxn ang="0">
                <a:pos x="connsiteX8766" y="connsiteY8766"/>
              </a:cxn>
              <a:cxn ang="0">
                <a:pos x="connsiteX8767" y="connsiteY8767"/>
              </a:cxn>
              <a:cxn ang="0">
                <a:pos x="connsiteX8768" y="connsiteY8768"/>
              </a:cxn>
              <a:cxn ang="0">
                <a:pos x="connsiteX8769" y="connsiteY8769"/>
              </a:cxn>
              <a:cxn ang="0">
                <a:pos x="connsiteX8770" y="connsiteY8770"/>
              </a:cxn>
              <a:cxn ang="0">
                <a:pos x="connsiteX8771" y="connsiteY8771"/>
              </a:cxn>
              <a:cxn ang="0">
                <a:pos x="connsiteX8772" y="connsiteY8772"/>
              </a:cxn>
              <a:cxn ang="0">
                <a:pos x="connsiteX8773" y="connsiteY8773"/>
              </a:cxn>
              <a:cxn ang="0">
                <a:pos x="connsiteX8774" y="connsiteY8774"/>
              </a:cxn>
              <a:cxn ang="0">
                <a:pos x="connsiteX8775" y="connsiteY8775"/>
              </a:cxn>
              <a:cxn ang="0">
                <a:pos x="connsiteX8776" y="connsiteY8776"/>
              </a:cxn>
              <a:cxn ang="0">
                <a:pos x="connsiteX8777" y="connsiteY8777"/>
              </a:cxn>
              <a:cxn ang="0">
                <a:pos x="connsiteX8778" y="connsiteY8778"/>
              </a:cxn>
              <a:cxn ang="0">
                <a:pos x="connsiteX8779" y="connsiteY8779"/>
              </a:cxn>
              <a:cxn ang="0">
                <a:pos x="connsiteX8780" y="connsiteY8780"/>
              </a:cxn>
              <a:cxn ang="0">
                <a:pos x="connsiteX8781" y="connsiteY8781"/>
              </a:cxn>
              <a:cxn ang="0">
                <a:pos x="connsiteX8782" y="connsiteY8782"/>
              </a:cxn>
              <a:cxn ang="0">
                <a:pos x="connsiteX8783" y="connsiteY8783"/>
              </a:cxn>
              <a:cxn ang="0">
                <a:pos x="connsiteX8784" y="connsiteY8784"/>
              </a:cxn>
              <a:cxn ang="0">
                <a:pos x="connsiteX8785" y="connsiteY8785"/>
              </a:cxn>
              <a:cxn ang="0">
                <a:pos x="connsiteX8786" y="connsiteY8786"/>
              </a:cxn>
              <a:cxn ang="0">
                <a:pos x="connsiteX8787" y="connsiteY8787"/>
              </a:cxn>
              <a:cxn ang="0">
                <a:pos x="connsiteX8788" y="connsiteY8788"/>
              </a:cxn>
              <a:cxn ang="0">
                <a:pos x="connsiteX8789" y="connsiteY8789"/>
              </a:cxn>
              <a:cxn ang="0">
                <a:pos x="connsiteX8790" y="connsiteY8790"/>
              </a:cxn>
              <a:cxn ang="0">
                <a:pos x="connsiteX8791" y="connsiteY8791"/>
              </a:cxn>
              <a:cxn ang="0">
                <a:pos x="connsiteX8792" y="connsiteY8792"/>
              </a:cxn>
              <a:cxn ang="0">
                <a:pos x="connsiteX8793" y="connsiteY8793"/>
              </a:cxn>
              <a:cxn ang="0">
                <a:pos x="connsiteX8794" y="connsiteY8794"/>
              </a:cxn>
              <a:cxn ang="0">
                <a:pos x="connsiteX8795" y="connsiteY8795"/>
              </a:cxn>
              <a:cxn ang="0">
                <a:pos x="connsiteX8796" y="connsiteY8796"/>
              </a:cxn>
              <a:cxn ang="0">
                <a:pos x="connsiteX8797" y="connsiteY8797"/>
              </a:cxn>
              <a:cxn ang="0">
                <a:pos x="connsiteX8798" y="connsiteY8798"/>
              </a:cxn>
              <a:cxn ang="0">
                <a:pos x="connsiteX8799" y="connsiteY8799"/>
              </a:cxn>
              <a:cxn ang="0">
                <a:pos x="connsiteX8800" y="connsiteY8800"/>
              </a:cxn>
              <a:cxn ang="0">
                <a:pos x="connsiteX8801" y="connsiteY8801"/>
              </a:cxn>
              <a:cxn ang="0">
                <a:pos x="connsiteX8802" y="connsiteY8802"/>
              </a:cxn>
              <a:cxn ang="0">
                <a:pos x="connsiteX8803" y="connsiteY8803"/>
              </a:cxn>
              <a:cxn ang="0">
                <a:pos x="connsiteX8804" y="connsiteY8804"/>
              </a:cxn>
              <a:cxn ang="0">
                <a:pos x="connsiteX8805" y="connsiteY8805"/>
              </a:cxn>
              <a:cxn ang="0">
                <a:pos x="connsiteX8806" y="connsiteY8806"/>
              </a:cxn>
              <a:cxn ang="0">
                <a:pos x="connsiteX8807" y="connsiteY8807"/>
              </a:cxn>
              <a:cxn ang="0">
                <a:pos x="connsiteX8808" y="connsiteY8808"/>
              </a:cxn>
              <a:cxn ang="0">
                <a:pos x="connsiteX8809" y="connsiteY8809"/>
              </a:cxn>
              <a:cxn ang="0">
                <a:pos x="connsiteX8810" y="connsiteY8810"/>
              </a:cxn>
              <a:cxn ang="0">
                <a:pos x="connsiteX8811" y="connsiteY8811"/>
              </a:cxn>
              <a:cxn ang="0">
                <a:pos x="connsiteX8812" y="connsiteY8812"/>
              </a:cxn>
              <a:cxn ang="0">
                <a:pos x="connsiteX8813" y="connsiteY8813"/>
              </a:cxn>
              <a:cxn ang="0">
                <a:pos x="connsiteX8814" y="connsiteY8814"/>
              </a:cxn>
              <a:cxn ang="0">
                <a:pos x="connsiteX8815" y="connsiteY8815"/>
              </a:cxn>
              <a:cxn ang="0">
                <a:pos x="connsiteX8816" y="connsiteY8816"/>
              </a:cxn>
              <a:cxn ang="0">
                <a:pos x="connsiteX8817" y="connsiteY8817"/>
              </a:cxn>
              <a:cxn ang="0">
                <a:pos x="connsiteX8818" y="connsiteY8818"/>
              </a:cxn>
              <a:cxn ang="0">
                <a:pos x="connsiteX8819" y="connsiteY8819"/>
              </a:cxn>
              <a:cxn ang="0">
                <a:pos x="connsiteX8820" y="connsiteY8820"/>
              </a:cxn>
              <a:cxn ang="0">
                <a:pos x="connsiteX8821" y="connsiteY8821"/>
              </a:cxn>
              <a:cxn ang="0">
                <a:pos x="connsiteX8822" y="connsiteY8822"/>
              </a:cxn>
              <a:cxn ang="0">
                <a:pos x="connsiteX8823" y="connsiteY8823"/>
              </a:cxn>
              <a:cxn ang="0">
                <a:pos x="connsiteX8824" y="connsiteY8824"/>
              </a:cxn>
              <a:cxn ang="0">
                <a:pos x="connsiteX8825" y="connsiteY8825"/>
              </a:cxn>
              <a:cxn ang="0">
                <a:pos x="connsiteX8826" y="connsiteY8826"/>
              </a:cxn>
              <a:cxn ang="0">
                <a:pos x="connsiteX8827" y="connsiteY8827"/>
              </a:cxn>
              <a:cxn ang="0">
                <a:pos x="connsiteX8828" y="connsiteY8828"/>
              </a:cxn>
              <a:cxn ang="0">
                <a:pos x="connsiteX8829" y="connsiteY8829"/>
              </a:cxn>
              <a:cxn ang="0">
                <a:pos x="connsiteX8830" y="connsiteY8830"/>
              </a:cxn>
              <a:cxn ang="0">
                <a:pos x="connsiteX8831" y="connsiteY8831"/>
              </a:cxn>
              <a:cxn ang="0">
                <a:pos x="connsiteX8832" y="connsiteY8832"/>
              </a:cxn>
              <a:cxn ang="0">
                <a:pos x="connsiteX8833" y="connsiteY8833"/>
              </a:cxn>
              <a:cxn ang="0">
                <a:pos x="connsiteX8834" y="connsiteY8834"/>
              </a:cxn>
              <a:cxn ang="0">
                <a:pos x="connsiteX8835" y="connsiteY8835"/>
              </a:cxn>
              <a:cxn ang="0">
                <a:pos x="connsiteX8836" y="connsiteY8836"/>
              </a:cxn>
              <a:cxn ang="0">
                <a:pos x="connsiteX8837" y="connsiteY8837"/>
              </a:cxn>
              <a:cxn ang="0">
                <a:pos x="connsiteX8838" y="connsiteY8838"/>
              </a:cxn>
              <a:cxn ang="0">
                <a:pos x="connsiteX8839" y="connsiteY8839"/>
              </a:cxn>
              <a:cxn ang="0">
                <a:pos x="connsiteX8840" y="connsiteY8840"/>
              </a:cxn>
              <a:cxn ang="0">
                <a:pos x="connsiteX8841" y="connsiteY8841"/>
              </a:cxn>
              <a:cxn ang="0">
                <a:pos x="connsiteX8842" y="connsiteY8842"/>
              </a:cxn>
              <a:cxn ang="0">
                <a:pos x="connsiteX8843" y="connsiteY8843"/>
              </a:cxn>
              <a:cxn ang="0">
                <a:pos x="connsiteX8844" y="connsiteY8844"/>
              </a:cxn>
              <a:cxn ang="0">
                <a:pos x="connsiteX8845" y="connsiteY8845"/>
              </a:cxn>
              <a:cxn ang="0">
                <a:pos x="connsiteX8846" y="connsiteY8846"/>
              </a:cxn>
              <a:cxn ang="0">
                <a:pos x="connsiteX8847" y="connsiteY8847"/>
              </a:cxn>
              <a:cxn ang="0">
                <a:pos x="connsiteX8848" y="connsiteY8848"/>
              </a:cxn>
              <a:cxn ang="0">
                <a:pos x="connsiteX8849" y="connsiteY8849"/>
              </a:cxn>
              <a:cxn ang="0">
                <a:pos x="connsiteX8850" y="connsiteY8850"/>
              </a:cxn>
              <a:cxn ang="0">
                <a:pos x="connsiteX8851" y="connsiteY8851"/>
              </a:cxn>
              <a:cxn ang="0">
                <a:pos x="connsiteX8852" y="connsiteY8852"/>
              </a:cxn>
              <a:cxn ang="0">
                <a:pos x="connsiteX8853" y="connsiteY8853"/>
              </a:cxn>
              <a:cxn ang="0">
                <a:pos x="connsiteX8854" y="connsiteY8854"/>
              </a:cxn>
              <a:cxn ang="0">
                <a:pos x="connsiteX8855" y="connsiteY8855"/>
              </a:cxn>
              <a:cxn ang="0">
                <a:pos x="connsiteX8856" y="connsiteY8856"/>
              </a:cxn>
              <a:cxn ang="0">
                <a:pos x="connsiteX8857" y="connsiteY8857"/>
              </a:cxn>
              <a:cxn ang="0">
                <a:pos x="connsiteX8858" y="connsiteY8858"/>
              </a:cxn>
              <a:cxn ang="0">
                <a:pos x="connsiteX8859" y="connsiteY8859"/>
              </a:cxn>
              <a:cxn ang="0">
                <a:pos x="connsiteX8860" y="connsiteY8860"/>
              </a:cxn>
              <a:cxn ang="0">
                <a:pos x="connsiteX8861" y="connsiteY8861"/>
              </a:cxn>
              <a:cxn ang="0">
                <a:pos x="connsiteX8862" y="connsiteY8862"/>
              </a:cxn>
              <a:cxn ang="0">
                <a:pos x="connsiteX8863" y="connsiteY8863"/>
              </a:cxn>
              <a:cxn ang="0">
                <a:pos x="connsiteX8864" y="connsiteY8864"/>
              </a:cxn>
              <a:cxn ang="0">
                <a:pos x="connsiteX8865" y="connsiteY8865"/>
              </a:cxn>
              <a:cxn ang="0">
                <a:pos x="connsiteX8866" y="connsiteY8866"/>
              </a:cxn>
              <a:cxn ang="0">
                <a:pos x="connsiteX8867" y="connsiteY8867"/>
              </a:cxn>
              <a:cxn ang="0">
                <a:pos x="connsiteX8868" y="connsiteY8868"/>
              </a:cxn>
              <a:cxn ang="0">
                <a:pos x="connsiteX8869" y="connsiteY8869"/>
              </a:cxn>
              <a:cxn ang="0">
                <a:pos x="connsiteX8870" y="connsiteY8870"/>
              </a:cxn>
              <a:cxn ang="0">
                <a:pos x="connsiteX8871" y="connsiteY8871"/>
              </a:cxn>
              <a:cxn ang="0">
                <a:pos x="connsiteX8872" y="connsiteY8872"/>
              </a:cxn>
              <a:cxn ang="0">
                <a:pos x="connsiteX8873" y="connsiteY8873"/>
              </a:cxn>
              <a:cxn ang="0">
                <a:pos x="connsiteX8874" y="connsiteY8874"/>
              </a:cxn>
              <a:cxn ang="0">
                <a:pos x="connsiteX8875" y="connsiteY8875"/>
              </a:cxn>
              <a:cxn ang="0">
                <a:pos x="connsiteX8876" y="connsiteY8876"/>
              </a:cxn>
              <a:cxn ang="0">
                <a:pos x="connsiteX8877" y="connsiteY8877"/>
              </a:cxn>
              <a:cxn ang="0">
                <a:pos x="connsiteX8878" y="connsiteY8878"/>
              </a:cxn>
              <a:cxn ang="0">
                <a:pos x="connsiteX8879" y="connsiteY8879"/>
              </a:cxn>
              <a:cxn ang="0">
                <a:pos x="connsiteX8880" y="connsiteY8880"/>
              </a:cxn>
              <a:cxn ang="0">
                <a:pos x="connsiteX8881" y="connsiteY8881"/>
              </a:cxn>
              <a:cxn ang="0">
                <a:pos x="connsiteX8882" y="connsiteY8882"/>
              </a:cxn>
              <a:cxn ang="0">
                <a:pos x="connsiteX8883" y="connsiteY8883"/>
              </a:cxn>
              <a:cxn ang="0">
                <a:pos x="connsiteX8884" y="connsiteY8884"/>
              </a:cxn>
              <a:cxn ang="0">
                <a:pos x="connsiteX8885" y="connsiteY8885"/>
              </a:cxn>
              <a:cxn ang="0">
                <a:pos x="connsiteX8886" y="connsiteY8886"/>
              </a:cxn>
              <a:cxn ang="0">
                <a:pos x="connsiteX8887" y="connsiteY8887"/>
              </a:cxn>
              <a:cxn ang="0">
                <a:pos x="connsiteX8888" y="connsiteY8888"/>
              </a:cxn>
              <a:cxn ang="0">
                <a:pos x="connsiteX8889" y="connsiteY8889"/>
              </a:cxn>
              <a:cxn ang="0">
                <a:pos x="connsiteX8890" y="connsiteY8890"/>
              </a:cxn>
              <a:cxn ang="0">
                <a:pos x="connsiteX8891" y="connsiteY8891"/>
              </a:cxn>
              <a:cxn ang="0">
                <a:pos x="connsiteX8892" y="connsiteY8892"/>
              </a:cxn>
              <a:cxn ang="0">
                <a:pos x="connsiteX8893" y="connsiteY8893"/>
              </a:cxn>
              <a:cxn ang="0">
                <a:pos x="connsiteX8894" y="connsiteY8894"/>
              </a:cxn>
              <a:cxn ang="0">
                <a:pos x="connsiteX8895" y="connsiteY8895"/>
              </a:cxn>
              <a:cxn ang="0">
                <a:pos x="connsiteX8896" y="connsiteY8896"/>
              </a:cxn>
              <a:cxn ang="0">
                <a:pos x="connsiteX8897" y="connsiteY8897"/>
              </a:cxn>
              <a:cxn ang="0">
                <a:pos x="connsiteX8898" y="connsiteY8898"/>
              </a:cxn>
              <a:cxn ang="0">
                <a:pos x="connsiteX8899" y="connsiteY8899"/>
              </a:cxn>
              <a:cxn ang="0">
                <a:pos x="connsiteX8900" y="connsiteY8900"/>
              </a:cxn>
              <a:cxn ang="0">
                <a:pos x="connsiteX8901" y="connsiteY8901"/>
              </a:cxn>
              <a:cxn ang="0">
                <a:pos x="connsiteX8902" y="connsiteY8902"/>
              </a:cxn>
              <a:cxn ang="0">
                <a:pos x="connsiteX8903" y="connsiteY8903"/>
              </a:cxn>
              <a:cxn ang="0">
                <a:pos x="connsiteX8904" y="connsiteY8904"/>
              </a:cxn>
              <a:cxn ang="0">
                <a:pos x="connsiteX8905" y="connsiteY8905"/>
              </a:cxn>
              <a:cxn ang="0">
                <a:pos x="connsiteX8906" y="connsiteY8906"/>
              </a:cxn>
              <a:cxn ang="0">
                <a:pos x="connsiteX8907" y="connsiteY8907"/>
              </a:cxn>
              <a:cxn ang="0">
                <a:pos x="connsiteX8908" y="connsiteY8908"/>
              </a:cxn>
              <a:cxn ang="0">
                <a:pos x="connsiteX8909" y="connsiteY8909"/>
              </a:cxn>
              <a:cxn ang="0">
                <a:pos x="connsiteX8910" y="connsiteY8910"/>
              </a:cxn>
              <a:cxn ang="0">
                <a:pos x="connsiteX8911" y="connsiteY8911"/>
              </a:cxn>
              <a:cxn ang="0">
                <a:pos x="connsiteX8912" y="connsiteY8912"/>
              </a:cxn>
              <a:cxn ang="0">
                <a:pos x="connsiteX8913" y="connsiteY8913"/>
              </a:cxn>
              <a:cxn ang="0">
                <a:pos x="connsiteX8914" y="connsiteY8914"/>
              </a:cxn>
              <a:cxn ang="0">
                <a:pos x="connsiteX8915" y="connsiteY8915"/>
              </a:cxn>
              <a:cxn ang="0">
                <a:pos x="connsiteX8916" y="connsiteY8916"/>
              </a:cxn>
              <a:cxn ang="0">
                <a:pos x="connsiteX8917" y="connsiteY8917"/>
              </a:cxn>
              <a:cxn ang="0">
                <a:pos x="connsiteX8918" y="connsiteY8918"/>
              </a:cxn>
              <a:cxn ang="0">
                <a:pos x="connsiteX8919" y="connsiteY8919"/>
              </a:cxn>
              <a:cxn ang="0">
                <a:pos x="connsiteX8920" y="connsiteY8920"/>
              </a:cxn>
              <a:cxn ang="0">
                <a:pos x="connsiteX8921" y="connsiteY8921"/>
              </a:cxn>
              <a:cxn ang="0">
                <a:pos x="connsiteX8922" y="connsiteY8922"/>
              </a:cxn>
              <a:cxn ang="0">
                <a:pos x="connsiteX8923" y="connsiteY8923"/>
              </a:cxn>
              <a:cxn ang="0">
                <a:pos x="connsiteX8924" y="connsiteY8924"/>
              </a:cxn>
              <a:cxn ang="0">
                <a:pos x="connsiteX8925" y="connsiteY8925"/>
              </a:cxn>
              <a:cxn ang="0">
                <a:pos x="connsiteX8926" y="connsiteY8926"/>
              </a:cxn>
              <a:cxn ang="0">
                <a:pos x="connsiteX8927" y="connsiteY8927"/>
              </a:cxn>
              <a:cxn ang="0">
                <a:pos x="connsiteX8928" y="connsiteY8928"/>
              </a:cxn>
              <a:cxn ang="0">
                <a:pos x="connsiteX8929" y="connsiteY8929"/>
              </a:cxn>
              <a:cxn ang="0">
                <a:pos x="connsiteX8930" y="connsiteY8930"/>
              </a:cxn>
              <a:cxn ang="0">
                <a:pos x="connsiteX8931" y="connsiteY8931"/>
              </a:cxn>
              <a:cxn ang="0">
                <a:pos x="connsiteX8932" y="connsiteY8932"/>
              </a:cxn>
              <a:cxn ang="0">
                <a:pos x="connsiteX8933" y="connsiteY8933"/>
              </a:cxn>
              <a:cxn ang="0">
                <a:pos x="connsiteX8934" y="connsiteY8934"/>
              </a:cxn>
              <a:cxn ang="0">
                <a:pos x="connsiteX8935" y="connsiteY8935"/>
              </a:cxn>
              <a:cxn ang="0">
                <a:pos x="connsiteX8936" y="connsiteY8936"/>
              </a:cxn>
              <a:cxn ang="0">
                <a:pos x="connsiteX8937" y="connsiteY8937"/>
              </a:cxn>
              <a:cxn ang="0">
                <a:pos x="connsiteX8938" y="connsiteY8938"/>
              </a:cxn>
              <a:cxn ang="0">
                <a:pos x="connsiteX8939" y="connsiteY8939"/>
              </a:cxn>
              <a:cxn ang="0">
                <a:pos x="connsiteX8940" y="connsiteY8940"/>
              </a:cxn>
              <a:cxn ang="0">
                <a:pos x="connsiteX8941" y="connsiteY8941"/>
              </a:cxn>
              <a:cxn ang="0">
                <a:pos x="connsiteX8942" y="connsiteY8942"/>
              </a:cxn>
              <a:cxn ang="0">
                <a:pos x="connsiteX8943" y="connsiteY8943"/>
              </a:cxn>
              <a:cxn ang="0">
                <a:pos x="connsiteX8944" y="connsiteY8944"/>
              </a:cxn>
              <a:cxn ang="0">
                <a:pos x="connsiteX8945" y="connsiteY8945"/>
              </a:cxn>
              <a:cxn ang="0">
                <a:pos x="connsiteX8946" y="connsiteY8946"/>
              </a:cxn>
              <a:cxn ang="0">
                <a:pos x="connsiteX8947" y="connsiteY8947"/>
              </a:cxn>
              <a:cxn ang="0">
                <a:pos x="connsiteX8948" y="connsiteY8948"/>
              </a:cxn>
              <a:cxn ang="0">
                <a:pos x="connsiteX8949" y="connsiteY8949"/>
              </a:cxn>
              <a:cxn ang="0">
                <a:pos x="connsiteX8950" y="connsiteY8950"/>
              </a:cxn>
              <a:cxn ang="0">
                <a:pos x="connsiteX8951" y="connsiteY8951"/>
              </a:cxn>
              <a:cxn ang="0">
                <a:pos x="connsiteX8952" y="connsiteY8952"/>
              </a:cxn>
              <a:cxn ang="0">
                <a:pos x="connsiteX8953" y="connsiteY8953"/>
              </a:cxn>
              <a:cxn ang="0">
                <a:pos x="connsiteX8954" y="connsiteY8954"/>
              </a:cxn>
              <a:cxn ang="0">
                <a:pos x="connsiteX8955" y="connsiteY8955"/>
              </a:cxn>
              <a:cxn ang="0">
                <a:pos x="connsiteX8956" y="connsiteY8956"/>
              </a:cxn>
              <a:cxn ang="0">
                <a:pos x="connsiteX8957" y="connsiteY8957"/>
              </a:cxn>
              <a:cxn ang="0">
                <a:pos x="connsiteX8958" y="connsiteY8958"/>
              </a:cxn>
              <a:cxn ang="0">
                <a:pos x="connsiteX8959" y="connsiteY8959"/>
              </a:cxn>
              <a:cxn ang="0">
                <a:pos x="connsiteX8960" y="connsiteY8960"/>
              </a:cxn>
              <a:cxn ang="0">
                <a:pos x="connsiteX8961" y="connsiteY8961"/>
              </a:cxn>
              <a:cxn ang="0">
                <a:pos x="connsiteX8962" y="connsiteY8962"/>
              </a:cxn>
              <a:cxn ang="0">
                <a:pos x="connsiteX8963" y="connsiteY8963"/>
              </a:cxn>
              <a:cxn ang="0">
                <a:pos x="connsiteX8964" y="connsiteY8964"/>
              </a:cxn>
              <a:cxn ang="0">
                <a:pos x="connsiteX8965" y="connsiteY8965"/>
              </a:cxn>
              <a:cxn ang="0">
                <a:pos x="connsiteX8966" y="connsiteY8966"/>
              </a:cxn>
              <a:cxn ang="0">
                <a:pos x="connsiteX8967" y="connsiteY8967"/>
              </a:cxn>
              <a:cxn ang="0">
                <a:pos x="connsiteX8968" y="connsiteY8968"/>
              </a:cxn>
              <a:cxn ang="0">
                <a:pos x="connsiteX8969" y="connsiteY8969"/>
              </a:cxn>
              <a:cxn ang="0">
                <a:pos x="connsiteX8970" y="connsiteY8970"/>
              </a:cxn>
              <a:cxn ang="0">
                <a:pos x="connsiteX8971" y="connsiteY8971"/>
              </a:cxn>
              <a:cxn ang="0">
                <a:pos x="connsiteX8972" y="connsiteY8972"/>
              </a:cxn>
              <a:cxn ang="0">
                <a:pos x="connsiteX8973" y="connsiteY8973"/>
              </a:cxn>
              <a:cxn ang="0">
                <a:pos x="connsiteX8974" y="connsiteY8974"/>
              </a:cxn>
              <a:cxn ang="0">
                <a:pos x="connsiteX8975" y="connsiteY8975"/>
              </a:cxn>
              <a:cxn ang="0">
                <a:pos x="connsiteX8976" y="connsiteY8976"/>
              </a:cxn>
              <a:cxn ang="0">
                <a:pos x="connsiteX8977" y="connsiteY8977"/>
              </a:cxn>
              <a:cxn ang="0">
                <a:pos x="connsiteX8978" y="connsiteY8978"/>
              </a:cxn>
              <a:cxn ang="0">
                <a:pos x="connsiteX8979" y="connsiteY8979"/>
              </a:cxn>
              <a:cxn ang="0">
                <a:pos x="connsiteX8980" y="connsiteY8980"/>
              </a:cxn>
              <a:cxn ang="0">
                <a:pos x="connsiteX8981" y="connsiteY8981"/>
              </a:cxn>
              <a:cxn ang="0">
                <a:pos x="connsiteX8982" y="connsiteY8982"/>
              </a:cxn>
              <a:cxn ang="0">
                <a:pos x="connsiteX8983" y="connsiteY8983"/>
              </a:cxn>
              <a:cxn ang="0">
                <a:pos x="connsiteX8984" y="connsiteY8984"/>
              </a:cxn>
              <a:cxn ang="0">
                <a:pos x="connsiteX8985" y="connsiteY8985"/>
              </a:cxn>
              <a:cxn ang="0">
                <a:pos x="connsiteX8986" y="connsiteY8986"/>
              </a:cxn>
              <a:cxn ang="0">
                <a:pos x="connsiteX8987" y="connsiteY8987"/>
              </a:cxn>
              <a:cxn ang="0">
                <a:pos x="connsiteX8988" y="connsiteY8988"/>
              </a:cxn>
              <a:cxn ang="0">
                <a:pos x="connsiteX8989" y="connsiteY8989"/>
              </a:cxn>
              <a:cxn ang="0">
                <a:pos x="connsiteX8990" y="connsiteY8990"/>
              </a:cxn>
              <a:cxn ang="0">
                <a:pos x="connsiteX8991" y="connsiteY8991"/>
              </a:cxn>
              <a:cxn ang="0">
                <a:pos x="connsiteX8992" y="connsiteY8992"/>
              </a:cxn>
              <a:cxn ang="0">
                <a:pos x="connsiteX8993" y="connsiteY8993"/>
              </a:cxn>
              <a:cxn ang="0">
                <a:pos x="connsiteX8994" y="connsiteY8994"/>
              </a:cxn>
              <a:cxn ang="0">
                <a:pos x="connsiteX8995" y="connsiteY8995"/>
              </a:cxn>
              <a:cxn ang="0">
                <a:pos x="connsiteX8996" y="connsiteY8996"/>
              </a:cxn>
              <a:cxn ang="0">
                <a:pos x="connsiteX8997" y="connsiteY8997"/>
              </a:cxn>
              <a:cxn ang="0">
                <a:pos x="connsiteX8998" y="connsiteY8998"/>
              </a:cxn>
              <a:cxn ang="0">
                <a:pos x="connsiteX8999" y="connsiteY8999"/>
              </a:cxn>
              <a:cxn ang="0">
                <a:pos x="connsiteX9000" y="connsiteY9000"/>
              </a:cxn>
              <a:cxn ang="0">
                <a:pos x="connsiteX9001" y="connsiteY9001"/>
              </a:cxn>
              <a:cxn ang="0">
                <a:pos x="connsiteX9002" y="connsiteY9002"/>
              </a:cxn>
              <a:cxn ang="0">
                <a:pos x="connsiteX9003" y="connsiteY9003"/>
              </a:cxn>
              <a:cxn ang="0">
                <a:pos x="connsiteX9004" y="connsiteY9004"/>
              </a:cxn>
              <a:cxn ang="0">
                <a:pos x="connsiteX9005" y="connsiteY9005"/>
              </a:cxn>
              <a:cxn ang="0">
                <a:pos x="connsiteX9006" y="connsiteY9006"/>
              </a:cxn>
              <a:cxn ang="0">
                <a:pos x="connsiteX9007" y="connsiteY9007"/>
              </a:cxn>
              <a:cxn ang="0">
                <a:pos x="connsiteX9008" y="connsiteY9008"/>
              </a:cxn>
              <a:cxn ang="0">
                <a:pos x="connsiteX9009" y="connsiteY9009"/>
              </a:cxn>
              <a:cxn ang="0">
                <a:pos x="connsiteX9010" y="connsiteY9010"/>
              </a:cxn>
              <a:cxn ang="0">
                <a:pos x="connsiteX9011" y="connsiteY9011"/>
              </a:cxn>
              <a:cxn ang="0">
                <a:pos x="connsiteX9012" y="connsiteY9012"/>
              </a:cxn>
              <a:cxn ang="0">
                <a:pos x="connsiteX9013" y="connsiteY9013"/>
              </a:cxn>
              <a:cxn ang="0">
                <a:pos x="connsiteX9014" y="connsiteY9014"/>
              </a:cxn>
              <a:cxn ang="0">
                <a:pos x="connsiteX9015" y="connsiteY9015"/>
              </a:cxn>
              <a:cxn ang="0">
                <a:pos x="connsiteX9016" y="connsiteY9016"/>
              </a:cxn>
              <a:cxn ang="0">
                <a:pos x="connsiteX9017" y="connsiteY9017"/>
              </a:cxn>
              <a:cxn ang="0">
                <a:pos x="connsiteX9018" y="connsiteY9018"/>
              </a:cxn>
              <a:cxn ang="0">
                <a:pos x="connsiteX9019" y="connsiteY9019"/>
              </a:cxn>
              <a:cxn ang="0">
                <a:pos x="connsiteX9020" y="connsiteY9020"/>
              </a:cxn>
              <a:cxn ang="0">
                <a:pos x="connsiteX9021" y="connsiteY9021"/>
              </a:cxn>
              <a:cxn ang="0">
                <a:pos x="connsiteX9022" y="connsiteY9022"/>
              </a:cxn>
              <a:cxn ang="0">
                <a:pos x="connsiteX9023" y="connsiteY9023"/>
              </a:cxn>
              <a:cxn ang="0">
                <a:pos x="connsiteX9024" y="connsiteY9024"/>
              </a:cxn>
              <a:cxn ang="0">
                <a:pos x="connsiteX9025" y="connsiteY9025"/>
              </a:cxn>
              <a:cxn ang="0">
                <a:pos x="connsiteX9026" y="connsiteY9026"/>
              </a:cxn>
              <a:cxn ang="0">
                <a:pos x="connsiteX9027" y="connsiteY9027"/>
              </a:cxn>
              <a:cxn ang="0">
                <a:pos x="connsiteX9028" y="connsiteY9028"/>
              </a:cxn>
              <a:cxn ang="0">
                <a:pos x="connsiteX9029" y="connsiteY9029"/>
              </a:cxn>
              <a:cxn ang="0">
                <a:pos x="connsiteX9030" y="connsiteY9030"/>
              </a:cxn>
              <a:cxn ang="0">
                <a:pos x="connsiteX9031" y="connsiteY9031"/>
              </a:cxn>
              <a:cxn ang="0">
                <a:pos x="connsiteX9032" y="connsiteY9032"/>
              </a:cxn>
              <a:cxn ang="0">
                <a:pos x="connsiteX9033" y="connsiteY9033"/>
              </a:cxn>
              <a:cxn ang="0">
                <a:pos x="connsiteX9034" y="connsiteY9034"/>
              </a:cxn>
              <a:cxn ang="0">
                <a:pos x="connsiteX9035" y="connsiteY9035"/>
              </a:cxn>
              <a:cxn ang="0">
                <a:pos x="connsiteX9036" y="connsiteY9036"/>
              </a:cxn>
              <a:cxn ang="0">
                <a:pos x="connsiteX9037" y="connsiteY9037"/>
              </a:cxn>
              <a:cxn ang="0">
                <a:pos x="connsiteX9038" y="connsiteY9038"/>
              </a:cxn>
              <a:cxn ang="0">
                <a:pos x="connsiteX9039" y="connsiteY9039"/>
              </a:cxn>
              <a:cxn ang="0">
                <a:pos x="connsiteX9040" y="connsiteY9040"/>
              </a:cxn>
              <a:cxn ang="0">
                <a:pos x="connsiteX9041" y="connsiteY9041"/>
              </a:cxn>
              <a:cxn ang="0">
                <a:pos x="connsiteX9042" y="connsiteY9042"/>
              </a:cxn>
              <a:cxn ang="0">
                <a:pos x="connsiteX9043" y="connsiteY9043"/>
              </a:cxn>
              <a:cxn ang="0">
                <a:pos x="connsiteX9044" y="connsiteY9044"/>
              </a:cxn>
              <a:cxn ang="0">
                <a:pos x="connsiteX9045" y="connsiteY9045"/>
              </a:cxn>
              <a:cxn ang="0">
                <a:pos x="connsiteX9046" y="connsiteY9046"/>
              </a:cxn>
              <a:cxn ang="0">
                <a:pos x="connsiteX9047" y="connsiteY9047"/>
              </a:cxn>
              <a:cxn ang="0">
                <a:pos x="connsiteX9048" y="connsiteY9048"/>
              </a:cxn>
              <a:cxn ang="0">
                <a:pos x="connsiteX9049" y="connsiteY9049"/>
              </a:cxn>
              <a:cxn ang="0">
                <a:pos x="connsiteX9050" y="connsiteY9050"/>
              </a:cxn>
              <a:cxn ang="0">
                <a:pos x="connsiteX9051" y="connsiteY9051"/>
              </a:cxn>
              <a:cxn ang="0">
                <a:pos x="connsiteX9052" y="connsiteY9052"/>
              </a:cxn>
              <a:cxn ang="0">
                <a:pos x="connsiteX9053" y="connsiteY9053"/>
              </a:cxn>
              <a:cxn ang="0">
                <a:pos x="connsiteX9054" y="connsiteY9054"/>
              </a:cxn>
              <a:cxn ang="0">
                <a:pos x="connsiteX9055" y="connsiteY9055"/>
              </a:cxn>
              <a:cxn ang="0">
                <a:pos x="connsiteX9056" y="connsiteY9056"/>
              </a:cxn>
              <a:cxn ang="0">
                <a:pos x="connsiteX9057" y="connsiteY9057"/>
              </a:cxn>
              <a:cxn ang="0">
                <a:pos x="connsiteX9058" y="connsiteY9058"/>
              </a:cxn>
              <a:cxn ang="0">
                <a:pos x="connsiteX9059" y="connsiteY9059"/>
              </a:cxn>
              <a:cxn ang="0">
                <a:pos x="connsiteX9060" y="connsiteY9060"/>
              </a:cxn>
              <a:cxn ang="0">
                <a:pos x="connsiteX9061" y="connsiteY9061"/>
              </a:cxn>
              <a:cxn ang="0">
                <a:pos x="connsiteX9062" y="connsiteY9062"/>
              </a:cxn>
              <a:cxn ang="0">
                <a:pos x="connsiteX9063" y="connsiteY9063"/>
              </a:cxn>
              <a:cxn ang="0">
                <a:pos x="connsiteX9064" y="connsiteY9064"/>
              </a:cxn>
              <a:cxn ang="0">
                <a:pos x="connsiteX9065" y="connsiteY9065"/>
              </a:cxn>
              <a:cxn ang="0">
                <a:pos x="connsiteX9066" y="connsiteY9066"/>
              </a:cxn>
              <a:cxn ang="0">
                <a:pos x="connsiteX9067" y="connsiteY9067"/>
              </a:cxn>
              <a:cxn ang="0">
                <a:pos x="connsiteX9068" y="connsiteY9068"/>
              </a:cxn>
              <a:cxn ang="0">
                <a:pos x="connsiteX9069" y="connsiteY9069"/>
              </a:cxn>
              <a:cxn ang="0">
                <a:pos x="connsiteX9070" y="connsiteY9070"/>
              </a:cxn>
              <a:cxn ang="0">
                <a:pos x="connsiteX9071" y="connsiteY9071"/>
              </a:cxn>
              <a:cxn ang="0">
                <a:pos x="connsiteX9072" y="connsiteY9072"/>
              </a:cxn>
              <a:cxn ang="0">
                <a:pos x="connsiteX9073" y="connsiteY9073"/>
              </a:cxn>
              <a:cxn ang="0">
                <a:pos x="connsiteX9074" y="connsiteY9074"/>
              </a:cxn>
              <a:cxn ang="0">
                <a:pos x="connsiteX9075" y="connsiteY9075"/>
              </a:cxn>
              <a:cxn ang="0">
                <a:pos x="connsiteX9076" y="connsiteY9076"/>
              </a:cxn>
              <a:cxn ang="0">
                <a:pos x="connsiteX9077" y="connsiteY9077"/>
              </a:cxn>
              <a:cxn ang="0">
                <a:pos x="connsiteX9078" y="connsiteY9078"/>
              </a:cxn>
              <a:cxn ang="0">
                <a:pos x="connsiteX9079" y="connsiteY9079"/>
              </a:cxn>
              <a:cxn ang="0">
                <a:pos x="connsiteX9080" y="connsiteY9080"/>
              </a:cxn>
              <a:cxn ang="0">
                <a:pos x="connsiteX9081" y="connsiteY9081"/>
              </a:cxn>
              <a:cxn ang="0">
                <a:pos x="connsiteX9082" y="connsiteY9082"/>
              </a:cxn>
              <a:cxn ang="0">
                <a:pos x="connsiteX9083" y="connsiteY9083"/>
              </a:cxn>
              <a:cxn ang="0">
                <a:pos x="connsiteX9084" y="connsiteY9084"/>
              </a:cxn>
              <a:cxn ang="0">
                <a:pos x="connsiteX9085" y="connsiteY9085"/>
              </a:cxn>
              <a:cxn ang="0">
                <a:pos x="connsiteX9086" y="connsiteY9086"/>
              </a:cxn>
              <a:cxn ang="0">
                <a:pos x="connsiteX9087" y="connsiteY9087"/>
              </a:cxn>
              <a:cxn ang="0">
                <a:pos x="connsiteX9088" y="connsiteY9088"/>
              </a:cxn>
              <a:cxn ang="0">
                <a:pos x="connsiteX9089" y="connsiteY9089"/>
              </a:cxn>
              <a:cxn ang="0">
                <a:pos x="connsiteX9090" y="connsiteY9090"/>
              </a:cxn>
              <a:cxn ang="0">
                <a:pos x="connsiteX9091" y="connsiteY9091"/>
              </a:cxn>
              <a:cxn ang="0">
                <a:pos x="connsiteX9092" y="connsiteY9092"/>
              </a:cxn>
              <a:cxn ang="0">
                <a:pos x="connsiteX9093" y="connsiteY9093"/>
              </a:cxn>
              <a:cxn ang="0">
                <a:pos x="connsiteX9094" y="connsiteY9094"/>
              </a:cxn>
              <a:cxn ang="0">
                <a:pos x="connsiteX9095" y="connsiteY9095"/>
              </a:cxn>
              <a:cxn ang="0">
                <a:pos x="connsiteX9096" y="connsiteY9096"/>
              </a:cxn>
              <a:cxn ang="0">
                <a:pos x="connsiteX9097" y="connsiteY9097"/>
              </a:cxn>
              <a:cxn ang="0">
                <a:pos x="connsiteX9098" y="connsiteY9098"/>
              </a:cxn>
              <a:cxn ang="0">
                <a:pos x="connsiteX9099" y="connsiteY9099"/>
              </a:cxn>
              <a:cxn ang="0">
                <a:pos x="connsiteX9100" y="connsiteY9100"/>
              </a:cxn>
              <a:cxn ang="0">
                <a:pos x="connsiteX9101" y="connsiteY9101"/>
              </a:cxn>
              <a:cxn ang="0">
                <a:pos x="connsiteX9102" y="connsiteY9102"/>
              </a:cxn>
              <a:cxn ang="0">
                <a:pos x="connsiteX9103" y="connsiteY9103"/>
              </a:cxn>
              <a:cxn ang="0">
                <a:pos x="connsiteX9104" y="connsiteY9104"/>
              </a:cxn>
              <a:cxn ang="0">
                <a:pos x="connsiteX9105" y="connsiteY9105"/>
              </a:cxn>
              <a:cxn ang="0">
                <a:pos x="connsiteX9106" y="connsiteY9106"/>
              </a:cxn>
              <a:cxn ang="0">
                <a:pos x="connsiteX9107" y="connsiteY9107"/>
              </a:cxn>
              <a:cxn ang="0">
                <a:pos x="connsiteX9108" y="connsiteY9108"/>
              </a:cxn>
              <a:cxn ang="0">
                <a:pos x="connsiteX9109" y="connsiteY9109"/>
              </a:cxn>
              <a:cxn ang="0">
                <a:pos x="connsiteX9110" y="connsiteY9110"/>
              </a:cxn>
              <a:cxn ang="0">
                <a:pos x="connsiteX9111" y="connsiteY9111"/>
              </a:cxn>
              <a:cxn ang="0">
                <a:pos x="connsiteX9112" y="connsiteY9112"/>
              </a:cxn>
              <a:cxn ang="0">
                <a:pos x="connsiteX9113" y="connsiteY9113"/>
              </a:cxn>
              <a:cxn ang="0">
                <a:pos x="connsiteX9114" y="connsiteY9114"/>
              </a:cxn>
              <a:cxn ang="0">
                <a:pos x="connsiteX9115" y="connsiteY9115"/>
              </a:cxn>
              <a:cxn ang="0">
                <a:pos x="connsiteX9116" y="connsiteY9116"/>
              </a:cxn>
              <a:cxn ang="0">
                <a:pos x="connsiteX9117" y="connsiteY9117"/>
              </a:cxn>
              <a:cxn ang="0">
                <a:pos x="connsiteX9118" y="connsiteY9118"/>
              </a:cxn>
              <a:cxn ang="0">
                <a:pos x="connsiteX9119" y="connsiteY9119"/>
              </a:cxn>
              <a:cxn ang="0">
                <a:pos x="connsiteX9120" y="connsiteY9120"/>
              </a:cxn>
              <a:cxn ang="0">
                <a:pos x="connsiteX9121" y="connsiteY9121"/>
              </a:cxn>
              <a:cxn ang="0">
                <a:pos x="connsiteX9122" y="connsiteY9122"/>
              </a:cxn>
              <a:cxn ang="0">
                <a:pos x="connsiteX9123" y="connsiteY9123"/>
              </a:cxn>
              <a:cxn ang="0">
                <a:pos x="connsiteX9124" y="connsiteY9124"/>
              </a:cxn>
              <a:cxn ang="0">
                <a:pos x="connsiteX9125" y="connsiteY9125"/>
              </a:cxn>
              <a:cxn ang="0">
                <a:pos x="connsiteX9126" y="connsiteY9126"/>
              </a:cxn>
              <a:cxn ang="0">
                <a:pos x="connsiteX9127" y="connsiteY9127"/>
              </a:cxn>
              <a:cxn ang="0">
                <a:pos x="connsiteX9128" y="connsiteY9128"/>
              </a:cxn>
              <a:cxn ang="0">
                <a:pos x="connsiteX9129" y="connsiteY9129"/>
              </a:cxn>
              <a:cxn ang="0">
                <a:pos x="connsiteX9130" y="connsiteY9130"/>
              </a:cxn>
              <a:cxn ang="0">
                <a:pos x="connsiteX9131" y="connsiteY9131"/>
              </a:cxn>
              <a:cxn ang="0">
                <a:pos x="connsiteX9132" y="connsiteY9132"/>
              </a:cxn>
              <a:cxn ang="0">
                <a:pos x="connsiteX9133" y="connsiteY9133"/>
              </a:cxn>
              <a:cxn ang="0">
                <a:pos x="connsiteX9134" y="connsiteY9134"/>
              </a:cxn>
              <a:cxn ang="0">
                <a:pos x="connsiteX9135" y="connsiteY9135"/>
              </a:cxn>
              <a:cxn ang="0">
                <a:pos x="connsiteX9136" y="connsiteY9136"/>
              </a:cxn>
              <a:cxn ang="0">
                <a:pos x="connsiteX9137" y="connsiteY9137"/>
              </a:cxn>
              <a:cxn ang="0">
                <a:pos x="connsiteX9138" y="connsiteY9138"/>
              </a:cxn>
              <a:cxn ang="0">
                <a:pos x="connsiteX9139" y="connsiteY9139"/>
              </a:cxn>
              <a:cxn ang="0">
                <a:pos x="connsiteX9140" y="connsiteY9140"/>
              </a:cxn>
              <a:cxn ang="0">
                <a:pos x="connsiteX9141" y="connsiteY9141"/>
              </a:cxn>
              <a:cxn ang="0">
                <a:pos x="connsiteX9142" y="connsiteY9142"/>
              </a:cxn>
              <a:cxn ang="0">
                <a:pos x="connsiteX9143" y="connsiteY9143"/>
              </a:cxn>
              <a:cxn ang="0">
                <a:pos x="connsiteX9144" y="connsiteY9144"/>
              </a:cxn>
              <a:cxn ang="0">
                <a:pos x="connsiteX9145" y="connsiteY9145"/>
              </a:cxn>
              <a:cxn ang="0">
                <a:pos x="connsiteX9146" y="connsiteY9146"/>
              </a:cxn>
              <a:cxn ang="0">
                <a:pos x="connsiteX9147" y="connsiteY9147"/>
              </a:cxn>
              <a:cxn ang="0">
                <a:pos x="connsiteX9148" y="connsiteY9148"/>
              </a:cxn>
              <a:cxn ang="0">
                <a:pos x="connsiteX9149" y="connsiteY9149"/>
              </a:cxn>
              <a:cxn ang="0">
                <a:pos x="connsiteX9150" y="connsiteY9150"/>
              </a:cxn>
              <a:cxn ang="0">
                <a:pos x="connsiteX9151" y="connsiteY9151"/>
              </a:cxn>
              <a:cxn ang="0">
                <a:pos x="connsiteX9152" y="connsiteY9152"/>
              </a:cxn>
              <a:cxn ang="0">
                <a:pos x="connsiteX9153" y="connsiteY9153"/>
              </a:cxn>
              <a:cxn ang="0">
                <a:pos x="connsiteX9154" y="connsiteY9154"/>
              </a:cxn>
              <a:cxn ang="0">
                <a:pos x="connsiteX9155" y="connsiteY9155"/>
              </a:cxn>
              <a:cxn ang="0">
                <a:pos x="connsiteX9156" y="connsiteY9156"/>
              </a:cxn>
              <a:cxn ang="0">
                <a:pos x="connsiteX9157" y="connsiteY9157"/>
              </a:cxn>
              <a:cxn ang="0">
                <a:pos x="connsiteX9158" y="connsiteY9158"/>
              </a:cxn>
              <a:cxn ang="0">
                <a:pos x="connsiteX9159" y="connsiteY9159"/>
              </a:cxn>
              <a:cxn ang="0">
                <a:pos x="connsiteX9160" y="connsiteY9160"/>
              </a:cxn>
              <a:cxn ang="0">
                <a:pos x="connsiteX9161" y="connsiteY9161"/>
              </a:cxn>
              <a:cxn ang="0">
                <a:pos x="connsiteX9162" y="connsiteY9162"/>
              </a:cxn>
              <a:cxn ang="0">
                <a:pos x="connsiteX9163" y="connsiteY9163"/>
              </a:cxn>
              <a:cxn ang="0">
                <a:pos x="connsiteX9164" y="connsiteY9164"/>
              </a:cxn>
              <a:cxn ang="0">
                <a:pos x="connsiteX9165" y="connsiteY9165"/>
              </a:cxn>
              <a:cxn ang="0">
                <a:pos x="connsiteX9166" y="connsiteY9166"/>
              </a:cxn>
              <a:cxn ang="0">
                <a:pos x="connsiteX9167" y="connsiteY9167"/>
              </a:cxn>
              <a:cxn ang="0">
                <a:pos x="connsiteX9168" y="connsiteY9168"/>
              </a:cxn>
              <a:cxn ang="0">
                <a:pos x="connsiteX9169" y="connsiteY9169"/>
              </a:cxn>
              <a:cxn ang="0">
                <a:pos x="connsiteX9170" y="connsiteY9170"/>
              </a:cxn>
              <a:cxn ang="0">
                <a:pos x="connsiteX9171" y="connsiteY9171"/>
              </a:cxn>
              <a:cxn ang="0">
                <a:pos x="connsiteX9172" y="connsiteY9172"/>
              </a:cxn>
              <a:cxn ang="0">
                <a:pos x="connsiteX9173" y="connsiteY9173"/>
              </a:cxn>
              <a:cxn ang="0">
                <a:pos x="connsiteX9174" y="connsiteY9174"/>
              </a:cxn>
              <a:cxn ang="0">
                <a:pos x="connsiteX9175" y="connsiteY9175"/>
              </a:cxn>
              <a:cxn ang="0">
                <a:pos x="connsiteX9176" y="connsiteY9176"/>
              </a:cxn>
              <a:cxn ang="0">
                <a:pos x="connsiteX9177" y="connsiteY9177"/>
              </a:cxn>
              <a:cxn ang="0">
                <a:pos x="connsiteX9178" y="connsiteY9178"/>
              </a:cxn>
              <a:cxn ang="0">
                <a:pos x="connsiteX9179" y="connsiteY9179"/>
              </a:cxn>
              <a:cxn ang="0">
                <a:pos x="connsiteX9180" y="connsiteY9180"/>
              </a:cxn>
              <a:cxn ang="0">
                <a:pos x="connsiteX9181" y="connsiteY9181"/>
              </a:cxn>
              <a:cxn ang="0">
                <a:pos x="connsiteX9182" y="connsiteY9182"/>
              </a:cxn>
              <a:cxn ang="0">
                <a:pos x="connsiteX9183" y="connsiteY9183"/>
              </a:cxn>
            </a:cxnLst>
            <a:rect l="l" t="t" r="r" b="b"/>
            <a:pathLst>
              <a:path w="9586368" h="6479439">
                <a:moveTo>
                  <a:pt x="2157895" y="6461491"/>
                </a:moveTo>
                <a:lnTo>
                  <a:pt x="2167802" y="6461491"/>
                </a:lnTo>
                <a:lnTo>
                  <a:pt x="2171820" y="6465529"/>
                </a:lnTo>
                <a:lnTo>
                  <a:pt x="2171820" y="6475400"/>
                </a:lnTo>
                <a:lnTo>
                  <a:pt x="2167802" y="6479439"/>
                </a:lnTo>
                <a:lnTo>
                  <a:pt x="2157895" y="6479439"/>
                </a:lnTo>
                <a:lnTo>
                  <a:pt x="2153871" y="6475400"/>
                </a:lnTo>
                <a:lnTo>
                  <a:pt x="2153871" y="6465529"/>
                </a:lnTo>
                <a:close/>
                <a:moveTo>
                  <a:pt x="1918509" y="6461491"/>
                </a:moveTo>
                <a:lnTo>
                  <a:pt x="1928419" y="6461491"/>
                </a:lnTo>
                <a:lnTo>
                  <a:pt x="1932437" y="6465529"/>
                </a:lnTo>
                <a:lnTo>
                  <a:pt x="1932437" y="6475400"/>
                </a:lnTo>
                <a:lnTo>
                  <a:pt x="1928419" y="6479439"/>
                </a:lnTo>
                <a:lnTo>
                  <a:pt x="1918509" y="6479439"/>
                </a:lnTo>
                <a:lnTo>
                  <a:pt x="1914490" y="6475400"/>
                </a:lnTo>
                <a:lnTo>
                  <a:pt x="1914490" y="6465529"/>
                </a:lnTo>
                <a:close/>
                <a:moveTo>
                  <a:pt x="1679200" y="6461491"/>
                </a:moveTo>
                <a:lnTo>
                  <a:pt x="1689110" y="6461491"/>
                </a:lnTo>
                <a:lnTo>
                  <a:pt x="1693128" y="6465529"/>
                </a:lnTo>
                <a:lnTo>
                  <a:pt x="1693128" y="6475400"/>
                </a:lnTo>
                <a:lnTo>
                  <a:pt x="1689110" y="6479439"/>
                </a:lnTo>
                <a:lnTo>
                  <a:pt x="1679200" y="6479439"/>
                </a:lnTo>
                <a:lnTo>
                  <a:pt x="1675180" y="6475400"/>
                </a:lnTo>
                <a:lnTo>
                  <a:pt x="1675180" y="6465529"/>
                </a:lnTo>
                <a:close/>
                <a:moveTo>
                  <a:pt x="1439885" y="6461491"/>
                </a:moveTo>
                <a:lnTo>
                  <a:pt x="1449795" y="6461491"/>
                </a:lnTo>
                <a:lnTo>
                  <a:pt x="1453813" y="6465529"/>
                </a:lnTo>
                <a:lnTo>
                  <a:pt x="1453813" y="6475400"/>
                </a:lnTo>
                <a:lnTo>
                  <a:pt x="1449795" y="6479439"/>
                </a:lnTo>
                <a:lnTo>
                  <a:pt x="1439885" y="6479439"/>
                </a:lnTo>
                <a:lnTo>
                  <a:pt x="1435865" y="6475400"/>
                </a:lnTo>
                <a:lnTo>
                  <a:pt x="1435865" y="6465529"/>
                </a:lnTo>
                <a:close/>
                <a:moveTo>
                  <a:pt x="1200570" y="6461491"/>
                </a:moveTo>
                <a:lnTo>
                  <a:pt x="1210480" y="6461491"/>
                </a:lnTo>
                <a:lnTo>
                  <a:pt x="1214498" y="6465529"/>
                </a:lnTo>
                <a:lnTo>
                  <a:pt x="1214498" y="6475400"/>
                </a:lnTo>
                <a:lnTo>
                  <a:pt x="1210480" y="6479439"/>
                </a:lnTo>
                <a:lnTo>
                  <a:pt x="1200570" y="6479439"/>
                </a:lnTo>
                <a:lnTo>
                  <a:pt x="1196551" y="6475400"/>
                </a:lnTo>
                <a:lnTo>
                  <a:pt x="1196551" y="6465529"/>
                </a:lnTo>
                <a:close/>
                <a:moveTo>
                  <a:pt x="961257" y="6461491"/>
                </a:moveTo>
                <a:lnTo>
                  <a:pt x="971167" y="6461491"/>
                </a:lnTo>
                <a:lnTo>
                  <a:pt x="975186" y="6465529"/>
                </a:lnTo>
                <a:lnTo>
                  <a:pt x="975186" y="6475400"/>
                </a:lnTo>
                <a:lnTo>
                  <a:pt x="971167" y="6479439"/>
                </a:lnTo>
                <a:lnTo>
                  <a:pt x="961257" y="6479439"/>
                </a:lnTo>
                <a:lnTo>
                  <a:pt x="957238" y="6475400"/>
                </a:lnTo>
                <a:lnTo>
                  <a:pt x="957238" y="6465529"/>
                </a:lnTo>
                <a:close/>
                <a:moveTo>
                  <a:pt x="9572438" y="6461440"/>
                </a:moveTo>
                <a:lnTo>
                  <a:pt x="9582349" y="6461440"/>
                </a:lnTo>
                <a:lnTo>
                  <a:pt x="9586368" y="6465478"/>
                </a:lnTo>
                <a:lnTo>
                  <a:pt x="9586368" y="6475349"/>
                </a:lnTo>
                <a:lnTo>
                  <a:pt x="9582349" y="6479388"/>
                </a:lnTo>
                <a:lnTo>
                  <a:pt x="9572438" y="6479388"/>
                </a:lnTo>
                <a:lnTo>
                  <a:pt x="9568419" y="6475349"/>
                </a:lnTo>
                <a:lnTo>
                  <a:pt x="9568419" y="6465478"/>
                </a:lnTo>
                <a:close/>
                <a:moveTo>
                  <a:pt x="9333125" y="6461440"/>
                </a:moveTo>
                <a:lnTo>
                  <a:pt x="9343036" y="6461440"/>
                </a:lnTo>
                <a:lnTo>
                  <a:pt x="9347055" y="6465478"/>
                </a:lnTo>
                <a:lnTo>
                  <a:pt x="9347055" y="6475349"/>
                </a:lnTo>
                <a:lnTo>
                  <a:pt x="9343036" y="6479388"/>
                </a:lnTo>
                <a:lnTo>
                  <a:pt x="9333125" y="6479388"/>
                </a:lnTo>
                <a:lnTo>
                  <a:pt x="9329106" y="6475349"/>
                </a:lnTo>
                <a:lnTo>
                  <a:pt x="9329106" y="6465478"/>
                </a:lnTo>
                <a:close/>
                <a:moveTo>
                  <a:pt x="9093811" y="6461440"/>
                </a:moveTo>
                <a:lnTo>
                  <a:pt x="9103722" y="6461440"/>
                </a:lnTo>
                <a:lnTo>
                  <a:pt x="9107741" y="6465478"/>
                </a:lnTo>
                <a:lnTo>
                  <a:pt x="9107741" y="6475349"/>
                </a:lnTo>
                <a:lnTo>
                  <a:pt x="9103722" y="6479388"/>
                </a:lnTo>
                <a:lnTo>
                  <a:pt x="9093811" y="6479388"/>
                </a:lnTo>
                <a:lnTo>
                  <a:pt x="9089792" y="6475349"/>
                </a:lnTo>
                <a:lnTo>
                  <a:pt x="9089792" y="6465478"/>
                </a:lnTo>
                <a:close/>
                <a:moveTo>
                  <a:pt x="8854496" y="6461440"/>
                </a:moveTo>
                <a:lnTo>
                  <a:pt x="8864407" y="6461440"/>
                </a:lnTo>
                <a:lnTo>
                  <a:pt x="8868426" y="6465478"/>
                </a:lnTo>
                <a:lnTo>
                  <a:pt x="8868426" y="6475349"/>
                </a:lnTo>
                <a:lnTo>
                  <a:pt x="8864407" y="6479388"/>
                </a:lnTo>
                <a:lnTo>
                  <a:pt x="8854496" y="6479388"/>
                </a:lnTo>
                <a:lnTo>
                  <a:pt x="8850477" y="6475349"/>
                </a:lnTo>
                <a:lnTo>
                  <a:pt x="8850477" y="6465478"/>
                </a:lnTo>
                <a:close/>
                <a:moveTo>
                  <a:pt x="8615184" y="6461440"/>
                </a:moveTo>
                <a:lnTo>
                  <a:pt x="8625095" y="6461440"/>
                </a:lnTo>
                <a:lnTo>
                  <a:pt x="8629114" y="6465478"/>
                </a:lnTo>
                <a:lnTo>
                  <a:pt x="8629114" y="6475349"/>
                </a:lnTo>
                <a:lnTo>
                  <a:pt x="8625095" y="6479388"/>
                </a:lnTo>
                <a:lnTo>
                  <a:pt x="8615184" y="6479388"/>
                </a:lnTo>
                <a:lnTo>
                  <a:pt x="8611165" y="6475349"/>
                </a:lnTo>
                <a:lnTo>
                  <a:pt x="8611165" y="6465478"/>
                </a:lnTo>
                <a:close/>
                <a:moveTo>
                  <a:pt x="8375869" y="6461440"/>
                </a:moveTo>
                <a:lnTo>
                  <a:pt x="8385779" y="6461440"/>
                </a:lnTo>
                <a:lnTo>
                  <a:pt x="8389799" y="6465478"/>
                </a:lnTo>
                <a:lnTo>
                  <a:pt x="8389799" y="6475349"/>
                </a:lnTo>
                <a:lnTo>
                  <a:pt x="8385779" y="6479388"/>
                </a:lnTo>
                <a:lnTo>
                  <a:pt x="8375869" y="6479388"/>
                </a:lnTo>
                <a:lnTo>
                  <a:pt x="8371850" y="6475349"/>
                </a:lnTo>
                <a:lnTo>
                  <a:pt x="8371850" y="6465478"/>
                </a:lnTo>
                <a:close/>
                <a:moveTo>
                  <a:pt x="8136553" y="6461440"/>
                </a:moveTo>
                <a:lnTo>
                  <a:pt x="8146464" y="6461440"/>
                </a:lnTo>
                <a:lnTo>
                  <a:pt x="8150483" y="6465478"/>
                </a:lnTo>
                <a:lnTo>
                  <a:pt x="8150483" y="6475349"/>
                </a:lnTo>
                <a:lnTo>
                  <a:pt x="8146464" y="6479388"/>
                </a:lnTo>
                <a:lnTo>
                  <a:pt x="8136553" y="6479388"/>
                </a:lnTo>
                <a:lnTo>
                  <a:pt x="8132534" y="6475349"/>
                </a:lnTo>
                <a:lnTo>
                  <a:pt x="8132534" y="6465478"/>
                </a:lnTo>
                <a:close/>
                <a:moveTo>
                  <a:pt x="7897241" y="6461440"/>
                </a:moveTo>
                <a:lnTo>
                  <a:pt x="7907151" y="6461440"/>
                </a:lnTo>
                <a:lnTo>
                  <a:pt x="7911170" y="6465478"/>
                </a:lnTo>
                <a:lnTo>
                  <a:pt x="7911170" y="6475349"/>
                </a:lnTo>
                <a:lnTo>
                  <a:pt x="7907151" y="6479388"/>
                </a:lnTo>
                <a:lnTo>
                  <a:pt x="7897241" y="6479388"/>
                </a:lnTo>
                <a:lnTo>
                  <a:pt x="7893222" y="6475349"/>
                </a:lnTo>
                <a:lnTo>
                  <a:pt x="7893222" y="6465478"/>
                </a:lnTo>
                <a:close/>
                <a:moveTo>
                  <a:pt x="7657926" y="6461440"/>
                </a:moveTo>
                <a:lnTo>
                  <a:pt x="7667836" y="6461440"/>
                </a:lnTo>
                <a:lnTo>
                  <a:pt x="7671855" y="6465478"/>
                </a:lnTo>
                <a:lnTo>
                  <a:pt x="7671855" y="6475349"/>
                </a:lnTo>
                <a:lnTo>
                  <a:pt x="7667836" y="6479388"/>
                </a:lnTo>
                <a:lnTo>
                  <a:pt x="7657926" y="6479388"/>
                </a:lnTo>
                <a:lnTo>
                  <a:pt x="7653906" y="6475349"/>
                </a:lnTo>
                <a:lnTo>
                  <a:pt x="7653906" y="6465478"/>
                </a:lnTo>
                <a:close/>
                <a:moveTo>
                  <a:pt x="7418611" y="6461440"/>
                </a:moveTo>
                <a:lnTo>
                  <a:pt x="7428521" y="6461440"/>
                </a:lnTo>
                <a:lnTo>
                  <a:pt x="7432540" y="6465478"/>
                </a:lnTo>
                <a:lnTo>
                  <a:pt x="7432540" y="6475349"/>
                </a:lnTo>
                <a:lnTo>
                  <a:pt x="7428521" y="6479388"/>
                </a:lnTo>
                <a:lnTo>
                  <a:pt x="7418611" y="6479388"/>
                </a:lnTo>
                <a:lnTo>
                  <a:pt x="7414592" y="6475349"/>
                </a:lnTo>
                <a:lnTo>
                  <a:pt x="7414592" y="6465478"/>
                </a:lnTo>
                <a:close/>
                <a:moveTo>
                  <a:pt x="7179298" y="6461440"/>
                </a:moveTo>
                <a:lnTo>
                  <a:pt x="7189209" y="6461440"/>
                </a:lnTo>
                <a:lnTo>
                  <a:pt x="7193228" y="6465478"/>
                </a:lnTo>
                <a:lnTo>
                  <a:pt x="7193228" y="6475349"/>
                </a:lnTo>
                <a:lnTo>
                  <a:pt x="7189209" y="6479388"/>
                </a:lnTo>
                <a:lnTo>
                  <a:pt x="7179298" y="6479388"/>
                </a:lnTo>
                <a:lnTo>
                  <a:pt x="7175279" y="6475349"/>
                </a:lnTo>
                <a:lnTo>
                  <a:pt x="7175279" y="6465478"/>
                </a:lnTo>
                <a:close/>
                <a:moveTo>
                  <a:pt x="6939983" y="6461440"/>
                </a:moveTo>
                <a:lnTo>
                  <a:pt x="6949894" y="6461440"/>
                </a:lnTo>
                <a:lnTo>
                  <a:pt x="6953913" y="6465478"/>
                </a:lnTo>
                <a:lnTo>
                  <a:pt x="6953913" y="6475349"/>
                </a:lnTo>
                <a:lnTo>
                  <a:pt x="6949894" y="6479388"/>
                </a:lnTo>
                <a:lnTo>
                  <a:pt x="6939983" y="6479388"/>
                </a:lnTo>
                <a:lnTo>
                  <a:pt x="6935964" y="6475349"/>
                </a:lnTo>
                <a:lnTo>
                  <a:pt x="6935964" y="6465478"/>
                </a:lnTo>
                <a:close/>
                <a:moveTo>
                  <a:pt x="6700670" y="6461440"/>
                </a:moveTo>
                <a:lnTo>
                  <a:pt x="6710581" y="6461440"/>
                </a:lnTo>
                <a:lnTo>
                  <a:pt x="6714600" y="6465478"/>
                </a:lnTo>
                <a:lnTo>
                  <a:pt x="6714600" y="6475349"/>
                </a:lnTo>
                <a:lnTo>
                  <a:pt x="6710581" y="6479388"/>
                </a:lnTo>
                <a:lnTo>
                  <a:pt x="6700670" y="6479388"/>
                </a:lnTo>
                <a:lnTo>
                  <a:pt x="6696651" y="6475349"/>
                </a:lnTo>
                <a:lnTo>
                  <a:pt x="6696651" y="6465478"/>
                </a:lnTo>
                <a:close/>
                <a:moveTo>
                  <a:pt x="6461356" y="6461440"/>
                </a:moveTo>
                <a:lnTo>
                  <a:pt x="6471266" y="6461440"/>
                </a:lnTo>
                <a:lnTo>
                  <a:pt x="6475285" y="6465478"/>
                </a:lnTo>
                <a:lnTo>
                  <a:pt x="6475285" y="6475349"/>
                </a:lnTo>
                <a:lnTo>
                  <a:pt x="6471266" y="6479388"/>
                </a:lnTo>
                <a:lnTo>
                  <a:pt x="6461356" y="6479388"/>
                </a:lnTo>
                <a:lnTo>
                  <a:pt x="6457337" y="6475349"/>
                </a:lnTo>
                <a:lnTo>
                  <a:pt x="6457337" y="6465478"/>
                </a:lnTo>
                <a:close/>
                <a:moveTo>
                  <a:pt x="6222042" y="6461440"/>
                </a:moveTo>
                <a:lnTo>
                  <a:pt x="6231952" y="6461440"/>
                </a:lnTo>
                <a:lnTo>
                  <a:pt x="6235971" y="6465478"/>
                </a:lnTo>
                <a:lnTo>
                  <a:pt x="6235971" y="6475349"/>
                </a:lnTo>
                <a:lnTo>
                  <a:pt x="6231952" y="6479388"/>
                </a:lnTo>
                <a:lnTo>
                  <a:pt x="6222042" y="6479388"/>
                </a:lnTo>
                <a:lnTo>
                  <a:pt x="6218023" y="6475349"/>
                </a:lnTo>
                <a:lnTo>
                  <a:pt x="6218023" y="6465478"/>
                </a:lnTo>
                <a:close/>
                <a:moveTo>
                  <a:pt x="5982729" y="6461440"/>
                </a:moveTo>
                <a:lnTo>
                  <a:pt x="5992639" y="6461440"/>
                </a:lnTo>
                <a:lnTo>
                  <a:pt x="5996658" y="6465478"/>
                </a:lnTo>
                <a:lnTo>
                  <a:pt x="5996658" y="6475349"/>
                </a:lnTo>
                <a:lnTo>
                  <a:pt x="5992639" y="6479388"/>
                </a:lnTo>
                <a:lnTo>
                  <a:pt x="5982729" y="6479388"/>
                </a:lnTo>
                <a:lnTo>
                  <a:pt x="5978710" y="6475349"/>
                </a:lnTo>
                <a:lnTo>
                  <a:pt x="5978710" y="6465478"/>
                </a:lnTo>
                <a:close/>
                <a:moveTo>
                  <a:pt x="5743412" y="6461440"/>
                </a:moveTo>
                <a:lnTo>
                  <a:pt x="5753323" y="6461440"/>
                </a:lnTo>
                <a:lnTo>
                  <a:pt x="5757342" y="6465478"/>
                </a:lnTo>
                <a:lnTo>
                  <a:pt x="5757342" y="6475349"/>
                </a:lnTo>
                <a:lnTo>
                  <a:pt x="5753323" y="6479388"/>
                </a:lnTo>
                <a:lnTo>
                  <a:pt x="5743412" y="6479388"/>
                </a:lnTo>
                <a:lnTo>
                  <a:pt x="5739393" y="6475349"/>
                </a:lnTo>
                <a:lnTo>
                  <a:pt x="5739393" y="6465478"/>
                </a:lnTo>
                <a:close/>
                <a:moveTo>
                  <a:pt x="5504099" y="6461440"/>
                </a:moveTo>
                <a:lnTo>
                  <a:pt x="5514010" y="6461440"/>
                </a:lnTo>
                <a:lnTo>
                  <a:pt x="5518029" y="6465478"/>
                </a:lnTo>
                <a:lnTo>
                  <a:pt x="5518029" y="6475349"/>
                </a:lnTo>
                <a:lnTo>
                  <a:pt x="5514010" y="6479388"/>
                </a:lnTo>
                <a:lnTo>
                  <a:pt x="5504099" y="6479388"/>
                </a:lnTo>
                <a:lnTo>
                  <a:pt x="5500080" y="6475349"/>
                </a:lnTo>
                <a:lnTo>
                  <a:pt x="5500080" y="6465478"/>
                </a:lnTo>
                <a:close/>
                <a:moveTo>
                  <a:pt x="5264784" y="6461440"/>
                </a:moveTo>
                <a:lnTo>
                  <a:pt x="5274694" y="6461440"/>
                </a:lnTo>
                <a:lnTo>
                  <a:pt x="5278713" y="6465478"/>
                </a:lnTo>
                <a:lnTo>
                  <a:pt x="5278713" y="6475349"/>
                </a:lnTo>
                <a:lnTo>
                  <a:pt x="5274694" y="6479388"/>
                </a:lnTo>
                <a:lnTo>
                  <a:pt x="5264784" y="6479388"/>
                </a:lnTo>
                <a:lnTo>
                  <a:pt x="5260765" y="6475349"/>
                </a:lnTo>
                <a:lnTo>
                  <a:pt x="5260765" y="6465478"/>
                </a:lnTo>
                <a:close/>
                <a:moveTo>
                  <a:pt x="5025470" y="6461440"/>
                </a:moveTo>
                <a:lnTo>
                  <a:pt x="5035381" y="6461440"/>
                </a:lnTo>
                <a:lnTo>
                  <a:pt x="5039400" y="6465478"/>
                </a:lnTo>
                <a:lnTo>
                  <a:pt x="5039400" y="6475349"/>
                </a:lnTo>
                <a:lnTo>
                  <a:pt x="5035381" y="6479388"/>
                </a:lnTo>
                <a:lnTo>
                  <a:pt x="5025470" y="6479388"/>
                </a:lnTo>
                <a:lnTo>
                  <a:pt x="5021451" y="6475349"/>
                </a:lnTo>
                <a:lnTo>
                  <a:pt x="5021451" y="6465478"/>
                </a:lnTo>
                <a:close/>
                <a:moveTo>
                  <a:pt x="4786241" y="6461440"/>
                </a:moveTo>
                <a:lnTo>
                  <a:pt x="4796152" y="6461440"/>
                </a:lnTo>
                <a:lnTo>
                  <a:pt x="4800171" y="6465478"/>
                </a:lnTo>
                <a:lnTo>
                  <a:pt x="4800171" y="6475349"/>
                </a:lnTo>
                <a:lnTo>
                  <a:pt x="4796152" y="6479388"/>
                </a:lnTo>
                <a:lnTo>
                  <a:pt x="4786241" y="6479388"/>
                </a:lnTo>
                <a:lnTo>
                  <a:pt x="4782224" y="6475349"/>
                </a:lnTo>
                <a:lnTo>
                  <a:pt x="4782224" y="6465478"/>
                </a:lnTo>
                <a:close/>
                <a:moveTo>
                  <a:pt x="4546929" y="6461440"/>
                </a:moveTo>
                <a:lnTo>
                  <a:pt x="4556840" y="6461440"/>
                </a:lnTo>
                <a:lnTo>
                  <a:pt x="4560859" y="6465478"/>
                </a:lnTo>
                <a:lnTo>
                  <a:pt x="4560859" y="6475349"/>
                </a:lnTo>
                <a:lnTo>
                  <a:pt x="4556840" y="6479388"/>
                </a:lnTo>
                <a:lnTo>
                  <a:pt x="4546929" y="6479388"/>
                </a:lnTo>
                <a:lnTo>
                  <a:pt x="4542910" y="6475349"/>
                </a:lnTo>
                <a:lnTo>
                  <a:pt x="4542910" y="6465478"/>
                </a:lnTo>
                <a:close/>
                <a:moveTo>
                  <a:pt x="4307612" y="6461440"/>
                </a:moveTo>
                <a:lnTo>
                  <a:pt x="4317523" y="6461440"/>
                </a:lnTo>
                <a:lnTo>
                  <a:pt x="4321543" y="6465478"/>
                </a:lnTo>
                <a:lnTo>
                  <a:pt x="4321543" y="6475349"/>
                </a:lnTo>
                <a:lnTo>
                  <a:pt x="4317523" y="6479388"/>
                </a:lnTo>
                <a:lnTo>
                  <a:pt x="4307612" y="6479388"/>
                </a:lnTo>
                <a:lnTo>
                  <a:pt x="4303595" y="6475349"/>
                </a:lnTo>
                <a:lnTo>
                  <a:pt x="4303595" y="6465478"/>
                </a:lnTo>
                <a:close/>
                <a:moveTo>
                  <a:pt x="4068297" y="6461440"/>
                </a:moveTo>
                <a:lnTo>
                  <a:pt x="4078210" y="6461440"/>
                </a:lnTo>
                <a:lnTo>
                  <a:pt x="4082229" y="6465478"/>
                </a:lnTo>
                <a:lnTo>
                  <a:pt x="4082229" y="6475349"/>
                </a:lnTo>
                <a:lnTo>
                  <a:pt x="4078210" y="6479388"/>
                </a:lnTo>
                <a:lnTo>
                  <a:pt x="4068297" y="6479388"/>
                </a:lnTo>
                <a:lnTo>
                  <a:pt x="4064278" y="6475349"/>
                </a:lnTo>
                <a:lnTo>
                  <a:pt x="4064278" y="6465478"/>
                </a:lnTo>
                <a:close/>
                <a:moveTo>
                  <a:pt x="3828990" y="6461440"/>
                </a:moveTo>
                <a:lnTo>
                  <a:pt x="3838899" y="6461440"/>
                </a:lnTo>
                <a:lnTo>
                  <a:pt x="3842917" y="6465478"/>
                </a:lnTo>
                <a:lnTo>
                  <a:pt x="3842917" y="6475349"/>
                </a:lnTo>
                <a:lnTo>
                  <a:pt x="3838899" y="6479388"/>
                </a:lnTo>
                <a:lnTo>
                  <a:pt x="3828990" y="6479388"/>
                </a:lnTo>
                <a:lnTo>
                  <a:pt x="3824971" y="6475349"/>
                </a:lnTo>
                <a:lnTo>
                  <a:pt x="3824971" y="6465478"/>
                </a:lnTo>
                <a:close/>
                <a:moveTo>
                  <a:pt x="3589676" y="6461440"/>
                </a:moveTo>
                <a:lnTo>
                  <a:pt x="3599585" y="6461440"/>
                </a:lnTo>
                <a:lnTo>
                  <a:pt x="3603604" y="6465478"/>
                </a:lnTo>
                <a:lnTo>
                  <a:pt x="3603604" y="6475349"/>
                </a:lnTo>
                <a:lnTo>
                  <a:pt x="3599585" y="6479388"/>
                </a:lnTo>
                <a:lnTo>
                  <a:pt x="3589676" y="6479388"/>
                </a:lnTo>
                <a:lnTo>
                  <a:pt x="3585657" y="6475349"/>
                </a:lnTo>
                <a:lnTo>
                  <a:pt x="3585657" y="6465478"/>
                </a:lnTo>
                <a:close/>
                <a:moveTo>
                  <a:pt x="3350359" y="6461440"/>
                </a:moveTo>
                <a:lnTo>
                  <a:pt x="3360268" y="6461440"/>
                </a:lnTo>
                <a:lnTo>
                  <a:pt x="3364287" y="6465478"/>
                </a:lnTo>
                <a:lnTo>
                  <a:pt x="3364287" y="6475349"/>
                </a:lnTo>
                <a:lnTo>
                  <a:pt x="3360268" y="6479388"/>
                </a:lnTo>
                <a:lnTo>
                  <a:pt x="3350359" y="6479388"/>
                </a:lnTo>
                <a:lnTo>
                  <a:pt x="3346340" y="6475349"/>
                </a:lnTo>
                <a:lnTo>
                  <a:pt x="3346340" y="6465478"/>
                </a:lnTo>
                <a:close/>
                <a:moveTo>
                  <a:pt x="3111048" y="6461440"/>
                </a:moveTo>
                <a:lnTo>
                  <a:pt x="3120959" y="6461440"/>
                </a:lnTo>
                <a:lnTo>
                  <a:pt x="3124977" y="6465478"/>
                </a:lnTo>
                <a:lnTo>
                  <a:pt x="3124977" y="6475349"/>
                </a:lnTo>
                <a:lnTo>
                  <a:pt x="3120959" y="6479388"/>
                </a:lnTo>
                <a:lnTo>
                  <a:pt x="3111048" y="6479388"/>
                </a:lnTo>
                <a:lnTo>
                  <a:pt x="3107029" y="6475349"/>
                </a:lnTo>
                <a:lnTo>
                  <a:pt x="3107029" y="6465478"/>
                </a:lnTo>
                <a:close/>
                <a:moveTo>
                  <a:pt x="2871737" y="6461440"/>
                </a:moveTo>
                <a:lnTo>
                  <a:pt x="2881646" y="6461440"/>
                </a:lnTo>
                <a:lnTo>
                  <a:pt x="2885666" y="6465478"/>
                </a:lnTo>
                <a:lnTo>
                  <a:pt x="2885666" y="6475349"/>
                </a:lnTo>
                <a:lnTo>
                  <a:pt x="2881646" y="6479388"/>
                </a:lnTo>
                <a:lnTo>
                  <a:pt x="2871737" y="6479388"/>
                </a:lnTo>
                <a:lnTo>
                  <a:pt x="2867717" y="6475349"/>
                </a:lnTo>
                <a:lnTo>
                  <a:pt x="2867717" y="6465478"/>
                </a:lnTo>
                <a:close/>
                <a:moveTo>
                  <a:pt x="2632423" y="6461440"/>
                </a:moveTo>
                <a:lnTo>
                  <a:pt x="2642334" y="6461440"/>
                </a:lnTo>
                <a:lnTo>
                  <a:pt x="2646352" y="6465478"/>
                </a:lnTo>
                <a:lnTo>
                  <a:pt x="2646352" y="6475349"/>
                </a:lnTo>
                <a:lnTo>
                  <a:pt x="2642334" y="6479388"/>
                </a:lnTo>
                <a:lnTo>
                  <a:pt x="2632423" y="6479388"/>
                </a:lnTo>
                <a:lnTo>
                  <a:pt x="2628404" y="6475349"/>
                </a:lnTo>
                <a:lnTo>
                  <a:pt x="2628404" y="6465478"/>
                </a:lnTo>
                <a:close/>
                <a:moveTo>
                  <a:pt x="2393104" y="6461440"/>
                </a:moveTo>
                <a:lnTo>
                  <a:pt x="2403015" y="6461440"/>
                </a:lnTo>
                <a:lnTo>
                  <a:pt x="2407034" y="6465478"/>
                </a:lnTo>
                <a:lnTo>
                  <a:pt x="2407034" y="6475349"/>
                </a:lnTo>
                <a:lnTo>
                  <a:pt x="2403015" y="6479388"/>
                </a:lnTo>
                <a:lnTo>
                  <a:pt x="2393104" y="6479388"/>
                </a:lnTo>
                <a:lnTo>
                  <a:pt x="2389087" y="6475349"/>
                </a:lnTo>
                <a:lnTo>
                  <a:pt x="2389087" y="6465478"/>
                </a:lnTo>
                <a:close/>
                <a:moveTo>
                  <a:pt x="721958" y="6461440"/>
                </a:moveTo>
                <a:lnTo>
                  <a:pt x="731868" y="6461440"/>
                </a:lnTo>
                <a:lnTo>
                  <a:pt x="735887" y="6465478"/>
                </a:lnTo>
                <a:lnTo>
                  <a:pt x="735887" y="6475349"/>
                </a:lnTo>
                <a:lnTo>
                  <a:pt x="731868" y="6479388"/>
                </a:lnTo>
                <a:lnTo>
                  <a:pt x="721958" y="6479388"/>
                </a:lnTo>
                <a:lnTo>
                  <a:pt x="717939" y="6475349"/>
                </a:lnTo>
                <a:lnTo>
                  <a:pt x="717939" y="6465478"/>
                </a:lnTo>
                <a:close/>
                <a:moveTo>
                  <a:pt x="482646" y="6461440"/>
                </a:moveTo>
                <a:lnTo>
                  <a:pt x="492556" y="6461440"/>
                </a:lnTo>
                <a:lnTo>
                  <a:pt x="496575" y="6465478"/>
                </a:lnTo>
                <a:lnTo>
                  <a:pt x="496575" y="6475349"/>
                </a:lnTo>
                <a:lnTo>
                  <a:pt x="492556" y="6479388"/>
                </a:lnTo>
                <a:lnTo>
                  <a:pt x="482646" y="6479388"/>
                </a:lnTo>
                <a:lnTo>
                  <a:pt x="478627" y="6475349"/>
                </a:lnTo>
                <a:lnTo>
                  <a:pt x="478627" y="6465478"/>
                </a:lnTo>
                <a:close/>
                <a:moveTo>
                  <a:pt x="243332" y="6461440"/>
                </a:moveTo>
                <a:lnTo>
                  <a:pt x="253242" y="6461440"/>
                </a:lnTo>
                <a:lnTo>
                  <a:pt x="257261" y="6465478"/>
                </a:lnTo>
                <a:lnTo>
                  <a:pt x="257261" y="6475349"/>
                </a:lnTo>
                <a:lnTo>
                  <a:pt x="253242" y="6479388"/>
                </a:lnTo>
                <a:lnTo>
                  <a:pt x="243332" y="6479388"/>
                </a:lnTo>
                <a:lnTo>
                  <a:pt x="239313" y="6475349"/>
                </a:lnTo>
                <a:lnTo>
                  <a:pt x="239313" y="6465478"/>
                </a:lnTo>
                <a:close/>
                <a:moveTo>
                  <a:pt x="4019" y="6461440"/>
                </a:moveTo>
                <a:lnTo>
                  <a:pt x="13929" y="6461440"/>
                </a:lnTo>
                <a:lnTo>
                  <a:pt x="17949" y="6465478"/>
                </a:lnTo>
                <a:lnTo>
                  <a:pt x="17949" y="6475349"/>
                </a:lnTo>
                <a:lnTo>
                  <a:pt x="13929" y="6479388"/>
                </a:lnTo>
                <a:lnTo>
                  <a:pt x="4019" y="6479388"/>
                </a:lnTo>
                <a:lnTo>
                  <a:pt x="0" y="6475349"/>
                </a:lnTo>
                <a:lnTo>
                  <a:pt x="0" y="6465478"/>
                </a:lnTo>
                <a:close/>
                <a:moveTo>
                  <a:pt x="9572438" y="6222160"/>
                </a:moveTo>
                <a:lnTo>
                  <a:pt x="9582349" y="6222160"/>
                </a:lnTo>
                <a:lnTo>
                  <a:pt x="9586368" y="6226198"/>
                </a:lnTo>
                <a:lnTo>
                  <a:pt x="9586368" y="6236069"/>
                </a:lnTo>
                <a:lnTo>
                  <a:pt x="9582349" y="6240109"/>
                </a:lnTo>
                <a:lnTo>
                  <a:pt x="9572438" y="6240109"/>
                </a:lnTo>
                <a:lnTo>
                  <a:pt x="9568419" y="6236069"/>
                </a:lnTo>
                <a:lnTo>
                  <a:pt x="9568419" y="6226198"/>
                </a:lnTo>
                <a:close/>
                <a:moveTo>
                  <a:pt x="9333125" y="6222160"/>
                </a:moveTo>
                <a:lnTo>
                  <a:pt x="9343036" y="6222160"/>
                </a:lnTo>
                <a:lnTo>
                  <a:pt x="9347055" y="6226198"/>
                </a:lnTo>
                <a:lnTo>
                  <a:pt x="9347055" y="6236069"/>
                </a:lnTo>
                <a:lnTo>
                  <a:pt x="9343036" y="6240109"/>
                </a:lnTo>
                <a:lnTo>
                  <a:pt x="9333125" y="6240109"/>
                </a:lnTo>
                <a:lnTo>
                  <a:pt x="9329106" y="6236069"/>
                </a:lnTo>
                <a:lnTo>
                  <a:pt x="9329106" y="6226198"/>
                </a:lnTo>
                <a:close/>
                <a:moveTo>
                  <a:pt x="9093811" y="6222160"/>
                </a:moveTo>
                <a:lnTo>
                  <a:pt x="9103722" y="6222160"/>
                </a:lnTo>
                <a:lnTo>
                  <a:pt x="9107741" y="6226198"/>
                </a:lnTo>
                <a:lnTo>
                  <a:pt x="9107741" y="6236069"/>
                </a:lnTo>
                <a:lnTo>
                  <a:pt x="9103722" y="6240109"/>
                </a:lnTo>
                <a:lnTo>
                  <a:pt x="9093811" y="6240109"/>
                </a:lnTo>
                <a:lnTo>
                  <a:pt x="9089792" y="6236069"/>
                </a:lnTo>
                <a:lnTo>
                  <a:pt x="9089792" y="6226198"/>
                </a:lnTo>
                <a:close/>
                <a:moveTo>
                  <a:pt x="8854496" y="6222160"/>
                </a:moveTo>
                <a:lnTo>
                  <a:pt x="8864407" y="6222160"/>
                </a:lnTo>
                <a:lnTo>
                  <a:pt x="8868426" y="6226198"/>
                </a:lnTo>
                <a:lnTo>
                  <a:pt x="8868426" y="6236069"/>
                </a:lnTo>
                <a:lnTo>
                  <a:pt x="8864407" y="6240109"/>
                </a:lnTo>
                <a:lnTo>
                  <a:pt x="8854496" y="6240109"/>
                </a:lnTo>
                <a:lnTo>
                  <a:pt x="8850477" y="6236069"/>
                </a:lnTo>
                <a:lnTo>
                  <a:pt x="8850477" y="6226198"/>
                </a:lnTo>
                <a:close/>
                <a:moveTo>
                  <a:pt x="8615184" y="6222160"/>
                </a:moveTo>
                <a:lnTo>
                  <a:pt x="8625095" y="6222160"/>
                </a:lnTo>
                <a:lnTo>
                  <a:pt x="8629114" y="6226198"/>
                </a:lnTo>
                <a:lnTo>
                  <a:pt x="8629114" y="6236069"/>
                </a:lnTo>
                <a:lnTo>
                  <a:pt x="8625095" y="6240109"/>
                </a:lnTo>
                <a:lnTo>
                  <a:pt x="8615184" y="6240109"/>
                </a:lnTo>
                <a:lnTo>
                  <a:pt x="8611165" y="6236069"/>
                </a:lnTo>
                <a:lnTo>
                  <a:pt x="8611165" y="6226198"/>
                </a:lnTo>
                <a:close/>
                <a:moveTo>
                  <a:pt x="8375869" y="6222160"/>
                </a:moveTo>
                <a:lnTo>
                  <a:pt x="8385779" y="6222160"/>
                </a:lnTo>
                <a:lnTo>
                  <a:pt x="8389799" y="6226198"/>
                </a:lnTo>
                <a:lnTo>
                  <a:pt x="8389799" y="6236069"/>
                </a:lnTo>
                <a:lnTo>
                  <a:pt x="8385779" y="6240109"/>
                </a:lnTo>
                <a:lnTo>
                  <a:pt x="8375869" y="6240109"/>
                </a:lnTo>
                <a:lnTo>
                  <a:pt x="8371850" y="6236069"/>
                </a:lnTo>
                <a:lnTo>
                  <a:pt x="8371850" y="6226198"/>
                </a:lnTo>
                <a:close/>
                <a:moveTo>
                  <a:pt x="8136553" y="6222160"/>
                </a:moveTo>
                <a:lnTo>
                  <a:pt x="8146464" y="6222160"/>
                </a:lnTo>
                <a:lnTo>
                  <a:pt x="8150483" y="6226198"/>
                </a:lnTo>
                <a:lnTo>
                  <a:pt x="8150483" y="6236069"/>
                </a:lnTo>
                <a:lnTo>
                  <a:pt x="8146464" y="6240109"/>
                </a:lnTo>
                <a:lnTo>
                  <a:pt x="8136553" y="6240109"/>
                </a:lnTo>
                <a:lnTo>
                  <a:pt x="8132534" y="6236069"/>
                </a:lnTo>
                <a:lnTo>
                  <a:pt x="8132534" y="6226198"/>
                </a:lnTo>
                <a:close/>
                <a:moveTo>
                  <a:pt x="7897241" y="6222160"/>
                </a:moveTo>
                <a:lnTo>
                  <a:pt x="7907151" y="6222160"/>
                </a:lnTo>
                <a:lnTo>
                  <a:pt x="7911170" y="6226198"/>
                </a:lnTo>
                <a:lnTo>
                  <a:pt x="7911170" y="6236069"/>
                </a:lnTo>
                <a:lnTo>
                  <a:pt x="7907151" y="6240109"/>
                </a:lnTo>
                <a:lnTo>
                  <a:pt x="7897241" y="6240109"/>
                </a:lnTo>
                <a:lnTo>
                  <a:pt x="7893222" y="6236069"/>
                </a:lnTo>
                <a:lnTo>
                  <a:pt x="7893222" y="6226198"/>
                </a:lnTo>
                <a:close/>
                <a:moveTo>
                  <a:pt x="7657926" y="6222160"/>
                </a:moveTo>
                <a:lnTo>
                  <a:pt x="7667836" y="6222160"/>
                </a:lnTo>
                <a:lnTo>
                  <a:pt x="7671855" y="6226198"/>
                </a:lnTo>
                <a:lnTo>
                  <a:pt x="7671855" y="6236069"/>
                </a:lnTo>
                <a:lnTo>
                  <a:pt x="7667836" y="6240109"/>
                </a:lnTo>
                <a:lnTo>
                  <a:pt x="7657926" y="6240109"/>
                </a:lnTo>
                <a:lnTo>
                  <a:pt x="7653906" y="6236069"/>
                </a:lnTo>
                <a:lnTo>
                  <a:pt x="7653906" y="6226198"/>
                </a:lnTo>
                <a:close/>
                <a:moveTo>
                  <a:pt x="7418611" y="6222160"/>
                </a:moveTo>
                <a:lnTo>
                  <a:pt x="7428521" y="6222160"/>
                </a:lnTo>
                <a:lnTo>
                  <a:pt x="7432540" y="6226198"/>
                </a:lnTo>
                <a:lnTo>
                  <a:pt x="7432540" y="6236069"/>
                </a:lnTo>
                <a:lnTo>
                  <a:pt x="7428521" y="6240109"/>
                </a:lnTo>
                <a:lnTo>
                  <a:pt x="7418611" y="6240109"/>
                </a:lnTo>
                <a:lnTo>
                  <a:pt x="7414592" y="6236069"/>
                </a:lnTo>
                <a:lnTo>
                  <a:pt x="7414592" y="6226198"/>
                </a:lnTo>
                <a:close/>
                <a:moveTo>
                  <a:pt x="7179298" y="6222160"/>
                </a:moveTo>
                <a:lnTo>
                  <a:pt x="7189209" y="6222160"/>
                </a:lnTo>
                <a:lnTo>
                  <a:pt x="7193228" y="6226198"/>
                </a:lnTo>
                <a:lnTo>
                  <a:pt x="7193228" y="6236069"/>
                </a:lnTo>
                <a:lnTo>
                  <a:pt x="7189209" y="6240109"/>
                </a:lnTo>
                <a:lnTo>
                  <a:pt x="7179298" y="6240109"/>
                </a:lnTo>
                <a:lnTo>
                  <a:pt x="7175279" y="6236069"/>
                </a:lnTo>
                <a:lnTo>
                  <a:pt x="7175279" y="6226198"/>
                </a:lnTo>
                <a:close/>
                <a:moveTo>
                  <a:pt x="6939983" y="6222160"/>
                </a:moveTo>
                <a:lnTo>
                  <a:pt x="6949894" y="6222160"/>
                </a:lnTo>
                <a:lnTo>
                  <a:pt x="6953913" y="6226198"/>
                </a:lnTo>
                <a:lnTo>
                  <a:pt x="6953913" y="6236069"/>
                </a:lnTo>
                <a:lnTo>
                  <a:pt x="6949894" y="6240109"/>
                </a:lnTo>
                <a:lnTo>
                  <a:pt x="6939983" y="6240109"/>
                </a:lnTo>
                <a:lnTo>
                  <a:pt x="6935964" y="6236069"/>
                </a:lnTo>
                <a:lnTo>
                  <a:pt x="6935964" y="6226198"/>
                </a:lnTo>
                <a:close/>
                <a:moveTo>
                  <a:pt x="6700670" y="6222160"/>
                </a:moveTo>
                <a:lnTo>
                  <a:pt x="6710581" y="6222160"/>
                </a:lnTo>
                <a:lnTo>
                  <a:pt x="6714600" y="6226198"/>
                </a:lnTo>
                <a:lnTo>
                  <a:pt x="6714600" y="6236069"/>
                </a:lnTo>
                <a:lnTo>
                  <a:pt x="6710581" y="6240109"/>
                </a:lnTo>
                <a:lnTo>
                  <a:pt x="6700670" y="6240109"/>
                </a:lnTo>
                <a:lnTo>
                  <a:pt x="6696651" y="6236069"/>
                </a:lnTo>
                <a:lnTo>
                  <a:pt x="6696651" y="6226198"/>
                </a:lnTo>
                <a:close/>
                <a:moveTo>
                  <a:pt x="6461356" y="6222160"/>
                </a:moveTo>
                <a:lnTo>
                  <a:pt x="6471266" y="6222160"/>
                </a:lnTo>
                <a:lnTo>
                  <a:pt x="6475285" y="6226198"/>
                </a:lnTo>
                <a:lnTo>
                  <a:pt x="6475285" y="6236069"/>
                </a:lnTo>
                <a:lnTo>
                  <a:pt x="6471266" y="6240109"/>
                </a:lnTo>
                <a:lnTo>
                  <a:pt x="6461356" y="6240109"/>
                </a:lnTo>
                <a:lnTo>
                  <a:pt x="6457337" y="6236069"/>
                </a:lnTo>
                <a:lnTo>
                  <a:pt x="6457337" y="6226198"/>
                </a:lnTo>
                <a:close/>
                <a:moveTo>
                  <a:pt x="6222042" y="6222160"/>
                </a:moveTo>
                <a:lnTo>
                  <a:pt x="6231952" y="6222160"/>
                </a:lnTo>
                <a:lnTo>
                  <a:pt x="6235971" y="6226198"/>
                </a:lnTo>
                <a:lnTo>
                  <a:pt x="6235971" y="6236069"/>
                </a:lnTo>
                <a:lnTo>
                  <a:pt x="6231952" y="6240109"/>
                </a:lnTo>
                <a:lnTo>
                  <a:pt x="6222042" y="6240109"/>
                </a:lnTo>
                <a:lnTo>
                  <a:pt x="6218023" y="6236069"/>
                </a:lnTo>
                <a:lnTo>
                  <a:pt x="6218023" y="6226198"/>
                </a:lnTo>
                <a:close/>
                <a:moveTo>
                  <a:pt x="5982729" y="6222160"/>
                </a:moveTo>
                <a:lnTo>
                  <a:pt x="5992639" y="6222160"/>
                </a:lnTo>
                <a:lnTo>
                  <a:pt x="5996658" y="6226198"/>
                </a:lnTo>
                <a:lnTo>
                  <a:pt x="5996658" y="6236069"/>
                </a:lnTo>
                <a:lnTo>
                  <a:pt x="5992639" y="6240109"/>
                </a:lnTo>
                <a:lnTo>
                  <a:pt x="5982729" y="6240109"/>
                </a:lnTo>
                <a:lnTo>
                  <a:pt x="5978710" y="6236069"/>
                </a:lnTo>
                <a:lnTo>
                  <a:pt x="5978710" y="6226198"/>
                </a:lnTo>
                <a:close/>
                <a:moveTo>
                  <a:pt x="5743412" y="6222160"/>
                </a:moveTo>
                <a:lnTo>
                  <a:pt x="5753323" y="6222160"/>
                </a:lnTo>
                <a:lnTo>
                  <a:pt x="5757342" y="6226198"/>
                </a:lnTo>
                <a:lnTo>
                  <a:pt x="5757342" y="6236069"/>
                </a:lnTo>
                <a:lnTo>
                  <a:pt x="5753323" y="6240109"/>
                </a:lnTo>
                <a:lnTo>
                  <a:pt x="5743412" y="6240109"/>
                </a:lnTo>
                <a:lnTo>
                  <a:pt x="5739393" y="6236069"/>
                </a:lnTo>
                <a:lnTo>
                  <a:pt x="5739393" y="6226198"/>
                </a:lnTo>
                <a:close/>
                <a:moveTo>
                  <a:pt x="5504099" y="6222160"/>
                </a:moveTo>
                <a:lnTo>
                  <a:pt x="5514010" y="6222160"/>
                </a:lnTo>
                <a:lnTo>
                  <a:pt x="5518029" y="6226198"/>
                </a:lnTo>
                <a:lnTo>
                  <a:pt x="5518029" y="6236069"/>
                </a:lnTo>
                <a:lnTo>
                  <a:pt x="5514010" y="6240109"/>
                </a:lnTo>
                <a:lnTo>
                  <a:pt x="5504099" y="6240109"/>
                </a:lnTo>
                <a:lnTo>
                  <a:pt x="5500080" y="6236069"/>
                </a:lnTo>
                <a:lnTo>
                  <a:pt x="5500080" y="6226198"/>
                </a:lnTo>
                <a:close/>
                <a:moveTo>
                  <a:pt x="5264784" y="6222160"/>
                </a:moveTo>
                <a:lnTo>
                  <a:pt x="5274694" y="6222160"/>
                </a:lnTo>
                <a:lnTo>
                  <a:pt x="5278713" y="6226198"/>
                </a:lnTo>
                <a:lnTo>
                  <a:pt x="5278713" y="6236069"/>
                </a:lnTo>
                <a:lnTo>
                  <a:pt x="5274694" y="6240109"/>
                </a:lnTo>
                <a:lnTo>
                  <a:pt x="5264784" y="6240109"/>
                </a:lnTo>
                <a:lnTo>
                  <a:pt x="5260765" y="6236069"/>
                </a:lnTo>
                <a:lnTo>
                  <a:pt x="5260765" y="6226198"/>
                </a:lnTo>
                <a:close/>
                <a:moveTo>
                  <a:pt x="5025470" y="6222160"/>
                </a:moveTo>
                <a:lnTo>
                  <a:pt x="5035381" y="6222160"/>
                </a:lnTo>
                <a:lnTo>
                  <a:pt x="5039400" y="6226198"/>
                </a:lnTo>
                <a:lnTo>
                  <a:pt x="5039400" y="6236069"/>
                </a:lnTo>
                <a:lnTo>
                  <a:pt x="5035381" y="6240109"/>
                </a:lnTo>
                <a:lnTo>
                  <a:pt x="5025470" y="6240109"/>
                </a:lnTo>
                <a:lnTo>
                  <a:pt x="5021451" y="6236069"/>
                </a:lnTo>
                <a:lnTo>
                  <a:pt x="5021451" y="6226198"/>
                </a:lnTo>
                <a:close/>
                <a:moveTo>
                  <a:pt x="4786241" y="6222160"/>
                </a:moveTo>
                <a:lnTo>
                  <a:pt x="4796152" y="6222160"/>
                </a:lnTo>
                <a:lnTo>
                  <a:pt x="4800171" y="6226198"/>
                </a:lnTo>
                <a:lnTo>
                  <a:pt x="4800171" y="6236069"/>
                </a:lnTo>
                <a:lnTo>
                  <a:pt x="4796152" y="6240109"/>
                </a:lnTo>
                <a:lnTo>
                  <a:pt x="4786241" y="6240109"/>
                </a:lnTo>
                <a:lnTo>
                  <a:pt x="4782224" y="6236069"/>
                </a:lnTo>
                <a:lnTo>
                  <a:pt x="4782224" y="6226198"/>
                </a:lnTo>
                <a:close/>
                <a:moveTo>
                  <a:pt x="4546929" y="6222160"/>
                </a:moveTo>
                <a:lnTo>
                  <a:pt x="4556840" y="6222160"/>
                </a:lnTo>
                <a:lnTo>
                  <a:pt x="4560859" y="6226198"/>
                </a:lnTo>
                <a:lnTo>
                  <a:pt x="4560859" y="6236069"/>
                </a:lnTo>
                <a:lnTo>
                  <a:pt x="4556840" y="6240109"/>
                </a:lnTo>
                <a:lnTo>
                  <a:pt x="4546929" y="6240109"/>
                </a:lnTo>
                <a:lnTo>
                  <a:pt x="4542910" y="6236069"/>
                </a:lnTo>
                <a:lnTo>
                  <a:pt x="4542910" y="6226198"/>
                </a:lnTo>
                <a:close/>
                <a:moveTo>
                  <a:pt x="4307612" y="6222160"/>
                </a:moveTo>
                <a:lnTo>
                  <a:pt x="4317523" y="6222160"/>
                </a:lnTo>
                <a:lnTo>
                  <a:pt x="4321543" y="6226198"/>
                </a:lnTo>
                <a:lnTo>
                  <a:pt x="4321543" y="6236069"/>
                </a:lnTo>
                <a:lnTo>
                  <a:pt x="4317523" y="6240109"/>
                </a:lnTo>
                <a:lnTo>
                  <a:pt x="4307612" y="6240109"/>
                </a:lnTo>
                <a:lnTo>
                  <a:pt x="4303595" y="6236069"/>
                </a:lnTo>
                <a:lnTo>
                  <a:pt x="4303595" y="6226198"/>
                </a:lnTo>
                <a:close/>
                <a:moveTo>
                  <a:pt x="4068297" y="6222160"/>
                </a:moveTo>
                <a:lnTo>
                  <a:pt x="4078210" y="6222160"/>
                </a:lnTo>
                <a:lnTo>
                  <a:pt x="4082229" y="6226198"/>
                </a:lnTo>
                <a:lnTo>
                  <a:pt x="4082229" y="6236069"/>
                </a:lnTo>
                <a:lnTo>
                  <a:pt x="4078210" y="6240109"/>
                </a:lnTo>
                <a:lnTo>
                  <a:pt x="4068297" y="6240109"/>
                </a:lnTo>
                <a:lnTo>
                  <a:pt x="4064278" y="6236069"/>
                </a:lnTo>
                <a:lnTo>
                  <a:pt x="4064278" y="6226198"/>
                </a:lnTo>
                <a:close/>
                <a:moveTo>
                  <a:pt x="3828990" y="6222160"/>
                </a:moveTo>
                <a:lnTo>
                  <a:pt x="3838899" y="6222160"/>
                </a:lnTo>
                <a:lnTo>
                  <a:pt x="3842917" y="6226198"/>
                </a:lnTo>
                <a:lnTo>
                  <a:pt x="3842917" y="6236069"/>
                </a:lnTo>
                <a:lnTo>
                  <a:pt x="3838899" y="6240109"/>
                </a:lnTo>
                <a:lnTo>
                  <a:pt x="3828990" y="6240109"/>
                </a:lnTo>
                <a:lnTo>
                  <a:pt x="3824971" y="6236069"/>
                </a:lnTo>
                <a:lnTo>
                  <a:pt x="3824971" y="6226198"/>
                </a:lnTo>
                <a:close/>
                <a:moveTo>
                  <a:pt x="3589676" y="6222160"/>
                </a:moveTo>
                <a:lnTo>
                  <a:pt x="3599585" y="6222160"/>
                </a:lnTo>
                <a:lnTo>
                  <a:pt x="3603604" y="6226198"/>
                </a:lnTo>
                <a:lnTo>
                  <a:pt x="3603604" y="6236069"/>
                </a:lnTo>
                <a:lnTo>
                  <a:pt x="3599585" y="6240109"/>
                </a:lnTo>
                <a:lnTo>
                  <a:pt x="3589676" y="6240109"/>
                </a:lnTo>
                <a:lnTo>
                  <a:pt x="3585657" y="6236069"/>
                </a:lnTo>
                <a:lnTo>
                  <a:pt x="3585657" y="6226198"/>
                </a:lnTo>
                <a:close/>
                <a:moveTo>
                  <a:pt x="3350359" y="6222160"/>
                </a:moveTo>
                <a:lnTo>
                  <a:pt x="3360268" y="6222160"/>
                </a:lnTo>
                <a:lnTo>
                  <a:pt x="3364287" y="6226198"/>
                </a:lnTo>
                <a:lnTo>
                  <a:pt x="3364287" y="6236069"/>
                </a:lnTo>
                <a:lnTo>
                  <a:pt x="3360268" y="6240109"/>
                </a:lnTo>
                <a:lnTo>
                  <a:pt x="3350359" y="6240109"/>
                </a:lnTo>
                <a:lnTo>
                  <a:pt x="3346340" y="6236069"/>
                </a:lnTo>
                <a:lnTo>
                  <a:pt x="3346340" y="6226198"/>
                </a:lnTo>
                <a:close/>
                <a:moveTo>
                  <a:pt x="3111048" y="6222160"/>
                </a:moveTo>
                <a:lnTo>
                  <a:pt x="3120959" y="6222160"/>
                </a:lnTo>
                <a:lnTo>
                  <a:pt x="3124977" y="6226198"/>
                </a:lnTo>
                <a:lnTo>
                  <a:pt x="3124977" y="6236069"/>
                </a:lnTo>
                <a:lnTo>
                  <a:pt x="3120959" y="6240109"/>
                </a:lnTo>
                <a:lnTo>
                  <a:pt x="3111048" y="6240109"/>
                </a:lnTo>
                <a:lnTo>
                  <a:pt x="3107029" y="6236069"/>
                </a:lnTo>
                <a:lnTo>
                  <a:pt x="3107029" y="6226198"/>
                </a:lnTo>
                <a:close/>
                <a:moveTo>
                  <a:pt x="2871737" y="6222160"/>
                </a:moveTo>
                <a:lnTo>
                  <a:pt x="2881646" y="6222160"/>
                </a:lnTo>
                <a:lnTo>
                  <a:pt x="2885666" y="6226198"/>
                </a:lnTo>
                <a:lnTo>
                  <a:pt x="2885666" y="6236069"/>
                </a:lnTo>
                <a:lnTo>
                  <a:pt x="2881646" y="6240109"/>
                </a:lnTo>
                <a:lnTo>
                  <a:pt x="2871737" y="6240109"/>
                </a:lnTo>
                <a:lnTo>
                  <a:pt x="2867717" y="6236069"/>
                </a:lnTo>
                <a:lnTo>
                  <a:pt x="2867717" y="6226198"/>
                </a:lnTo>
                <a:close/>
                <a:moveTo>
                  <a:pt x="2632423" y="6222160"/>
                </a:moveTo>
                <a:lnTo>
                  <a:pt x="2642334" y="6222160"/>
                </a:lnTo>
                <a:lnTo>
                  <a:pt x="2646352" y="6226198"/>
                </a:lnTo>
                <a:lnTo>
                  <a:pt x="2646352" y="6236069"/>
                </a:lnTo>
                <a:lnTo>
                  <a:pt x="2642334" y="6240109"/>
                </a:lnTo>
                <a:lnTo>
                  <a:pt x="2632423" y="6240109"/>
                </a:lnTo>
                <a:lnTo>
                  <a:pt x="2628404" y="6236069"/>
                </a:lnTo>
                <a:lnTo>
                  <a:pt x="2628404" y="6226198"/>
                </a:lnTo>
                <a:close/>
                <a:moveTo>
                  <a:pt x="2393104" y="6222160"/>
                </a:moveTo>
                <a:lnTo>
                  <a:pt x="2403015" y="6222160"/>
                </a:lnTo>
                <a:lnTo>
                  <a:pt x="2407034" y="6226198"/>
                </a:lnTo>
                <a:lnTo>
                  <a:pt x="2407034" y="6236069"/>
                </a:lnTo>
                <a:lnTo>
                  <a:pt x="2403015" y="6240109"/>
                </a:lnTo>
                <a:lnTo>
                  <a:pt x="2393104" y="6240109"/>
                </a:lnTo>
                <a:lnTo>
                  <a:pt x="2389087" y="6236069"/>
                </a:lnTo>
                <a:lnTo>
                  <a:pt x="2389087" y="6226198"/>
                </a:lnTo>
                <a:close/>
                <a:moveTo>
                  <a:pt x="2157818" y="6222160"/>
                </a:moveTo>
                <a:lnTo>
                  <a:pt x="2167728" y="6222160"/>
                </a:lnTo>
                <a:lnTo>
                  <a:pt x="2171746" y="6226198"/>
                </a:lnTo>
                <a:lnTo>
                  <a:pt x="2171746" y="6236069"/>
                </a:lnTo>
                <a:lnTo>
                  <a:pt x="2167728" y="6240109"/>
                </a:lnTo>
                <a:lnTo>
                  <a:pt x="2157818" y="6240109"/>
                </a:lnTo>
                <a:lnTo>
                  <a:pt x="2153799" y="6236069"/>
                </a:lnTo>
                <a:lnTo>
                  <a:pt x="2153799" y="6226198"/>
                </a:lnTo>
                <a:close/>
                <a:moveTo>
                  <a:pt x="1918509" y="6222160"/>
                </a:moveTo>
                <a:lnTo>
                  <a:pt x="1928419" y="6222160"/>
                </a:lnTo>
                <a:lnTo>
                  <a:pt x="1932438" y="6226198"/>
                </a:lnTo>
                <a:lnTo>
                  <a:pt x="1932438" y="6236069"/>
                </a:lnTo>
                <a:lnTo>
                  <a:pt x="1928419" y="6240109"/>
                </a:lnTo>
                <a:lnTo>
                  <a:pt x="1918509" y="6240109"/>
                </a:lnTo>
                <a:lnTo>
                  <a:pt x="1914490" y="6236069"/>
                </a:lnTo>
                <a:lnTo>
                  <a:pt x="1914490" y="6226198"/>
                </a:lnTo>
                <a:close/>
                <a:moveTo>
                  <a:pt x="1679200" y="6222160"/>
                </a:moveTo>
                <a:lnTo>
                  <a:pt x="1689110" y="6222160"/>
                </a:lnTo>
                <a:lnTo>
                  <a:pt x="1693129" y="6226198"/>
                </a:lnTo>
                <a:lnTo>
                  <a:pt x="1693129" y="6236069"/>
                </a:lnTo>
                <a:lnTo>
                  <a:pt x="1689110" y="6240109"/>
                </a:lnTo>
                <a:lnTo>
                  <a:pt x="1679200" y="6240109"/>
                </a:lnTo>
                <a:lnTo>
                  <a:pt x="1675182" y="6236069"/>
                </a:lnTo>
                <a:lnTo>
                  <a:pt x="1675182" y="6226198"/>
                </a:lnTo>
                <a:close/>
                <a:moveTo>
                  <a:pt x="1439885" y="6222160"/>
                </a:moveTo>
                <a:lnTo>
                  <a:pt x="1449795" y="6222160"/>
                </a:lnTo>
                <a:lnTo>
                  <a:pt x="1453814" y="6226198"/>
                </a:lnTo>
                <a:lnTo>
                  <a:pt x="1453814" y="6236069"/>
                </a:lnTo>
                <a:lnTo>
                  <a:pt x="1449795" y="6240109"/>
                </a:lnTo>
                <a:lnTo>
                  <a:pt x="1439885" y="6240109"/>
                </a:lnTo>
                <a:lnTo>
                  <a:pt x="1435866" y="6236069"/>
                </a:lnTo>
                <a:lnTo>
                  <a:pt x="1435866" y="6226198"/>
                </a:lnTo>
                <a:close/>
                <a:moveTo>
                  <a:pt x="1200570" y="6222160"/>
                </a:moveTo>
                <a:lnTo>
                  <a:pt x="1210481" y="6222160"/>
                </a:lnTo>
                <a:lnTo>
                  <a:pt x="1214499" y="6226198"/>
                </a:lnTo>
                <a:lnTo>
                  <a:pt x="1214499" y="6236069"/>
                </a:lnTo>
                <a:lnTo>
                  <a:pt x="1210481" y="6240109"/>
                </a:lnTo>
                <a:lnTo>
                  <a:pt x="1200570" y="6240109"/>
                </a:lnTo>
                <a:lnTo>
                  <a:pt x="1196551" y="6236069"/>
                </a:lnTo>
                <a:lnTo>
                  <a:pt x="1196551" y="6226198"/>
                </a:lnTo>
                <a:close/>
                <a:moveTo>
                  <a:pt x="961258" y="6222160"/>
                </a:moveTo>
                <a:lnTo>
                  <a:pt x="971167" y="6222160"/>
                </a:lnTo>
                <a:lnTo>
                  <a:pt x="975186" y="6226198"/>
                </a:lnTo>
                <a:lnTo>
                  <a:pt x="975186" y="6236069"/>
                </a:lnTo>
                <a:lnTo>
                  <a:pt x="971167" y="6240109"/>
                </a:lnTo>
                <a:lnTo>
                  <a:pt x="961258" y="6240109"/>
                </a:lnTo>
                <a:lnTo>
                  <a:pt x="957239" y="6236069"/>
                </a:lnTo>
                <a:lnTo>
                  <a:pt x="957239" y="6226198"/>
                </a:lnTo>
                <a:close/>
                <a:moveTo>
                  <a:pt x="721959" y="6222160"/>
                </a:moveTo>
                <a:lnTo>
                  <a:pt x="731869" y="6222160"/>
                </a:lnTo>
                <a:lnTo>
                  <a:pt x="735888" y="6226198"/>
                </a:lnTo>
                <a:lnTo>
                  <a:pt x="735888" y="6236069"/>
                </a:lnTo>
                <a:lnTo>
                  <a:pt x="731869" y="6240109"/>
                </a:lnTo>
                <a:lnTo>
                  <a:pt x="721959" y="6240109"/>
                </a:lnTo>
                <a:lnTo>
                  <a:pt x="717940" y="6236069"/>
                </a:lnTo>
                <a:lnTo>
                  <a:pt x="717940" y="6226198"/>
                </a:lnTo>
                <a:close/>
                <a:moveTo>
                  <a:pt x="482646" y="6222160"/>
                </a:moveTo>
                <a:lnTo>
                  <a:pt x="492557" y="6222160"/>
                </a:lnTo>
                <a:lnTo>
                  <a:pt x="496576" y="6226198"/>
                </a:lnTo>
                <a:lnTo>
                  <a:pt x="496576" y="6236069"/>
                </a:lnTo>
                <a:lnTo>
                  <a:pt x="492557" y="6240109"/>
                </a:lnTo>
                <a:lnTo>
                  <a:pt x="482646" y="6240109"/>
                </a:lnTo>
                <a:lnTo>
                  <a:pt x="478627" y="6236069"/>
                </a:lnTo>
                <a:lnTo>
                  <a:pt x="478627" y="6226198"/>
                </a:lnTo>
                <a:close/>
                <a:moveTo>
                  <a:pt x="243333" y="6222160"/>
                </a:moveTo>
                <a:lnTo>
                  <a:pt x="253243" y="6222160"/>
                </a:lnTo>
                <a:lnTo>
                  <a:pt x="257263" y="6226198"/>
                </a:lnTo>
                <a:lnTo>
                  <a:pt x="257263" y="6236069"/>
                </a:lnTo>
                <a:lnTo>
                  <a:pt x="253243" y="6240109"/>
                </a:lnTo>
                <a:lnTo>
                  <a:pt x="243333" y="6240109"/>
                </a:lnTo>
                <a:lnTo>
                  <a:pt x="239314" y="6236069"/>
                </a:lnTo>
                <a:lnTo>
                  <a:pt x="239314" y="6226198"/>
                </a:lnTo>
                <a:close/>
                <a:moveTo>
                  <a:pt x="4020" y="6222160"/>
                </a:moveTo>
                <a:lnTo>
                  <a:pt x="13930" y="6222160"/>
                </a:lnTo>
                <a:lnTo>
                  <a:pt x="17949" y="6226198"/>
                </a:lnTo>
                <a:lnTo>
                  <a:pt x="17949" y="6236069"/>
                </a:lnTo>
                <a:lnTo>
                  <a:pt x="13930" y="6240109"/>
                </a:lnTo>
                <a:lnTo>
                  <a:pt x="4020" y="6240109"/>
                </a:lnTo>
                <a:lnTo>
                  <a:pt x="1" y="6236069"/>
                </a:lnTo>
                <a:lnTo>
                  <a:pt x="1" y="6226198"/>
                </a:lnTo>
                <a:close/>
                <a:moveTo>
                  <a:pt x="2157818" y="5982881"/>
                </a:moveTo>
                <a:lnTo>
                  <a:pt x="2167728" y="5982881"/>
                </a:lnTo>
                <a:lnTo>
                  <a:pt x="2171747" y="5986919"/>
                </a:lnTo>
                <a:lnTo>
                  <a:pt x="2171747" y="5996790"/>
                </a:lnTo>
                <a:lnTo>
                  <a:pt x="2167728" y="6000829"/>
                </a:lnTo>
                <a:lnTo>
                  <a:pt x="2157818" y="6000829"/>
                </a:lnTo>
                <a:lnTo>
                  <a:pt x="2153799" y="5996790"/>
                </a:lnTo>
                <a:lnTo>
                  <a:pt x="2153799" y="5986919"/>
                </a:lnTo>
                <a:close/>
                <a:moveTo>
                  <a:pt x="1918509" y="5982881"/>
                </a:moveTo>
                <a:lnTo>
                  <a:pt x="1928420" y="5982881"/>
                </a:lnTo>
                <a:lnTo>
                  <a:pt x="1932438" y="5986919"/>
                </a:lnTo>
                <a:lnTo>
                  <a:pt x="1932438" y="5996790"/>
                </a:lnTo>
                <a:lnTo>
                  <a:pt x="1928420" y="6000829"/>
                </a:lnTo>
                <a:lnTo>
                  <a:pt x="1918509" y="6000829"/>
                </a:lnTo>
                <a:lnTo>
                  <a:pt x="1914490" y="5996790"/>
                </a:lnTo>
                <a:lnTo>
                  <a:pt x="1914490" y="5986919"/>
                </a:lnTo>
                <a:close/>
                <a:moveTo>
                  <a:pt x="1679201" y="5982881"/>
                </a:moveTo>
                <a:lnTo>
                  <a:pt x="1689111" y="5982881"/>
                </a:lnTo>
                <a:lnTo>
                  <a:pt x="1693129" y="5986919"/>
                </a:lnTo>
                <a:lnTo>
                  <a:pt x="1693129" y="5996790"/>
                </a:lnTo>
                <a:lnTo>
                  <a:pt x="1689111" y="6000829"/>
                </a:lnTo>
                <a:lnTo>
                  <a:pt x="1679201" y="6000829"/>
                </a:lnTo>
                <a:lnTo>
                  <a:pt x="1675182" y="5996790"/>
                </a:lnTo>
                <a:lnTo>
                  <a:pt x="1675182" y="5986919"/>
                </a:lnTo>
                <a:close/>
                <a:moveTo>
                  <a:pt x="1439886" y="5982881"/>
                </a:moveTo>
                <a:lnTo>
                  <a:pt x="1449796" y="5982881"/>
                </a:lnTo>
                <a:lnTo>
                  <a:pt x="1453814" y="5986919"/>
                </a:lnTo>
                <a:lnTo>
                  <a:pt x="1453814" y="5996790"/>
                </a:lnTo>
                <a:lnTo>
                  <a:pt x="1449796" y="6000829"/>
                </a:lnTo>
                <a:lnTo>
                  <a:pt x="1439886" y="6000829"/>
                </a:lnTo>
                <a:lnTo>
                  <a:pt x="1435866" y="5996790"/>
                </a:lnTo>
                <a:lnTo>
                  <a:pt x="1435866" y="5986919"/>
                </a:lnTo>
                <a:close/>
                <a:moveTo>
                  <a:pt x="1200571" y="5982881"/>
                </a:moveTo>
                <a:lnTo>
                  <a:pt x="1210481" y="5982881"/>
                </a:lnTo>
                <a:lnTo>
                  <a:pt x="1214500" y="5986919"/>
                </a:lnTo>
                <a:lnTo>
                  <a:pt x="1214500" y="5996790"/>
                </a:lnTo>
                <a:lnTo>
                  <a:pt x="1210481" y="6000829"/>
                </a:lnTo>
                <a:lnTo>
                  <a:pt x="1200571" y="6000829"/>
                </a:lnTo>
                <a:lnTo>
                  <a:pt x="1196553" y="5996790"/>
                </a:lnTo>
                <a:lnTo>
                  <a:pt x="1196553" y="5986919"/>
                </a:lnTo>
                <a:close/>
                <a:moveTo>
                  <a:pt x="961258" y="5982881"/>
                </a:moveTo>
                <a:lnTo>
                  <a:pt x="971168" y="5982881"/>
                </a:lnTo>
                <a:lnTo>
                  <a:pt x="975187" y="5986919"/>
                </a:lnTo>
                <a:lnTo>
                  <a:pt x="975187" y="5996790"/>
                </a:lnTo>
                <a:lnTo>
                  <a:pt x="971168" y="6000829"/>
                </a:lnTo>
                <a:lnTo>
                  <a:pt x="961258" y="6000829"/>
                </a:lnTo>
                <a:lnTo>
                  <a:pt x="957239" y="5996790"/>
                </a:lnTo>
                <a:lnTo>
                  <a:pt x="957239" y="5986919"/>
                </a:lnTo>
                <a:close/>
                <a:moveTo>
                  <a:pt x="9572438" y="5982829"/>
                </a:moveTo>
                <a:lnTo>
                  <a:pt x="9582349" y="5982829"/>
                </a:lnTo>
                <a:lnTo>
                  <a:pt x="9586368" y="5986868"/>
                </a:lnTo>
                <a:lnTo>
                  <a:pt x="9586368" y="5996739"/>
                </a:lnTo>
                <a:lnTo>
                  <a:pt x="9582349" y="6000778"/>
                </a:lnTo>
                <a:lnTo>
                  <a:pt x="9572438" y="6000778"/>
                </a:lnTo>
                <a:lnTo>
                  <a:pt x="9568419" y="5996739"/>
                </a:lnTo>
                <a:lnTo>
                  <a:pt x="9568419" y="5986868"/>
                </a:lnTo>
                <a:close/>
                <a:moveTo>
                  <a:pt x="9333125" y="5982829"/>
                </a:moveTo>
                <a:lnTo>
                  <a:pt x="9343036" y="5982829"/>
                </a:lnTo>
                <a:lnTo>
                  <a:pt x="9347055" y="5986868"/>
                </a:lnTo>
                <a:lnTo>
                  <a:pt x="9347055" y="5996739"/>
                </a:lnTo>
                <a:lnTo>
                  <a:pt x="9343036" y="6000778"/>
                </a:lnTo>
                <a:lnTo>
                  <a:pt x="9333125" y="6000778"/>
                </a:lnTo>
                <a:lnTo>
                  <a:pt x="9329106" y="5996739"/>
                </a:lnTo>
                <a:lnTo>
                  <a:pt x="9329106" y="5986868"/>
                </a:lnTo>
                <a:close/>
                <a:moveTo>
                  <a:pt x="9093811" y="5982829"/>
                </a:moveTo>
                <a:lnTo>
                  <a:pt x="9103722" y="5982829"/>
                </a:lnTo>
                <a:lnTo>
                  <a:pt x="9107741" y="5986868"/>
                </a:lnTo>
                <a:lnTo>
                  <a:pt x="9107741" y="5996739"/>
                </a:lnTo>
                <a:lnTo>
                  <a:pt x="9103722" y="6000778"/>
                </a:lnTo>
                <a:lnTo>
                  <a:pt x="9093811" y="6000778"/>
                </a:lnTo>
                <a:lnTo>
                  <a:pt x="9089792" y="5996739"/>
                </a:lnTo>
                <a:lnTo>
                  <a:pt x="9089792" y="5986868"/>
                </a:lnTo>
                <a:close/>
                <a:moveTo>
                  <a:pt x="8854496" y="5982829"/>
                </a:moveTo>
                <a:lnTo>
                  <a:pt x="8864407" y="5982829"/>
                </a:lnTo>
                <a:lnTo>
                  <a:pt x="8868426" y="5986868"/>
                </a:lnTo>
                <a:lnTo>
                  <a:pt x="8868426" y="5996739"/>
                </a:lnTo>
                <a:lnTo>
                  <a:pt x="8864407" y="6000778"/>
                </a:lnTo>
                <a:lnTo>
                  <a:pt x="8854496" y="6000778"/>
                </a:lnTo>
                <a:lnTo>
                  <a:pt x="8850477" y="5996739"/>
                </a:lnTo>
                <a:lnTo>
                  <a:pt x="8850477" y="5986868"/>
                </a:lnTo>
                <a:close/>
                <a:moveTo>
                  <a:pt x="8615184" y="5982829"/>
                </a:moveTo>
                <a:lnTo>
                  <a:pt x="8625095" y="5982829"/>
                </a:lnTo>
                <a:lnTo>
                  <a:pt x="8629114" y="5986868"/>
                </a:lnTo>
                <a:lnTo>
                  <a:pt x="8629114" y="5996739"/>
                </a:lnTo>
                <a:lnTo>
                  <a:pt x="8625095" y="6000778"/>
                </a:lnTo>
                <a:lnTo>
                  <a:pt x="8615184" y="6000778"/>
                </a:lnTo>
                <a:lnTo>
                  <a:pt x="8611165" y="5996739"/>
                </a:lnTo>
                <a:lnTo>
                  <a:pt x="8611165" y="5986868"/>
                </a:lnTo>
                <a:close/>
                <a:moveTo>
                  <a:pt x="8375869" y="5982829"/>
                </a:moveTo>
                <a:lnTo>
                  <a:pt x="8385779" y="5982829"/>
                </a:lnTo>
                <a:lnTo>
                  <a:pt x="8389799" y="5986868"/>
                </a:lnTo>
                <a:lnTo>
                  <a:pt x="8389799" y="5996739"/>
                </a:lnTo>
                <a:lnTo>
                  <a:pt x="8385779" y="6000778"/>
                </a:lnTo>
                <a:lnTo>
                  <a:pt x="8375869" y="6000778"/>
                </a:lnTo>
                <a:lnTo>
                  <a:pt x="8371850" y="5996739"/>
                </a:lnTo>
                <a:lnTo>
                  <a:pt x="8371850" y="5986868"/>
                </a:lnTo>
                <a:close/>
                <a:moveTo>
                  <a:pt x="8136553" y="5982829"/>
                </a:moveTo>
                <a:lnTo>
                  <a:pt x="8146464" y="5982829"/>
                </a:lnTo>
                <a:lnTo>
                  <a:pt x="8150483" y="5986868"/>
                </a:lnTo>
                <a:lnTo>
                  <a:pt x="8150483" y="5996739"/>
                </a:lnTo>
                <a:lnTo>
                  <a:pt x="8146464" y="6000778"/>
                </a:lnTo>
                <a:lnTo>
                  <a:pt x="8136553" y="6000778"/>
                </a:lnTo>
                <a:lnTo>
                  <a:pt x="8132534" y="5996739"/>
                </a:lnTo>
                <a:lnTo>
                  <a:pt x="8132534" y="5986868"/>
                </a:lnTo>
                <a:close/>
                <a:moveTo>
                  <a:pt x="7897241" y="5982829"/>
                </a:moveTo>
                <a:lnTo>
                  <a:pt x="7907151" y="5982829"/>
                </a:lnTo>
                <a:lnTo>
                  <a:pt x="7911170" y="5986868"/>
                </a:lnTo>
                <a:lnTo>
                  <a:pt x="7911170" y="5996739"/>
                </a:lnTo>
                <a:lnTo>
                  <a:pt x="7907151" y="6000778"/>
                </a:lnTo>
                <a:lnTo>
                  <a:pt x="7897241" y="6000778"/>
                </a:lnTo>
                <a:lnTo>
                  <a:pt x="7893222" y="5996739"/>
                </a:lnTo>
                <a:lnTo>
                  <a:pt x="7893222" y="5986868"/>
                </a:lnTo>
                <a:close/>
                <a:moveTo>
                  <a:pt x="7657926" y="5982829"/>
                </a:moveTo>
                <a:lnTo>
                  <a:pt x="7667836" y="5982829"/>
                </a:lnTo>
                <a:lnTo>
                  <a:pt x="7671855" y="5986868"/>
                </a:lnTo>
                <a:lnTo>
                  <a:pt x="7671855" y="5996739"/>
                </a:lnTo>
                <a:lnTo>
                  <a:pt x="7667836" y="6000778"/>
                </a:lnTo>
                <a:lnTo>
                  <a:pt x="7657926" y="6000778"/>
                </a:lnTo>
                <a:lnTo>
                  <a:pt x="7653906" y="5996739"/>
                </a:lnTo>
                <a:lnTo>
                  <a:pt x="7653906" y="5986868"/>
                </a:lnTo>
                <a:close/>
                <a:moveTo>
                  <a:pt x="7418611" y="5982829"/>
                </a:moveTo>
                <a:lnTo>
                  <a:pt x="7428521" y="5982829"/>
                </a:lnTo>
                <a:lnTo>
                  <a:pt x="7432540" y="5986868"/>
                </a:lnTo>
                <a:lnTo>
                  <a:pt x="7432540" y="5996739"/>
                </a:lnTo>
                <a:lnTo>
                  <a:pt x="7428521" y="6000778"/>
                </a:lnTo>
                <a:lnTo>
                  <a:pt x="7418611" y="6000778"/>
                </a:lnTo>
                <a:lnTo>
                  <a:pt x="7414592" y="5996739"/>
                </a:lnTo>
                <a:lnTo>
                  <a:pt x="7414592" y="5986868"/>
                </a:lnTo>
                <a:close/>
                <a:moveTo>
                  <a:pt x="7179298" y="5982829"/>
                </a:moveTo>
                <a:lnTo>
                  <a:pt x="7189209" y="5982829"/>
                </a:lnTo>
                <a:lnTo>
                  <a:pt x="7193228" y="5986868"/>
                </a:lnTo>
                <a:lnTo>
                  <a:pt x="7193228" y="5996739"/>
                </a:lnTo>
                <a:lnTo>
                  <a:pt x="7189209" y="6000778"/>
                </a:lnTo>
                <a:lnTo>
                  <a:pt x="7179298" y="6000778"/>
                </a:lnTo>
                <a:lnTo>
                  <a:pt x="7175279" y="5996739"/>
                </a:lnTo>
                <a:lnTo>
                  <a:pt x="7175279" y="5986868"/>
                </a:lnTo>
                <a:close/>
                <a:moveTo>
                  <a:pt x="6939983" y="5982829"/>
                </a:moveTo>
                <a:lnTo>
                  <a:pt x="6949894" y="5982829"/>
                </a:lnTo>
                <a:lnTo>
                  <a:pt x="6953913" y="5986868"/>
                </a:lnTo>
                <a:lnTo>
                  <a:pt x="6953913" y="5996739"/>
                </a:lnTo>
                <a:lnTo>
                  <a:pt x="6949894" y="6000778"/>
                </a:lnTo>
                <a:lnTo>
                  <a:pt x="6939983" y="6000778"/>
                </a:lnTo>
                <a:lnTo>
                  <a:pt x="6935964" y="5996739"/>
                </a:lnTo>
                <a:lnTo>
                  <a:pt x="6935964" y="5986868"/>
                </a:lnTo>
                <a:close/>
                <a:moveTo>
                  <a:pt x="6700670" y="5982829"/>
                </a:moveTo>
                <a:lnTo>
                  <a:pt x="6710581" y="5982829"/>
                </a:lnTo>
                <a:lnTo>
                  <a:pt x="6714600" y="5986868"/>
                </a:lnTo>
                <a:lnTo>
                  <a:pt x="6714600" y="5996739"/>
                </a:lnTo>
                <a:lnTo>
                  <a:pt x="6710581" y="6000778"/>
                </a:lnTo>
                <a:lnTo>
                  <a:pt x="6700670" y="6000778"/>
                </a:lnTo>
                <a:lnTo>
                  <a:pt x="6696651" y="5996739"/>
                </a:lnTo>
                <a:lnTo>
                  <a:pt x="6696651" y="5986868"/>
                </a:lnTo>
                <a:close/>
                <a:moveTo>
                  <a:pt x="6461356" y="5982829"/>
                </a:moveTo>
                <a:lnTo>
                  <a:pt x="6471266" y="5982829"/>
                </a:lnTo>
                <a:lnTo>
                  <a:pt x="6475285" y="5986868"/>
                </a:lnTo>
                <a:lnTo>
                  <a:pt x="6475285" y="5996739"/>
                </a:lnTo>
                <a:lnTo>
                  <a:pt x="6471266" y="6000778"/>
                </a:lnTo>
                <a:lnTo>
                  <a:pt x="6461356" y="6000778"/>
                </a:lnTo>
                <a:lnTo>
                  <a:pt x="6457337" y="5996739"/>
                </a:lnTo>
                <a:lnTo>
                  <a:pt x="6457337" y="5986868"/>
                </a:lnTo>
                <a:close/>
                <a:moveTo>
                  <a:pt x="6222042" y="5982829"/>
                </a:moveTo>
                <a:lnTo>
                  <a:pt x="6231952" y="5982829"/>
                </a:lnTo>
                <a:lnTo>
                  <a:pt x="6235971" y="5986868"/>
                </a:lnTo>
                <a:lnTo>
                  <a:pt x="6235971" y="5996739"/>
                </a:lnTo>
                <a:lnTo>
                  <a:pt x="6231952" y="6000778"/>
                </a:lnTo>
                <a:lnTo>
                  <a:pt x="6222042" y="6000778"/>
                </a:lnTo>
                <a:lnTo>
                  <a:pt x="6218023" y="5996739"/>
                </a:lnTo>
                <a:lnTo>
                  <a:pt x="6218023" y="5986868"/>
                </a:lnTo>
                <a:close/>
                <a:moveTo>
                  <a:pt x="5982729" y="5982829"/>
                </a:moveTo>
                <a:lnTo>
                  <a:pt x="5992639" y="5982829"/>
                </a:lnTo>
                <a:lnTo>
                  <a:pt x="5996658" y="5986868"/>
                </a:lnTo>
                <a:lnTo>
                  <a:pt x="5996658" y="5996739"/>
                </a:lnTo>
                <a:lnTo>
                  <a:pt x="5992639" y="6000778"/>
                </a:lnTo>
                <a:lnTo>
                  <a:pt x="5982729" y="6000778"/>
                </a:lnTo>
                <a:lnTo>
                  <a:pt x="5978710" y="5996739"/>
                </a:lnTo>
                <a:lnTo>
                  <a:pt x="5978710" y="5986868"/>
                </a:lnTo>
                <a:close/>
                <a:moveTo>
                  <a:pt x="5743412" y="5982829"/>
                </a:moveTo>
                <a:lnTo>
                  <a:pt x="5753323" y="5982829"/>
                </a:lnTo>
                <a:lnTo>
                  <a:pt x="5757342" y="5986868"/>
                </a:lnTo>
                <a:lnTo>
                  <a:pt x="5757342" y="5996739"/>
                </a:lnTo>
                <a:lnTo>
                  <a:pt x="5753323" y="6000778"/>
                </a:lnTo>
                <a:lnTo>
                  <a:pt x="5743412" y="6000778"/>
                </a:lnTo>
                <a:lnTo>
                  <a:pt x="5739393" y="5996739"/>
                </a:lnTo>
                <a:lnTo>
                  <a:pt x="5739393" y="5986868"/>
                </a:lnTo>
                <a:close/>
                <a:moveTo>
                  <a:pt x="5504099" y="5982829"/>
                </a:moveTo>
                <a:lnTo>
                  <a:pt x="5514010" y="5982829"/>
                </a:lnTo>
                <a:lnTo>
                  <a:pt x="5518029" y="5986868"/>
                </a:lnTo>
                <a:lnTo>
                  <a:pt x="5518029" y="5996739"/>
                </a:lnTo>
                <a:lnTo>
                  <a:pt x="5514010" y="6000778"/>
                </a:lnTo>
                <a:lnTo>
                  <a:pt x="5504099" y="6000778"/>
                </a:lnTo>
                <a:lnTo>
                  <a:pt x="5500080" y="5996739"/>
                </a:lnTo>
                <a:lnTo>
                  <a:pt x="5500080" y="5986868"/>
                </a:lnTo>
                <a:close/>
                <a:moveTo>
                  <a:pt x="5264784" y="5982829"/>
                </a:moveTo>
                <a:lnTo>
                  <a:pt x="5274694" y="5982829"/>
                </a:lnTo>
                <a:lnTo>
                  <a:pt x="5278713" y="5986868"/>
                </a:lnTo>
                <a:lnTo>
                  <a:pt x="5278713" y="5996739"/>
                </a:lnTo>
                <a:lnTo>
                  <a:pt x="5274694" y="6000778"/>
                </a:lnTo>
                <a:lnTo>
                  <a:pt x="5264784" y="6000778"/>
                </a:lnTo>
                <a:lnTo>
                  <a:pt x="5260765" y="5996739"/>
                </a:lnTo>
                <a:lnTo>
                  <a:pt x="5260765" y="5986868"/>
                </a:lnTo>
                <a:close/>
                <a:moveTo>
                  <a:pt x="5025470" y="5982829"/>
                </a:moveTo>
                <a:lnTo>
                  <a:pt x="5035381" y="5982829"/>
                </a:lnTo>
                <a:lnTo>
                  <a:pt x="5039400" y="5986868"/>
                </a:lnTo>
                <a:lnTo>
                  <a:pt x="5039400" y="5996739"/>
                </a:lnTo>
                <a:lnTo>
                  <a:pt x="5035381" y="6000778"/>
                </a:lnTo>
                <a:lnTo>
                  <a:pt x="5025470" y="6000778"/>
                </a:lnTo>
                <a:lnTo>
                  <a:pt x="5021451" y="5996739"/>
                </a:lnTo>
                <a:lnTo>
                  <a:pt x="5021451" y="5986868"/>
                </a:lnTo>
                <a:close/>
                <a:moveTo>
                  <a:pt x="4786241" y="5982829"/>
                </a:moveTo>
                <a:lnTo>
                  <a:pt x="4796152" y="5982829"/>
                </a:lnTo>
                <a:lnTo>
                  <a:pt x="4800171" y="5986868"/>
                </a:lnTo>
                <a:lnTo>
                  <a:pt x="4800171" y="5996739"/>
                </a:lnTo>
                <a:lnTo>
                  <a:pt x="4796152" y="6000778"/>
                </a:lnTo>
                <a:lnTo>
                  <a:pt x="4786241" y="6000778"/>
                </a:lnTo>
                <a:lnTo>
                  <a:pt x="4782224" y="5996739"/>
                </a:lnTo>
                <a:lnTo>
                  <a:pt x="4782224" y="5986868"/>
                </a:lnTo>
                <a:close/>
                <a:moveTo>
                  <a:pt x="4546929" y="5982829"/>
                </a:moveTo>
                <a:lnTo>
                  <a:pt x="4556840" y="5982829"/>
                </a:lnTo>
                <a:lnTo>
                  <a:pt x="4560859" y="5986868"/>
                </a:lnTo>
                <a:lnTo>
                  <a:pt x="4560859" y="5996739"/>
                </a:lnTo>
                <a:lnTo>
                  <a:pt x="4556840" y="6000778"/>
                </a:lnTo>
                <a:lnTo>
                  <a:pt x="4546929" y="6000778"/>
                </a:lnTo>
                <a:lnTo>
                  <a:pt x="4542910" y="5996739"/>
                </a:lnTo>
                <a:lnTo>
                  <a:pt x="4542910" y="5986868"/>
                </a:lnTo>
                <a:close/>
                <a:moveTo>
                  <a:pt x="4307612" y="5982829"/>
                </a:moveTo>
                <a:lnTo>
                  <a:pt x="4317523" y="5982829"/>
                </a:lnTo>
                <a:lnTo>
                  <a:pt x="4321543" y="5986868"/>
                </a:lnTo>
                <a:lnTo>
                  <a:pt x="4321543" y="5996739"/>
                </a:lnTo>
                <a:lnTo>
                  <a:pt x="4317523" y="6000778"/>
                </a:lnTo>
                <a:lnTo>
                  <a:pt x="4307612" y="6000778"/>
                </a:lnTo>
                <a:lnTo>
                  <a:pt x="4303595" y="5996739"/>
                </a:lnTo>
                <a:lnTo>
                  <a:pt x="4303595" y="5986868"/>
                </a:lnTo>
                <a:close/>
                <a:moveTo>
                  <a:pt x="4068297" y="5982829"/>
                </a:moveTo>
                <a:lnTo>
                  <a:pt x="4078210" y="5982829"/>
                </a:lnTo>
                <a:lnTo>
                  <a:pt x="4082229" y="5986868"/>
                </a:lnTo>
                <a:lnTo>
                  <a:pt x="4082229" y="5996739"/>
                </a:lnTo>
                <a:lnTo>
                  <a:pt x="4078210" y="6000778"/>
                </a:lnTo>
                <a:lnTo>
                  <a:pt x="4068297" y="6000778"/>
                </a:lnTo>
                <a:lnTo>
                  <a:pt x="4064278" y="5996739"/>
                </a:lnTo>
                <a:lnTo>
                  <a:pt x="4064278" y="5986868"/>
                </a:lnTo>
                <a:close/>
                <a:moveTo>
                  <a:pt x="3828990" y="5982829"/>
                </a:moveTo>
                <a:lnTo>
                  <a:pt x="3838899" y="5982829"/>
                </a:lnTo>
                <a:lnTo>
                  <a:pt x="3842917" y="5986868"/>
                </a:lnTo>
                <a:lnTo>
                  <a:pt x="3842917" y="5996739"/>
                </a:lnTo>
                <a:lnTo>
                  <a:pt x="3838899" y="6000778"/>
                </a:lnTo>
                <a:lnTo>
                  <a:pt x="3828990" y="6000778"/>
                </a:lnTo>
                <a:lnTo>
                  <a:pt x="3824971" y="5996739"/>
                </a:lnTo>
                <a:lnTo>
                  <a:pt x="3824971" y="5986868"/>
                </a:lnTo>
                <a:close/>
                <a:moveTo>
                  <a:pt x="3589676" y="5982829"/>
                </a:moveTo>
                <a:lnTo>
                  <a:pt x="3599585" y="5982829"/>
                </a:lnTo>
                <a:lnTo>
                  <a:pt x="3603604" y="5986868"/>
                </a:lnTo>
                <a:lnTo>
                  <a:pt x="3603604" y="5996739"/>
                </a:lnTo>
                <a:lnTo>
                  <a:pt x="3599585" y="6000778"/>
                </a:lnTo>
                <a:lnTo>
                  <a:pt x="3589676" y="6000778"/>
                </a:lnTo>
                <a:lnTo>
                  <a:pt x="3585657" y="5996739"/>
                </a:lnTo>
                <a:lnTo>
                  <a:pt x="3585657" y="5986868"/>
                </a:lnTo>
                <a:close/>
                <a:moveTo>
                  <a:pt x="3350359" y="5982829"/>
                </a:moveTo>
                <a:lnTo>
                  <a:pt x="3360268" y="5982829"/>
                </a:lnTo>
                <a:lnTo>
                  <a:pt x="3364287" y="5986868"/>
                </a:lnTo>
                <a:lnTo>
                  <a:pt x="3364287" y="5996739"/>
                </a:lnTo>
                <a:lnTo>
                  <a:pt x="3360268" y="6000778"/>
                </a:lnTo>
                <a:lnTo>
                  <a:pt x="3350359" y="6000778"/>
                </a:lnTo>
                <a:lnTo>
                  <a:pt x="3346340" y="5996739"/>
                </a:lnTo>
                <a:lnTo>
                  <a:pt x="3346340" y="5986868"/>
                </a:lnTo>
                <a:close/>
                <a:moveTo>
                  <a:pt x="3111048" y="5982829"/>
                </a:moveTo>
                <a:lnTo>
                  <a:pt x="3120959" y="5982829"/>
                </a:lnTo>
                <a:lnTo>
                  <a:pt x="3124977" y="5986868"/>
                </a:lnTo>
                <a:lnTo>
                  <a:pt x="3124977" y="5996739"/>
                </a:lnTo>
                <a:lnTo>
                  <a:pt x="3120959" y="6000778"/>
                </a:lnTo>
                <a:lnTo>
                  <a:pt x="3111048" y="6000778"/>
                </a:lnTo>
                <a:lnTo>
                  <a:pt x="3107029" y="5996739"/>
                </a:lnTo>
                <a:lnTo>
                  <a:pt x="3107029" y="5986868"/>
                </a:lnTo>
                <a:close/>
                <a:moveTo>
                  <a:pt x="2871737" y="5982829"/>
                </a:moveTo>
                <a:lnTo>
                  <a:pt x="2881646" y="5982829"/>
                </a:lnTo>
                <a:lnTo>
                  <a:pt x="2885666" y="5986868"/>
                </a:lnTo>
                <a:lnTo>
                  <a:pt x="2885666" y="5996739"/>
                </a:lnTo>
                <a:lnTo>
                  <a:pt x="2881646" y="6000778"/>
                </a:lnTo>
                <a:lnTo>
                  <a:pt x="2871737" y="6000778"/>
                </a:lnTo>
                <a:lnTo>
                  <a:pt x="2867717" y="5996739"/>
                </a:lnTo>
                <a:lnTo>
                  <a:pt x="2867717" y="5986868"/>
                </a:lnTo>
                <a:close/>
                <a:moveTo>
                  <a:pt x="2632423" y="5982829"/>
                </a:moveTo>
                <a:lnTo>
                  <a:pt x="2642334" y="5982829"/>
                </a:lnTo>
                <a:lnTo>
                  <a:pt x="2646352" y="5986868"/>
                </a:lnTo>
                <a:lnTo>
                  <a:pt x="2646352" y="5996739"/>
                </a:lnTo>
                <a:lnTo>
                  <a:pt x="2642334" y="6000778"/>
                </a:lnTo>
                <a:lnTo>
                  <a:pt x="2632423" y="6000778"/>
                </a:lnTo>
                <a:lnTo>
                  <a:pt x="2628404" y="5996739"/>
                </a:lnTo>
                <a:lnTo>
                  <a:pt x="2628404" y="5986868"/>
                </a:lnTo>
                <a:close/>
                <a:moveTo>
                  <a:pt x="2393104" y="5982829"/>
                </a:moveTo>
                <a:lnTo>
                  <a:pt x="2403015" y="5982829"/>
                </a:lnTo>
                <a:lnTo>
                  <a:pt x="2407034" y="5986868"/>
                </a:lnTo>
                <a:lnTo>
                  <a:pt x="2407034" y="5996739"/>
                </a:lnTo>
                <a:lnTo>
                  <a:pt x="2403015" y="6000778"/>
                </a:lnTo>
                <a:lnTo>
                  <a:pt x="2393104" y="6000778"/>
                </a:lnTo>
                <a:lnTo>
                  <a:pt x="2389087" y="5996739"/>
                </a:lnTo>
                <a:lnTo>
                  <a:pt x="2389087" y="5986868"/>
                </a:lnTo>
                <a:close/>
                <a:moveTo>
                  <a:pt x="721960" y="5982829"/>
                </a:moveTo>
                <a:lnTo>
                  <a:pt x="731869" y="5982829"/>
                </a:lnTo>
                <a:lnTo>
                  <a:pt x="735888" y="5986868"/>
                </a:lnTo>
                <a:lnTo>
                  <a:pt x="735888" y="5996739"/>
                </a:lnTo>
                <a:lnTo>
                  <a:pt x="731869" y="6000778"/>
                </a:lnTo>
                <a:lnTo>
                  <a:pt x="721960" y="6000778"/>
                </a:lnTo>
                <a:lnTo>
                  <a:pt x="717940" y="5996739"/>
                </a:lnTo>
                <a:lnTo>
                  <a:pt x="717940" y="5986868"/>
                </a:lnTo>
                <a:close/>
                <a:moveTo>
                  <a:pt x="482647" y="5982829"/>
                </a:moveTo>
                <a:lnTo>
                  <a:pt x="492557" y="5982829"/>
                </a:lnTo>
                <a:lnTo>
                  <a:pt x="496576" y="5986868"/>
                </a:lnTo>
                <a:lnTo>
                  <a:pt x="496576" y="5996739"/>
                </a:lnTo>
                <a:lnTo>
                  <a:pt x="492557" y="6000778"/>
                </a:lnTo>
                <a:lnTo>
                  <a:pt x="482647" y="6000778"/>
                </a:lnTo>
                <a:lnTo>
                  <a:pt x="478628" y="5996739"/>
                </a:lnTo>
                <a:lnTo>
                  <a:pt x="478628" y="5986868"/>
                </a:lnTo>
                <a:close/>
                <a:moveTo>
                  <a:pt x="243334" y="5982829"/>
                </a:moveTo>
                <a:lnTo>
                  <a:pt x="253244" y="5982829"/>
                </a:lnTo>
                <a:lnTo>
                  <a:pt x="257263" y="5986868"/>
                </a:lnTo>
                <a:lnTo>
                  <a:pt x="257263" y="5996739"/>
                </a:lnTo>
                <a:lnTo>
                  <a:pt x="253244" y="6000778"/>
                </a:lnTo>
                <a:lnTo>
                  <a:pt x="243334" y="6000778"/>
                </a:lnTo>
                <a:lnTo>
                  <a:pt x="239315" y="5996739"/>
                </a:lnTo>
                <a:lnTo>
                  <a:pt x="239315" y="5986868"/>
                </a:lnTo>
                <a:close/>
                <a:moveTo>
                  <a:pt x="4021" y="5982829"/>
                </a:moveTo>
                <a:lnTo>
                  <a:pt x="13931" y="5982829"/>
                </a:lnTo>
                <a:lnTo>
                  <a:pt x="17950" y="5986868"/>
                </a:lnTo>
                <a:lnTo>
                  <a:pt x="17950" y="5996739"/>
                </a:lnTo>
                <a:lnTo>
                  <a:pt x="13931" y="6000778"/>
                </a:lnTo>
                <a:lnTo>
                  <a:pt x="4021" y="6000778"/>
                </a:lnTo>
                <a:lnTo>
                  <a:pt x="1" y="5996739"/>
                </a:lnTo>
                <a:lnTo>
                  <a:pt x="1" y="5986868"/>
                </a:lnTo>
                <a:close/>
                <a:moveTo>
                  <a:pt x="2157818" y="5743551"/>
                </a:moveTo>
                <a:lnTo>
                  <a:pt x="2167728" y="5743551"/>
                </a:lnTo>
                <a:lnTo>
                  <a:pt x="2171747" y="5747589"/>
                </a:lnTo>
                <a:lnTo>
                  <a:pt x="2171747" y="5757460"/>
                </a:lnTo>
                <a:lnTo>
                  <a:pt x="2167728" y="5761499"/>
                </a:lnTo>
                <a:lnTo>
                  <a:pt x="2157818" y="5761499"/>
                </a:lnTo>
                <a:lnTo>
                  <a:pt x="2153799" y="5757460"/>
                </a:lnTo>
                <a:lnTo>
                  <a:pt x="2153799" y="5747589"/>
                </a:lnTo>
                <a:close/>
                <a:moveTo>
                  <a:pt x="1918510" y="5743551"/>
                </a:moveTo>
                <a:lnTo>
                  <a:pt x="1928420" y="5743551"/>
                </a:lnTo>
                <a:lnTo>
                  <a:pt x="1932438" y="5747589"/>
                </a:lnTo>
                <a:lnTo>
                  <a:pt x="1932438" y="5757460"/>
                </a:lnTo>
                <a:lnTo>
                  <a:pt x="1928420" y="5761499"/>
                </a:lnTo>
                <a:lnTo>
                  <a:pt x="1918510" y="5761499"/>
                </a:lnTo>
                <a:lnTo>
                  <a:pt x="1914490" y="5757460"/>
                </a:lnTo>
                <a:lnTo>
                  <a:pt x="1914490" y="5747589"/>
                </a:lnTo>
                <a:close/>
                <a:moveTo>
                  <a:pt x="1679201" y="5743551"/>
                </a:moveTo>
                <a:lnTo>
                  <a:pt x="1689112" y="5743551"/>
                </a:lnTo>
                <a:lnTo>
                  <a:pt x="1693131" y="5747589"/>
                </a:lnTo>
                <a:lnTo>
                  <a:pt x="1693131" y="5757460"/>
                </a:lnTo>
                <a:lnTo>
                  <a:pt x="1689112" y="5761499"/>
                </a:lnTo>
                <a:lnTo>
                  <a:pt x="1679201" y="5761499"/>
                </a:lnTo>
                <a:lnTo>
                  <a:pt x="1675183" y="5757460"/>
                </a:lnTo>
                <a:lnTo>
                  <a:pt x="1675183" y="5747589"/>
                </a:lnTo>
                <a:close/>
                <a:moveTo>
                  <a:pt x="1439886" y="5743551"/>
                </a:moveTo>
                <a:lnTo>
                  <a:pt x="1449797" y="5743551"/>
                </a:lnTo>
                <a:lnTo>
                  <a:pt x="1453815" y="5747589"/>
                </a:lnTo>
                <a:lnTo>
                  <a:pt x="1453815" y="5757460"/>
                </a:lnTo>
                <a:lnTo>
                  <a:pt x="1449797" y="5761499"/>
                </a:lnTo>
                <a:lnTo>
                  <a:pt x="1439886" y="5761499"/>
                </a:lnTo>
                <a:lnTo>
                  <a:pt x="1435868" y="5757460"/>
                </a:lnTo>
                <a:lnTo>
                  <a:pt x="1435868" y="5747589"/>
                </a:lnTo>
                <a:close/>
                <a:moveTo>
                  <a:pt x="1200572" y="5743551"/>
                </a:moveTo>
                <a:lnTo>
                  <a:pt x="1210482" y="5743551"/>
                </a:lnTo>
                <a:lnTo>
                  <a:pt x="1214500" y="5747589"/>
                </a:lnTo>
                <a:lnTo>
                  <a:pt x="1214500" y="5757460"/>
                </a:lnTo>
                <a:lnTo>
                  <a:pt x="1210482" y="5761499"/>
                </a:lnTo>
                <a:lnTo>
                  <a:pt x="1200572" y="5761499"/>
                </a:lnTo>
                <a:lnTo>
                  <a:pt x="1196553" y="5757460"/>
                </a:lnTo>
                <a:lnTo>
                  <a:pt x="1196553" y="5747589"/>
                </a:lnTo>
                <a:close/>
                <a:moveTo>
                  <a:pt x="961259" y="5743551"/>
                </a:moveTo>
                <a:lnTo>
                  <a:pt x="971169" y="5743551"/>
                </a:lnTo>
                <a:lnTo>
                  <a:pt x="975188" y="5747589"/>
                </a:lnTo>
                <a:lnTo>
                  <a:pt x="975188" y="5757460"/>
                </a:lnTo>
                <a:lnTo>
                  <a:pt x="971169" y="5761499"/>
                </a:lnTo>
                <a:lnTo>
                  <a:pt x="961259" y="5761499"/>
                </a:lnTo>
                <a:lnTo>
                  <a:pt x="957240" y="5757460"/>
                </a:lnTo>
                <a:lnTo>
                  <a:pt x="957240" y="5747589"/>
                </a:lnTo>
                <a:close/>
                <a:moveTo>
                  <a:pt x="9572438" y="5743499"/>
                </a:moveTo>
                <a:lnTo>
                  <a:pt x="9582349" y="5743499"/>
                </a:lnTo>
                <a:lnTo>
                  <a:pt x="9586368" y="5747537"/>
                </a:lnTo>
                <a:lnTo>
                  <a:pt x="9586368" y="5757408"/>
                </a:lnTo>
                <a:lnTo>
                  <a:pt x="9582349" y="5761447"/>
                </a:lnTo>
                <a:lnTo>
                  <a:pt x="9572438" y="5761447"/>
                </a:lnTo>
                <a:lnTo>
                  <a:pt x="9568419" y="5757408"/>
                </a:lnTo>
                <a:lnTo>
                  <a:pt x="9568419" y="5747537"/>
                </a:lnTo>
                <a:close/>
                <a:moveTo>
                  <a:pt x="9333125" y="5743499"/>
                </a:moveTo>
                <a:lnTo>
                  <a:pt x="9343036" y="5743499"/>
                </a:lnTo>
                <a:lnTo>
                  <a:pt x="9347055" y="5747537"/>
                </a:lnTo>
                <a:lnTo>
                  <a:pt x="9347055" y="5757408"/>
                </a:lnTo>
                <a:lnTo>
                  <a:pt x="9343036" y="5761447"/>
                </a:lnTo>
                <a:lnTo>
                  <a:pt x="9333125" y="5761447"/>
                </a:lnTo>
                <a:lnTo>
                  <a:pt x="9329106" y="5757408"/>
                </a:lnTo>
                <a:lnTo>
                  <a:pt x="9329106" y="5747537"/>
                </a:lnTo>
                <a:close/>
                <a:moveTo>
                  <a:pt x="9093811" y="5743499"/>
                </a:moveTo>
                <a:lnTo>
                  <a:pt x="9103722" y="5743499"/>
                </a:lnTo>
                <a:lnTo>
                  <a:pt x="9107741" y="5747537"/>
                </a:lnTo>
                <a:lnTo>
                  <a:pt x="9107741" y="5757408"/>
                </a:lnTo>
                <a:lnTo>
                  <a:pt x="9103722" y="5761447"/>
                </a:lnTo>
                <a:lnTo>
                  <a:pt x="9093811" y="5761447"/>
                </a:lnTo>
                <a:lnTo>
                  <a:pt x="9089792" y="5757408"/>
                </a:lnTo>
                <a:lnTo>
                  <a:pt x="9089792" y="5747537"/>
                </a:lnTo>
                <a:close/>
                <a:moveTo>
                  <a:pt x="8854496" y="5743499"/>
                </a:moveTo>
                <a:lnTo>
                  <a:pt x="8864407" y="5743499"/>
                </a:lnTo>
                <a:lnTo>
                  <a:pt x="8868426" y="5747537"/>
                </a:lnTo>
                <a:lnTo>
                  <a:pt x="8868426" y="5757408"/>
                </a:lnTo>
                <a:lnTo>
                  <a:pt x="8864407" y="5761447"/>
                </a:lnTo>
                <a:lnTo>
                  <a:pt x="8854496" y="5761447"/>
                </a:lnTo>
                <a:lnTo>
                  <a:pt x="8850477" y="5757408"/>
                </a:lnTo>
                <a:lnTo>
                  <a:pt x="8850477" y="5747537"/>
                </a:lnTo>
                <a:close/>
                <a:moveTo>
                  <a:pt x="8615184" y="5743499"/>
                </a:moveTo>
                <a:lnTo>
                  <a:pt x="8625095" y="5743499"/>
                </a:lnTo>
                <a:lnTo>
                  <a:pt x="8629114" y="5747537"/>
                </a:lnTo>
                <a:lnTo>
                  <a:pt x="8629114" y="5757408"/>
                </a:lnTo>
                <a:lnTo>
                  <a:pt x="8625095" y="5761447"/>
                </a:lnTo>
                <a:lnTo>
                  <a:pt x="8615184" y="5761447"/>
                </a:lnTo>
                <a:lnTo>
                  <a:pt x="8611165" y="5757408"/>
                </a:lnTo>
                <a:lnTo>
                  <a:pt x="8611165" y="5747537"/>
                </a:lnTo>
                <a:close/>
                <a:moveTo>
                  <a:pt x="8375869" y="5743499"/>
                </a:moveTo>
                <a:lnTo>
                  <a:pt x="8385779" y="5743499"/>
                </a:lnTo>
                <a:lnTo>
                  <a:pt x="8389799" y="5747537"/>
                </a:lnTo>
                <a:lnTo>
                  <a:pt x="8389799" y="5757408"/>
                </a:lnTo>
                <a:lnTo>
                  <a:pt x="8385779" y="5761447"/>
                </a:lnTo>
                <a:lnTo>
                  <a:pt x="8375869" y="5761447"/>
                </a:lnTo>
                <a:lnTo>
                  <a:pt x="8371850" y="5757408"/>
                </a:lnTo>
                <a:lnTo>
                  <a:pt x="8371850" y="5747537"/>
                </a:lnTo>
                <a:close/>
                <a:moveTo>
                  <a:pt x="8136553" y="5743499"/>
                </a:moveTo>
                <a:lnTo>
                  <a:pt x="8146464" y="5743499"/>
                </a:lnTo>
                <a:lnTo>
                  <a:pt x="8150483" y="5747537"/>
                </a:lnTo>
                <a:lnTo>
                  <a:pt x="8150483" y="5757408"/>
                </a:lnTo>
                <a:lnTo>
                  <a:pt x="8146464" y="5761447"/>
                </a:lnTo>
                <a:lnTo>
                  <a:pt x="8136553" y="5761447"/>
                </a:lnTo>
                <a:lnTo>
                  <a:pt x="8132534" y="5757408"/>
                </a:lnTo>
                <a:lnTo>
                  <a:pt x="8132534" y="5747537"/>
                </a:lnTo>
                <a:close/>
                <a:moveTo>
                  <a:pt x="7897241" y="5743499"/>
                </a:moveTo>
                <a:lnTo>
                  <a:pt x="7907151" y="5743499"/>
                </a:lnTo>
                <a:lnTo>
                  <a:pt x="7911170" y="5747537"/>
                </a:lnTo>
                <a:lnTo>
                  <a:pt x="7911170" y="5757408"/>
                </a:lnTo>
                <a:lnTo>
                  <a:pt x="7907151" y="5761447"/>
                </a:lnTo>
                <a:lnTo>
                  <a:pt x="7897241" y="5761447"/>
                </a:lnTo>
                <a:lnTo>
                  <a:pt x="7893222" y="5757408"/>
                </a:lnTo>
                <a:lnTo>
                  <a:pt x="7893222" y="5747537"/>
                </a:lnTo>
                <a:close/>
                <a:moveTo>
                  <a:pt x="7657926" y="5743499"/>
                </a:moveTo>
                <a:lnTo>
                  <a:pt x="7667836" y="5743499"/>
                </a:lnTo>
                <a:lnTo>
                  <a:pt x="7671855" y="5747537"/>
                </a:lnTo>
                <a:lnTo>
                  <a:pt x="7671855" y="5757408"/>
                </a:lnTo>
                <a:lnTo>
                  <a:pt x="7667836" y="5761447"/>
                </a:lnTo>
                <a:lnTo>
                  <a:pt x="7657926" y="5761447"/>
                </a:lnTo>
                <a:lnTo>
                  <a:pt x="7653906" y="5757408"/>
                </a:lnTo>
                <a:lnTo>
                  <a:pt x="7653906" y="5747537"/>
                </a:lnTo>
                <a:close/>
                <a:moveTo>
                  <a:pt x="7418611" y="5743499"/>
                </a:moveTo>
                <a:lnTo>
                  <a:pt x="7428521" y="5743499"/>
                </a:lnTo>
                <a:lnTo>
                  <a:pt x="7432540" y="5747537"/>
                </a:lnTo>
                <a:lnTo>
                  <a:pt x="7432540" y="5757408"/>
                </a:lnTo>
                <a:lnTo>
                  <a:pt x="7428521" y="5761447"/>
                </a:lnTo>
                <a:lnTo>
                  <a:pt x="7418611" y="5761447"/>
                </a:lnTo>
                <a:lnTo>
                  <a:pt x="7414592" y="5757408"/>
                </a:lnTo>
                <a:lnTo>
                  <a:pt x="7414592" y="5747537"/>
                </a:lnTo>
                <a:close/>
                <a:moveTo>
                  <a:pt x="7179298" y="5743499"/>
                </a:moveTo>
                <a:lnTo>
                  <a:pt x="7189209" y="5743499"/>
                </a:lnTo>
                <a:lnTo>
                  <a:pt x="7193228" y="5747537"/>
                </a:lnTo>
                <a:lnTo>
                  <a:pt x="7193228" y="5757408"/>
                </a:lnTo>
                <a:lnTo>
                  <a:pt x="7189209" y="5761447"/>
                </a:lnTo>
                <a:lnTo>
                  <a:pt x="7179298" y="5761447"/>
                </a:lnTo>
                <a:lnTo>
                  <a:pt x="7175279" y="5757408"/>
                </a:lnTo>
                <a:lnTo>
                  <a:pt x="7175279" y="5747537"/>
                </a:lnTo>
                <a:close/>
                <a:moveTo>
                  <a:pt x="6939983" y="5743499"/>
                </a:moveTo>
                <a:lnTo>
                  <a:pt x="6949894" y="5743499"/>
                </a:lnTo>
                <a:lnTo>
                  <a:pt x="6953913" y="5747537"/>
                </a:lnTo>
                <a:lnTo>
                  <a:pt x="6953913" y="5757408"/>
                </a:lnTo>
                <a:lnTo>
                  <a:pt x="6949894" y="5761447"/>
                </a:lnTo>
                <a:lnTo>
                  <a:pt x="6939983" y="5761447"/>
                </a:lnTo>
                <a:lnTo>
                  <a:pt x="6935964" y="5757408"/>
                </a:lnTo>
                <a:lnTo>
                  <a:pt x="6935964" y="5747537"/>
                </a:lnTo>
                <a:close/>
                <a:moveTo>
                  <a:pt x="6700670" y="5743499"/>
                </a:moveTo>
                <a:lnTo>
                  <a:pt x="6710581" y="5743499"/>
                </a:lnTo>
                <a:lnTo>
                  <a:pt x="6714600" y="5747537"/>
                </a:lnTo>
                <a:lnTo>
                  <a:pt x="6714600" y="5757408"/>
                </a:lnTo>
                <a:lnTo>
                  <a:pt x="6710581" y="5761447"/>
                </a:lnTo>
                <a:lnTo>
                  <a:pt x="6700670" y="5761447"/>
                </a:lnTo>
                <a:lnTo>
                  <a:pt x="6696651" y="5757408"/>
                </a:lnTo>
                <a:lnTo>
                  <a:pt x="6696651" y="5747537"/>
                </a:lnTo>
                <a:close/>
                <a:moveTo>
                  <a:pt x="6461356" y="5743499"/>
                </a:moveTo>
                <a:lnTo>
                  <a:pt x="6471266" y="5743499"/>
                </a:lnTo>
                <a:lnTo>
                  <a:pt x="6475285" y="5747537"/>
                </a:lnTo>
                <a:lnTo>
                  <a:pt x="6475285" y="5757408"/>
                </a:lnTo>
                <a:lnTo>
                  <a:pt x="6471266" y="5761447"/>
                </a:lnTo>
                <a:lnTo>
                  <a:pt x="6461356" y="5761447"/>
                </a:lnTo>
                <a:lnTo>
                  <a:pt x="6457337" y="5757408"/>
                </a:lnTo>
                <a:lnTo>
                  <a:pt x="6457337" y="5747537"/>
                </a:lnTo>
                <a:close/>
                <a:moveTo>
                  <a:pt x="6222042" y="5743499"/>
                </a:moveTo>
                <a:lnTo>
                  <a:pt x="6231952" y="5743499"/>
                </a:lnTo>
                <a:lnTo>
                  <a:pt x="6235971" y="5747537"/>
                </a:lnTo>
                <a:lnTo>
                  <a:pt x="6235971" y="5757408"/>
                </a:lnTo>
                <a:lnTo>
                  <a:pt x="6231952" y="5761447"/>
                </a:lnTo>
                <a:lnTo>
                  <a:pt x="6222042" y="5761447"/>
                </a:lnTo>
                <a:lnTo>
                  <a:pt x="6218023" y="5757408"/>
                </a:lnTo>
                <a:lnTo>
                  <a:pt x="6218023" y="5747537"/>
                </a:lnTo>
                <a:close/>
                <a:moveTo>
                  <a:pt x="5982729" y="5743499"/>
                </a:moveTo>
                <a:lnTo>
                  <a:pt x="5992639" y="5743499"/>
                </a:lnTo>
                <a:lnTo>
                  <a:pt x="5996658" y="5747537"/>
                </a:lnTo>
                <a:lnTo>
                  <a:pt x="5996658" y="5757408"/>
                </a:lnTo>
                <a:lnTo>
                  <a:pt x="5992639" y="5761447"/>
                </a:lnTo>
                <a:lnTo>
                  <a:pt x="5982729" y="5761447"/>
                </a:lnTo>
                <a:lnTo>
                  <a:pt x="5978710" y="5757408"/>
                </a:lnTo>
                <a:lnTo>
                  <a:pt x="5978710" y="5747537"/>
                </a:lnTo>
                <a:close/>
                <a:moveTo>
                  <a:pt x="5743412" y="5743499"/>
                </a:moveTo>
                <a:lnTo>
                  <a:pt x="5753323" y="5743499"/>
                </a:lnTo>
                <a:lnTo>
                  <a:pt x="5757342" y="5747537"/>
                </a:lnTo>
                <a:lnTo>
                  <a:pt x="5757342" y="5757408"/>
                </a:lnTo>
                <a:lnTo>
                  <a:pt x="5753323" y="5761447"/>
                </a:lnTo>
                <a:lnTo>
                  <a:pt x="5743412" y="5761447"/>
                </a:lnTo>
                <a:lnTo>
                  <a:pt x="5739393" y="5757408"/>
                </a:lnTo>
                <a:lnTo>
                  <a:pt x="5739393" y="5747537"/>
                </a:lnTo>
                <a:close/>
                <a:moveTo>
                  <a:pt x="5504099" y="5743499"/>
                </a:moveTo>
                <a:lnTo>
                  <a:pt x="5514010" y="5743499"/>
                </a:lnTo>
                <a:lnTo>
                  <a:pt x="5518029" y="5747537"/>
                </a:lnTo>
                <a:lnTo>
                  <a:pt x="5518029" y="5757408"/>
                </a:lnTo>
                <a:lnTo>
                  <a:pt x="5514010" y="5761447"/>
                </a:lnTo>
                <a:lnTo>
                  <a:pt x="5504099" y="5761447"/>
                </a:lnTo>
                <a:lnTo>
                  <a:pt x="5500080" y="5757408"/>
                </a:lnTo>
                <a:lnTo>
                  <a:pt x="5500080" y="5747537"/>
                </a:lnTo>
                <a:close/>
                <a:moveTo>
                  <a:pt x="5264784" y="5743499"/>
                </a:moveTo>
                <a:lnTo>
                  <a:pt x="5274694" y="5743499"/>
                </a:lnTo>
                <a:lnTo>
                  <a:pt x="5278713" y="5747537"/>
                </a:lnTo>
                <a:lnTo>
                  <a:pt x="5278713" y="5757408"/>
                </a:lnTo>
                <a:lnTo>
                  <a:pt x="5274694" y="5761447"/>
                </a:lnTo>
                <a:lnTo>
                  <a:pt x="5264784" y="5761447"/>
                </a:lnTo>
                <a:lnTo>
                  <a:pt x="5260765" y="5757408"/>
                </a:lnTo>
                <a:lnTo>
                  <a:pt x="5260765" y="5747537"/>
                </a:lnTo>
                <a:close/>
                <a:moveTo>
                  <a:pt x="5025470" y="5743499"/>
                </a:moveTo>
                <a:lnTo>
                  <a:pt x="5035381" y="5743499"/>
                </a:lnTo>
                <a:lnTo>
                  <a:pt x="5039400" y="5747537"/>
                </a:lnTo>
                <a:lnTo>
                  <a:pt x="5039400" y="5757408"/>
                </a:lnTo>
                <a:lnTo>
                  <a:pt x="5035381" y="5761447"/>
                </a:lnTo>
                <a:lnTo>
                  <a:pt x="5025470" y="5761447"/>
                </a:lnTo>
                <a:lnTo>
                  <a:pt x="5021451" y="5757408"/>
                </a:lnTo>
                <a:lnTo>
                  <a:pt x="5021451" y="5747537"/>
                </a:lnTo>
                <a:close/>
                <a:moveTo>
                  <a:pt x="4786241" y="5743499"/>
                </a:moveTo>
                <a:lnTo>
                  <a:pt x="4796152" y="5743499"/>
                </a:lnTo>
                <a:lnTo>
                  <a:pt x="4800171" y="5747537"/>
                </a:lnTo>
                <a:lnTo>
                  <a:pt x="4800171" y="5757408"/>
                </a:lnTo>
                <a:lnTo>
                  <a:pt x="4796152" y="5761447"/>
                </a:lnTo>
                <a:lnTo>
                  <a:pt x="4786241" y="5761447"/>
                </a:lnTo>
                <a:lnTo>
                  <a:pt x="4782224" y="5757408"/>
                </a:lnTo>
                <a:lnTo>
                  <a:pt x="4782224" y="5747537"/>
                </a:lnTo>
                <a:close/>
                <a:moveTo>
                  <a:pt x="4546929" y="5743499"/>
                </a:moveTo>
                <a:lnTo>
                  <a:pt x="4556840" y="5743499"/>
                </a:lnTo>
                <a:lnTo>
                  <a:pt x="4560859" y="5747537"/>
                </a:lnTo>
                <a:lnTo>
                  <a:pt x="4560859" y="5757408"/>
                </a:lnTo>
                <a:lnTo>
                  <a:pt x="4556840" y="5761447"/>
                </a:lnTo>
                <a:lnTo>
                  <a:pt x="4546929" y="5761447"/>
                </a:lnTo>
                <a:lnTo>
                  <a:pt x="4542910" y="5757408"/>
                </a:lnTo>
                <a:lnTo>
                  <a:pt x="4542910" y="5747537"/>
                </a:lnTo>
                <a:close/>
                <a:moveTo>
                  <a:pt x="4307612" y="5743499"/>
                </a:moveTo>
                <a:lnTo>
                  <a:pt x="4317523" y="5743499"/>
                </a:lnTo>
                <a:lnTo>
                  <a:pt x="4321543" y="5747537"/>
                </a:lnTo>
                <a:lnTo>
                  <a:pt x="4321543" y="5757408"/>
                </a:lnTo>
                <a:lnTo>
                  <a:pt x="4317523" y="5761447"/>
                </a:lnTo>
                <a:lnTo>
                  <a:pt x="4307612" y="5761447"/>
                </a:lnTo>
                <a:lnTo>
                  <a:pt x="4303595" y="5757408"/>
                </a:lnTo>
                <a:lnTo>
                  <a:pt x="4303595" y="5747537"/>
                </a:lnTo>
                <a:close/>
                <a:moveTo>
                  <a:pt x="4068297" y="5743499"/>
                </a:moveTo>
                <a:lnTo>
                  <a:pt x="4078210" y="5743499"/>
                </a:lnTo>
                <a:lnTo>
                  <a:pt x="4082229" y="5747537"/>
                </a:lnTo>
                <a:lnTo>
                  <a:pt x="4082229" y="5757408"/>
                </a:lnTo>
                <a:lnTo>
                  <a:pt x="4078210" y="5761447"/>
                </a:lnTo>
                <a:lnTo>
                  <a:pt x="4068297" y="5761447"/>
                </a:lnTo>
                <a:lnTo>
                  <a:pt x="4064278" y="5757408"/>
                </a:lnTo>
                <a:lnTo>
                  <a:pt x="4064278" y="5747537"/>
                </a:lnTo>
                <a:close/>
                <a:moveTo>
                  <a:pt x="3828990" y="5743499"/>
                </a:moveTo>
                <a:lnTo>
                  <a:pt x="3838899" y="5743499"/>
                </a:lnTo>
                <a:lnTo>
                  <a:pt x="3842917" y="5747537"/>
                </a:lnTo>
                <a:lnTo>
                  <a:pt x="3842917" y="5757408"/>
                </a:lnTo>
                <a:lnTo>
                  <a:pt x="3838899" y="5761447"/>
                </a:lnTo>
                <a:lnTo>
                  <a:pt x="3828990" y="5761447"/>
                </a:lnTo>
                <a:lnTo>
                  <a:pt x="3824971" y="5757408"/>
                </a:lnTo>
                <a:lnTo>
                  <a:pt x="3824971" y="5747537"/>
                </a:lnTo>
                <a:close/>
                <a:moveTo>
                  <a:pt x="3589676" y="5743499"/>
                </a:moveTo>
                <a:lnTo>
                  <a:pt x="3599585" y="5743499"/>
                </a:lnTo>
                <a:lnTo>
                  <a:pt x="3603604" y="5747537"/>
                </a:lnTo>
                <a:lnTo>
                  <a:pt x="3603604" y="5757408"/>
                </a:lnTo>
                <a:lnTo>
                  <a:pt x="3599585" y="5761447"/>
                </a:lnTo>
                <a:lnTo>
                  <a:pt x="3589676" y="5761447"/>
                </a:lnTo>
                <a:lnTo>
                  <a:pt x="3585657" y="5757408"/>
                </a:lnTo>
                <a:lnTo>
                  <a:pt x="3585657" y="5747537"/>
                </a:lnTo>
                <a:close/>
                <a:moveTo>
                  <a:pt x="3350359" y="5743499"/>
                </a:moveTo>
                <a:lnTo>
                  <a:pt x="3360268" y="5743499"/>
                </a:lnTo>
                <a:lnTo>
                  <a:pt x="3364287" y="5747537"/>
                </a:lnTo>
                <a:lnTo>
                  <a:pt x="3364287" y="5757408"/>
                </a:lnTo>
                <a:lnTo>
                  <a:pt x="3360268" y="5761447"/>
                </a:lnTo>
                <a:lnTo>
                  <a:pt x="3350359" y="5761447"/>
                </a:lnTo>
                <a:lnTo>
                  <a:pt x="3346340" y="5757408"/>
                </a:lnTo>
                <a:lnTo>
                  <a:pt x="3346340" y="5747537"/>
                </a:lnTo>
                <a:close/>
                <a:moveTo>
                  <a:pt x="3111048" y="5743499"/>
                </a:moveTo>
                <a:lnTo>
                  <a:pt x="3120959" y="5743499"/>
                </a:lnTo>
                <a:lnTo>
                  <a:pt x="3124977" y="5747537"/>
                </a:lnTo>
                <a:lnTo>
                  <a:pt x="3124977" y="5757408"/>
                </a:lnTo>
                <a:lnTo>
                  <a:pt x="3120959" y="5761447"/>
                </a:lnTo>
                <a:lnTo>
                  <a:pt x="3111048" y="5761447"/>
                </a:lnTo>
                <a:lnTo>
                  <a:pt x="3107029" y="5757408"/>
                </a:lnTo>
                <a:lnTo>
                  <a:pt x="3107029" y="5747537"/>
                </a:lnTo>
                <a:close/>
                <a:moveTo>
                  <a:pt x="2871737" y="5743499"/>
                </a:moveTo>
                <a:lnTo>
                  <a:pt x="2881646" y="5743499"/>
                </a:lnTo>
                <a:lnTo>
                  <a:pt x="2885666" y="5747537"/>
                </a:lnTo>
                <a:lnTo>
                  <a:pt x="2885666" y="5757408"/>
                </a:lnTo>
                <a:lnTo>
                  <a:pt x="2881646" y="5761447"/>
                </a:lnTo>
                <a:lnTo>
                  <a:pt x="2871737" y="5761447"/>
                </a:lnTo>
                <a:lnTo>
                  <a:pt x="2867717" y="5757408"/>
                </a:lnTo>
                <a:lnTo>
                  <a:pt x="2867717" y="5747537"/>
                </a:lnTo>
                <a:close/>
                <a:moveTo>
                  <a:pt x="2632423" y="5743499"/>
                </a:moveTo>
                <a:lnTo>
                  <a:pt x="2642334" y="5743499"/>
                </a:lnTo>
                <a:lnTo>
                  <a:pt x="2646352" y="5747537"/>
                </a:lnTo>
                <a:lnTo>
                  <a:pt x="2646352" y="5757408"/>
                </a:lnTo>
                <a:lnTo>
                  <a:pt x="2642334" y="5761447"/>
                </a:lnTo>
                <a:lnTo>
                  <a:pt x="2632423" y="5761447"/>
                </a:lnTo>
                <a:lnTo>
                  <a:pt x="2628404" y="5757408"/>
                </a:lnTo>
                <a:lnTo>
                  <a:pt x="2628404" y="5747537"/>
                </a:lnTo>
                <a:close/>
                <a:moveTo>
                  <a:pt x="2393104" y="5743499"/>
                </a:moveTo>
                <a:lnTo>
                  <a:pt x="2403015" y="5743499"/>
                </a:lnTo>
                <a:lnTo>
                  <a:pt x="2407034" y="5747537"/>
                </a:lnTo>
                <a:lnTo>
                  <a:pt x="2407034" y="5757408"/>
                </a:lnTo>
                <a:lnTo>
                  <a:pt x="2403015" y="5761447"/>
                </a:lnTo>
                <a:lnTo>
                  <a:pt x="2393104" y="5761447"/>
                </a:lnTo>
                <a:lnTo>
                  <a:pt x="2389087" y="5757408"/>
                </a:lnTo>
                <a:lnTo>
                  <a:pt x="2389087" y="5747537"/>
                </a:lnTo>
                <a:close/>
                <a:moveTo>
                  <a:pt x="721960" y="5743499"/>
                </a:moveTo>
                <a:lnTo>
                  <a:pt x="731871" y="5743499"/>
                </a:lnTo>
                <a:lnTo>
                  <a:pt x="735889" y="5747537"/>
                </a:lnTo>
                <a:lnTo>
                  <a:pt x="735889" y="5757408"/>
                </a:lnTo>
                <a:lnTo>
                  <a:pt x="731871" y="5761447"/>
                </a:lnTo>
                <a:lnTo>
                  <a:pt x="721960" y="5761447"/>
                </a:lnTo>
                <a:lnTo>
                  <a:pt x="717941" y="5757408"/>
                </a:lnTo>
                <a:lnTo>
                  <a:pt x="717941" y="5747537"/>
                </a:lnTo>
                <a:close/>
                <a:moveTo>
                  <a:pt x="482648" y="5743499"/>
                </a:moveTo>
                <a:lnTo>
                  <a:pt x="492558" y="5743499"/>
                </a:lnTo>
                <a:lnTo>
                  <a:pt x="496578" y="5747537"/>
                </a:lnTo>
                <a:lnTo>
                  <a:pt x="496578" y="5757408"/>
                </a:lnTo>
                <a:lnTo>
                  <a:pt x="492558" y="5761447"/>
                </a:lnTo>
                <a:lnTo>
                  <a:pt x="482648" y="5761447"/>
                </a:lnTo>
                <a:lnTo>
                  <a:pt x="478629" y="5757408"/>
                </a:lnTo>
                <a:lnTo>
                  <a:pt x="478629" y="5747537"/>
                </a:lnTo>
                <a:close/>
                <a:moveTo>
                  <a:pt x="243334" y="5743499"/>
                </a:moveTo>
                <a:lnTo>
                  <a:pt x="253245" y="5743499"/>
                </a:lnTo>
                <a:lnTo>
                  <a:pt x="257264" y="5747537"/>
                </a:lnTo>
                <a:lnTo>
                  <a:pt x="257264" y="5757408"/>
                </a:lnTo>
                <a:lnTo>
                  <a:pt x="253245" y="5761447"/>
                </a:lnTo>
                <a:lnTo>
                  <a:pt x="243334" y="5761447"/>
                </a:lnTo>
                <a:lnTo>
                  <a:pt x="239315" y="5757408"/>
                </a:lnTo>
                <a:lnTo>
                  <a:pt x="239315" y="5747537"/>
                </a:lnTo>
                <a:close/>
                <a:moveTo>
                  <a:pt x="4021" y="5743499"/>
                </a:moveTo>
                <a:lnTo>
                  <a:pt x="13932" y="5743499"/>
                </a:lnTo>
                <a:lnTo>
                  <a:pt x="17950" y="5747537"/>
                </a:lnTo>
                <a:lnTo>
                  <a:pt x="17950" y="5757408"/>
                </a:lnTo>
                <a:lnTo>
                  <a:pt x="13932" y="5761447"/>
                </a:lnTo>
                <a:lnTo>
                  <a:pt x="4021" y="5761447"/>
                </a:lnTo>
                <a:lnTo>
                  <a:pt x="2" y="5757408"/>
                </a:lnTo>
                <a:lnTo>
                  <a:pt x="2" y="5747537"/>
                </a:lnTo>
                <a:close/>
                <a:moveTo>
                  <a:pt x="9572438" y="5504220"/>
                </a:moveTo>
                <a:lnTo>
                  <a:pt x="9582349" y="5504220"/>
                </a:lnTo>
                <a:lnTo>
                  <a:pt x="9586368" y="5508258"/>
                </a:lnTo>
                <a:lnTo>
                  <a:pt x="9586368" y="5518129"/>
                </a:lnTo>
                <a:lnTo>
                  <a:pt x="9582349" y="5522168"/>
                </a:lnTo>
                <a:lnTo>
                  <a:pt x="9572438" y="5522168"/>
                </a:lnTo>
                <a:lnTo>
                  <a:pt x="9568419" y="5518129"/>
                </a:lnTo>
                <a:lnTo>
                  <a:pt x="9568419" y="5508258"/>
                </a:lnTo>
                <a:close/>
                <a:moveTo>
                  <a:pt x="9333125" y="5504220"/>
                </a:moveTo>
                <a:lnTo>
                  <a:pt x="9343036" y="5504220"/>
                </a:lnTo>
                <a:lnTo>
                  <a:pt x="9347055" y="5508258"/>
                </a:lnTo>
                <a:lnTo>
                  <a:pt x="9347055" y="5518129"/>
                </a:lnTo>
                <a:lnTo>
                  <a:pt x="9343036" y="5522168"/>
                </a:lnTo>
                <a:lnTo>
                  <a:pt x="9333125" y="5522168"/>
                </a:lnTo>
                <a:lnTo>
                  <a:pt x="9329106" y="5518129"/>
                </a:lnTo>
                <a:lnTo>
                  <a:pt x="9329106" y="5508258"/>
                </a:lnTo>
                <a:close/>
                <a:moveTo>
                  <a:pt x="9093811" y="5504220"/>
                </a:moveTo>
                <a:lnTo>
                  <a:pt x="9103722" y="5504220"/>
                </a:lnTo>
                <a:lnTo>
                  <a:pt x="9107741" y="5508258"/>
                </a:lnTo>
                <a:lnTo>
                  <a:pt x="9107741" y="5518129"/>
                </a:lnTo>
                <a:lnTo>
                  <a:pt x="9103722" y="5522168"/>
                </a:lnTo>
                <a:lnTo>
                  <a:pt x="9093811" y="5522168"/>
                </a:lnTo>
                <a:lnTo>
                  <a:pt x="9089792" y="5518129"/>
                </a:lnTo>
                <a:lnTo>
                  <a:pt x="9089792" y="5508258"/>
                </a:lnTo>
                <a:close/>
                <a:moveTo>
                  <a:pt x="8854496" y="5504220"/>
                </a:moveTo>
                <a:lnTo>
                  <a:pt x="8864407" y="5504220"/>
                </a:lnTo>
                <a:lnTo>
                  <a:pt x="8868426" y="5508258"/>
                </a:lnTo>
                <a:lnTo>
                  <a:pt x="8868426" y="5518129"/>
                </a:lnTo>
                <a:lnTo>
                  <a:pt x="8864407" y="5522168"/>
                </a:lnTo>
                <a:lnTo>
                  <a:pt x="8854496" y="5522168"/>
                </a:lnTo>
                <a:lnTo>
                  <a:pt x="8850477" y="5518129"/>
                </a:lnTo>
                <a:lnTo>
                  <a:pt x="8850477" y="5508258"/>
                </a:lnTo>
                <a:close/>
                <a:moveTo>
                  <a:pt x="8615184" y="5504220"/>
                </a:moveTo>
                <a:lnTo>
                  <a:pt x="8625095" y="5504220"/>
                </a:lnTo>
                <a:lnTo>
                  <a:pt x="8629114" y="5508258"/>
                </a:lnTo>
                <a:lnTo>
                  <a:pt x="8629114" y="5518129"/>
                </a:lnTo>
                <a:lnTo>
                  <a:pt x="8625095" y="5522168"/>
                </a:lnTo>
                <a:lnTo>
                  <a:pt x="8615184" y="5522168"/>
                </a:lnTo>
                <a:lnTo>
                  <a:pt x="8611165" y="5518129"/>
                </a:lnTo>
                <a:lnTo>
                  <a:pt x="8611165" y="5508258"/>
                </a:lnTo>
                <a:close/>
                <a:moveTo>
                  <a:pt x="8375869" y="5504220"/>
                </a:moveTo>
                <a:lnTo>
                  <a:pt x="8385779" y="5504220"/>
                </a:lnTo>
                <a:lnTo>
                  <a:pt x="8389799" y="5508258"/>
                </a:lnTo>
                <a:lnTo>
                  <a:pt x="8389799" y="5518129"/>
                </a:lnTo>
                <a:lnTo>
                  <a:pt x="8385779" y="5522168"/>
                </a:lnTo>
                <a:lnTo>
                  <a:pt x="8375869" y="5522168"/>
                </a:lnTo>
                <a:lnTo>
                  <a:pt x="8371850" y="5518129"/>
                </a:lnTo>
                <a:lnTo>
                  <a:pt x="8371850" y="5508258"/>
                </a:lnTo>
                <a:close/>
                <a:moveTo>
                  <a:pt x="8136553" y="5504220"/>
                </a:moveTo>
                <a:lnTo>
                  <a:pt x="8146464" y="5504220"/>
                </a:lnTo>
                <a:lnTo>
                  <a:pt x="8150483" y="5508258"/>
                </a:lnTo>
                <a:lnTo>
                  <a:pt x="8150483" y="5518129"/>
                </a:lnTo>
                <a:lnTo>
                  <a:pt x="8146464" y="5522168"/>
                </a:lnTo>
                <a:lnTo>
                  <a:pt x="8136553" y="5522168"/>
                </a:lnTo>
                <a:lnTo>
                  <a:pt x="8132534" y="5518129"/>
                </a:lnTo>
                <a:lnTo>
                  <a:pt x="8132534" y="5508258"/>
                </a:lnTo>
                <a:close/>
                <a:moveTo>
                  <a:pt x="7897241" y="5504220"/>
                </a:moveTo>
                <a:lnTo>
                  <a:pt x="7907151" y="5504220"/>
                </a:lnTo>
                <a:lnTo>
                  <a:pt x="7911170" y="5508258"/>
                </a:lnTo>
                <a:lnTo>
                  <a:pt x="7911170" y="5518129"/>
                </a:lnTo>
                <a:lnTo>
                  <a:pt x="7907151" y="5522168"/>
                </a:lnTo>
                <a:lnTo>
                  <a:pt x="7897241" y="5522168"/>
                </a:lnTo>
                <a:lnTo>
                  <a:pt x="7893222" y="5518129"/>
                </a:lnTo>
                <a:lnTo>
                  <a:pt x="7893222" y="5508258"/>
                </a:lnTo>
                <a:close/>
                <a:moveTo>
                  <a:pt x="7657926" y="5504220"/>
                </a:moveTo>
                <a:lnTo>
                  <a:pt x="7667836" y="5504220"/>
                </a:lnTo>
                <a:lnTo>
                  <a:pt x="7671855" y="5508258"/>
                </a:lnTo>
                <a:lnTo>
                  <a:pt x="7671855" y="5518129"/>
                </a:lnTo>
                <a:lnTo>
                  <a:pt x="7667836" y="5522168"/>
                </a:lnTo>
                <a:lnTo>
                  <a:pt x="7657926" y="5522168"/>
                </a:lnTo>
                <a:lnTo>
                  <a:pt x="7653906" y="5518129"/>
                </a:lnTo>
                <a:lnTo>
                  <a:pt x="7653906" y="5508258"/>
                </a:lnTo>
                <a:close/>
                <a:moveTo>
                  <a:pt x="7418611" y="5504220"/>
                </a:moveTo>
                <a:lnTo>
                  <a:pt x="7428521" y="5504220"/>
                </a:lnTo>
                <a:lnTo>
                  <a:pt x="7432540" y="5508258"/>
                </a:lnTo>
                <a:lnTo>
                  <a:pt x="7432540" y="5518129"/>
                </a:lnTo>
                <a:lnTo>
                  <a:pt x="7428521" y="5522168"/>
                </a:lnTo>
                <a:lnTo>
                  <a:pt x="7418611" y="5522168"/>
                </a:lnTo>
                <a:lnTo>
                  <a:pt x="7414592" y="5518129"/>
                </a:lnTo>
                <a:lnTo>
                  <a:pt x="7414592" y="5508258"/>
                </a:lnTo>
                <a:close/>
                <a:moveTo>
                  <a:pt x="7179298" y="5504220"/>
                </a:moveTo>
                <a:lnTo>
                  <a:pt x="7189209" y="5504220"/>
                </a:lnTo>
                <a:lnTo>
                  <a:pt x="7193228" y="5508258"/>
                </a:lnTo>
                <a:lnTo>
                  <a:pt x="7193228" y="5518129"/>
                </a:lnTo>
                <a:lnTo>
                  <a:pt x="7189209" y="5522168"/>
                </a:lnTo>
                <a:lnTo>
                  <a:pt x="7179298" y="5522168"/>
                </a:lnTo>
                <a:lnTo>
                  <a:pt x="7175279" y="5518129"/>
                </a:lnTo>
                <a:lnTo>
                  <a:pt x="7175279" y="5508258"/>
                </a:lnTo>
                <a:close/>
                <a:moveTo>
                  <a:pt x="6939983" y="5504220"/>
                </a:moveTo>
                <a:lnTo>
                  <a:pt x="6949894" y="5504220"/>
                </a:lnTo>
                <a:lnTo>
                  <a:pt x="6953913" y="5508258"/>
                </a:lnTo>
                <a:lnTo>
                  <a:pt x="6953913" y="5518129"/>
                </a:lnTo>
                <a:lnTo>
                  <a:pt x="6949894" y="5522168"/>
                </a:lnTo>
                <a:lnTo>
                  <a:pt x="6939983" y="5522168"/>
                </a:lnTo>
                <a:lnTo>
                  <a:pt x="6935964" y="5518129"/>
                </a:lnTo>
                <a:lnTo>
                  <a:pt x="6935964" y="5508258"/>
                </a:lnTo>
                <a:close/>
                <a:moveTo>
                  <a:pt x="6700670" y="5504220"/>
                </a:moveTo>
                <a:lnTo>
                  <a:pt x="6710581" y="5504220"/>
                </a:lnTo>
                <a:lnTo>
                  <a:pt x="6714600" y="5508258"/>
                </a:lnTo>
                <a:lnTo>
                  <a:pt x="6714600" y="5518129"/>
                </a:lnTo>
                <a:lnTo>
                  <a:pt x="6710581" y="5522168"/>
                </a:lnTo>
                <a:lnTo>
                  <a:pt x="6700670" y="5522168"/>
                </a:lnTo>
                <a:lnTo>
                  <a:pt x="6696651" y="5518129"/>
                </a:lnTo>
                <a:lnTo>
                  <a:pt x="6696651" y="5508258"/>
                </a:lnTo>
                <a:close/>
                <a:moveTo>
                  <a:pt x="6461356" y="5504220"/>
                </a:moveTo>
                <a:lnTo>
                  <a:pt x="6471266" y="5504220"/>
                </a:lnTo>
                <a:lnTo>
                  <a:pt x="6475285" y="5508258"/>
                </a:lnTo>
                <a:lnTo>
                  <a:pt x="6475285" y="5518129"/>
                </a:lnTo>
                <a:lnTo>
                  <a:pt x="6471266" y="5522168"/>
                </a:lnTo>
                <a:lnTo>
                  <a:pt x="6461356" y="5522168"/>
                </a:lnTo>
                <a:lnTo>
                  <a:pt x="6457337" y="5518129"/>
                </a:lnTo>
                <a:lnTo>
                  <a:pt x="6457337" y="5508258"/>
                </a:lnTo>
                <a:close/>
                <a:moveTo>
                  <a:pt x="6222042" y="5504220"/>
                </a:moveTo>
                <a:lnTo>
                  <a:pt x="6231952" y="5504220"/>
                </a:lnTo>
                <a:lnTo>
                  <a:pt x="6235971" y="5508258"/>
                </a:lnTo>
                <a:lnTo>
                  <a:pt x="6235971" y="5518129"/>
                </a:lnTo>
                <a:lnTo>
                  <a:pt x="6231952" y="5522168"/>
                </a:lnTo>
                <a:lnTo>
                  <a:pt x="6222042" y="5522168"/>
                </a:lnTo>
                <a:lnTo>
                  <a:pt x="6218023" y="5518129"/>
                </a:lnTo>
                <a:lnTo>
                  <a:pt x="6218023" y="5508258"/>
                </a:lnTo>
                <a:close/>
                <a:moveTo>
                  <a:pt x="5982729" y="5504220"/>
                </a:moveTo>
                <a:lnTo>
                  <a:pt x="5992639" y="5504220"/>
                </a:lnTo>
                <a:lnTo>
                  <a:pt x="5996658" y="5508258"/>
                </a:lnTo>
                <a:lnTo>
                  <a:pt x="5996658" y="5518129"/>
                </a:lnTo>
                <a:lnTo>
                  <a:pt x="5992639" y="5522168"/>
                </a:lnTo>
                <a:lnTo>
                  <a:pt x="5982729" y="5522168"/>
                </a:lnTo>
                <a:lnTo>
                  <a:pt x="5978710" y="5518129"/>
                </a:lnTo>
                <a:lnTo>
                  <a:pt x="5978710" y="5508258"/>
                </a:lnTo>
                <a:close/>
                <a:moveTo>
                  <a:pt x="5743412" y="5504220"/>
                </a:moveTo>
                <a:lnTo>
                  <a:pt x="5753323" y="5504220"/>
                </a:lnTo>
                <a:lnTo>
                  <a:pt x="5757342" y="5508258"/>
                </a:lnTo>
                <a:lnTo>
                  <a:pt x="5757342" y="5518129"/>
                </a:lnTo>
                <a:lnTo>
                  <a:pt x="5753323" y="5522168"/>
                </a:lnTo>
                <a:lnTo>
                  <a:pt x="5743412" y="5522168"/>
                </a:lnTo>
                <a:lnTo>
                  <a:pt x="5739393" y="5518129"/>
                </a:lnTo>
                <a:lnTo>
                  <a:pt x="5739393" y="5508258"/>
                </a:lnTo>
                <a:close/>
                <a:moveTo>
                  <a:pt x="5504099" y="5504220"/>
                </a:moveTo>
                <a:lnTo>
                  <a:pt x="5514010" y="5504220"/>
                </a:lnTo>
                <a:lnTo>
                  <a:pt x="5518029" y="5508258"/>
                </a:lnTo>
                <a:lnTo>
                  <a:pt x="5518029" y="5518129"/>
                </a:lnTo>
                <a:lnTo>
                  <a:pt x="5514010" y="5522168"/>
                </a:lnTo>
                <a:lnTo>
                  <a:pt x="5504099" y="5522168"/>
                </a:lnTo>
                <a:lnTo>
                  <a:pt x="5500080" y="5518129"/>
                </a:lnTo>
                <a:lnTo>
                  <a:pt x="5500080" y="5508258"/>
                </a:lnTo>
                <a:close/>
                <a:moveTo>
                  <a:pt x="5264784" y="5504220"/>
                </a:moveTo>
                <a:lnTo>
                  <a:pt x="5274694" y="5504220"/>
                </a:lnTo>
                <a:lnTo>
                  <a:pt x="5278713" y="5508258"/>
                </a:lnTo>
                <a:lnTo>
                  <a:pt x="5278713" y="5518129"/>
                </a:lnTo>
                <a:lnTo>
                  <a:pt x="5274694" y="5522168"/>
                </a:lnTo>
                <a:lnTo>
                  <a:pt x="5264784" y="5522168"/>
                </a:lnTo>
                <a:lnTo>
                  <a:pt x="5260765" y="5518129"/>
                </a:lnTo>
                <a:lnTo>
                  <a:pt x="5260765" y="5508258"/>
                </a:lnTo>
                <a:close/>
                <a:moveTo>
                  <a:pt x="5025470" y="5504220"/>
                </a:moveTo>
                <a:lnTo>
                  <a:pt x="5035381" y="5504220"/>
                </a:lnTo>
                <a:lnTo>
                  <a:pt x="5039400" y="5508258"/>
                </a:lnTo>
                <a:lnTo>
                  <a:pt x="5039400" y="5518129"/>
                </a:lnTo>
                <a:lnTo>
                  <a:pt x="5035381" y="5522168"/>
                </a:lnTo>
                <a:lnTo>
                  <a:pt x="5025470" y="5522168"/>
                </a:lnTo>
                <a:lnTo>
                  <a:pt x="5021451" y="5518129"/>
                </a:lnTo>
                <a:lnTo>
                  <a:pt x="5021451" y="5508258"/>
                </a:lnTo>
                <a:close/>
                <a:moveTo>
                  <a:pt x="4786241" y="5504220"/>
                </a:moveTo>
                <a:lnTo>
                  <a:pt x="4796152" y="5504220"/>
                </a:lnTo>
                <a:lnTo>
                  <a:pt x="4800171" y="5508258"/>
                </a:lnTo>
                <a:lnTo>
                  <a:pt x="4800171" y="5518129"/>
                </a:lnTo>
                <a:lnTo>
                  <a:pt x="4796152" y="5522168"/>
                </a:lnTo>
                <a:lnTo>
                  <a:pt x="4786241" y="5522168"/>
                </a:lnTo>
                <a:lnTo>
                  <a:pt x="4782224" y="5518129"/>
                </a:lnTo>
                <a:lnTo>
                  <a:pt x="4782224" y="5508258"/>
                </a:lnTo>
                <a:close/>
                <a:moveTo>
                  <a:pt x="4546929" y="5504220"/>
                </a:moveTo>
                <a:lnTo>
                  <a:pt x="4556840" y="5504220"/>
                </a:lnTo>
                <a:lnTo>
                  <a:pt x="4560859" y="5508258"/>
                </a:lnTo>
                <a:lnTo>
                  <a:pt x="4560859" y="5518129"/>
                </a:lnTo>
                <a:lnTo>
                  <a:pt x="4556840" y="5522168"/>
                </a:lnTo>
                <a:lnTo>
                  <a:pt x="4546929" y="5522168"/>
                </a:lnTo>
                <a:lnTo>
                  <a:pt x="4542910" y="5518129"/>
                </a:lnTo>
                <a:lnTo>
                  <a:pt x="4542910" y="5508258"/>
                </a:lnTo>
                <a:close/>
                <a:moveTo>
                  <a:pt x="4307612" y="5504220"/>
                </a:moveTo>
                <a:lnTo>
                  <a:pt x="4317523" y="5504220"/>
                </a:lnTo>
                <a:lnTo>
                  <a:pt x="4321543" y="5508258"/>
                </a:lnTo>
                <a:lnTo>
                  <a:pt x="4321543" y="5518129"/>
                </a:lnTo>
                <a:lnTo>
                  <a:pt x="4317523" y="5522168"/>
                </a:lnTo>
                <a:lnTo>
                  <a:pt x="4307612" y="5522168"/>
                </a:lnTo>
                <a:lnTo>
                  <a:pt x="4303595" y="5518129"/>
                </a:lnTo>
                <a:lnTo>
                  <a:pt x="4303595" y="5508258"/>
                </a:lnTo>
                <a:close/>
                <a:moveTo>
                  <a:pt x="4068297" y="5504220"/>
                </a:moveTo>
                <a:lnTo>
                  <a:pt x="4078210" y="5504220"/>
                </a:lnTo>
                <a:lnTo>
                  <a:pt x="4082229" y="5508258"/>
                </a:lnTo>
                <a:lnTo>
                  <a:pt x="4082229" y="5518129"/>
                </a:lnTo>
                <a:lnTo>
                  <a:pt x="4078210" y="5522168"/>
                </a:lnTo>
                <a:lnTo>
                  <a:pt x="4068297" y="5522168"/>
                </a:lnTo>
                <a:lnTo>
                  <a:pt x="4064278" y="5518129"/>
                </a:lnTo>
                <a:lnTo>
                  <a:pt x="4064278" y="5508258"/>
                </a:lnTo>
                <a:close/>
                <a:moveTo>
                  <a:pt x="3828990" y="5504220"/>
                </a:moveTo>
                <a:lnTo>
                  <a:pt x="3838899" y="5504220"/>
                </a:lnTo>
                <a:lnTo>
                  <a:pt x="3842917" y="5508258"/>
                </a:lnTo>
                <a:lnTo>
                  <a:pt x="3842917" y="5518129"/>
                </a:lnTo>
                <a:lnTo>
                  <a:pt x="3838899" y="5522168"/>
                </a:lnTo>
                <a:lnTo>
                  <a:pt x="3828990" y="5522168"/>
                </a:lnTo>
                <a:lnTo>
                  <a:pt x="3824971" y="5518129"/>
                </a:lnTo>
                <a:lnTo>
                  <a:pt x="3824971" y="5508258"/>
                </a:lnTo>
                <a:close/>
                <a:moveTo>
                  <a:pt x="3589676" y="5504220"/>
                </a:moveTo>
                <a:lnTo>
                  <a:pt x="3599585" y="5504220"/>
                </a:lnTo>
                <a:lnTo>
                  <a:pt x="3603604" y="5508258"/>
                </a:lnTo>
                <a:lnTo>
                  <a:pt x="3603604" y="5518129"/>
                </a:lnTo>
                <a:lnTo>
                  <a:pt x="3599585" y="5522168"/>
                </a:lnTo>
                <a:lnTo>
                  <a:pt x="3589676" y="5522168"/>
                </a:lnTo>
                <a:lnTo>
                  <a:pt x="3585657" y="5518129"/>
                </a:lnTo>
                <a:lnTo>
                  <a:pt x="3585657" y="5508258"/>
                </a:lnTo>
                <a:close/>
                <a:moveTo>
                  <a:pt x="3350359" y="5504220"/>
                </a:moveTo>
                <a:lnTo>
                  <a:pt x="3360268" y="5504220"/>
                </a:lnTo>
                <a:lnTo>
                  <a:pt x="3364287" y="5508258"/>
                </a:lnTo>
                <a:lnTo>
                  <a:pt x="3364287" y="5518129"/>
                </a:lnTo>
                <a:lnTo>
                  <a:pt x="3360268" y="5522168"/>
                </a:lnTo>
                <a:lnTo>
                  <a:pt x="3350359" y="5522168"/>
                </a:lnTo>
                <a:lnTo>
                  <a:pt x="3346340" y="5518129"/>
                </a:lnTo>
                <a:lnTo>
                  <a:pt x="3346340" y="5508258"/>
                </a:lnTo>
                <a:close/>
                <a:moveTo>
                  <a:pt x="3111048" y="5504220"/>
                </a:moveTo>
                <a:lnTo>
                  <a:pt x="3120959" y="5504220"/>
                </a:lnTo>
                <a:lnTo>
                  <a:pt x="3124977" y="5508258"/>
                </a:lnTo>
                <a:lnTo>
                  <a:pt x="3124977" y="5518129"/>
                </a:lnTo>
                <a:lnTo>
                  <a:pt x="3120959" y="5522168"/>
                </a:lnTo>
                <a:lnTo>
                  <a:pt x="3111048" y="5522168"/>
                </a:lnTo>
                <a:lnTo>
                  <a:pt x="3107029" y="5518129"/>
                </a:lnTo>
                <a:lnTo>
                  <a:pt x="3107029" y="5508258"/>
                </a:lnTo>
                <a:close/>
                <a:moveTo>
                  <a:pt x="2871737" y="5504220"/>
                </a:moveTo>
                <a:lnTo>
                  <a:pt x="2881646" y="5504220"/>
                </a:lnTo>
                <a:lnTo>
                  <a:pt x="2885666" y="5508258"/>
                </a:lnTo>
                <a:lnTo>
                  <a:pt x="2885666" y="5518129"/>
                </a:lnTo>
                <a:lnTo>
                  <a:pt x="2881646" y="5522168"/>
                </a:lnTo>
                <a:lnTo>
                  <a:pt x="2871737" y="5522168"/>
                </a:lnTo>
                <a:lnTo>
                  <a:pt x="2867717" y="5518129"/>
                </a:lnTo>
                <a:lnTo>
                  <a:pt x="2867717" y="5508258"/>
                </a:lnTo>
                <a:close/>
                <a:moveTo>
                  <a:pt x="2632423" y="5504220"/>
                </a:moveTo>
                <a:lnTo>
                  <a:pt x="2642334" y="5504220"/>
                </a:lnTo>
                <a:lnTo>
                  <a:pt x="2646352" y="5508258"/>
                </a:lnTo>
                <a:lnTo>
                  <a:pt x="2646352" y="5518129"/>
                </a:lnTo>
                <a:lnTo>
                  <a:pt x="2642334" y="5522168"/>
                </a:lnTo>
                <a:lnTo>
                  <a:pt x="2632423" y="5522168"/>
                </a:lnTo>
                <a:lnTo>
                  <a:pt x="2628404" y="5518129"/>
                </a:lnTo>
                <a:lnTo>
                  <a:pt x="2628404" y="5508258"/>
                </a:lnTo>
                <a:close/>
                <a:moveTo>
                  <a:pt x="2393104" y="5504220"/>
                </a:moveTo>
                <a:lnTo>
                  <a:pt x="2403015" y="5504220"/>
                </a:lnTo>
                <a:lnTo>
                  <a:pt x="2407034" y="5508258"/>
                </a:lnTo>
                <a:lnTo>
                  <a:pt x="2407034" y="5518129"/>
                </a:lnTo>
                <a:lnTo>
                  <a:pt x="2403015" y="5522168"/>
                </a:lnTo>
                <a:lnTo>
                  <a:pt x="2393104" y="5522168"/>
                </a:lnTo>
                <a:lnTo>
                  <a:pt x="2389087" y="5518129"/>
                </a:lnTo>
                <a:lnTo>
                  <a:pt x="2389087" y="5508258"/>
                </a:lnTo>
                <a:close/>
                <a:moveTo>
                  <a:pt x="2157818" y="5504220"/>
                </a:moveTo>
                <a:lnTo>
                  <a:pt x="2167728" y="5504220"/>
                </a:lnTo>
                <a:lnTo>
                  <a:pt x="2171748" y="5508258"/>
                </a:lnTo>
                <a:lnTo>
                  <a:pt x="2171748" y="5518129"/>
                </a:lnTo>
                <a:lnTo>
                  <a:pt x="2167728" y="5522168"/>
                </a:lnTo>
                <a:lnTo>
                  <a:pt x="2157818" y="5522168"/>
                </a:lnTo>
                <a:lnTo>
                  <a:pt x="2153799" y="5518129"/>
                </a:lnTo>
                <a:lnTo>
                  <a:pt x="2153799" y="5508258"/>
                </a:lnTo>
                <a:close/>
                <a:moveTo>
                  <a:pt x="1918510" y="5504220"/>
                </a:moveTo>
                <a:lnTo>
                  <a:pt x="1928420" y="5504220"/>
                </a:lnTo>
                <a:lnTo>
                  <a:pt x="1932438" y="5508258"/>
                </a:lnTo>
                <a:lnTo>
                  <a:pt x="1932438" y="5518129"/>
                </a:lnTo>
                <a:lnTo>
                  <a:pt x="1928420" y="5522168"/>
                </a:lnTo>
                <a:lnTo>
                  <a:pt x="1918510" y="5522168"/>
                </a:lnTo>
                <a:lnTo>
                  <a:pt x="1914490" y="5518129"/>
                </a:lnTo>
                <a:lnTo>
                  <a:pt x="1914490" y="5508258"/>
                </a:lnTo>
                <a:close/>
                <a:moveTo>
                  <a:pt x="1679202" y="5504220"/>
                </a:moveTo>
                <a:lnTo>
                  <a:pt x="1689112" y="5504220"/>
                </a:lnTo>
                <a:lnTo>
                  <a:pt x="1693132" y="5508258"/>
                </a:lnTo>
                <a:lnTo>
                  <a:pt x="1693132" y="5518129"/>
                </a:lnTo>
                <a:lnTo>
                  <a:pt x="1689112" y="5522168"/>
                </a:lnTo>
                <a:lnTo>
                  <a:pt x="1679202" y="5522168"/>
                </a:lnTo>
                <a:lnTo>
                  <a:pt x="1675184" y="5518129"/>
                </a:lnTo>
                <a:lnTo>
                  <a:pt x="1675184" y="5508258"/>
                </a:lnTo>
                <a:close/>
                <a:moveTo>
                  <a:pt x="1439887" y="5504220"/>
                </a:moveTo>
                <a:lnTo>
                  <a:pt x="1449797" y="5504220"/>
                </a:lnTo>
                <a:lnTo>
                  <a:pt x="1453815" y="5508258"/>
                </a:lnTo>
                <a:lnTo>
                  <a:pt x="1453815" y="5518129"/>
                </a:lnTo>
                <a:lnTo>
                  <a:pt x="1449797" y="5522168"/>
                </a:lnTo>
                <a:lnTo>
                  <a:pt x="1439887" y="5522168"/>
                </a:lnTo>
                <a:lnTo>
                  <a:pt x="1435869" y="5518129"/>
                </a:lnTo>
                <a:lnTo>
                  <a:pt x="1435869" y="5508258"/>
                </a:lnTo>
                <a:close/>
                <a:moveTo>
                  <a:pt x="1200572" y="5504220"/>
                </a:moveTo>
                <a:lnTo>
                  <a:pt x="1210483" y="5504220"/>
                </a:lnTo>
                <a:lnTo>
                  <a:pt x="1214501" y="5508258"/>
                </a:lnTo>
                <a:lnTo>
                  <a:pt x="1214501" y="5518129"/>
                </a:lnTo>
                <a:lnTo>
                  <a:pt x="1210483" y="5522168"/>
                </a:lnTo>
                <a:lnTo>
                  <a:pt x="1200572" y="5522168"/>
                </a:lnTo>
                <a:lnTo>
                  <a:pt x="1196554" y="5518129"/>
                </a:lnTo>
                <a:lnTo>
                  <a:pt x="1196554" y="5508258"/>
                </a:lnTo>
                <a:close/>
                <a:moveTo>
                  <a:pt x="961260" y="5504220"/>
                </a:moveTo>
                <a:lnTo>
                  <a:pt x="971169" y="5504220"/>
                </a:lnTo>
                <a:lnTo>
                  <a:pt x="975189" y="5508258"/>
                </a:lnTo>
                <a:lnTo>
                  <a:pt x="975189" y="5518129"/>
                </a:lnTo>
                <a:lnTo>
                  <a:pt x="971169" y="5522168"/>
                </a:lnTo>
                <a:lnTo>
                  <a:pt x="961260" y="5522168"/>
                </a:lnTo>
                <a:lnTo>
                  <a:pt x="957241" y="5518129"/>
                </a:lnTo>
                <a:lnTo>
                  <a:pt x="957241" y="5508258"/>
                </a:lnTo>
                <a:close/>
                <a:moveTo>
                  <a:pt x="721961" y="5504220"/>
                </a:moveTo>
                <a:lnTo>
                  <a:pt x="731871" y="5504220"/>
                </a:lnTo>
                <a:lnTo>
                  <a:pt x="735890" y="5508258"/>
                </a:lnTo>
                <a:lnTo>
                  <a:pt x="735890" y="5518129"/>
                </a:lnTo>
                <a:lnTo>
                  <a:pt x="731871" y="5522168"/>
                </a:lnTo>
                <a:lnTo>
                  <a:pt x="721961" y="5522168"/>
                </a:lnTo>
                <a:lnTo>
                  <a:pt x="717942" y="5518129"/>
                </a:lnTo>
                <a:lnTo>
                  <a:pt x="717942" y="5508258"/>
                </a:lnTo>
                <a:close/>
                <a:moveTo>
                  <a:pt x="482649" y="5504220"/>
                </a:moveTo>
                <a:lnTo>
                  <a:pt x="492559" y="5504220"/>
                </a:lnTo>
                <a:lnTo>
                  <a:pt x="496578" y="5508258"/>
                </a:lnTo>
                <a:lnTo>
                  <a:pt x="496578" y="5518129"/>
                </a:lnTo>
                <a:lnTo>
                  <a:pt x="492559" y="5522168"/>
                </a:lnTo>
                <a:lnTo>
                  <a:pt x="482649" y="5522168"/>
                </a:lnTo>
                <a:lnTo>
                  <a:pt x="478630" y="5518129"/>
                </a:lnTo>
                <a:lnTo>
                  <a:pt x="478630" y="5508258"/>
                </a:lnTo>
                <a:close/>
                <a:moveTo>
                  <a:pt x="243335" y="5504220"/>
                </a:moveTo>
                <a:lnTo>
                  <a:pt x="253245" y="5504220"/>
                </a:lnTo>
                <a:lnTo>
                  <a:pt x="257264" y="5508258"/>
                </a:lnTo>
                <a:lnTo>
                  <a:pt x="257264" y="5518129"/>
                </a:lnTo>
                <a:lnTo>
                  <a:pt x="253245" y="5522168"/>
                </a:lnTo>
                <a:lnTo>
                  <a:pt x="243335" y="5522168"/>
                </a:lnTo>
                <a:lnTo>
                  <a:pt x="239316" y="5518129"/>
                </a:lnTo>
                <a:lnTo>
                  <a:pt x="239316" y="5508258"/>
                </a:lnTo>
                <a:close/>
                <a:moveTo>
                  <a:pt x="4022" y="5504220"/>
                </a:moveTo>
                <a:lnTo>
                  <a:pt x="13932" y="5504220"/>
                </a:lnTo>
                <a:lnTo>
                  <a:pt x="17951" y="5508258"/>
                </a:lnTo>
                <a:lnTo>
                  <a:pt x="17951" y="5518129"/>
                </a:lnTo>
                <a:lnTo>
                  <a:pt x="13932" y="5522168"/>
                </a:lnTo>
                <a:lnTo>
                  <a:pt x="4022" y="5522168"/>
                </a:lnTo>
                <a:lnTo>
                  <a:pt x="3" y="5518129"/>
                </a:lnTo>
                <a:lnTo>
                  <a:pt x="3" y="5508258"/>
                </a:lnTo>
                <a:close/>
                <a:moveTo>
                  <a:pt x="2157818" y="5264940"/>
                </a:moveTo>
                <a:lnTo>
                  <a:pt x="2167729" y="5264940"/>
                </a:lnTo>
                <a:lnTo>
                  <a:pt x="2171748" y="5268978"/>
                </a:lnTo>
                <a:lnTo>
                  <a:pt x="2171748" y="5278849"/>
                </a:lnTo>
                <a:lnTo>
                  <a:pt x="2167729" y="5282888"/>
                </a:lnTo>
                <a:lnTo>
                  <a:pt x="2157818" y="5282888"/>
                </a:lnTo>
                <a:lnTo>
                  <a:pt x="2153799" y="5278849"/>
                </a:lnTo>
                <a:lnTo>
                  <a:pt x="2153799" y="5268978"/>
                </a:lnTo>
                <a:close/>
                <a:moveTo>
                  <a:pt x="1918510" y="5264940"/>
                </a:moveTo>
                <a:lnTo>
                  <a:pt x="1928420" y="5264940"/>
                </a:lnTo>
                <a:lnTo>
                  <a:pt x="1932438" y="5268978"/>
                </a:lnTo>
                <a:lnTo>
                  <a:pt x="1932438" y="5278849"/>
                </a:lnTo>
                <a:lnTo>
                  <a:pt x="1928420" y="5282888"/>
                </a:lnTo>
                <a:lnTo>
                  <a:pt x="1918510" y="5282888"/>
                </a:lnTo>
                <a:lnTo>
                  <a:pt x="1914492" y="5278849"/>
                </a:lnTo>
                <a:lnTo>
                  <a:pt x="1914492" y="5268978"/>
                </a:lnTo>
                <a:close/>
                <a:moveTo>
                  <a:pt x="1679204" y="5264940"/>
                </a:moveTo>
                <a:lnTo>
                  <a:pt x="1689113" y="5264940"/>
                </a:lnTo>
                <a:lnTo>
                  <a:pt x="1693132" y="5268978"/>
                </a:lnTo>
                <a:lnTo>
                  <a:pt x="1693132" y="5278849"/>
                </a:lnTo>
                <a:lnTo>
                  <a:pt x="1689113" y="5282888"/>
                </a:lnTo>
                <a:lnTo>
                  <a:pt x="1679204" y="5282888"/>
                </a:lnTo>
                <a:lnTo>
                  <a:pt x="1675184" y="5278849"/>
                </a:lnTo>
                <a:lnTo>
                  <a:pt x="1675184" y="5268978"/>
                </a:lnTo>
                <a:close/>
                <a:moveTo>
                  <a:pt x="1439889" y="5264940"/>
                </a:moveTo>
                <a:lnTo>
                  <a:pt x="1449798" y="5264940"/>
                </a:lnTo>
                <a:lnTo>
                  <a:pt x="1453817" y="5268978"/>
                </a:lnTo>
                <a:lnTo>
                  <a:pt x="1453817" y="5278849"/>
                </a:lnTo>
                <a:lnTo>
                  <a:pt x="1449798" y="5282888"/>
                </a:lnTo>
                <a:lnTo>
                  <a:pt x="1439889" y="5282888"/>
                </a:lnTo>
                <a:lnTo>
                  <a:pt x="1435869" y="5278849"/>
                </a:lnTo>
                <a:lnTo>
                  <a:pt x="1435869" y="5268978"/>
                </a:lnTo>
                <a:close/>
                <a:moveTo>
                  <a:pt x="1200573" y="5264940"/>
                </a:moveTo>
                <a:lnTo>
                  <a:pt x="1210483" y="5264940"/>
                </a:lnTo>
                <a:lnTo>
                  <a:pt x="1214502" y="5268978"/>
                </a:lnTo>
                <a:lnTo>
                  <a:pt x="1214502" y="5278849"/>
                </a:lnTo>
                <a:lnTo>
                  <a:pt x="1210483" y="5282888"/>
                </a:lnTo>
                <a:lnTo>
                  <a:pt x="1200573" y="5282888"/>
                </a:lnTo>
                <a:lnTo>
                  <a:pt x="1196554" y="5278849"/>
                </a:lnTo>
                <a:lnTo>
                  <a:pt x="1196554" y="5268978"/>
                </a:lnTo>
                <a:close/>
                <a:moveTo>
                  <a:pt x="961260" y="5264940"/>
                </a:moveTo>
                <a:lnTo>
                  <a:pt x="971171" y="5264940"/>
                </a:lnTo>
                <a:lnTo>
                  <a:pt x="975189" y="5268978"/>
                </a:lnTo>
                <a:lnTo>
                  <a:pt x="975189" y="5278849"/>
                </a:lnTo>
                <a:lnTo>
                  <a:pt x="971171" y="5282888"/>
                </a:lnTo>
                <a:lnTo>
                  <a:pt x="961260" y="5282888"/>
                </a:lnTo>
                <a:lnTo>
                  <a:pt x="957241" y="5278849"/>
                </a:lnTo>
                <a:lnTo>
                  <a:pt x="957241" y="5268978"/>
                </a:lnTo>
                <a:close/>
                <a:moveTo>
                  <a:pt x="9572438" y="5264889"/>
                </a:moveTo>
                <a:lnTo>
                  <a:pt x="9582349" y="5264889"/>
                </a:lnTo>
                <a:lnTo>
                  <a:pt x="9586368" y="5268928"/>
                </a:lnTo>
                <a:lnTo>
                  <a:pt x="9586368" y="5278799"/>
                </a:lnTo>
                <a:lnTo>
                  <a:pt x="9582349" y="5282838"/>
                </a:lnTo>
                <a:lnTo>
                  <a:pt x="9572438" y="5282838"/>
                </a:lnTo>
                <a:lnTo>
                  <a:pt x="9568419" y="5278799"/>
                </a:lnTo>
                <a:lnTo>
                  <a:pt x="9568419" y="5268928"/>
                </a:lnTo>
                <a:close/>
                <a:moveTo>
                  <a:pt x="9333125" y="5264889"/>
                </a:moveTo>
                <a:lnTo>
                  <a:pt x="9343036" y="5264889"/>
                </a:lnTo>
                <a:lnTo>
                  <a:pt x="9347055" y="5268928"/>
                </a:lnTo>
                <a:lnTo>
                  <a:pt x="9347055" y="5278799"/>
                </a:lnTo>
                <a:lnTo>
                  <a:pt x="9343036" y="5282838"/>
                </a:lnTo>
                <a:lnTo>
                  <a:pt x="9333125" y="5282838"/>
                </a:lnTo>
                <a:lnTo>
                  <a:pt x="9329106" y="5278799"/>
                </a:lnTo>
                <a:lnTo>
                  <a:pt x="9329106" y="5268928"/>
                </a:lnTo>
                <a:close/>
                <a:moveTo>
                  <a:pt x="9093811" y="5264889"/>
                </a:moveTo>
                <a:lnTo>
                  <a:pt x="9103722" y="5264889"/>
                </a:lnTo>
                <a:lnTo>
                  <a:pt x="9107741" y="5268928"/>
                </a:lnTo>
                <a:lnTo>
                  <a:pt x="9107741" y="5278799"/>
                </a:lnTo>
                <a:lnTo>
                  <a:pt x="9103722" y="5282838"/>
                </a:lnTo>
                <a:lnTo>
                  <a:pt x="9093811" y="5282838"/>
                </a:lnTo>
                <a:lnTo>
                  <a:pt x="9089792" y="5278799"/>
                </a:lnTo>
                <a:lnTo>
                  <a:pt x="9089792" y="5268928"/>
                </a:lnTo>
                <a:close/>
                <a:moveTo>
                  <a:pt x="8854496" y="5264889"/>
                </a:moveTo>
                <a:lnTo>
                  <a:pt x="8864407" y="5264889"/>
                </a:lnTo>
                <a:lnTo>
                  <a:pt x="8868426" y="5268928"/>
                </a:lnTo>
                <a:lnTo>
                  <a:pt x="8868426" y="5278799"/>
                </a:lnTo>
                <a:lnTo>
                  <a:pt x="8864407" y="5282838"/>
                </a:lnTo>
                <a:lnTo>
                  <a:pt x="8854496" y="5282838"/>
                </a:lnTo>
                <a:lnTo>
                  <a:pt x="8850477" y="5278799"/>
                </a:lnTo>
                <a:lnTo>
                  <a:pt x="8850477" y="5268928"/>
                </a:lnTo>
                <a:close/>
                <a:moveTo>
                  <a:pt x="8615184" y="5264889"/>
                </a:moveTo>
                <a:lnTo>
                  <a:pt x="8625095" y="5264889"/>
                </a:lnTo>
                <a:lnTo>
                  <a:pt x="8629114" y="5268928"/>
                </a:lnTo>
                <a:lnTo>
                  <a:pt x="8629114" y="5278799"/>
                </a:lnTo>
                <a:lnTo>
                  <a:pt x="8625095" y="5282838"/>
                </a:lnTo>
                <a:lnTo>
                  <a:pt x="8615184" y="5282838"/>
                </a:lnTo>
                <a:lnTo>
                  <a:pt x="8611165" y="5278799"/>
                </a:lnTo>
                <a:lnTo>
                  <a:pt x="8611165" y="5268928"/>
                </a:lnTo>
                <a:close/>
                <a:moveTo>
                  <a:pt x="8375869" y="5264889"/>
                </a:moveTo>
                <a:lnTo>
                  <a:pt x="8385779" y="5264889"/>
                </a:lnTo>
                <a:lnTo>
                  <a:pt x="8389799" y="5268928"/>
                </a:lnTo>
                <a:lnTo>
                  <a:pt x="8389799" y="5278799"/>
                </a:lnTo>
                <a:lnTo>
                  <a:pt x="8385779" y="5282838"/>
                </a:lnTo>
                <a:lnTo>
                  <a:pt x="8375869" y="5282838"/>
                </a:lnTo>
                <a:lnTo>
                  <a:pt x="8371850" y="5278799"/>
                </a:lnTo>
                <a:lnTo>
                  <a:pt x="8371850" y="5268928"/>
                </a:lnTo>
                <a:close/>
                <a:moveTo>
                  <a:pt x="8136553" y="5264889"/>
                </a:moveTo>
                <a:lnTo>
                  <a:pt x="8146464" y="5264889"/>
                </a:lnTo>
                <a:lnTo>
                  <a:pt x="8150483" y="5268928"/>
                </a:lnTo>
                <a:lnTo>
                  <a:pt x="8150483" y="5278799"/>
                </a:lnTo>
                <a:lnTo>
                  <a:pt x="8146464" y="5282838"/>
                </a:lnTo>
                <a:lnTo>
                  <a:pt x="8136553" y="5282838"/>
                </a:lnTo>
                <a:lnTo>
                  <a:pt x="8132534" y="5278799"/>
                </a:lnTo>
                <a:lnTo>
                  <a:pt x="8132534" y="5268928"/>
                </a:lnTo>
                <a:close/>
                <a:moveTo>
                  <a:pt x="7897241" y="5264889"/>
                </a:moveTo>
                <a:lnTo>
                  <a:pt x="7907151" y="5264889"/>
                </a:lnTo>
                <a:lnTo>
                  <a:pt x="7911170" y="5268928"/>
                </a:lnTo>
                <a:lnTo>
                  <a:pt x="7911170" y="5278799"/>
                </a:lnTo>
                <a:lnTo>
                  <a:pt x="7907151" y="5282838"/>
                </a:lnTo>
                <a:lnTo>
                  <a:pt x="7897241" y="5282838"/>
                </a:lnTo>
                <a:lnTo>
                  <a:pt x="7893222" y="5278799"/>
                </a:lnTo>
                <a:lnTo>
                  <a:pt x="7893222" y="5268928"/>
                </a:lnTo>
                <a:close/>
                <a:moveTo>
                  <a:pt x="7657926" y="5264889"/>
                </a:moveTo>
                <a:lnTo>
                  <a:pt x="7667836" y="5264889"/>
                </a:lnTo>
                <a:lnTo>
                  <a:pt x="7671855" y="5268928"/>
                </a:lnTo>
                <a:lnTo>
                  <a:pt x="7671855" y="5278799"/>
                </a:lnTo>
                <a:lnTo>
                  <a:pt x="7667836" y="5282838"/>
                </a:lnTo>
                <a:lnTo>
                  <a:pt x="7657926" y="5282838"/>
                </a:lnTo>
                <a:lnTo>
                  <a:pt x="7653906" y="5278799"/>
                </a:lnTo>
                <a:lnTo>
                  <a:pt x="7653906" y="5268928"/>
                </a:lnTo>
                <a:close/>
                <a:moveTo>
                  <a:pt x="7418611" y="5264889"/>
                </a:moveTo>
                <a:lnTo>
                  <a:pt x="7428521" y="5264889"/>
                </a:lnTo>
                <a:lnTo>
                  <a:pt x="7432540" y="5268928"/>
                </a:lnTo>
                <a:lnTo>
                  <a:pt x="7432540" y="5278799"/>
                </a:lnTo>
                <a:lnTo>
                  <a:pt x="7428521" y="5282838"/>
                </a:lnTo>
                <a:lnTo>
                  <a:pt x="7418611" y="5282838"/>
                </a:lnTo>
                <a:lnTo>
                  <a:pt x="7414592" y="5278799"/>
                </a:lnTo>
                <a:lnTo>
                  <a:pt x="7414592" y="5268928"/>
                </a:lnTo>
                <a:close/>
                <a:moveTo>
                  <a:pt x="7179298" y="5264889"/>
                </a:moveTo>
                <a:lnTo>
                  <a:pt x="7189209" y="5264889"/>
                </a:lnTo>
                <a:lnTo>
                  <a:pt x="7193228" y="5268928"/>
                </a:lnTo>
                <a:lnTo>
                  <a:pt x="7193228" y="5278799"/>
                </a:lnTo>
                <a:lnTo>
                  <a:pt x="7189209" y="5282838"/>
                </a:lnTo>
                <a:lnTo>
                  <a:pt x="7179298" y="5282838"/>
                </a:lnTo>
                <a:lnTo>
                  <a:pt x="7175279" y="5278799"/>
                </a:lnTo>
                <a:lnTo>
                  <a:pt x="7175279" y="5268928"/>
                </a:lnTo>
                <a:close/>
                <a:moveTo>
                  <a:pt x="6939983" y="5264889"/>
                </a:moveTo>
                <a:lnTo>
                  <a:pt x="6949894" y="5264889"/>
                </a:lnTo>
                <a:lnTo>
                  <a:pt x="6953913" y="5268928"/>
                </a:lnTo>
                <a:lnTo>
                  <a:pt x="6953913" y="5278799"/>
                </a:lnTo>
                <a:lnTo>
                  <a:pt x="6949894" y="5282838"/>
                </a:lnTo>
                <a:lnTo>
                  <a:pt x="6939983" y="5282838"/>
                </a:lnTo>
                <a:lnTo>
                  <a:pt x="6935964" y="5278799"/>
                </a:lnTo>
                <a:lnTo>
                  <a:pt x="6935964" y="5268928"/>
                </a:lnTo>
                <a:close/>
                <a:moveTo>
                  <a:pt x="6700670" y="5264889"/>
                </a:moveTo>
                <a:lnTo>
                  <a:pt x="6710581" y="5264889"/>
                </a:lnTo>
                <a:lnTo>
                  <a:pt x="6714600" y="5268928"/>
                </a:lnTo>
                <a:lnTo>
                  <a:pt x="6714600" y="5278799"/>
                </a:lnTo>
                <a:lnTo>
                  <a:pt x="6710581" y="5282838"/>
                </a:lnTo>
                <a:lnTo>
                  <a:pt x="6700670" y="5282838"/>
                </a:lnTo>
                <a:lnTo>
                  <a:pt x="6696651" y="5278799"/>
                </a:lnTo>
                <a:lnTo>
                  <a:pt x="6696651" y="5268928"/>
                </a:lnTo>
                <a:close/>
                <a:moveTo>
                  <a:pt x="6461356" y="5264889"/>
                </a:moveTo>
                <a:lnTo>
                  <a:pt x="6471266" y="5264889"/>
                </a:lnTo>
                <a:lnTo>
                  <a:pt x="6475285" y="5268928"/>
                </a:lnTo>
                <a:lnTo>
                  <a:pt x="6475285" y="5278799"/>
                </a:lnTo>
                <a:lnTo>
                  <a:pt x="6471266" y="5282838"/>
                </a:lnTo>
                <a:lnTo>
                  <a:pt x="6461356" y="5282838"/>
                </a:lnTo>
                <a:lnTo>
                  <a:pt x="6457337" y="5278799"/>
                </a:lnTo>
                <a:lnTo>
                  <a:pt x="6457337" y="5268928"/>
                </a:lnTo>
                <a:close/>
                <a:moveTo>
                  <a:pt x="6222042" y="5264889"/>
                </a:moveTo>
                <a:lnTo>
                  <a:pt x="6231952" y="5264889"/>
                </a:lnTo>
                <a:lnTo>
                  <a:pt x="6235971" y="5268928"/>
                </a:lnTo>
                <a:lnTo>
                  <a:pt x="6235971" y="5278799"/>
                </a:lnTo>
                <a:lnTo>
                  <a:pt x="6231952" y="5282838"/>
                </a:lnTo>
                <a:lnTo>
                  <a:pt x="6222042" y="5282838"/>
                </a:lnTo>
                <a:lnTo>
                  <a:pt x="6218023" y="5278799"/>
                </a:lnTo>
                <a:lnTo>
                  <a:pt x="6218023" y="5268928"/>
                </a:lnTo>
                <a:close/>
                <a:moveTo>
                  <a:pt x="5982729" y="5264889"/>
                </a:moveTo>
                <a:lnTo>
                  <a:pt x="5992639" y="5264889"/>
                </a:lnTo>
                <a:lnTo>
                  <a:pt x="5996658" y="5268928"/>
                </a:lnTo>
                <a:lnTo>
                  <a:pt x="5996658" y="5278799"/>
                </a:lnTo>
                <a:lnTo>
                  <a:pt x="5992639" y="5282838"/>
                </a:lnTo>
                <a:lnTo>
                  <a:pt x="5982729" y="5282838"/>
                </a:lnTo>
                <a:lnTo>
                  <a:pt x="5978710" y="5278799"/>
                </a:lnTo>
                <a:lnTo>
                  <a:pt x="5978710" y="5268928"/>
                </a:lnTo>
                <a:close/>
                <a:moveTo>
                  <a:pt x="5743412" y="5264889"/>
                </a:moveTo>
                <a:lnTo>
                  <a:pt x="5753323" y="5264889"/>
                </a:lnTo>
                <a:lnTo>
                  <a:pt x="5757342" y="5268928"/>
                </a:lnTo>
                <a:lnTo>
                  <a:pt x="5757342" y="5278799"/>
                </a:lnTo>
                <a:lnTo>
                  <a:pt x="5753323" y="5282838"/>
                </a:lnTo>
                <a:lnTo>
                  <a:pt x="5743412" y="5282838"/>
                </a:lnTo>
                <a:lnTo>
                  <a:pt x="5739393" y="5278799"/>
                </a:lnTo>
                <a:lnTo>
                  <a:pt x="5739393" y="5268928"/>
                </a:lnTo>
                <a:close/>
                <a:moveTo>
                  <a:pt x="5504099" y="5264889"/>
                </a:moveTo>
                <a:lnTo>
                  <a:pt x="5514010" y="5264889"/>
                </a:lnTo>
                <a:lnTo>
                  <a:pt x="5518029" y="5268928"/>
                </a:lnTo>
                <a:lnTo>
                  <a:pt x="5518029" y="5278799"/>
                </a:lnTo>
                <a:lnTo>
                  <a:pt x="5514010" y="5282838"/>
                </a:lnTo>
                <a:lnTo>
                  <a:pt x="5504099" y="5282838"/>
                </a:lnTo>
                <a:lnTo>
                  <a:pt x="5500080" y="5278799"/>
                </a:lnTo>
                <a:lnTo>
                  <a:pt x="5500080" y="5268928"/>
                </a:lnTo>
                <a:close/>
                <a:moveTo>
                  <a:pt x="5264784" y="5264889"/>
                </a:moveTo>
                <a:lnTo>
                  <a:pt x="5274694" y="5264889"/>
                </a:lnTo>
                <a:lnTo>
                  <a:pt x="5278713" y="5268928"/>
                </a:lnTo>
                <a:lnTo>
                  <a:pt x="5278713" y="5278799"/>
                </a:lnTo>
                <a:lnTo>
                  <a:pt x="5274694" y="5282838"/>
                </a:lnTo>
                <a:lnTo>
                  <a:pt x="5264784" y="5282838"/>
                </a:lnTo>
                <a:lnTo>
                  <a:pt x="5260765" y="5278799"/>
                </a:lnTo>
                <a:lnTo>
                  <a:pt x="5260765" y="5268928"/>
                </a:lnTo>
                <a:close/>
                <a:moveTo>
                  <a:pt x="5025470" y="5264889"/>
                </a:moveTo>
                <a:lnTo>
                  <a:pt x="5035381" y="5264889"/>
                </a:lnTo>
                <a:lnTo>
                  <a:pt x="5039400" y="5268928"/>
                </a:lnTo>
                <a:lnTo>
                  <a:pt x="5039400" y="5278799"/>
                </a:lnTo>
                <a:lnTo>
                  <a:pt x="5035381" y="5282838"/>
                </a:lnTo>
                <a:lnTo>
                  <a:pt x="5025470" y="5282838"/>
                </a:lnTo>
                <a:lnTo>
                  <a:pt x="5021451" y="5278799"/>
                </a:lnTo>
                <a:lnTo>
                  <a:pt x="5021451" y="5268928"/>
                </a:lnTo>
                <a:close/>
                <a:moveTo>
                  <a:pt x="4786241" y="5264889"/>
                </a:moveTo>
                <a:lnTo>
                  <a:pt x="4796152" y="5264889"/>
                </a:lnTo>
                <a:lnTo>
                  <a:pt x="4800171" y="5268928"/>
                </a:lnTo>
                <a:lnTo>
                  <a:pt x="4800171" y="5278799"/>
                </a:lnTo>
                <a:lnTo>
                  <a:pt x="4796152" y="5282838"/>
                </a:lnTo>
                <a:lnTo>
                  <a:pt x="4786241" y="5282838"/>
                </a:lnTo>
                <a:lnTo>
                  <a:pt x="4782224" y="5278799"/>
                </a:lnTo>
                <a:lnTo>
                  <a:pt x="4782224" y="5268928"/>
                </a:lnTo>
                <a:close/>
                <a:moveTo>
                  <a:pt x="4546929" y="5264889"/>
                </a:moveTo>
                <a:lnTo>
                  <a:pt x="4556840" y="5264889"/>
                </a:lnTo>
                <a:lnTo>
                  <a:pt x="4560859" y="5268928"/>
                </a:lnTo>
                <a:lnTo>
                  <a:pt x="4560859" y="5278799"/>
                </a:lnTo>
                <a:lnTo>
                  <a:pt x="4556840" y="5282838"/>
                </a:lnTo>
                <a:lnTo>
                  <a:pt x="4546929" y="5282838"/>
                </a:lnTo>
                <a:lnTo>
                  <a:pt x="4542910" y="5278799"/>
                </a:lnTo>
                <a:lnTo>
                  <a:pt x="4542910" y="5268928"/>
                </a:lnTo>
                <a:close/>
                <a:moveTo>
                  <a:pt x="4307612" y="5264889"/>
                </a:moveTo>
                <a:lnTo>
                  <a:pt x="4317523" y="5264889"/>
                </a:lnTo>
                <a:lnTo>
                  <a:pt x="4321543" y="5268928"/>
                </a:lnTo>
                <a:lnTo>
                  <a:pt x="4321543" y="5278799"/>
                </a:lnTo>
                <a:lnTo>
                  <a:pt x="4317523" y="5282838"/>
                </a:lnTo>
                <a:lnTo>
                  <a:pt x="4307612" y="5282838"/>
                </a:lnTo>
                <a:lnTo>
                  <a:pt x="4303595" y="5278799"/>
                </a:lnTo>
                <a:lnTo>
                  <a:pt x="4303595" y="5268928"/>
                </a:lnTo>
                <a:close/>
                <a:moveTo>
                  <a:pt x="4068297" y="5264889"/>
                </a:moveTo>
                <a:lnTo>
                  <a:pt x="4078210" y="5264889"/>
                </a:lnTo>
                <a:lnTo>
                  <a:pt x="4082229" y="5268928"/>
                </a:lnTo>
                <a:lnTo>
                  <a:pt x="4082229" y="5278799"/>
                </a:lnTo>
                <a:lnTo>
                  <a:pt x="4078210" y="5282838"/>
                </a:lnTo>
                <a:lnTo>
                  <a:pt x="4068297" y="5282838"/>
                </a:lnTo>
                <a:lnTo>
                  <a:pt x="4064278" y="5278799"/>
                </a:lnTo>
                <a:lnTo>
                  <a:pt x="4064278" y="5268928"/>
                </a:lnTo>
                <a:close/>
                <a:moveTo>
                  <a:pt x="3828990" y="5264889"/>
                </a:moveTo>
                <a:lnTo>
                  <a:pt x="3838899" y="5264889"/>
                </a:lnTo>
                <a:lnTo>
                  <a:pt x="3842917" y="5268928"/>
                </a:lnTo>
                <a:lnTo>
                  <a:pt x="3842917" y="5278799"/>
                </a:lnTo>
                <a:lnTo>
                  <a:pt x="3838899" y="5282838"/>
                </a:lnTo>
                <a:lnTo>
                  <a:pt x="3828990" y="5282838"/>
                </a:lnTo>
                <a:lnTo>
                  <a:pt x="3824971" y="5278799"/>
                </a:lnTo>
                <a:lnTo>
                  <a:pt x="3824971" y="5268928"/>
                </a:lnTo>
                <a:close/>
                <a:moveTo>
                  <a:pt x="3589676" y="5264889"/>
                </a:moveTo>
                <a:lnTo>
                  <a:pt x="3599585" y="5264889"/>
                </a:lnTo>
                <a:lnTo>
                  <a:pt x="3603604" y="5268928"/>
                </a:lnTo>
                <a:lnTo>
                  <a:pt x="3603604" y="5278799"/>
                </a:lnTo>
                <a:lnTo>
                  <a:pt x="3599585" y="5282838"/>
                </a:lnTo>
                <a:lnTo>
                  <a:pt x="3589676" y="5282838"/>
                </a:lnTo>
                <a:lnTo>
                  <a:pt x="3585657" y="5278799"/>
                </a:lnTo>
                <a:lnTo>
                  <a:pt x="3585657" y="5268928"/>
                </a:lnTo>
                <a:close/>
                <a:moveTo>
                  <a:pt x="3350359" y="5264889"/>
                </a:moveTo>
                <a:lnTo>
                  <a:pt x="3360268" y="5264889"/>
                </a:lnTo>
                <a:lnTo>
                  <a:pt x="3364287" y="5268928"/>
                </a:lnTo>
                <a:lnTo>
                  <a:pt x="3364287" y="5278799"/>
                </a:lnTo>
                <a:lnTo>
                  <a:pt x="3360268" y="5282838"/>
                </a:lnTo>
                <a:lnTo>
                  <a:pt x="3350359" y="5282838"/>
                </a:lnTo>
                <a:lnTo>
                  <a:pt x="3346340" y="5278799"/>
                </a:lnTo>
                <a:lnTo>
                  <a:pt x="3346340" y="5268928"/>
                </a:lnTo>
                <a:close/>
                <a:moveTo>
                  <a:pt x="3111048" y="5264889"/>
                </a:moveTo>
                <a:lnTo>
                  <a:pt x="3120959" y="5264889"/>
                </a:lnTo>
                <a:lnTo>
                  <a:pt x="3124977" y="5268928"/>
                </a:lnTo>
                <a:lnTo>
                  <a:pt x="3124977" y="5278799"/>
                </a:lnTo>
                <a:lnTo>
                  <a:pt x="3120959" y="5282838"/>
                </a:lnTo>
                <a:lnTo>
                  <a:pt x="3111048" y="5282838"/>
                </a:lnTo>
                <a:lnTo>
                  <a:pt x="3107029" y="5278799"/>
                </a:lnTo>
                <a:lnTo>
                  <a:pt x="3107029" y="5268928"/>
                </a:lnTo>
                <a:close/>
                <a:moveTo>
                  <a:pt x="2871737" y="5264889"/>
                </a:moveTo>
                <a:lnTo>
                  <a:pt x="2881646" y="5264889"/>
                </a:lnTo>
                <a:lnTo>
                  <a:pt x="2885666" y="5268928"/>
                </a:lnTo>
                <a:lnTo>
                  <a:pt x="2885666" y="5278799"/>
                </a:lnTo>
                <a:lnTo>
                  <a:pt x="2881646" y="5282838"/>
                </a:lnTo>
                <a:lnTo>
                  <a:pt x="2871737" y="5282838"/>
                </a:lnTo>
                <a:lnTo>
                  <a:pt x="2867717" y="5278799"/>
                </a:lnTo>
                <a:lnTo>
                  <a:pt x="2867717" y="5268928"/>
                </a:lnTo>
                <a:close/>
                <a:moveTo>
                  <a:pt x="2632423" y="5264889"/>
                </a:moveTo>
                <a:lnTo>
                  <a:pt x="2642334" y="5264889"/>
                </a:lnTo>
                <a:lnTo>
                  <a:pt x="2646352" y="5268928"/>
                </a:lnTo>
                <a:lnTo>
                  <a:pt x="2646352" y="5278799"/>
                </a:lnTo>
                <a:lnTo>
                  <a:pt x="2642334" y="5282838"/>
                </a:lnTo>
                <a:lnTo>
                  <a:pt x="2632423" y="5282838"/>
                </a:lnTo>
                <a:lnTo>
                  <a:pt x="2628404" y="5278799"/>
                </a:lnTo>
                <a:lnTo>
                  <a:pt x="2628404" y="5268928"/>
                </a:lnTo>
                <a:close/>
                <a:moveTo>
                  <a:pt x="2393104" y="5264889"/>
                </a:moveTo>
                <a:lnTo>
                  <a:pt x="2403015" y="5264889"/>
                </a:lnTo>
                <a:lnTo>
                  <a:pt x="2407034" y="5268928"/>
                </a:lnTo>
                <a:lnTo>
                  <a:pt x="2407034" y="5278799"/>
                </a:lnTo>
                <a:lnTo>
                  <a:pt x="2403015" y="5282838"/>
                </a:lnTo>
                <a:lnTo>
                  <a:pt x="2393104" y="5282838"/>
                </a:lnTo>
                <a:lnTo>
                  <a:pt x="2389087" y="5278799"/>
                </a:lnTo>
                <a:lnTo>
                  <a:pt x="2389087" y="5268928"/>
                </a:lnTo>
                <a:close/>
                <a:moveTo>
                  <a:pt x="721961" y="5264889"/>
                </a:moveTo>
                <a:lnTo>
                  <a:pt x="731872" y="5264889"/>
                </a:lnTo>
                <a:lnTo>
                  <a:pt x="735891" y="5268928"/>
                </a:lnTo>
                <a:lnTo>
                  <a:pt x="735891" y="5278799"/>
                </a:lnTo>
                <a:lnTo>
                  <a:pt x="731872" y="5282838"/>
                </a:lnTo>
                <a:lnTo>
                  <a:pt x="721961" y="5282838"/>
                </a:lnTo>
                <a:lnTo>
                  <a:pt x="717943" y="5278799"/>
                </a:lnTo>
                <a:lnTo>
                  <a:pt x="717943" y="5268928"/>
                </a:lnTo>
                <a:close/>
                <a:moveTo>
                  <a:pt x="482649" y="5264889"/>
                </a:moveTo>
                <a:lnTo>
                  <a:pt x="492560" y="5264889"/>
                </a:lnTo>
                <a:lnTo>
                  <a:pt x="496579" y="5268928"/>
                </a:lnTo>
                <a:lnTo>
                  <a:pt x="496579" y="5278799"/>
                </a:lnTo>
                <a:lnTo>
                  <a:pt x="492560" y="5282838"/>
                </a:lnTo>
                <a:lnTo>
                  <a:pt x="482649" y="5282838"/>
                </a:lnTo>
                <a:lnTo>
                  <a:pt x="478630" y="5278799"/>
                </a:lnTo>
                <a:lnTo>
                  <a:pt x="478630" y="5268928"/>
                </a:lnTo>
                <a:close/>
                <a:moveTo>
                  <a:pt x="243336" y="5264889"/>
                </a:moveTo>
                <a:lnTo>
                  <a:pt x="253246" y="5264889"/>
                </a:lnTo>
                <a:lnTo>
                  <a:pt x="257265" y="5268928"/>
                </a:lnTo>
                <a:lnTo>
                  <a:pt x="257265" y="5278799"/>
                </a:lnTo>
                <a:lnTo>
                  <a:pt x="253246" y="5282838"/>
                </a:lnTo>
                <a:lnTo>
                  <a:pt x="243336" y="5282838"/>
                </a:lnTo>
                <a:lnTo>
                  <a:pt x="239317" y="5278799"/>
                </a:lnTo>
                <a:lnTo>
                  <a:pt x="239317" y="5268928"/>
                </a:lnTo>
                <a:close/>
                <a:moveTo>
                  <a:pt x="4022" y="5264889"/>
                </a:moveTo>
                <a:lnTo>
                  <a:pt x="13933" y="5264889"/>
                </a:lnTo>
                <a:lnTo>
                  <a:pt x="17952" y="5268928"/>
                </a:lnTo>
                <a:lnTo>
                  <a:pt x="17952" y="5278799"/>
                </a:lnTo>
                <a:lnTo>
                  <a:pt x="13933" y="5282838"/>
                </a:lnTo>
                <a:lnTo>
                  <a:pt x="4022" y="5282838"/>
                </a:lnTo>
                <a:lnTo>
                  <a:pt x="3" y="5278799"/>
                </a:lnTo>
                <a:lnTo>
                  <a:pt x="3" y="5268928"/>
                </a:lnTo>
                <a:close/>
                <a:moveTo>
                  <a:pt x="2157819" y="5025610"/>
                </a:moveTo>
                <a:lnTo>
                  <a:pt x="2167729" y="5025610"/>
                </a:lnTo>
                <a:lnTo>
                  <a:pt x="2171748" y="5029648"/>
                </a:lnTo>
                <a:lnTo>
                  <a:pt x="2171748" y="5039519"/>
                </a:lnTo>
                <a:lnTo>
                  <a:pt x="2167729" y="5043558"/>
                </a:lnTo>
                <a:lnTo>
                  <a:pt x="2157819" y="5043558"/>
                </a:lnTo>
                <a:lnTo>
                  <a:pt x="2153800" y="5039519"/>
                </a:lnTo>
                <a:lnTo>
                  <a:pt x="2153800" y="5029648"/>
                </a:lnTo>
                <a:close/>
                <a:moveTo>
                  <a:pt x="1918510" y="5025610"/>
                </a:moveTo>
                <a:lnTo>
                  <a:pt x="1928420" y="5025610"/>
                </a:lnTo>
                <a:lnTo>
                  <a:pt x="1932440" y="5029648"/>
                </a:lnTo>
                <a:lnTo>
                  <a:pt x="1932440" y="5039519"/>
                </a:lnTo>
                <a:lnTo>
                  <a:pt x="1928420" y="5043558"/>
                </a:lnTo>
                <a:lnTo>
                  <a:pt x="1918510" y="5043558"/>
                </a:lnTo>
                <a:lnTo>
                  <a:pt x="1914492" y="5039519"/>
                </a:lnTo>
                <a:lnTo>
                  <a:pt x="1914492" y="5029648"/>
                </a:lnTo>
                <a:close/>
                <a:moveTo>
                  <a:pt x="1679204" y="5025610"/>
                </a:moveTo>
                <a:lnTo>
                  <a:pt x="1689115" y="5025610"/>
                </a:lnTo>
                <a:lnTo>
                  <a:pt x="1693133" y="5029648"/>
                </a:lnTo>
                <a:lnTo>
                  <a:pt x="1693133" y="5039519"/>
                </a:lnTo>
                <a:lnTo>
                  <a:pt x="1689115" y="5043558"/>
                </a:lnTo>
                <a:lnTo>
                  <a:pt x="1679204" y="5043558"/>
                </a:lnTo>
                <a:lnTo>
                  <a:pt x="1675185" y="5039519"/>
                </a:lnTo>
                <a:lnTo>
                  <a:pt x="1675185" y="5029648"/>
                </a:lnTo>
                <a:close/>
                <a:moveTo>
                  <a:pt x="1439889" y="5025610"/>
                </a:moveTo>
                <a:lnTo>
                  <a:pt x="1449798" y="5025610"/>
                </a:lnTo>
                <a:lnTo>
                  <a:pt x="1453818" y="5029648"/>
                </a:lnTo>
                <a:lnTo>
                  <a:pt x="1453818" y="5039519"/>
                </a:lnTo>
                <a:lnTo>
                  <a:pt x="1449798" y="5043558"/>
                </a:lnTo>
                <a:lnTo>
                  <a:pt x="1439889" y="5043558"/>
                </a:lnTo>
                <a:lnTo>
                  <a:pt x="1435870" y="5039519"/>
                </a:lnTo>
                <a:lnTo>
                  <a:pt x="1435870" y="5029648"/>
                </a:lnTo>
                <a:close/>
                <a:moveTo>
                  <a:pt x="1200573" y="5025610"/>
                </a:moveTo>
                <a:lnTo>
                  <a:pt x="1210484" y="5025610"/>
                </a:lnTo>
                <a:lnTo>
                  <a:pt x="1214502" y="5029648"/>
                </a:lnTo>
                <a:lnTo>
                  <a:pt x="1214502" y="5039519"/>
                </a:lnTo>
                <a:lnTo>
                  <a:pt x="1210484" y="5043558"/>
                </a:lnTo>
                <a:lnTo>
                  <a:pt x="1200573" y="5043558"/>
                </a:lnTo>
                <a:lnTo>
                  <a:pt x="1196555" y="5039519"/>
                </a:lnTo>
                <a:lnTo>
                  <a:pt x="1196555" y="5029648"/>
                </a:lnTo>
                <a:close/>
                <a:moveTo>
                  <a:pt x="961261" y="5025610"/>
                </a:moveTo>
                <a:lnTo>
                  <a:pt x="971171" y="5025610"/>
                </a:lnTo>
                <a:lnTo>
                  <a:pt x="975190" y="5029648"/>
                </a:lnTo>
                <a:lnTo>
                  <a:pt x="975190" y="5039519"/>
                </a:lnTo>
                <a:lnTo>
                  <a:pt x="971171" y="5043558"/>
                </a:lnTo>
                <a:lnTo>
                  <a:pt x="961261" y="5043558"/>
                </a:lnTo>
                <a:lnTo>
                  <a:pt x="957242" y="5039519"/>
                </a:lnTo>
                <a:lnTo>
                  <a:pt x="957242" y="5029648"/>
                </a:lnTo>
                <a:close/>
                <a:moveTo>
                  <a:pt x="9572438" y="5025558"/>
                </a:moveTo>
                <a:lnTo>
                  <a:pt x="9582349" y="5025558"/>
                </a:lnTo>
                <a:lnTo>
                  <a:pt x="9586368" y="5029597"/>
                </a:lnTo>
                <a:lnTo>
                  <a:pt x="9586368" y="5039468"/>
                </a:lnTo>
                <a:lnTo>
                  <a:pt x="9582349" y="5043507"/>
                </a:lnTo>
                <a:lnTo>
                  <a:pt x="9572438" y="5043507"/>
                </a:lnTo>
                <a:lnTo>
                  <a:pt x="9568419" y="5039468"/>
                </a:lnTo>
                <a:lnTo>
                  <a:pt x="9568419" y="5029597"/>
                </a:lnTo>
                <a:close/>
                <a:moveTo>
                  <a:pt x="9333125" y="5025558"/>
                </a:moveTo>
                <a:lnTo>
                  <a:pt x="9343036" y="5025558"/>
                </a:lnTo>
                <a:lnTo>
                  <a:pt x="9347055" y="5029597"/>
                </a:lnTo>
                <a:lnTo>
                  <a:pt x="9347055" y="5039468"/>
                </a:lnTo>
                <a:lnTo>
                  <a:pt x="9343036" y="5043507"/>
                </a:lnTo>
                <a:lnTo>
                  <a:pt x="9333125" y="5043507"/>
                </a:lnTo>
                <a:lnTo>
                  <a:pt x="9329106" y="5039468"/>
                </a:lnTo>
                <a:lnTo>
                  <a:pt x="9329106" y="5029597"/>
                </a:lnTo>
                <a:close/>
                <a:moveTo>
                  <a:pt x="9093811" y="5025558"/>
                </a:moveTo>
                <a:lnTo>
                  <a:pt x="9103722" y="5025558"/>
                </a:lnTo>
                <a:lnTo>
                  <a:pt x="9107741" y="5029597"/>
                </a:lnTo>
                <a:lnTo>
                  <a:pt x="9107741" y="5039468"/>
                </a:lnTo>
                <a:lnTo>
                  <a:pt x="9103722" y="5043507"/>
                </a:lnTo>
                <a:lnTo>
                  <a:pt x="9093811" y="5043507"/>
                </a:lnTo>
                <a:lnTo>
                  <a:pt x="9089792" y="5039468"/>
                </a:lnTo>
                <a:lnTo>
                  <a:pt x="9089792" y="5029597"/>
                </a:lnTo>
                <a:close/>
                <a:moveTo>
                  <a:pt x="8854496" y="5025558"/>
                </a:moveTo>
                <a:lnTo>
                  <a:pt x="8864407" y="5025558"/>
                </a:lnTo>
                <a:lnTo>
                  <a:pt x="8868426" y="5029597"/>
                </a:lnTo>
                <a:lnTo>
                  <a:pt x="8868426" y="5039468"/>
                </a:lnTo>
                <a:lnTo>
                  <a:pt x="8864407" y="5043507"/>
                </a:lnTo>
                <a:lnTo>
                  <a:pt x="8854496" y="5043507"/>
                </a:lnTo>
                <a:lnTo>
                  <a:pt x="8850477" y="5039468"/>
                </a:lnTo>
                <a:lnTo>
                  <a:pt x="8850477" y="5029597"/>
                </a:lnTo>
                <a:close/>
                <a:moveTo>
                  <a:pt x="8615184" y="5025558"/>
                </a:moveTo>
                <a:lnTo>
                  <a:pt x="8625095" y="5025558"/>
                </a:lnTo>
                <a:lnTo>
                  <a:pt x="8629114" y="5029597"/>
                </a:lnTo>
                <a:lnTo>
                  <a:pt x="8629114" y="5039468"/>
                </a:lnTo>
                <a:lnTo>
                  <a:pt x="8625095" y="5043507"/>
                </a:lnTo>
                <a:lnTo>
                  <a:pt x="8615184" y="5043507"/>
                </a:lnTo>
                <a:lnTo>
                  <a:pt x="8611165" y="5039468"/>
                </a:lnTo>
                <a:lnTo>
                  <a:pt x="8611165" y="5029597"/>
                </a:lnTo>
                <a:close/>
                <a:moveTo>
                  <a:pt x="8375869" y="5025558"/>
                </a:moveTo>
                <a:lnTo>
                  <a:pt x="8385779" y="5025558"/>
                </a:lnTo>
                <a:lnTo>
                  <a:pt x="8389799" y="5029597"/>
                </a:lnTo>
                <a:lnTo>
                  <a:pt x="8389799" y="5039468"/>
                </a:lnTo>
                <a:lnTo>
                  <a:pt x="8385779" y="5043507"/>
                </a:lnTo>
                <a:lnTo>
                  <a:pt x="8375869" y="5043507"/>
                </a:lnTo>
                <a:lnTo>
                  <a:pt x="8371850" y="5039468"/>
                </a:lnTo>
                <a:lnTo>
                  <a:pt x="8371850" y="5029597"/>
                </a:lnTo>
                <a:close/>
                <a:moveTo>
                  <a:pt x="8136553" y="5025558"/>
                </a:moveTo>
                <a:lnTo>
                  <a:pt x="8146464" y="5025558"/>
                </a:lnTo>
                <a:lnTo>
                  <a:pt x="8150483" y="5029597"/>
                </a:lnTo>
                <a:lnTo>
                  <a:pt x="8150483" y="5039468"/>
                </a:lnTo>
                <a:lnTo>
                  <a:pt x="8146464" y="5043507"/>
                </a:lnTo>
                <a:lnTo>
                  <a:pt x="8136553" y="5043507"/>
                </a:lnTo>
                <a:lnTo>
                  <a:pt x="8132534" y="5039468"/>
                </a:lnTo>
                <a:lnTo>
                  <a:pt x="8132534" y="5029597"/>
                </a:lnTo>
                <a:close/>
                <a:moveTo>
                  <a:pt x="7897241" y="5025558"/>
                </a:moveTo>
                <a:lnTo>
                  <a:pt x="7907151" y="5025558"/>
                </a:lnTo>
                <a:lnTo>
                  <a:pt x="7911170" y="5029597"/>
                </a:lnTo>
                <a:lnTo>
                  <a:pt x="7911170" y="5039468"/>
                </a:lnTo>
                <a:lnTo>
                  <a:pt x="7907151" y="5043507"/>
                </a:lnTo>
                <a:lnTo>
                  <a:pt x="7897241" y="5043507"/>
                </a:lnTo>
                <a:lnTo>
                  <a:pt x="7893222" y="5039468"/>
                </a:lnTo>
                <a:lnTo>
                  <a:pt x="7893222" y="5029597"/>
                </a:lnTo>
                <a:close/>
                <a:moveTo>
                  <a:pt x="7657926" y="5025558"/>
                </a:moveTo>
                <a:lnTo>
                  <a:pt x="7667836" y="5025558"/>
                </a:lnTo>
                <a:lnTo>
                  <a:pt x="7671855" y="5029597"/>
                </a:lnTo>
                <a:lnTo>
                  <a:pt x="7671855" y="5039468"/>
                </a:lnTo>
                <a:lnTo>
                  <a:pt x="7667836" y="5043507"/>
                </a:lnTo>
                <a:lnTo>
                  <a:pt x="7657926" y="5043507"/>
                </a:lnTo>
                <a:lnTo>
                  <a:pt x="7653906" y="5039468"/>
                </a:lnTo>
                <a:lnTo>
                  <a:pt x="7653906" y="5029597"/>
                </a:lnTo>
                <a:close/>
                <a:moveTo>
                  <a:pt x="7418611" y="5025558"/>
                </a:moveTo>
                <a:lnTo>
                  <a:pt x="7428521" y="5025558"/>
                </a:lnTo>
                <a:lnTo>
                  <a:pt x="7432540" y="5029597"/>
                </a:lnTo>
                <a:lnTo>
                  <a:pt x="7432540" y="5039468"/>
                </a:lnTo>
                <a:lnTo>
                  <a:pt x="7428521" y="5043507"/>
                </a:lnTo>
                <a:lnTo>
                  <a:pt x="7418611" y="5043507"/>
                </a:lnTo>
                <a:lnTo>
                  <a:pt x="7414592" y="5039468"/>
                </a:lnTo>
                <a:lnTo>
                  <a:pt x="7414592" y="5029597"/>
                </a:lnTo>
                <a:close/>
                <a:moveTo>
                  <a:pt x="7179298" y="5025558"/>
                </a:moveTo>
                <a:lnTo>
                  <a:pt x="7189209" y="5025558"/>
                </a:lnTo>
                <a:lnTo>
                  <a:pt x="7193228" y="5029597"/>
                </a:lnTo>
                <a:lnTo>
                  <a:pt x="7193228" y="5039468"/>
                </a:lnTo>
                <a:lnTo>
                  <a:pt x="7189209" y="5043507"/>
                </a:lnTo>
                <a:lnTo>
                  <a:pt x="7179298" y="5043507"/>
                </a:lnTo>
                <a:lnTo>
                  <a:pt x="7175279" y="5039468"/>
                </a:lnTo>
                <a:lnTo>
                  <a:pt x="7175279" y="5029597"/>
                </a:lnTo>
                <a:close/>
                <a:moveTo>
                  <a:pt x="6939983" y="5025558"/>
                </a:moveTo>
                <a:lnTo>
                  <a:pt x="6949894" y="5025558"/>
                </a:lnTo>
                <a:lnTo>
                  <a:pt x="6953913" y="5029597"/>
                </a:lnTo>
                <a:lnTo>
                  <a:pt x="6953913" y="5039468"/>
                </a:lnTo>
                <a:lnTo>
                  <a:pt x="6949894" y="5043507"/>
                </a:lnTo>
                <a:lnTo>
                  <a:pt x="6939983" y="5043507"/>
                </a:lnTo>
                <a:lnTo>
                  <a:pt x="6935964" y="5039468"/>
                </a:lnTo>
                <a:lnTo>
                  <a:pt x="6935964" y="5029597"/>
                </a:lnTo>
                <a:close/>
                <a:moveTo>
                  <a:pt x="6700670" y="5025558"/>
                </a:moveTo>
                <a:lnTo>
                  <a:pt x="6710581" y="5025558"/>
                </a:lnTo>
                <a:lnTo>
                  <a:pt x="6714600" y="5029597"/>
                </a:lnTo>
                <a:lnTo>
                  <a:pt x="6714600" y="5039468"/>
                </a:lnTo>
                <a:lnTo>
                  <a:pt x="6710581" y="5043507"/>
                </a:lnTo>
                <a:lnTo>
                  <a:pt x="6700670" y="5043507"/>
                </a:lnTo>
                <a:lnTo>
                  <a:pt x="6696651" y="5039468"/>
                </a:lnTo>
                <a:lnTo>
                  <a:pt x="6696651" y="5029597"/>
                </a:lnTo>
                <a:close/>
                <a:moveTo>
                  <a:pt x="6461356" y="5025558"/>
                </a:moveTo>
                <a:lnTo>
                  <a:pt x="6471266" y="5025558"/>
                </a:lnTo>
                <a:lnTo>
                  <a:pt x="6475285" y="5029597"/>
                </a:lnTo>
                <a:lnTo>
                  <a:pt x="6475285" y="5039468"/>
                </a:lnTo>
                <a:lnTo>
                  <a:pt x="6471266" y="5043507"/>
                </a:lnTo>
                <a:lnTo>
                  <a:pt x="6461356" y="5043507"/>
                </a:lnTo>
                <a:lnTo>
                  <a:pt x="6457337" y="5039468"/>
                </a:lnTo>
                <a:lnTo>
                  <a:pt x="6457337" y="5029597"/>
                </a:lnTo>
                <a:close/>
                <a:moveTo>
                  <a:pt x="6222042" y="5025558"/>
                </a:moveTo>
                <a:lnTo>
                  <a:pt x="6231952" y="5025558"/>
                </a:lnTo>
                <a:lnTo>
                  <a:pt x="6235971" y="5029597"/>
                </a:lnTo>
                <a:lnTo>
                  <a:pt x="6235971" y="5039468"/>
                </a:lnTo>
                <a:lnTo>
                  <a:pt x="6231952" y="5043507"/>
                </a:lnTo>
                <a:lnTo>
                  <a:pt x="6222042" y="5043507"/>
                </a:lnTo>
                <a:lnTo>
                  <a:pt x="6218023" y="5039468"/>
                </a:lnTo>
                <a:lnTo>
                  <a:pt x="6218023" y="5029597"/>
                </a:lnTo>
                <a:close/>
                <a:moveTo>
                  <a:pt x="5982729" y="5025558"/>
                </a:moveTo>
                <a:lnTo>
                  <a:pt x="5992639" y="5025558"/>
                </a:lnTo>
                <a:lnTo>
                  <a:pt x="5996658" y="5029597"/>
                </a:lnTo>
                <a:lnTo>
                  <a:pt x="5996658" y="5039468"/>
                </a:lnTo>
                <a:lnTo>
                  <a:pt x="5992639" y="5043507"/>
                </a:lnTo>
                <a:lnTo>
                  <a:pt x="5982729" y="5043507"/>
                </a:lnTo>
                <a:lnTo>
                  <a:pt x="5978710" y="5039468"/>
                </a:lnTo>
                <a:lnTo>
                  <a:pt x="5978710" y="5029597"/>
                </a:lnTo>
                <a:close/>
                <a:moveTo>
                  <a:pt x="5743412" y="5025558"/>
                </a:moveTo>
                <a:lnTo>
                  <a:pt x="5753323" y="5025558"/>
                </a:lnTo>
                <a:lnTo>
                  <a:pt x="5757342" y="5029597"/>
                </a:lnTo>
                <a:lnTo>
                  <a:pt x="5757342" y="5039468"/>
                </a:lnTo>
                <a:lnTo>
                  <a:pt x="5753323" y="5043507"/>
                </a:lnTo>
                <a:lnTo>
                  <a:pt x="5743412" y="5043507"/>
                </a:lnTo>
                <a:lnTo>
                  <a:pt x="5739393" y="5039468"/>
                </a:lnTo>
                <a:lnTo>
                  <a:pt x="5739393" y="5029597"/>
                </a:lnTo>
                <a:close/>
                <a:moveTo>
                  <a:pt x="5504099" y="5025558"/>
                </a:moveTo>
                <a:lnTo>
                  <a:pt x="5514010" y="5025558"/>
                </a:lnTo>
                <a:lnTo>
                  <a:pt x="5518029" y="5029597"/>
                </a:lnTo>
                <a:lnTo>
                  <a:pt x="5518029" y="5039468"/>
                </a:lnTo>
                <a:lnTo>
                  <a:pt x="5514010" y="5043507"/>
                </a:lnTo>
                <a:lnTo>
                  <a:pt x="5504099" y="5043507"/>
                </a:lnTo>
                <a:lnTo>
                  <a:pt x="5500080" y="5039468"/>
                </a:lnTo>
                <a:lnTo>
                  <a:pt x="5500080" y="5029597"/>
                </a:lnTo>
                <a:close/>
                <a:moveTo>
                  <a:pt x="5264784" y="5025558"/>
                </a:moveTo>
                <a:lnTo>
                  <a:pt x="5274694" y="5025558"/>
                </a:lnTo>
                <a:lnTo>
                  <a:pt x="5278713" y="5029597"/>
                </a:lnTo>
                <a:lnTo>
                  <a:pt x="5278713" y="5039468"/>
                </a:lnTo>
                <a:lnTo>
                  <a:pt x="5274694" y="5043507"/>
                </a:lnTo>
                <a:lnTo>
                  <a:pt x="5264784" y="5043507"/>
                </a:lnTo>
                <a:lnTo>
                  <a:pt x="5260765" y="5039468"/>
                </a:lnTo>
                <a:lnTo>
                  <a:pt x="5260765" y="5029597"/>
                </a:lnTo>
                <a:close/>
                <a:moveTo>
                  <a:pt x="5025470" y="5025558"/>
                </a:moveTo>
                <a:lnTo>
                  <a:pt x="5035381" y="5025558"/>
                </a:lnTo>
                <a:lnTo>
                  <a:pt x="5039400" y="5029597"/>
                </a:lnTo>
                <a:lnTo>
                  <a:pt x="5039400" y="5039468"/>
                </a:lnTo>
                <a:lnTo>
                  <a:pt x="5035381" y="5043507"/>
                </a:lnTo>
                <a:lnTo>
                  <a:pt x="5025470" y="5043507"/>
                </a:lnTo>
                <a:lnTo>
                  <a:pt x="5021451" y="5039468"/>
                </a:lnTo>
                <a:lnTo>
                  <a:pt x="5021451" y="5029597"/>
                </a:lnTo>
                <a:close/>
                <a:moveTo>
                  <a:pt x="4786241" y="5025558"/>
                </a:moveTo>
                <a:lnTo>
                  <a:pt x="4796152" y="5025558"/>
                </a:lnTo>
                <a:lnTo>
                  <a:pt x="4800171" y="5029597"/>
                </a:lnTo>
                <a:lnTo>
                  <a:pt x="4800171" y="5039468"/>
                </a:lnTo>
                <a:lnTo>
                  <a:pt x="4796152" y="5043507"/>
                </a:lnTo>
                <a:lnTo>
                  <a:pt x="4786241" y="5043507"/>
                </a:lnTo>
                <a:lnTo>
                  <a:pt x="4782224" y="5039468"/>
                </a:lnTo>
                <a:lnTo>
                  <a:pt x="4782224" y="5029597"/>
                </a:lnTo>
                <a:close/>
                <a:moveTo>
                  <a:pt x="4546929" y="5025558"/>
                </a:moveTo>
                <a:lnTo>
                  <a:pt x="4556840" y="5025558"/>
                </a:lnTo>
                <a:lnTo>
                  <a:pt x="4560859" y="5029597"/>
                </a:lnTo>
                <a:lnTo>
                  <a:pt x="4560859" y="5039468"/>
                </a:lnTo>
                <a:lnTo>
                  <a:pt x="4556840" y="5043507"/>
                </a:lnTo>
                <a:lnTo>
                  <a:pt x="4546929" y="5043507"/>
                </a:lnTo>
                <a:lnTo>
                  <a:pt x="4542910" y="5039468"/>
                </a:lnTo>
                <a:lnTo>
                  <a:pt x="4542910" y="5029597"/>
                </a:lnTo>
                <a:close/>
                <a:moveTo>
                  <a:pt x="4307612" y="5025558"/>
                </a:moveTo>
                <a:lnTo>
                  <a:pt x="4317523" y="5025558"/>
                </a:lnTo>
                <a:lnTo>
                  <a:pt x="4321543" y="5029597"/>
                </a:lnTo>
                <a:lnTo>
                  <a:pt x="4321543" y="5039468"/>
                </a:lnTo>
                <a:lnTo>
                  <a:pt x="4317523" y="5043507"/>
                </a:lnTo>
                <a:lnTo>
                  <a:pt x="4307612" y="5043507"/>
                </a:lnTo>
                <a:lnTo>
                  <a:pt x="4303595" y="5039468"/>
                </a:lnTo>
                <a:lnTo>
                  <a:pt x="4303595" y="5029597"/>
                </a:lnTo>
                <a:close/>
                <a:moveTo>
                  <a:pt x="4068297" y="5025558"/>
                </a:moveTo>
                <a:lnTo>
                  <a:pt x="4078210" y="5025558"/>
                </a:lnTo>
                <a:lnTo>
                  <a:pt x="4082229" y="5029597"/>
                </a:lnTo>
                <a:lnTo>
                  <a:pt x="4082229" y="5039468"/>
                </a:lnTo>
                <a:lnTo>
                  <a:pt x="4078210" y="5043507"/>
                </a:lnTo>
                <a:lnTo>
                  <a:pt x="4068297" y="5043507"/>
                </a:lnTo>
                <a:lnTo>
                  <a:pt x="4064278" y="5039468"/>
                </a:lnTo>
                <a:lnTo>
                  <a:pt x="4064278" y="5029597"/>
                </a:lnTo>
                <a:close/>
                <a:moveTo>
                  <a:pt x="3828990" y="5025558"/>
                </a:moveTo>
                <a:lnTo>
                  <a:pt x="3838899" y="5025558"/>
                </a:lnTo>
                <a:lnTo>
                  <a:pt x="3842917" y="5029597"/>
                </a:lnTo>
                <a:lnTo>
                  <a:pt x="3842917" y="5039468"/>
                </a:lnTo>
                <a:lnTo>
                  <a:pt x="3838899" y="5043507"/>
                </a:lnTo>
                <a:lnTo>
                  <a:pt x="3828990" y="5043507"/>
                </a:lnTo>
                <a:lnTo>
                  <a:pt x="3824971" y="5039468"/>
                </a:lnTo>
                <a:lnTo>
                  <a:pt x="3824971" y="5029597"/>
                </a:lnTo>
                <a:close/>
                <a:moveTo>
                  <a:pt x="3589676" y="5025558"/>
                </a:moveTo>
                <a:lnTo>
                  <a:pt x="3599585" y="5025558"/>
                </a:lnTo>
                <a:lnTo>
                  <a:pt x="3603604" y="5029597"/>
                </a:lnTo>
                <a:lnTo>
                  <a:pt x="3603604" y="5039468"/>
                </a:lnTo>
                <a:lnTo>
                  <a:pt x="3599585" y="5043507"/>
                </a:lnTo>
                <a:lnTo>
                  <a:pt x="3589676" y="5043507"/>
                </a:lnTo>
                <a:lnTo>
                  <a:pt x="3585657" y="5039468"/>
                </a:lnTo>
                <a:lnTo>
                  <a:pt x="3585657" y="5029597"/>
                </a:lnTo>
                <a:close/>
                <a:moveTo>
                  <a:pt x="3350359" y="5025558"/>
                </a:moveTo>
                <a:lnTo>
                  <a:pt x="3360268" y="5025558"/>
                </a:lnTo>
                <a:lnTo>
                  <a:pt x="3364287" y="5029597"/>
                </a:lnTo>
                <a:lnTo>
                  <a:pt x="3364287" y="5039468"/>
                </a:lnTo>
                <a:lnTo>
                  <a:pt x="3360268" y="5043507"/>
                </a:lnTo>
                <a:lnTo>
                  <a:pt x="3350359" y="5043507"/>
                </a:lnTo>
                <a:lnTo>
                  <a:pt x="3346340" y="5039468"/>
                </a:lnTo>
                <a:lnTo>
                  <a:pt x="3346340" y="5029597"/>
                </a:lnTo>
                <a:close/>
                <a:moveTo>
                  <a:pt x="3111048" y="5025558"/>
                </a:moveTo>
                <a:lnTo>
                  <a:pt x="3120959" y="5025558"/>
                </a:lnTo>
                <a:lnTo>
                  <a:pt x="3124977" y="5029597"/>
                </a:lnTo>
                <a:lnTo>
                  <a:pt x="3124977" y="5039468"/>
                </a:lnTo>
                <a:lnTo>
                  <a:pt x="3120959" y="5043507"/>
                </a:lnTo>
                <a:lnTo>
                  <a:pt x="3111048" y="5043507"/>
                </a:lnTo>
                <a:lnTo>
                  <a:pt x="3107029" y="5039468"/>
                </a:lnTo>
                <a:lnTo>
                  <a:pt x="3107029" y="5029597"/>
                </a:lnTo>
                <a:close/>
                <a:moveTo>
                  <a:pt x="2871737" y="5025558"/>
                </a:moveTo>
                <a:lnTo>
                  <a:pt x="2881646" y="5025558"/>
                </a:lnTo>
                <a:lnTo>
                  <a:pt x="2885666" y="5029597"/>
                </a:lnTo>
                <a:lnTo>
                  <a:pt x="2885666" y="5039468"/>
                </a:lnTo>
                <a:lnTo>
                  <a:pt x="2881646" y="5043507"/>
                </a:lnTo>
                <a:lnTo>
                  <a:pt x="2871737" y="5043507"/>
                </a:lnTo>
                <a:lnTo>
                  <a:pt x="2867717" y="5039468"/>
                </a:lnTo>
                <a:lnTo>
                  <a:pt x="2867717" y="5029597"/>
                </a:lnTo>
                <a:close/>
                <a:moveTo>
                  <a:pt x="2632423" y="5025558"/>
                </a:moveTo>
                <a:lnTo>
                  <a:pt x="2642334" y="5025558"/>
                </a:lnTo>
                <a:lnTo>
                  <a:pt x="2646352" y="5029597"/>
                </a:lnTo>
                <a:lnTo>
                  <a:pt x="2646352" y="5039468"/>
                </a:lnTo>
                <a:lnTo>
                  <a:pt x="2642334" y="5043507"/>
                </a:lnTo>
                <a:lnTo>
                  <a:pt x="2632423" y="5043507"/>
                </a:lnTo>
                <a:lnTo>
                  <a:pt x="2628404" y="5039468"/>
                </a:lnTo>
                <a:lnTo>
                  <a:pt x="2628404" y="5029597"/>
                </a:lnTo>
                <a:close/>
                <a:moveTo>
                  <a:pt x="2393104" y="5025558"/>
                </a:moveTo>
                <a:lnTo>
                  <a:pt x="2403015" y="5025558"/>
                </a:lnTo>
                <a:lnTo>
                  <a:pt x="2407034" y="5029597"/>
                </a:lnTo>
                <a:lnTo>
                  <a:pt x="2407034" y="5039468"/>
                </a:lnTo>
                <a:lnTo>
                  <a:pt x="2403015" y="5043507"/>
                </a:lnTo>
                <a:lnTo>
                  <a:pt x="2393104" y="5043507"/>
                </a:lnTo>
                <a:lnTo>
                  <a:pt x="2389087" y="5039468"/>
                </a:lnTo>
                <a:lnTo>
                  <a:pt x="2389087" y="5029597"/>
                </a:lnTo>
                <a:close/>
                <a:moveTo>
                  <a:pt x="721962" y="5025558"/>
                </a:moveTo>
                <a:lnTo>
                  <a:pt x="731872" y="5025558"/>
                </a:lnTo>
                <a:lnTo>
                  <a:pt x="735891" y="5029597"/>
                </a:lnTo>
                <a:lnTo>
                  <a:pt x="735891" y="5039468"/>
                </a:lnTo>
                <a:lnTo>
                  <a:pt x="731872" y="5043507"/>
                </a:lnTo>
                <a:lnTo>
                  <a:pt x="721962" y="5043507"/>
                </a:lnTo>
                <a:lnTo>
                  <a:pt x="717944" y="5039468"/>
                </a:lnTo>
                <a:lnTo>
                  <a:pt x="717944" y="5029597"/>
                </a:lnTo>
                <a:close/>
                <a:moveTo>
                  <a:pt x="482650" y="5025558"/>
                </a:moveTo>
                <a:lnTo>
                  <a:pt x="492560" y="5025558"/>
                </a:lnTo>
                <a:lnTo>
                  <a:pt x="496580" y="5029597"/>
                </a:lnTo>
                <a:lnTo>
                  <a:pt x="496580" y="5039468"/>
                </a:lnTo>
                <a:lnTo>
                  <a:pt x="492560" y="5043507"/>
                </a:lnTo>
                <a:lnTo>
                  <a:pt x="482650" y="5043507"/>
                </a:lnTo>
                <a:lnTo>
                  <a:pt x="478631" y="5039468"/>
                </a:lnTo>
                <a:lnTo>
                  <a:pt x="478631" y="5029597"/>
                </a:lnTo>
                <a:close/>
                <a:moveTo>
                  <a:pt x="243336" y="5025558"/>
                </a:moveTo>
                <a:lnTo>
                  <a:pt x="253247" y="5025558"/>
                </a:lnTo>
                <a:lnTo>
                  <a:pt x="257266" y="5029597"/>
                </a:lnTo>
                <a:lnTo>
                  <a:pt x="257266" y="5039468"/>
                </a:lnTo>
                <a:lnTo>
                  <a:pt x="253247" y="5043507"/>
                </a:lnTo>
                <a:lnTo>
                  <a:pt x="243336" y="5043507"/>
                </a:lnTo>
                <a:lnTo>
                  <a:pt x="239317" y="5039468"/>
                </a:lnTo>
                <a:lnTo>
                  <a:pt x="239317" y="5029597"/>
                </a:lnTo>
                <a:close/>
                <a:moveTo>
                  <a:pt x="4024" y="5025558"/>
                </a:moveTo>
                <a:lnTo>
                  <a:pt x="13933" y="5025558"/>
                </a:lnTo>
                <a:lnTo>
                  <a:pt x="17952" y="5029597"/>
                </a:lnTo>
                <a:lnTo>
                  <a:pt x="17952" y="5039468"/>
                </a:lnTo>
                <a:lnTo>
                  <a:pt x="13933" y="5043507"/>
                </a:lnTo>
                <a:lnTo>
                  <a:pt x="4024" y="5043507"/>
                </a:lnTo>
                <a:lnTo>
                  <a:pt x="4" y="5039468"/>
                </a:lnTo>
                <a:lnTo>
                  <a:pt x="4" y="5029597"/>
                </a:lnTo>
                <a:close/>
                <a:moveTo>
                  <a:pt x="9572438" y="4786279"/>
                </a:moveTo>
                <a:lnTo>
                  <a:pt x="9582349" y="4786279"/>
                </a:lnTo>
                <a:lnTo>
                  <a:pt x="9586368" y="4790317"/>
                </a:lnTo>
                <a:lnTo>
                  <a:pt x="9586368" y="4800188"/>
                </a:lnTo>
                <a:lnTo>
                  <a:pt x="9582349" y="4804227"/>
                </a:lnTo>
                <a:lnTo>
                  <a:pt x="9572438" y="4804227"/>
                </a:lnTo>
                <a:lnTo>
                  <a:pt x="9568419" y="4800188"/>
                </a:lnTo>
                <a:lnTo>
                  <a:pt x="9568419" y="4790317"/>
                </a:lnTo>
                <a:close/>
                <a:moveTo>
                  <a:pt x="9333125" y="4786279"/>
                </a:moveTo>
                <a:lnTo>
                  <a:pt x="9343036" y="4786279"/>
                </a:lnTo>
                <a:lnTo>
                  <a:pt x="9347055" y="4790317"/>
                </a:lnTo>
                <a:lnTo>
                  <a:pt x="9347055" y="4800188"/>
                </a:lnTo>
                <a:lnTo>
                  <a:pt x="9343036" y="4804227"/>
                </a:lnTo>
                <a:lnTo>
                  <a:pt x="9333125" y="4804227"/>
                </a:lnTo>
                <a:lnTo>
                  <a:pt x="9329106" y="4800188"/>
                </a:lnTo>
                <a:lnTo>
                  <a:pt x="9329106" y="4790317"/>
                </a:lnTo>
                <a:close/>
                <a:moveTo>
                  <a:pt x="9093811" y="4786279"/>
                </a:moveTo>
                <a:lnTo>
                  <a:pt x="9103722" y="4786279"/>
                </a:lnTo>
                <a:lnTo>
                  <a:pt x="9107741" y="4790317"/>
                </a:lnTo>
                <a:lnTo>
                  <a:pt x="9107741" y="4800188"/>
                </a:lnTo>
                <a:lnTo>
                  <a:pt x="9103722" y="4804227"/>
                </a:lnTo>
                <a:lnTo>
                  <a:pt x="9093811" y="4804227"/>
                </a:lnTo>
                <a:lnTo>
                  <a:pt x="9089792" y="4800188"/>
                </a:lnTo>
                <a:lnTo>
                  <a:pt x="9089792" y="4790317"/>
                </a:lnTo>
                <a:close/>
                <a:moveTo>
                  <a:pt x="8854496" y="4786279"/>
                </a:moveTo>
                <a:lnTo>
                  <a:pt x="8864407" y="4786279"/>
                </a:lnTo>
                <a:lnTo>
                  <a:pt x="8868426" y="4790317"/>
                </a:lnTo>
                <a:lnTo>
                  <a:pt x="8868426" y="4800188"/>
                </a:lnTo>
                <a:lnTo>
                  <a:pt x="8864407" y="4804227"/>
                </a:lnTo>
                <a:lnTo>
                  <a:pt x="8854496" y="4804227"/>
                </a:lnTo>
                <a:lnTo>
                  <a:pt x="8850477" y="4800188"/>
                </a:lnTo>
                <a:lnTo>
                  <a:pt x="8850477" y="4790317"/>
                </a:lnTo>
                <a:close/>
                <a:moveTo>
                  <a:pt x="8615184" y="4786279"/>
                </a:moveTo>
                <a:lnTo>
                  <a:pt x="8625095" y="4786279"/>
                </a:lnTo>
                <a:lnTo>
                  <a:pt x="8629114" y="4790317"/>
                </a:lnTo>
                <a:lnTo>
                  <a:pt x="8629114" y="4800188"/>
                </a:lnTo>
                <a:lnTo>
                  <a:pt x="8625095" y="4804227"/>
                </a:lnTo>
                <a:lnTo>
                  <a:pt x="8615184" y="4804227"/>
                </a:lnTo>
                <a:lnTo>
                  <a:pt x="8611165" y="4800188"/>
                </a:lnTo>
                <a:lnTo>
                  <a:pt x="8611165" y="4790317"/>
                </a:lnTo>
                <a:close/>
                <a:moveTo>
                  <a:pt x="8375869" y="4786279"/>
                </a:moveTo>
                <a:lnTo>
                  <a:pt x="8385779" y="4786279"/>
                </a:lnTo>
                <a:lnTo>
                  <a:pt x="8389799" y="4790317"/>
                </a:lnTo>
                <a:lnTo>
                  <a:pt x="8389799" y="4800188"/>
                </a:lnTo>
                <a:lnTo>
                  <a:pt x="8385779" y="4804227"/>
                </a:lnTo>
                <a:lnTo>
                  <a:pt x="8375869" y="4804227"/>
                </a:lnTo>
                <a:lnTo>
                  <a:pt x="8371850" y="4800188"/>
                </a:lnTo>
                <a:lnTo>
                  <a:pt x="8371850" y="4790317"/>
                </a:lnTo>
                <a:close/>
                <a:moveTo>
                  <a:pt x="8136553" y="4786279"/>
                </a:moveTo>
                <a:lnTo>
                  <a:pt x="8146464" y="4786279"/>
                </a:lnTo>
                <a:lnTo>
                  <a:pt x="8150483" y="4790317"/>
                </a:lnTo>
                <a:lnTo>
                  <a:pt x="8150483" y="4800188"/>
                </a:lnTo>
                <a:lnTo>
                  <a:pt x="8146464" y="4804227"/>
                </a:lnTo>
                <a:lnTo>
                  <a:pt x="8136553" y="4804227"/>
                </a:lnTo>
                <a:lnTo>
                  <a:pt x="8132534" y="4800188"/>
                </a:lnTo>
                <a:lnTo>
                  <a:pt x="8132534" y="4790317"/>
                </a:lnTo>
                <a:close/>
                <a:moveTo>
                  <a:pt x="7897241" y="4786279"/>
                </a:moveTo>
                <a:lnTo>
                  <a:pt x="7907151" y="4786279"/>
                </a:lnTo>
                <a:lnTo>
                  <a:pt x="7911170" y="4790317"/>
                </a:lnTo>
                <a:lnTo>
                  <a:pt x="7911170" y="4800188"/>
                </a:lnTo>
                <a:lnTo>
                  <a:pt x="7907151" y="4804227"/>
                </a:lnTo>
                <a:lnTo>
                  <a:pt x="7897241" y="4804227"/>
                </a:lnTo>
                <a:lnTo>
                  <a:pt x="7893222" y="4800188"/>
                </a:lnTo>
                <a:lnTo>
                  <a:pt x="7893222" y="4790317"/>
                </a:lnTo>
                <a:close/>
                <a:moveTo>
                  <a:pt x="7657926" y="4786279"/>
                </a:moveTo>
                <a:lnTo>
                  <a:pt x="7667836" y="4786279"/>
                </a:lnTo>
                <a:lnTo>
                  <a:pt x="7671855" y="4790317"/>
                </a:lnTo>
                <a:lnTo>
                  <a:pt x="7671855" y="4800188"/>
                </a:lnTo>
                <a:lnTo>
                  <a:pt x="7667836" y="4804227"/>
                </a:lnTo>
                <a:lnTo>
                  <a:pt x="7657926" y="4804227"/>
                </a:lnTo>
                <a:lnTo>
                  <a:pt x="7653906" y="4800188"/>
                </a:lnTo>
                <a:lnTo>
                  <a:pt x="7653906" y="4790317"/>
                </a:lnTo>
                <a:close/>
                <a:moveTo>
                  <a:pt x="7418611" y="4786279"/>
                </a:moveTo>
                <a:lnTo>
                  <a:pt x="7428521" y="4786279"/>
                </a:lnTo>
                <a:lnTo>
                  <a:pt x="7432540" y="4790317"/>
                </a:lnTo>
                <a:lnTo>
                  <a:pt x="7432540" y="4800188"/>
                </a:lnTo>
                <a:lnTo>
                  <a:pt x="7428521" y="4804227"/>
                </a:lnTo>
                <a:lnTo>
                  <a:pt x="7418611" y="4804227"/>
                </a:lnTo>
                <a:lnTo>
                  <a:pt x="7414592" y="4800188"/>
                </a:lnTo>
                <a:lnTo>
                  <a:pt x="7414592" y="4790317"/>
                </a:lnTo>
                <a:close/>
                <a:moveTo>
                  <a:pt x="7179298" y="4786279"/>
                </a:moveTo>
                <a:lnTo>
                  <a:pt x="7189209" y="4786279"/>
                </a:lnTo>
                <a:lnTo>
                  <a:pt x="7193228" y="4790317"/>
                </a:lnTo>
                <a:lnTo>
                  <a:pt x="7193228" y="4800188"/>
                </a:lnTo>
                <a:lnTo>
                  <a:pt x="7189209" y="4804227"/>
                </a:lnTo>
                <a:lnTo>
                  <a:pt x="7179298" y="4804227"/>
                </a:lnTo>
                <a:lnTo>
                  <a:pt x="7175279" y="4800188"/>
                </a:lnTo>
                <a:lnTo>
                  <a:pt x="7175279" y="4790317"/>
                </a:lnTo>
                <a:close/>
                <a:moveTo>
                  <a:pt x="6939983" y="4786279"/>
                </a:moveTo>
                <a:lnTo>
                  <a:pt x="6949894" y="4786279"/>
                </a:lnTo>
                <a:lnTo>
                  <a:pt x="6953913" y="4790317"/>
                </a:lnTo>
                <a:lnTo>
                  <a:pt x="6953913" y="4800188"/>
                </a:lnTo>
                <a:lnTo>
                  <a:pt x="6949894" y="4804227"/>
                </a:lnTo>
                <a:lnTo>
                  <a:pt x="6939983" y="4804227"/>
                </a:lnTo>
                <a:lnTo>
                  <a:pt x="6935964" y="4800188"/>
                </a:lnTo>
                <a:lnTo>
                  <a:pt x="6935964" y="4790317"/>
                </a:lnTo>
                <a:close/>
                <a:moveTo>
                  <a:pt x="6700670" y="4786279"/>
                </a:moveTo>
                <a:lnTo>
                  <a:pt x="6710581" y="4786279"/>
                </a:lnTo>
                <a:lnTo>
                  <a:pt x="6714600" y="4790317"/>
                </a:lnTo>
                <a:lnTo>
                  <a:pt x="6714600" y="4800188"/>
                </a:lnTo>
                <a:lnTo>
                  <a:pt x="6710581" y="4804227"/>
                </a:lnTo>
                <a:lnTo>
                  <a:pt x="6700670" y="4804227"/>
                </a:lnTo>
                <a:lnTo>
                  <a:pt x="6696651" y="4800188"/>
                </a:lnTo>
                <a:lnTo>
                  <a:pt x="6696651" y="4790317"/>
                </a:lnTo>
                <a:close/>
                <a:moveTo>
                  <a:pt x="6461356" y="4786279"/>
                </a:moveTo>
                <a:lnTo>
                  <a:pt x="6471266" y="4786279"/>
                </a:lnTo>
                <a:lnTo>
                  <a:pt x="6475285" y="4790317"/>
                </a:lnTo>
                <a:lnTo>
                  <a:pt x="6475285" y="4800188"/>
                </a:lnTo>
                <a:lnTo>
                  <a:pt x="6471266" y="4804227"/>
                </a:lnTo>
                <a:lnTo>
                  <a:pt x="6461356" y="4804227"/>
                </a:lnTo>
                <a:lnTo>
                  <a:pt x="6457337" y="4800188"/>
                </a:lnTo>
                <a:lnTo>
                  <a:pt x="6457337" y="4790317"/>
                </a:lnTo>
                <a:close/>
                <a:moveTo>
                  <a:pt x="6222042" y="4786279"/>
                </a:moveTo>
                <a:lnTo>
                  <a:pt x="6231952" y="4786279"/>
                </a:lnTo>
                <a:lnTo>
                  <a:pt x="6235971" y="4790317"/>
                </a:lnTo>
                <a:lnTo>
                  <a:pt x="6235971" y="4800188"/>
                </a:lnTo>
                <a:lnTo>
                  <a:pt x="6231952" y="4804227"/>
                </a:lnTo>
                <a:lnTo>
                  <a:pt x="6222042" y="4804227"/>
                </a:lnTo>
                <a:lnTo>
                  <a:pt x="6218023" y="4800188"/>
                </a:lnTo>
                <a:lnTo>
                  <a:pt x="6218023" y="4790317"/>
                </a:lnTo>
                <a:close/>
                <a:moveTo>
                  <a:pt x="5982729" y="4786279"/>
                </a:moveTo>
                <a:lnTo>
                  <a:pt x="5992639" y="4786279"/>
                </a:lnTo>
                <a:lnTo>
                  <a:pt x="5996658" y="4790317"/>
                </a:lnTo>
                <a:lnTo>
                  <a:pt x="5996658" y="4800188"/>
                </a:lnTo>
                <a:lnTo>
                  <a:pt x="5992639" y="4804227"/>
                </a:lnTo>
                <a:lnTo>
                  <a:pt x="5982729" y="4804227"/>
                </a:lnTo>
                <a:lnTo>
                  <a:pt x="5978710" y="4800188"/>
                </a:lnTo>
                <a:lnTo>
                  <a:pt x="5978710" y="4790317"/>
                </a:lnTo>
                <a:close/>
                <a:moveTo>
                  <a:pt x="5743412" y="4786279"/>
                </a:moveTo>
                <a:lnTo>
                  <a:pt x="5753323" y="4786279"/>
                </a:lnTo>
                <a:lnTo>
                  <a:pt x="5757342" y="4790317"/>
                </a:lnTo>
                <a:lnTo>
                  <a:pt x="5757342" y="4800188"/>
                </a:lnTo>
                <a:lnTo>
                  <a:pt x="5753323" y="4804227"/>
                </a:lnTo>
                <a:lnTo>
                  <a:pt x="5743412" y="4804227"/>
                </a:lnTo>
                <a:lnTo>
                  <a:pt x="5739393" y="4800188"/>
                </a:lnTo>
                <a:lnTo>
                  <a:pt x="5739393" y="4790317"/>
                </a:lnTo>
                <a:close/>
                <a:moveTo>
                  <a:pt x="5504099" y="4786279"/>
                </a:moveTo>
                <a:lnTo>
                  <a:pt x="5514010" y="4786279"/>
                </a:lnTo>
                <a:lnTo>
                  <a:pt x="5518029" y="4790317"/>
                </a:lnTo>
                <a:lnTo>
                  <a:pt x="5518029" y="4800188"/>
                </a:lnTo>
                <a:lnTo>
                  <a:pt x="5514010" y="4804227"/>
                </a:lnTo>
                <a:lnTo>
                  <a:pt x="5504099" y="4804227"/>
                </a:lnTo>
                <a:lnTo>
                  <a:pt x="5500080" y="4800188"/>
                </a:lnTo>
                <a:lnTo>
                  <a:pt x="5500080" y="4790317"/>
                </a:lnTo>
                <a:close/>
                <a:moveTo>
                  <a:pt x="5264784" y="4786279"/>
                </a:moveTo>
                <a:lnTo>
                  <a:pt x="5274694" y="4786279"/>
                </a:lnTo>
                <a:lnTo>
                  <a:pt x="5278713" y="4790317"/>
                </a:lnTo>
                <a:lnTo>
                  <a:pt x="5278713" y="4800188"/>
                </a:lnTo>
                <a:lnTo>
                  <a:pt x="5274694" y="4804227"/>
                </a:lnTo>
                <a:lnTo>
                  <a:pt x="5264784" y="4804227"/>
                </a:lnTo>
                <a:lnTo>
                  <a:pt x="5260765" y="4800188"/>
                </a:lnTo>
                <a:lnTo>
                  <a:pt x="5260765" y="4790317"/>
                </a:lnTo>
                <a:close/>
                <a:moveTo>
                  <a:pt x="5025470" y="4786279"/>
                </a:moveTo>
                <a:lnTo>
                  <a:pt x="5035381" y="4786279"/>
                </a:lnTo>
                <a:lnTo>
                  <a:pt x="5039400" y="4790317"/>
                </a:lnTo>
                <a:lnTo>
                  <a:pt x="5039400" y="4800188"/>
                </a:lnTo>
                <a:lnTo>
                  <a:pt x="5035381" y="4804227"/>
                </a:lnTo>
                <a:lnTo>
                  <a:pt x="5025470" y="4804227"/>
                </a:lnTo>
                <a:lnTo>
                  <a:pt x="5021451" y="4800188"/>
                </a:lnTo>
                <a:lnTo>
                  <a:pt x="5021451" y="4790317"/>
                </a:lnTo>
                <a:close/>
                <a:moveTo>
                  <a:pt x="4786241" y="4786279"/>
                </a:moveTo>
                <a:lnTo>
                  <a:pt x="4796152" y="4786279"/>
                </a:lnTo>
                <a:lnTo>
                  <a:pt x="4800171" y="4790317"/>
                </a:lnTo>
                <a:lnTo>
                  <a:pt x="4800171" y="4800188"/>
                </a:lnTo>
                <a:lnTo>
                  <a:pt x="4796152" y="4804227"/>
                </a:lnTo>
                <a:lnTo>
                  <a:pt x="4786241" y="4804227"/>
                </a:lnTo>
                <a:lnTo>
                  <a:pt x="4782224" y="4800188"/>
                </a:lnTo>
                <a:lnTo>
                  <a:pt x="4782224" y="4790317"/>
                </a:lnTo>
                <a:close/>
                <a:moveTo>
                  <a:pt x="4546929" y="4786279"/>
                </a:moveTo>
                <a:lnTo>
                  <a:pt x="4556840" y="4786279"/>
                </a:lnTo>
                <a:lnTo>
                  <a:pt x="4560859" y="4790317"/>
                </a:lnTo>
                <a:lnTo>
                  <a:pt x="4560859" y="4800188"/>
                </a:lnTo>
                <a:lnTo>
                  <a:pt x="4556840" y="4804227"/>
                </a:lnTo>
                <a:lnTo>
                  <a:pt x="4546929" y="4804227"/>
                </a:lnTo>
                <a:lnTo>
                  <a:pt x="4542910" y="4800188"/>
                </a:lnTo>
                <a:lnTo>
                  <a:pt x="4542910" y="4790317"/>
                </a:lnTo>
                <a:close/>
                <a:moveTo>
                  <a:pt x="4307612" y="4786279"/>
                </a:moveTo>
                <a:lnTo>
                  <a:pt x="4317523" y="4786279"/>
                </a:lnTo>
                <a:lnTo>
                  <a:pt x="4321543" y="4790317"/>
                </a:lnTo>
                <a:lnTo>
                  <a:pt x="4321543" y="4800188"/>
                </a:lnTo>
                <a:lnTo>
                  <a:pt x="4317523" y="4804227"/>
                </a:lnTo>
                <a:lnTo>
                  <a:pt x="4307612" y="4804227"/>
                </a:lnTo>
                <a:lnTo>
                  <a:pt x="4303595" y="4800188"/>
                </a:lnTo>
                <a:lnTo>
                  <a:pt x="4303595" y="4790317"/>
                </a:lnTo>
                <a:close/>
                <a:moveTo>
                  <a:pt x="4068297" y="4786279"/>
                </a:moveTo>
                <a:lnTo>
                  <a:pt x="4078210" y="4786279"/>
                </a:lnTo>
                <a:lnTo>
                  <a:pt x="4082229" y="4790317"/>
                </a:lnTo>
                <a:lnTo>
                  <a:pt x="4082229" y="4800188"/>
                </a:lnTo>
                <a:lnTo>
                  <a:pt x="4078210" y="4804227"/>
                </a:lnTo>
                <a:lnTo>
                  <a:pt x="4068297" y="4804227"/>
                </a:lnTo>
                <a:lnTo>
                  <a:pt x="4064278" y="4800188"/>
                </a:lnTo>
                <a:lnTo>
                  <a:pt x="4064278" y="4790317"/>
                </a:lnTo>
                <a:close/>
                <a:moveTo>
                  <a:pt x="3828990" y="4786279"/>
                </a:moveTo>
                <a:lnTo>
                  <a:pt x="3838899" y="4786279"/>
                </a:lnTo>
                <a:lnTo>
                  <a:pt x="3842917" y="4790317"/>
                </a:lnTo>
                <a:lnTo>
                  <a:pt x="3842917" y="4800188"/>
                </a:lnTo>
                <a:lnTo>
                  <a:pt x="3838899" y="4804227"/>
                </a:lnTo>
                <a:lnTo>
                  <a:pt x="3828990" y="4804227"/>
                </a:lnTo>
                <a:lnTo>
                  <a:pt x="3824971" y="4800188"/>
                </a:lnTo>
                <a:lnTo>
                  <a:pt x="3824971" y="4790317"/>
                </a:lnTo>
                <a:close/>
                <a:moveTo>
                  <a:pt x="3589676" y="4786279"/>
                </a:moveTo>
                <a:lnTo>
                  <a:pt x="3599585" y="4786279"/>
                </a:lnTo>
                <a:lnTo>
                  <a:pt x="3603604" y="4790317"/>
                </a:lnTo>
                <a:lnTo>
                  <a:pt x="3603604" y="4800188"/>
                </a:lnTo>
                <a:lnTo>
                  <a:pt x="3599585" y="4804227"/>
                </a:lnTo>
                <a:lnTo>
                  <a:pt x="3589676" y="4804227"/>
                </a:lnTo>
                <a:lnTo>
                  <a:pt x="3585657" y="4800188"/>
                </a:lnTo>
                <a:lnTo>
                  <a:pt x="3585657" y="4790317"/>
                </a:lnTo>
                <a:close/>
                <a:moveTo>
                  <a:pt x="3350359" y="4786279"/>
                </a:moveTo>
                <a:lnTo>
                  <a:pt x="3360268" y="4786279"/>
                </a:lnTo>
                <a:lnTo>
                  <a:pt x="3364287" y="4790317"/>
                </a:lnTo>
                <a:lnTo>
                  <a:pt x="3364287" y="4800188"/>
                </a:lnTo>
                <a:lnTo>
                  <a:pt x="3360268" y="4804227"/>
                </a:lnTo>
                <a:lnTo>
                  <a:pt x="3350359" y="4804227"/>
                </a:lnTo>
                <a:lnTo>
                  <a:pt x="3346340" y="4800188"/>
                </a:lnTo>
                <a:lnTo>
                  <a:pt x="3346340" y="4790317"/>
                </a:lnTo>
                <a:close/>
                <a:moveTo>
                  <a:pt x="3111048" y="4786279"/>
                </a:moveTo>
                <a:lnTo>
                  <a:pt x="3120959" y="4786279"/>
                </a:lnTo>
                <a:lnTo>
                  <a:pt x="3124977" y="4790317"/>
                </a:lnTo>
                <a:lnTo>
                  <a:pt x="3124977" y="4800188"/>
                </a:lnTo>
                <a:lnTo>
                  <a:pt x="3120959" y="4804227"/>
                </a:lnTo>
                <a:lnTo>
                  <a:pt x="3111048" y="4804227"/>
                </a:lnTo>
                <a:lnTo>
                  <a:pt x="3107029" y="4800188"/>
                </a:lnTo>
                <a:lnTo>
                  <a:pt x="3107029" y="4790317"/>
                </a:lnTo>
                <a:close/>
                <a:moveTo>
                  <a:pt x="2871737" y="4786279"/>
                </a:moveTo>
                <a:lnTo>
                  <a:pt x="2881646" y="4786279"/>
                </a:lnTo>
                <a:lnTo>
                  <a:pt x="2885666" y="4790317"/>
                </a:lnTo>
                <a:lnTo>
                  <a:pt x="2885666" y="4800188"/>
                </a:lnTo>
                <a:lnTo>
                  <a:pt x="2881646" y="4804227"/>
                </a:lnTo>
                <a:lnTo>
                  <a:pt x="2871737" y="4804227"/>
                </a:lnTo>
                <a:lnTo>
                  <a:pt x="2867717" y="4800188"/>
                </a:lnTo>
                <a:lnTo>
                  <a:pt x="2867717" y="4790317"/>
                </a:lnTo>
                <a:close/>
                <a:moveTo>
                  <a:pt x="2632423" y="4786279"/>
                </a:moveTo>
                <a:lnTo>
                  <a:pt x="2642334" y="4786279"/>
                </a:lnTo>
                <a:lnTo>
                  <a:pt x="2646352" y="4790317"/>
                </a:lnTo>
                <a:lnTo>
                  <a:pt x="2646352" y="4800188"/>
                </a:lnTo>
                <a:lnTo>
                  <a:pt x="2642334" y="4804227"/>
                </a:lnTo>
                <a:lnTo>
                  <a:pt x="2632423" y="4804227"/>
                </a:lnTo>
                <a:lnTo>
                  <a:pt x="2628404" y="4800188"/>
                </a:lnTo>
                <a:lnTo>
                  <a:pt x="2628404" y="4790317"/>
                </a:lnTo>
                <a:close/>
                <a:moveTo>
                  <a:pt x="2393104" y="4786279"/>
                </a:moveTo>
                <a:lnTo>
                  <a:pt x="2403015" y="4786279"/>
                </a:lnTo>
                <a:lnTo>
                  <a:pt x="2407034" y="4790317"/>
                </a:lnTo>
                <a:lnTo>
                  <a:pt x="2407034" y="4800188"/>
                </a:lnTo>
                <a:lnTo>
                  <a:pt x="2403015" y="4804227"/>
                </a:lnTo>
                <a:lnTo>
                  <a:pt x="2393104" y="4804227"/>
                </a:lnTo>
                <a:lnTo>
                  <a:pt x="2389087" y="4800188"/>
                </a:lnTo>
                <a:lnTo>
                  <a:pt x="2389087" y="4790317"/>
                </a:lnTo>
                <a:close/>
                <a:moveTo>
                  <a:pt x="2157819" y="4786279"/>
                </a:moveTo>
                <a:lnTo>
                  <a:pt x="2167729" y="4786279"/>
                </a:lnTo>
                <a:lnTo>
                  <a:pt x="2171748" y="4790317"/>
                </a:lnTo>
                <a:lnTo>
                  <a:pt x="2171748" y="4800188"/>
                </a:lnTo>
                <a:lnTo>
                  <a:pt x="2167729" y="4804227"/>
                </a:lnTo>
                <a:lnTo>
                  <a:pt x="2157819" y="4804227"/>
                </a:lnTo>
                <a:lnTo>
                  <a:pt x="2153800" y="4800188"/>
                </a:lnTo>
                <a:lnTo>
                  <a:pt x="2153800" y="4790317"/>
                </a:lnTo>
                <a:close/>
                <a:moveTo>
                  <a:pt x="1918510" y="4786279"/>
                </a:moveTo>
                <a:lnTo>
                  <a:pt x="1928420" y="4786279"/>
                </a:lnTo>
                <a:lnTo>
                  <a:pt x="1932440" y="4790317"/>
                </a:lnTo>
                <a:lnTo>
                  <a:pt x="1932440" y="4800188"/>
                </a:lnTo>
                <a:lnTo>
                  <a:pt x="1928420" y="4804227"/>
                </a:lnTo>
                <a:lnTo>
                  <a:pt x="1918510" y="4804227"/>
                </a:lnTo>
                <a:lnTo>
                  <a:pt x="1914492" y="4800188"/>
                </a:lnTo>
                <a:lnTo>
                  <a:pt x="1914492" y="4790317"/>
                </a:lnTo>
                <a:close/>
                <a:moveTo>
                  <a:pt x="1679205" y="4786279"/>
                </a:moveTo>
                <a:lnTo>
                  <a:pt x="1689115" y="4786279"/>
                </a:lnTo>
                <a:lnTo>
                  <a:pt x="1693134" y="4790317"/>
                </a:lnTo>
                <a:lnTo>
                  <a:pt x="1693134" y="4800188"/>
                </a:lnTo>
                <a:lnTo>
                  <a:pt x="1689115" y="4804227"/>
                </a:lnTo>
                <a:lnTo>
                  <a:pt x="1679205" y="4804227"/>
                </a:lnTo>
                <a:lnTo>
                  <a:pt x="1675187" y="4800188"/>
                </a:lnTo>
                <a:lnTo>
                  <a:pt x="1675187" y="4790317"/>
                </a:lnTo>
                <a:close/>
                <a:moveTo>
                  <a:pt x="1439890" y="4786279"/>
                </a:moveTo>
                <a:lnTo>
                  <a:pt x="1449800" y="4786279"/>
                </a:lnTo>
                <a:lnTo>
                  <a:pt x="1453818" y="4790317"/>
                </a:lnTo>
                <a:lnTo>
                  <a:pt x="1453818" y="4800188"/>
                </a:lnTo>
                <a:lnTo>
                  <a:pt x="1449800" y="4804227"/>
                </a:lnTo>
                <a:lnTo>
                  <a:pt x="1439890" y="4804227"/>
                </a:lnTo>
                <a:lnTo>
                  <a:pt x="1435870" y="4800188"/>
                </a:lnTo>
                <a:lnTo>
                  <a:pt x="1435870" y="4790317"/>
                </a:lnTo>
                <a:close/>
                <a:moveTo>
                  <a:pt x="1200574" y="4786279"/>
                </a:moveTo>
                <a:lnTo>
                  <a:pt x="1210484" y="4786279"/>
                </a:lnTo>
                <a:lnTo>
                  <a:pt x="1214503" y="4790317"/>
                </a:lnTo>
                <a:lnTo>
                  <a:pt x="1214503" y="4800188"/>
                </a:lnTo>
                <a:lnTo>
                  <a:pt x="1210484" y="4804227"/>
                </a:lnTo>
                <a:lnTo>
                  <a:pt x="1200574" y="4804227"/>
                </a:lnTo>
                <a:lnTo>
                  <a:pt x="1196555" y="4800188"/>
                </a:lnTo>
                <a:lnTo>
                  <a:pt x="1196555" y="4790317"/>
                </a:lnTo>
                <a:close/>
                <a:moveTo>
                  <a:pt x="961262" y="4786279"/>
                </a:moveTo>
                <a:lnTo>
                  <a:pt x="971172" y="4786279"/>
                </a:lnTo>
                <a:lnTo>
                  <a:pt x="975190" y="4790317"/>
                </a:lnTo>
                <a:lnTo>
                  <a:pt x="975190" y="4800188"/>
                </a:lnTo>
                <a:lnTo>
                  <a:pt x="971172" y="4804227"/>
                </a:lnTo>
                <a:lnTo>
                  <a:pt x="961262" y="4804227"/>
                </a:lnTo>
                <a:lnTo>
                  <a:pt x="957242" y="4800188"/>
                </a:lnTo>
                <a:lnTo>
                  <a:pt x="957242" y="4790317"/>
                </a:lnTo>
                <a:close/>
                <a:moveTo>
                  <a:pt x="721963" y="4786279"/>
                </a:moveTo>
                <a:lnTo>
                  <a:pt x="731873" y="4786279"/>
                </a:lnTo>
                <a:lnTo>
                  <a:pt x="735892" y="4790317"/>
                </a:lnTo>
                <a:lnTo>
                  <a:pt x="735892" y="4800188"/>
                </a:lnTo>
                <a:lnTo>
                  <a:pt x="731873" y="4804227"/>
                </a:lnTo>
                <a:lnTo>
                  <a:pt x="721963" y="4804227"/>
                </a:lnTo>
                <a:lnTo>
                  <a:pt x="717944" y="4800188"/>
                </a:lnTo>
                <a:lnTo>
                  <a:pt x="717944" y="4790317"/>
                </a:lnTo>
                <a:close/>
                <a:moveTo>
                  <a:pt x="482651" y="4786279"/>
                </a:moveTo>
                <a:lnTo>
                  <a:pt x="492561" y="4786279"/>
                </a:lnTo>
                <a:lnTo>
                  <a:pt x="496580" y="4790317"/>
                </a:lnTo>
                <a:lnTo>
                  <a:pt x="496580" y="4800188"/>
                </a:lnTo>
                <a:lnTo>
                  <a:pt x="492561" y="4804227"/>
                </a:lnTo>
                <a:lnTo>
                  <a:pt x="482651" y="4804227"/>
                </a:lnTo>
                <a:lnTo>
                  <a:pt x="478632" y="4800188"/>
                </a:lnTo>
                <a:lnTo>
                  <a:pt x="478632" y="4790317"/>
                </a:lnTo>
                <a:close/>
                <a:moveTo>
                  <a:pt x="243338" y="4786279"/>
                </a:moveTo>
                <a:lnTo>
                  <a:pt x="253247" y="4786279"/>
                </a:lnTo>
                <a:lnTo>
                  <a:pt x="257266" y="4790317"/>
                </a:lnTo>
                <a:lnTo>
                  <a:pt x="257266" y="4800188"/>
                </a:lnTo>
                <a:lnTo>
                  <a:pt x="253247" y="4804227"/>
                </a:lnTo>
                <a:lnTo>
                  <a:pt x="243338" y="4804227"/>
                </a:lnTo>
                <a:lnTo>
                  <a:pt x="239318" y="4800188"/>
                </a:lnTo>
                <a:lnTo>
                  <a:pt x="239318" y="4790317"/>
                </a:lnTo>
                <a:close/>
                <a:moveTo>
                  <a:pt x="4024" y="4786279"/>
                </a:moveTo>
                <a:lnTo>
                  <a:pt x="13934" y="4786279"/>
                </a:lnTo>
                <a:lnTo>
                  <a:pt x="17954" y="4790317"/>
                </a:lnTo>
                <a:lnTo>
                  <a:pt x="17954" y="4800188"/>
                </a:lnTo>
                <a:lnTo>
                  <a:pt x="13934" y="4804227"/>
                </a:lnTo>
                <a:lnTo>
                  <a:pt x="4024" y="4804227"/>
                </a:lnTo>
                <a:lnTo>
                  <a:pt x="5" y="4800188"/>
                </a:lnTo>
                <a:lnTo>
                  <a:pt x="5" y="4790317"/>
                </a:lnTo>
                <a:close/>
                <a:moveTo>
                  <a:pt x="2157819" y="4546999"/>
                </a:moveTo>
                <a:lnTo>
                  <a:pt x="2167729" y="4546999"/>
                </a:lnTo>
                <a:lnTo>
                  <a:pt x="2171748" y="4551038"/>
                </a:lnTo>
                <a:lnTo>
                  <a:pt x="2171748" y="4560909"/>
                </a:lnTo>
                <a:lnTo>
                  <a:pt x="2167729" y="4564948"/>
                </a:lnTo>
                <a:lnTo>
                  <a:pt x="2157819" y="4564948"/>
                </a:lnTo>
                <a:lnTo>
                  <a:pt x="2153801" y="4560909"/>
                </a:lnTo>
                <a:lnTo>
                  <a:pt x="2153801" y="4551038"/>
                </a:lnTo>
                <a:close/>
                <a:moveTo>
                  <a:pt x="1918510" y="4546999"/>
                </a:moveTo>
                <a:lnTo>
                  <a:pt x="1928421" y="4546999"/>
                </a:lnTo>
                <a:lnTo>
                  <a:pt x="1932440" y="4551038"/>
                </a:lnTo>
                <a:lnTo>
                  <a:pt x="1932440" y="4560909"/>
                </a:lnTo>
                <a:lnTo>
                  <a:pt x="1928421" y="4564948"/>
                </a:lnTo>
                <a:lnTo>
                  <a:pt x="1918510" y="4564948"/>
                </a:lnTo>
                <a:lnTo>
                  <a:pt x="1914492" y="4560909"/>
                </a:lnTo>
                <a:lnTo>
                  <a:pt x="1914492" y="4551038"/>
                </a:lnTo>
                <a:close/>
                <a:moveTo>
                  <a:pt x="1679206" y="4546999"/>
                </a:moveTo>
                <a:lnTo>
                  <a:pt x="1689116" y="4546999"/>
                </a:lnTo>
                <a:lnTo>
                  <a:pt x="1693134" y="4551038"/>
                </a:lnTo>
                <a:lnTo>
                  <a:pt x="1693134" y="4560909"/>
                </a:lnTo>
                <a:lnTo>
                  <a:pt x="1689116" y="4564948"/>
                </a:lnTo>
                <a:lnTo>
                  <a:pt x="1679206" y="4564948"/>
                </a:lnTo>
                <a:lnTo>
                  <a:pt x="1675187" y="4560909"/>
                </a:lnTo>
                <a:lnTo>
                  <a:pt x="1675187" y="4551038"/>
                </a:lnTo>
                <a:close/>
                <a:moveTo>
                  <a:pt x="1439890" y="4546999"/>
                </a:moveTo>
                <a:lnTo>
                  <a:pt x="1449800" y="4546999"/>
                </a:lnTo>
                <a:lnTo>
                  <a:pt x="1453819" y="4551038"/>
                </a:lnTo>
                <a:lnTo>
                  <a:pt x="1453819" y="4560909"/>
                </a:lnTo>
                <a:lnTo>
                  <a:pt x="1449800" y="4564948"/>
                </a:lnTo>
                <a:lnTo>
                  <a:pt x="1439890" y="4564948"/>
                </a:lnTo>
                <a:lnTo>
                  <a:pt x="1435871" y="4560909"/>
                </a:lnTo>
                <a:lnTo>
                  <a:pt x="1435871" y="4551038"/>
                </a:lnTo>
                <a:close/>
                <a:moveTo>
                  <a:pt x="1200575" y="4546999"/>
                </a:moveTo>
                <a:lnTo>
                  <a:pt x="1210485" y="4546999"/>
                </a:lnTo>
                <a:lnTo>
                  <a:pt x="1214504" y="4551038"/>
                </a:lnTo>
                <a:lnTo>
                  <a:pt x="1214504" y="4560909"/>
                </a:lnTo>
                <a:lnTo>
                  <a:pt x="1210485" y="4564948"/>
                </a:lnTo>
                <a:lnTo>
                  <a:pt x="1200575" y="4564948"/>
                </a:lnTo>
                <a:lnTo>
                  <a:pt x="1196556" y="4560909"/>
                </a:lnTo>
                <a:lnTo>
                  <a:pt x="1196556" y="4551038"/>
                </a:lnTo>
                <a:close/>
                <a:moveTo>
                  <a:pt x="961262" y="4546999"/>
                </a:moveTo>
                <a:lnTo>
                  <a:pt x="971172" y="4546999"/>
                </a:lnTo>
                <a:lnTo>
                  <a:pt x="975191" y="4551038"/>
                </a:lnTo>
                <a:lnTo>
                  <a:pt x="975191" y="4560909"/>
                </a:lnTo>
                <a:lnTo>
                  <a:pt x="971172" y="4564948"/>
                </a:lnTo>
                <a:lnTo>
                  <a:pt x="961262" y="4564948"/>
                </a:lnTo>
                <a:lnTo>
                  <a:pt x="957243" y="4560909"/>
                </a:lnTo>
                <a:lnTo>
                  <a:pt x="957243" y="4551038"/>
                </a:lnTo>
                <a:close/>
                <a:moveTo>
                  <a:pt x="9572438" y="4546948"/>
                </a:moveTo>
                <a:lnTo>
                  <a:pt x="9582349" y="4546948"/>
                </a:lnTo>
                <a:lnTo>
                  <a:pt x="9586368" y="4550987"/>
                </a:lnTo>
                <a:lnTo>
                  <a:pt x="9586368" y="4560858"/>
                </a:lnTo>
                <a:lnTo>
                  <a:pt x="9582349" y="4564897"/>
                </a:lnTo>
                <a:lnTo>
                  <a:pt x="9572438" y="4564897"/>
                </a:lnTo>
                <a:lnTo>
                  <a:pt x="9568419" y="4560858"/>
                </a:lnTo>
                <a:lnTo>
                  <a:pt x="9568419" y="4550987"/>
                </a:lnTo>
                <a:close/>
                <a:moveTo>
                  <a:pt x="9333125" y="4546948"/>
                </a:moveTo>
                <a:lnTo>
                  <a:pt x="9343036" y="4546948"/>
                </a:lnTo>
                <a:lnTo>
                  <a:pt x="9347055" y="4550987"/>
                </a:lnTo>
                <a:lnTo>
                  <a:pt x="9347055" y="4560858"/>
                </a:lnTo>
                <a:lnTo>
                  <a:pt x="9343036" y="4564897"/>
                </a:lnTo>
                <a:lnTo>
                  <a:pt x="9333125" y="4564897"/>
                </a:lnTo>
                <a:lnTo>
                  <a:pt x="9329106" y="4560858"/>
                </a:lnTo>
                <a:lnTo>
                  <a:pt x="9329106" y="4550987"/>
                </a:lnTo>
                <a:close/>
                <a:moveTo>
                  <a:pt x="9093811" y="4546948"/>
                </a:moveTo>
                <a:lnTo>
                  <a:pt x="9103722" y="4546948"/>
                </a:lnTo>
                <a:lnTo>
                  <a:pt x="9107741" y="4550987"/>
                </a:lnTo>
                <a:lnTo>
                  <a:pt x="9107741" y="4560858"/>
                </a:lnTo>
                <a:lnTo>
                  <a:pt x="9103722" y="4564897"/>
                </a:lnTo>
                <a:lnTo>
                  <a:pt x="9093811" y="4564897"/>
                </a:lnTo>
                <a:lnTo>
                  <a:pt x="9089792" y="4560858"/>
                </a:lnTo>
                <a:lnTo>
                  <a:pt x="9089792" y="4550987"/>
                </a:lnTo>
                <a:close/>
                <a:moveTo>
                  <a:pt x="8854496" y="4546948"/>
                </a:moveTo>
                <a:lnTo>
                  <a:pt x="8864407" y="4546948"/>
                </a:lnTo>
                <a:lnTo>
                  <a:pt x="8868426" y="4550987"/>
                </a:lnTo>
                <a:lnTo>
                  <a:pt x="8868426" y="4560858"/>
                </a:lnTo>
                <a:lnTo>
                  <a:pt x="8864407" y="4564897"/>
                </a:lnTo>
                <a:lnTo>
                  <a:pt x="8854496" y="4564897"/>
                </a:lnTo>
                <a:lnTo>
                  <a:pt x="8850477" y="4560858"/>
                </a:lnTo>
                <a:lnTo>
                  <a:pt x="8850477" y="4550987"/>
                </a:lnTo>
                <a:close/>
                <a:moveTo>
                  <a:pt x="8615184" y="4546948"/>
                </a:moveTo>
                <a:lnTo>
                  <a:pt x="8625095" y="4546948"/>
                </a:lnTo>
                <a:lnTo>
                  <a:pt x="8629114" y="4550987"/>
                </a:lnTo>
                <a:lnTo>
                  <a:pt x="8629114" y="4560858"/>
                </a:lnTo>
                <a:lnTo>
                  <a:pt x="8625095" y="4564897"/>
                </a:lnTo>
                <a:lnTo>
                  <a:pt x="8615184" y="4564897"/>
                </a:lnTo>
                <a:lnTo>
                  <a:pt x="8611165" y="4560858"/>
                </a:lnTo>
                <a:lnTo>
                  <a:pt x="8611165" y="4550987"/>
                </a:lnTo>
                <a:close/>
                <a:moveTo>
                  <a:pt x="8375869" y="4546948"/>
                </a:moveTo>
                <a:lnTo>
                  <a:pt x="8385779" y="4546948"/>
                </a:lnTo>
                <a:lnTo>
                  <a:pt x="8389799" y="4550987"/>
                </a:lnTo>
                <a:lnTo>
                  <a:pt x="8389799" y="4560858"/>
                </a:lnTo>
                <a:lnTo>
                  <a:pt x="8385779" y="4564897"/>
                </a:lnTo>
                <a:lnTo>
                  <a:pt x="8375869" y="4564897"/>
                </a:lnTo>
                <a:lnTo>
                  <a:pt x="8371850" y="4560858"/>
                </a:lnTo>
                <a:lnTo>
                  <a:pt x="8371850" y="4550987"/>
                </a:lnTo>
                <a:close/>
                <a:moveTo>
                  <a:pt x="8136553" y="4546948"/>
                </a:moveTo>
                <a:lnTo>
                  <a:pt x="8146464" y="4546948"/>
                </a:lnTo>
                <a:lnTo>
                  <a:pt x="8150483" y="4550987"/>
                </a:lnTo>
                <a:lnTo>
                  <a:pt x="8150483" y="4560858"/>
                </a:lnTo>
                <a:lnTo>
                  <a:pt x="8146464" y="4564897"/>
                </a:lnTo>
                <a:lnTo>
                  <a:pt x="8136553" y="4564897"/>
                </a:lnTo>
                <a:lnTo>
                  <a:pt x="8132534" y="4560858"/>
                </a:lnTo>
                <a:lnTo>
                  <a:pt x="8132534" y="4550987"/>
                </a:lnTo>
                <a:close/>
                <a:moveTo>
                  <a:pt x="7897241" y="4546948"/>
                </a:moveTo>
                <a:lnTo>
                  <a:pt x="7907151" y="4546948"/>
                </a:lnTo>
                <a:lnTo>
                  <a:pt x="7911170" y="4550987"/>
                </a:lnTo>
                <a:lnTo>
                  <a:pt x="7911170" y="4560858"/>
                </a:lnTo>
                <a:lnTo>
                  <a:pt x="7907151" y="4564897"/>
                </a:lnTo>
                <a:lnTo>
                  <a:pt x="7897241" y="4564897"/>
                </a:lnTo>
                <a:lnTo>
                  <a:pt x="7893222" y="4560858"/>
                </a:lnTo>
                <a:lnTo>
                  <a:pt x="7893222" y="4550987"/>
                </a:lnTo>
                <a:close/>
                <a:moveTo>
                  <a:pt x="7657926" y="4546948"/>
                </a:moveTo>
                <a:lnTo>
                  <a:pt x="7667836" y="4546948"/>
                </a:lnTo>
                <a:lnTo>
                  <a:pt x="7671855" y="4550987"/>
                </a:lnTo>
                <a:lnTo>
                  <a:pt x="7671855" y="4560858"/>
                </a:lnTo>
                <a:lnTo>
                  <a:pt x="7667836" y="4564897"/>
                </a:lnTo>
                <a:lnTo>
                  <a:pt x="7657926" y="4564897"/>
                </a:lnTo>
                <a:lnTo>
                  <a:pt x="7653906" y="4560858"/>
                </a:lnTo>
                <a:lnTo>
                  <a:pt x="7653906" y="4550987"/>
                </a:lnTo>
                <a:close/>
                <a:moveTo>
                  <a:pt x="7418611" y="4546948"/>
                </a:moveTo>
                <a:lnTo>
                  <a:pt x="7428521" y="4546948"/>
                </a:lnTo>
                <a:lnTo>
                  <a:pt x="7432540" y="4550987"/>
                </a:lnTo>
                <a:lnTo>
                  <a:pt x="7432540" y="4560858"/>
                </a:lnTo>
                <a:lnTo>
                  <a:pt x="7428521" y="4564897"/>
                </a:lnTo>
                <a:lnTo>
                  <a:pt x="7418611" y="4564897"/>
                </a:lnTo>
                <a:lnTo>
                  <a:pt x="7414592" y="4560858"/>
                </a:lnTo>
                <a:lnTo>
                  <a:pt x="7414592" y="4550987"/>
                </a:lnTo>
                <a:close/>
                <a:moveTo>
                  <a:pt x="7179298" y="4546948"/>
                </a:moveTo>
                <a:lnTo>
                  <a:pt x="7189209" y="4546948"/>
                </a:lnTo>
                <a:lnTo>
                  <a:pt x="7193228" y="4550987"/>
                </a:lnTo>
                <a:lnTo>
                  <a:pt x="7193228" y="4560858"/>
                </a:lnTo>
                <a:lnTo>
                  <a:pt x="7189209" y="4564897"/>
                </a:lnTo>
                <a:lnTo>
                  <a:pt x="7179298" y="4564897"/>
                </a:lnTo>
                <a:lnTo>
                  <a:pt x="7175279" y="4560858"/>
                </a:lnTo>
                <a:lnTo>
                  <a:pt x="7175279" y="4550987"/>
                </a:lnTo>
                <a:close/>
                <a:moveTo>
                  <a:pt x="6939983" y="4546948"/>
                </a:moveTo>
                <a:lnTo>
                  <a:pt x="6949894" y="4546948"/>
                </a:lnTo>
                <a:lnTo>
                  <a:pt x="6953913" y="4550987"/>
                </a:lnTo>
                <a:lnTo>
                  <a:pt x="6953913" y="4560858"/>
                </a:lnTo>
                <a:lnTo>
                  <a:pt x="6949894" y="4564897"/>
                </a:lnTo>
                <a:lnTo>
                  <a:pt x="6939983" y="4564897"/>
                </a:lnTo>
                <a:lnTo>
                  <a:pt x="6935964" y="4560858"/>
                </a:lnTo>
                <a:lnTo>
                  <a:pt x="6935964" y="4550987"/>
                </a:lnTo>
                <a:close/>
                <a:moveTo>
                  <a:pt x="6700670" y="4546948"/>
                </a:moveTo>
                <a:lnTo>
                  <a:pt x="6710581" y="4546948"/>
                </a:lnTo>
                <a:lnTo>
                  <a:pt x="6714600" y="4550987"/>
                </a:lnTo>
                <a:lnTo>
                  <a:pt x="6714600" y="4560858"/>
                </a:lnTo>
                <a:lnTo>
                  <a:pt x="6710581" y="4564897"/>
                </a:lnTo>
                <a:lnTo>
                  <a:pt x="6700670" y="4564897"/>
                </a:lnTo>
                <a:lnTo>
                  <a:pt x="6696651" y="4560858"/>
                </a:lnTo>
                <a:lnTo>
                  <a:pt x="6696651" y="4550987"/>
                </a:lnTo>
                <a:close/>
                <a:moveTo>
                  <a:pt x="6461356" y="4546948"/>
                </a:moveTo>
                <a:lnTo>
                  <a:pt x="6471266" y="4546948"/>
                </a:lnTo>
                <a:lnTo>
                  <a:pt x="6475285" y="4550987"/>
                </a:lnTo>
                <a:lnTo>
                  <a:pt x="6475285" y="4560858"/>
                </a:lnTo>
                <a:lnTo>
                  <a:pt x="6471266" y="4564897"/>
                </a:lnTo>
                <a:lnTo>
                  <a:pt x="6461356" y="4564897"/>
                </a:lnTo>
                <a:lnTo>
                  <a:pt x="6457337" y="4560858"/>
                </a:lnTo>
                <a:lnTo>
                  <a:pt x="6457337" y="4550987"/>
                </a:lnTo>
                <a:close/>
                <a:moveTo>
                  <a:pt x="6222042" y="4546948"/>
                </a:moveTo>
                <a:lnTo>
                  <a:pt x="6231952" y="4546948"/>
                </a:lnTo>
                <a:lnTo>
                  <a:pt x="6235971" y="4550987"/>
                </a:lnTo>
                <a:lnTo>
                  <a:pt x="6235971" y="4560858"/>
                </a:lnTo>
                <a:lnTo>
                  <a:pt x="6231952" y="4564897"/>
                </a:lnTo>
                <a:lnTo>
                  <a:pt x="6222042" y="4564897"/>
                </a:lnTo>
                <a:lnTo>
                  <a:pt x="6218023" y="4560858"/>
                </a:lnTo>
                <a:lnTo>
                  <a:pt x="6218023" y="4550987"/>
                </a:lnTo>
                <a:close/>
                <a:moveTo>
                  <a:pt x="5982729" y="4546948"/>
                </a:moveTo>
                <a:lnTo>
                  <a:pt x="5992639" y="4546948"/>
                </a:lnTo>
                <a:lnTo>
                  <a:pt x="5996658" y="4550987"/>
                </a:lnTo>
                <a:lnTo>
                  <a:pt x="5996658" y="4560858"/>
                </a:lnTo>
                <a:lnTo>
                  <a:pt x="5992639" y="4564897"/>
                </a:lnTo>
                <a:lnTo>
                  <a:pt x="5982729" y="4564897"/>
                </a:lnTo>
                <a:lnTo>
                  <a:pt x="5978710" y="4560858"/>
                </a:lnTo>
                <a:lnTo>
                  <a:pt x="5978710" y="4550987"/>
                </a:lnTo>
                <a:close/>
                <a:moveTo>
                  <a:pt x="5743412" y="4546948"/>
                </a:moveTo>
                <a:lnTo>
                  <a:pt x="5753323" y="4546948"/>
                </a:lnTo>
                <a:lnTo>
                  <a:pt x="5757342" y="4550987"/>
                </a:lnTo>
                <a:lnTo>
                  <a:pt x="5757342" y="4560858"/>
                </a:lnTo>
                <a:lnTo>
                  <a:pt x="5753323" y="4564897"/>
                </a:lnTo>
                <a:lnTo>
                  <a:pt x="5743412" y="4564897"/>
                </a:lnTo>
                <a:lnTo>
                  <a:pt x="5739393" y="4560858"/>
                </a:lnTo>
                <a:lnTo>
                  <a:pt x="5739393" y="4550987"/>
                </a:lnTo>
                <a:close/>
                <a:moveTo>
                  <a:pt x="5504099" y="4546948"/>
                </a:moveTo>
                <a:lnTo>
                  <a:pt x="5514010" y="4546948"/>
                </a:lnTo>
                <a:lnTo>
                  <a:pt x="5518029" y="4550987"/>
                </a:lnTo>
                <a:lnTo>
                  <a:pt x="5518029" y="4560858"/>
                </a:lnTo>
                <a:lnTo>
                  <a:pt x="5514010" y="4564897"/>
                </a:lnTo>
                <a:lnTo>
                  <a:pt x="5504099" y="4564897"/>
                </a:lnTo>
                <a:lnTo>
                  <a:pt x="5500080" y="4560858"/>
                </a:lnTo>
                <a:lnTo>
                  <a:pt x="5500080" y="4550987"/>
                </a:lnTo>
                <a:close/>
                <a:moveTo>
                  <a:pt x="5264784" y="4546948"/>
                </a:moveTo>
                <a:lnTo>
                  <a:pt x="5274694" y="4546948"/>
                </a:lnTo>
                <a:lnTo>
                  <a:pt x="5278713" y="4550987"/>
                </a:lnTo>
                <a:lnTo>
                  <a:pt x="5278713" y="4560858"/>
                </a:lnTo>
                <a:lnTo>
                  <a:pt x="5274694" y="4564897"/>
                </a:lnTo>
                <a:lnTo>
                  <a:pt x="5264784" y="4564897"/>
                </a:lnTo>
                <a:lnTo>
                  <a:pt x="5260765" y="4560858"/>
                </a:lnTo>
                <a:lnTo>
                  <a:pt x="5260765" y="4550987"/>
                </a:lnTo>
                <a:close/>
                <a:moveTo>
                  <a:pt x="5025470" y="4546948"/>
                </a:moveTo>
                <a:lnTo>
                  <a:pt x="5035381" y="4546948"/>
                </a:lnTo>
                <a:lnTo>
                  <a:pt x="5039400" y="4550987"/>
                </a:lnTo>
                <a:lnTo>
                  <a:pt x="5039400" y="4560858"/>
                </a:lnTo>
                <a:lnTo>
                  <a:pt x="5035381" y="4564897"/>
                </a:lnTo>
                <a:lnTo>
                  <a:pt x="5025470" y="4564897"/>
                </a:lnTo>
                <a:lnTo>
                  <a:pt x="5021451" y="4560858"/>
                </a:lnTo>
                <a:lnTo>
                  <a:pt x="5021451" y="4550987"/>
                </a:lnTo>
                <a:close/>
                <a:moveTo>
                  <a:pt x="4786241" y="4546948"/>
                </a:moveTo>
                <a:lnTo>
                  <a:pt x="4796152" y="4546948"/>
                </a:lnTo>
                <a:lnTo>
                  <a:pt x="4800171" y="4550987"/>
                </a:lnTo>
                <a:lnTo>
                  <a:pt x="4800171" y="4560858"/>
                </a:lnTo>
                <a:lnTo>
                  <a:pt x="4796152" y="4564897"/>
                </a:lnTo>
                <a:lnTo>
                  <a:pt x="4786241" y="4564897"/>
                </a:lnTo>
                <a:lnTo>
                  <a:pt x="4782224" y="4560858"/>
                </a:lnTo>
                <a:lnTo>
                  <a:pt x="4782224" y="4550987"/>
                </a:lnTo>
                <a:close/>
                <a:moveTo>
                  <a:pt x="4546929" y="4546948"/>
                </a:moveTo>
                <a:lnTo>
                  <a:pt x="4556840" y="4546948"/>
                </a:lnTo>
                <a:lnTo>
                  <a:pt x="4560859" y="4550987"/>
                </a:lnTo>
                <a:lnTo>
                  <a:pt x="4560859" y="4560858"/>
                </a:lnTo>
                <a:lnTo>
                  <a:pt x="4556840" y="4564897"/>
                </a:lnTo>
                <a:lnTo>
                  <a:pt x="4546929" y="4564897"/>
                </a:lnTo>
                <a:lnTo>
                  <a:pt x="4542910" y="4560858"/>
                </a:lnTo>
                <a:lnTo>
                  <a:pt x="4542910" y="4550987"/>
                </a:lnTo>
                <a:close/>
                <a:moveTo>
                  <a:pt x="4307612" y="4546948"/>
                </a:moveTo>
                <a:lnTo>
                  <a:pt x="4317523" y="4546948"/>
                </a:lnTo>
                <a:lnTo>
                  <a:pt x="4321543" y="4550987"/>
                </a:lnTo>
                <a:lnTo>
                  <a:pt x="4321543" y="4560858"/>
                </a:lnTo>
                <a:lnTo>
                  <a:pt x="4317523" y="4564897"/>
                </a:lnTo>
                <a:lnTo>
                  <a:pt x="4307612" y="4564897"/>
                </a:lnTo>
                <a:lnTo>
                  <a:pt x="4303595" y="4560858"/>
                </a:lnTo>
                <a:lnTo>
                  <a:pt x="4303595" y="4550987"/>
                </a:lnTo>
                <a:close/>
                <a:moveTo>
                  <a:pt x="4068297" y="4546948"/>
                </a:moveTo>
                <a:lnTo>
                  <a:pt x="4078210" y="4546948"/>
                </a:lnTo>
                <a:lnTo>
                  <a:pt x="4082229" y="4550987"/>
                </a:lnTo>
                <a:lnTo>
                  <a:pt x="4082229" y="4560858"/>
                </a:lnTo>
                <a:lnTo>
                  <a:pt x="4078210" y="4564897"/>
                </a:lnTo>
                <a:lnTo>
                  <a:pt x="4068297" y="4564897"/>
                </a:lnTo>
                <a:lnTo>
                  <a:pt x="4064278" y="4560858"/>
                </a:lnTo>
                <a:lnTo>
                  <a:pt x="4064278" y="4550987"/>
                </a:lnTo>
                <a:close/>
                <a:moveTo>
                  <a:pt x="3828990" y="4546948"/>
                </a:moveTo>
                <a:lnTo>
                  <a:pt x="3838899" y="4546948"/>
                </a:lnTo>
                <a:lnTo>
                  <a:pt x="3842917" y="4550987"/>
                </a:lnTo>
                <a:lnTo>
                  <a:pt x="3842917" y="4560858"/>
                </a:lnTo>
                <a:lnTo>
                  <a:pt x="3838899" y="4564897"/>
                </a:lnTo>
                <a:lnTo>
                  <a:pt x="3828990" y="4564897"/>
                </a:lnTo>
                <a:lnTo>
                  <a:pt x="3824971" y="4560858"/>
                </a:lnTo>
                <a:lnTo>
                  <a:pt x="3824971" y="4550987"/>
                </a:lnTo>
                <a:close/>
                <a:moveTo>
                  <a:pt x="3589676" y="4546948"/>
                </a:moveTo>
                <a:lnTo>
                  <a:pt x="3599585" y="4546948"/>
                </a:lnTo>
                <a:lnTo>
                  <a:pt x="3603604" y="4550987"/>
                </a:lnTo>
                <a:lnTo>
                  <a:pt x="3603604" y="4560858"/>
                </a:lnTo>
                <a:lnTo>
                  <a:pt x="3599585" y="4564897"/>
                </a:lnTo>
                <a:lnTo>
                  <a:pt x="3589676" y="4564897"/>
                </a:lnTo>
                <a:lnTo>
                  <a:pt x="3585657" y="4560858"/>
                </a:lnTo>
                <a:lnTo>
                  <a:pt x="3585657" y="4550987"/>
                </a:lnTo>
                <a:close/>
                <a:moveTo>
                  <a:pt x="3350359" y="4546948"/>
                </a:moveTo>
                <a:lnTo>
                  <a:pt x="3360268" y="4546948"/>
                </a:lnTo>
                <a:lnTo>
                  <a:pt x="3364287" y="4550987"/>
                </a:lnTo>
                <a:lnTo>
                  <a:pt x="3364287" y="4560858"/>
                </a:lnTo>
                <a:lnTo>
                  <a:pt x="3360268" y="4564897"/>
                </a:lnTo>
                <a:lnTo>
                  <a:pt x="3350359" y="4564897"/>
                </a:lnTo>
                <a:lnTo>
                  <a:pt x="3346340" y="4560858"/>
                </a:lnTo>
                <a:lnTo>
                  <a:pt x="3346340" y="4550987"/>
                </a:lnTo>
                <a:close/>
                <a:moveTo>
                  <a:pt x="3111048" y="4546948"/>
                </a:moveTo>
                <a:lnTo>
                  <a:pt x="3120959" y="4546948"/>
                </a:lnTo>
                <a:lnTo>
                  <a:pt x="3124977" y="4550987"/>
                </a:lnTo>
                <a:lnTo>
                  <a:pt x="3124977" y="4560858"/>
                </a:lnTo>
                <a:lnTo>
                  <a:pt x="3120959" y="4564897"/>
                </a:lnTo>
                <a:lnTo>
                  <a:pt x="3111048" y="4564897"/>
                </a:lnTo>
                <a:lnTo>
                  <a:pt x="3107029" y="4560858"/>
                </a:lnTo>
                <a:lnTo>
                  <a:pt x="3107029" y="4550987"/>
                </a:lnTo>
                <a:close/>
                <a:moveTo>
                  <a:pt x="2871737" y="4546948"/>
                </a:moveTo>
                <a:lnTo>
                  <a:pt x="2881646" y="4546948"/>
                </a:lnTo>
                <a:lnTo>
                  <a:pt x="2885666" y="4550987"/>
                </a:lnTo>
                <a:lnTo>
                  <a:pt x="2885666" y="4560858"/>
                </a:lnTo>
                <a:lnTo>
                  <a:pt x="2881646" y="4564897"/>
                </a:lnTo>
                <a:lnTo>
                  <a:pt x="2871737" y="4564897"/>
                </a:lnTo>
                <a:lnTo>
                  <a:pt x="2867717" y="4560858"/>
                </a:lnTo>
                <a:lnTo>
                  <a:pt x="2867717" y="4550987"/>
                </a:lnTo>
                <a:close/>
                <a:moveTo>
                  <a:pt x="2632423" y="4546948"/>
                </a:moveTo>
                <a:lnTo>
                  <a:pt x="2642334" y="4546948"/>
                </a:lnTo>
                <a:lnTo>
                  <a:pt x="2646352" y="4550987"/>
                </a:lnTo>
                <a:lnTo>
                  <a:pt x="2646352" y="4560858"/>
                </a:lnTo>
                <a:lnTo>
                  <a:pt x="2642334" y="4564897"/>
                </a:lnTo>
                <a:lnTo>
                  <a:pt x="2632423" y="4564897"/>
                </a:lnTo>
                <a:lnTo>
                  <a:pt x="2628404" y="4560858"/>
                </a:lnTo>
                <a:lnTo>
                  <a:pt x="2628404" y="4550987"/>
                </a:lnTo>
                <a:close/>
                <a:moveTo>
                  <a:pt x="2393104" y="4546948"/>
                </a:moveTo>
                <a:lnTo>
                  <a:pt x="2403015" y="4546948"/>
                </a:lnTo>
                <a:lnTo>
                  <a:pt x="2407034" y="4550987"/>
                </a:lnTo>
                <a:lnTo>
                  <a:pt x="2407034" y="4560858"/>
                </a:lnTo>
                <a:lnTo>
                  <a:pt x="2403015" y="4564897"/>
                </a:lnTo>
                <a:lnTo>
                  <a:pt x="2393104" y="4564897"/>
                </a:lnTo>
                <a:lnTo>
                  <a:pt x="2389087" y="4560858"/>
                </a:lnTo>
                <a:lnTo>
                  <a:pt x="2389087" y="4550987"/>
                </a:lnTo>
                <a:close/>
                <a:moveTo>
                  <a:pt x="721964" y="4546948"/>
                </a:moveTo>
                <a:lnTo>
                  <a:pt x="731874" y="4546948"/>
                </a:lnTo>
                <a:lnTo>
                  <a:pt x="735893" y="4550987"/>
                </a:lnTo>
                <a:lnTo>
                  <a:pt x="735893" y="4560858"/>
                </a:lnTo>
                <a:lnTo>
                  <a:pt x="731874" y="4564897"/>
                </a:lnTo>
                <a:lnTo>
                  <a:pt x="721964" y="4564897"/>
                </a:lnTo>
                <a:lnTo>
                  <a:pt x="717945" y="4560858"/>
                </a:lnTo>
                <a:lnTo>
                  <a:pt x="717945" y="4550987"/>
                </a:lnTo>
                <a:close/>
                <a:moveTo>
                  <a:pt x="482651" y="4546948"/>
                </a:moveTo>
                <a:lnTo>
                  <a:pt x="492562" y="4546948"/>
                </a:lnTo>
                <a:lnTo>
                  <a:pt x="496581" y="4550987"/>
                </a:lnTo>
                <a:lnTo>
                  <a:pt x="496581" y="4560858"/>
                </a:lnTo>
                <a:lnTo>
                  <a:pt x="492562" y="4564897"/>
                </a:lnTo>
                <a:lnTo>
                  <a:pt x="482651" y="4564897"/>
                </a:lnTo>
                <a:lnTo>
                  <a:pt x="478632" y="4560858"/>
                </a:lnTo>
                <a:lnTo>
                  <a:pt x="478632" y="4550987"/>
                </a:lnTo>
                <a:close/>
                <a:moveTo>
                  <a:pt x="243338" y="4546948"/>
                </a:moveTo>
                <a:lnTo>
                  <a:pt x="253248" y="4546948"/>
                </a:lnTo>
                <a:lnTo>
                  <a:pt x="257267" y="4550987"/>
                </a:lnTo>
                <a:lnTo>
                  <a:pt x="257267" y="4560858"/>
                </a:lnTo>
                <a:lnTo>
                  <a:pt x="253248" y="4564897"/>
                </a:lnTo>
                <a:lnTo>
                  <a:pt x="243338" y="4564897"/>
                </a:lnTo>
                <a:lnTo>
                  <a:pt x="239319" y="4560858"/>
                </a:lnTo>
                <a:lnTo>
                  <a:pt x="239319" y="4550987"/>
                </a:lnTo>
                <a:close/>
                <a:moveTo>
                  <a:pt x="4025" y="4546948"/>
                </a:moveTo>
                <a:lnTo>
                  <a:pt x="13935" y="4546948"/>
                </a:lnTo>
                <a:lnTo>
                  <a:pt x="17954" y="4550987"/>
                </a:lnTo>
                <a:lnTo>
                  <a:pt x="17954" y="4560858"/>
                </a:lnTo>
                <a:lnTo>
                  <a:pt x="13935" y="4564897"/>
                </a:lnTo>
                <a:lnTo>
                  <a:pt x="4025" y="4564897"/>
                </a:lnTo>
                <a:lnTo>
                  <a:pt x="6" y="4560858"/>
                </a:lnTo>
                <a:lnTo>
                  <a:pt x="6" y="4550987"/>
                </a:lnTo>
                <a:close/>
                <a:moveTo>
                  <a:pt x="2157819" y="4307669"/>
                </a:moveTo>
                <a:lnTo>
                  <a:pt x="2167729" y="4307669"/>
                </a:lnTo>
                <a:lnTo>
                  <a:pt x="2171749" y="4311708"/>
                </a:lnTo>
                <a:lnTo>
                  <a:pt x="2171749" y="4321579"/>
                </a:lnTo>
                <a:lnTo>
                  <a:pt x="2167729" y="4325618"/>
                </a:lnTo>
                <a:lnTo>
                  <a:pt x="2157819" y="4325618"/>
                </a:lnTo>
                <a:lnTo>
                  <a:pt x="2153801" y="4321579"/>
                </a:lnTo>
                <a:lnTo>
                  <a:pt x="2153801" y="4311708"/>
                </a:lnTo>
                <a:close/>
                <a:moveTo>
                  <a:pt x="1918511" y="4307669"/>
                </a:moveTo>
                <a:lnTo>
                  <a:pt x="1928421" y="4307669"/>
                </a:lnTo>
                <a:lnTo>
                  <a:pt x="1932440" y="4311708"/>
                </a:lnTo>
                <a:lnTo>
                  <a:pt x="1932440" y="4321579"/>
                </a:lnTo>
                <a:lnTo>
                  <a:pt x="1928421" y="4325618"/>
                </a:lnTo>
                <a:lnTo>
                  <a:pt x="1918511" y="4325618"/>
                </a:lnTo>
                <a:lnTo>
                  <a:pt x="1914492" y="4321579"/>
                </a:lnTo>
                <a:lnTo>
                  <a:pt x="1914492" y="4311708"/>
                </a:lnTo>
                <a:close/>
                <a:moveTo>
                  <a:pt x="1679206" y="4307669"/>
                </a:moveTo>
                <a:lnTo>
                  <a:pt x="1689117" y="4307669"/>
                </a:lnTo>
                <a:lnTo>
                  <a:pt x="1693136" y="4311708"/>
                </a:lnTo>
                <a:lnTo>
                  <a:pt x="1693136" y="4321579"/>
                </a:lnTo>
                <a:lnTo>
                  <a:pt x="1689117" y="4325618"/>
                </a:lnTo>
                <a:lnTo>
                  <a:pt x="1679206" y="4325618"/>
                </a:lnTo>
                <a:lnTo>
                  <a:pt x="1675188" y="4321579"/>
                </a:lnTo>
                <a:lnTo>
                  <a:pt x="1675188" y="4311708"/>
                </a:lnTo>
                <a:close/>
                <a:moveTo>
                  <a:pt x="1439891" y="4307669"/>
                </a:moveTo>
                <a:lnTo>
                  <a:pt x="1449801" y="4307669"/>
                </a:lnTo>
                <a:lnTo>
                  <a:pt x="1453819" y="4311708"/>
                </a:lnTo>
                <a:lnTo>
                  <a:pt x="1453819" y="4321579"/>
                </a:lnTo>
                <a:lnTo>
                  <a:pt x="1449801" y="4325618"/>
                </a:lnTo>
                <a:lnTo>
                  <a:pt x="1439891" y="4325618"/>
                </a:lnTo>
                <a:lnTo>
                  <a:pt x="1435871" y="4321579"/>
                </a:lnTo>
                <a:lnTo>
                  <a:pt x="1435871" y="4311708"/>
                </a:lnTo>
                <a:close/>
                <a:moveTo>
                  <a:pt x="1200575" y="4307669"/>
                </a:moveTo>
                <a:lnTo>
                  <a:pt x="1210486" y="4307669"/>
                </a:lnTo>
                <a:lnTo>
                  <a:pt x="1214505" y="4311708"/>
                </a:lnTo>
                <a:lnTo>
                  <a:pt x="1214505" y="4321579"/>
                </a:lnTo>
                <a:lnTo>
                  <a:pt x="1210486" y="4325618"/>
                </a:lnTo>
                <a:lnTo>
                  <a:pt x="1200575" y="4325618"/>
                </a:lnTo>
                <a:lnTo>
                  <a:pt x="1196556" y="4321579"/>
                </a:lnTo>
                <a:lnTo>
                  <a:pt x="1196556" y="4311708"/>
                </a:lnTo>
                <a:close/>
                <a:moveTo>
                  <a:pt x="961263" y="4307669"/>
                </a:moveTo>
                <a:lnTo>
                  <a:pt x="971173" y="4307669"/>
                </a:lnTo>
                <a:lnTo>
                  <a:pt x="975191" y="4311708"/>
                </a:lnTo>
                <a:lnTo>
                  <a:pt x="975191" y="4321579"/>
                </a:lnTo>
                <a:lnTo>
                  <a:pt x="971173" y="4325618"/>
                </a:lnTo>
                <a:lnTo>
                  <a:pt x="961263" y="4325618"/>
                </a:lnTo>
                <a:lnTo>
                  <a:pt x="957244" y="4321579"/>
                </a:lnTo>
                <a:lnTo>
                  <a:pt x="957244" y="4311708"/>
                </a:lnTo>
                <a:close/>
                <a:moveTo>
                  <a:pt x="9572438" y="4307617"/>
                </a:moveTo>
                <a:lnTo>
                  <a:pt x="9582349" y="4307617"/>
                </a:lnTo>
                <a:lnTo>
                  <a:pt x="9586368" y="4311656"/>
                </a:lnTo>
                <a:lnTo>
                  <a:pt x="9586368" y="4321527"/>
                </a:lnTo>
                <a:lnTo>
                  <a:pt x="9582349" y="4325566"/>
                </a:lnTo>
                <a:lnTo>
                  <a:pt x="9572438" y="4325566"/>
                </a:lnTo>
                <a:lnTo>
                  <a:pt x="9568419" y="4321527"/>
                </a:lnTo>
                <a:lnTo>
                  <a:pt x="9568419" y="4311656"/>
                </a:lnTo>
                <a:close/>
                <a:moveTo>
                  <a:pt x="9333125" y="4307617"/>
                </a:moveTo>
                <a:lnTo>
                  <a:pt x="9343036" y="4307617"/>
                </a:lnTo>
                <a:lnTo>
                  <a:pt x="9347055" y="4311656"/>
                </a:lnTo>
                <a:lnTo>
                  <a:pt x="9347055" y="4321527"/>
                </a:lnTo>
                <a:lnTo>
                  <a:pt x="9343036" y="4325566"/>
                </a:lnTo>
                <a:lnTo>
                  <a:pt x="9333125" y="4325566"/>
                </a:lnTo>
                <a:lnTo>
                  <a:pt x="9329106" y="4321527"/>
                </a:lnTo>
                <a:lnTo>
                  <a:pt x="9329106" y="4311656"/>
                </a:lnTo>
                <a:close/>
                <a:moveTo>
                  <a:pt x="9093811" y="4307617"/>
                </a:moveTo>
                <a:lnTo>
                  <a:pt x="9103722" y="4307617"/>
                </a:lnTo>
                <a:lnTo>
                  <a:pt x="9107741" y="4311656"/>
                </a:lnTo>
                <a:lnTo>
                  <a:pt x="9107741" y="4321527"/>
                </a:lnTo>
                <a:lnTo>
                  <a:pt x="9103722" y="4325566"/>
                </a:lnTo>
                <a:lnTo>
                  <a:pt x="9093811" y="4325566"/>
                </a:lnTo>
                <a:lnTo>
                  <a:pt x="9089792" y="4321527"/>
                </a:lnTo>
                <a:lnTo>
                  <a:pt x="9089792" y="4311656"/>
                </a:lnTo>
                <a:close/>
                <a:moveTo>
                  <a:pt x="8854496" y="4307617"/>
                </a:moveTo>
                <a:lnTo>
                  <a:pt x="8864407" y="4307617"/>
                </a:lnTo>
                <a:lnTo>
                  <a:pt x="8868426" y="4311656"/>
                </a:lnTo>
                <a:lnTo>
                  <a:pt x="8868426" y="4321527"/>
                </a:lnTo>
                <a:lnTo>
                  <a:pt x="8864407" y="4325566"/>
                </a:lnTo>
                <a:lnTo>
                  <a:pt x="8854496" y="4325566"/>
                </a:lnTo>
                <a:lnTo>
                  <a:pt x="8850477" y="4321527"/>
                </a:lnTo>
                <a:lnTo>
                  <a:pt x="8850477" y="4311656"/>
                </a:lnTo>
                <a:close/>
                <a:moveTo>
                  <a:pt x="8615184" y="4307617"/>
                </a:moveTo>
                <a:lnTo>
                  <a:pt x="8625095" y="4307617"/>
                </a:lnTo>
                <a:lnTo>
                  <a:pt x="8629114" y="4311656"/>
                </a:lnTo>
                <a:lnTo>
                  <a:pt x="8629114" y="4321527"/>
                </a:lnTo>
                <a:lnTo>
                  <a:pt x="8625095" y="4325566"/>
                </a:lnTo>
                <a:lnTo>
                  <a:pt x="8615184" y="4325566"/>
                </a:lnTo>
                <a:lnTo>
                  <a:pt x="8611165" y="4321527"/>
                </a:lnTo>
                <a:lnTo>
                  <a:pt x="8611165" y="4311656"/>
                </a:lnTo>
                <a:close/>
                <a:moveTo>
                  <a:pt x="8375869" y="4307617"/>
                </a:moveTo>
                <a:lnTo>
                  <a:pt x="8385779" y="4307617"/>
                </a:lnTo>
                <a:lnTo>
                  <a:pt x="8389799" y="4311656"/>
                </a:lnTo>
                <a:lnTo>
                  <a:pt x="8389799" y="4321527"/>
                </a:lnTo>
                <a:lnTo>
                  <a:pt x="8385779" y="4325566"/>
                </a:lnTo>
                <a:lnTo>
                  <a:pt x="8375869" y="4325566"/>
                </a:lnTo>
                <a:lnTo>
                  <a:pt x="8371850" y="4321527"/>
                </a:lnTo>
                <a:lnTo>
                  <a:pt x="8371850" y="4311656"/>
                </a:lnTo>
                <a:close/>
                <a:moveTo>
                  <a:pt x="8136553" y="4307617"/>
                </a:moveTo>
                <a:lnTo>
                  <a:pt x="8146464" y="4307617"/>
                </a:lnTo>
                <a:lnTo>
                  <a:pt x="8150483" y="4311656"/>
                </a:lnTo>
                <a:lnTo>
                  <a:pt x="8150483" y="4321527"/>
                </a:lnTo>
                <a:lnTo>
                  <a:pt x="8146464" y="4325566"/>
                </a:lnTo>
                <a:lnTo>
                  <a:pt x="8136553" y="4325566"/>
                </a:lnTo>
                <a:lnTo>
                  <a:pt x="8132534" y="4321527"/>
                </a:lnTo>
                <a:lnTo>
                  <a:pt x="8132534" y="4311656"/>
                </a:lnTo>
                <a:close/>
                <a:moveTo>
                  <a:pt x="7897241" y="4307617"/>
                </a:moveTo>
                <a:lnTo>
                  <a:pt x="7907151" y="4307617"/>
                </a:lnTo>
                <a:lnTo>
                  <a:pt x="7911170" y="4311656"/>
                </a:lnTo>
                <a:lnTo>
                  <a:pt x="7911170" y="4321527"/>
                </a:lnTo>
                <a:lnTo>
                  <a:pt x="7907151" y="4325566"/>
                </a:lnTo>
                <a:lnTo>
                  <a:pt x="7897241" y="4325566"/>
                </a:lnTo>
                <a:lnTo>
                  <a:pt x="7893222" y="4321527"/>
                </a:lnTo>
                <a:lnTo>
                  <a:pt x="7893222" y="4311656"/>
                </a:lnTo>
                <a:close/>
                <a:moveTo>
                  <a:pt x="7657926" y="4307617"/>
                </a:moveTo>
                <a:lnTo>
                  <a:pt x="7667836" y="4307617"/>
                </a:lnTo>
                <a:lnTo>
                  <a:pt x="7671855" y="4311656"/>
                </a:lnTo>
                <a:lnTo>
                  <a:pt x="7671855" y="4321527"/>
                </a:lnTo>
                <a:lnTo>
                  <a:pt x="7667836" y="4325566"/>
                </a:lnTo>
                <a:lnTo>
                  <a:pt x="7657926" y="4325566"/>
                </a:lnTo>
                <a:lnTo>
                  <a:pt x="7653906" y="4321527"/>
                </a:lnTo>
                <a:lnTo>
                  <a:pt x="7653906" y="4311656"/>
                </a:lnTo>
                <a:close/>
                <a:moveTo>
                  <a:pt x="7418611" y="4307617"/>
                </a:moveTo>
                <a:lnTo>
                  <a:pt x="7428521" y="4307617"/>
                </a:lnTo>
                <a:lnTo>
                  <a:pt x="7432540" y="4311656"/>
                </a:lnTo>
                <a:lnTo>
                  <a:pt x="7432540" y="4321527"/>
                </a:lnTo>
                <a:lnTo>
                  <a:pt x="7428521" y="4325566"/>
                </a:lnTo>
                <a:lnTo>
                  <a:pt x="7418611" y="4325566"/>
                </a:lnTo>
                <a:lnTo>
                  <a:pt x="7414592" y="4321527"/>
                </a:lnTo>
                <a:lnTo>
                  <a:pt x="7414592" y="4311656"/>
                </a:lnTo>
                <a:close/>
                <a:moveTo>
                  <a:pt x="7179298" y="4307617"/>
                </a:moveTo>
                <a:lnTo>
                  <a:pt x="7189209" y="4307617"/>
                </a:lnTo>
                <a:lnTo>
                  <a:pt x="7193228" y="4311656"/>
                </a:lnTo>
                <a:lnTo>
                  <a:pt x="7193228" y="4321527"/>
                </a:lnTo>
                <a:lnTo>
                  <a:pt x="7189209" y="4325566"/>
                </a:lnTo>
                <a:lnTo>
                  <a:pt x="7179298" y="4325566"/>
                </a:lnTo>
                <a:lnTo>
                  <a:pt x="7175279" y="4321527"/>
                </a:lnTo>
                <a:lnTo>
                  <a:pt x="7175279" y="4311656"/>
                </a:lnTo>
                <a:close/>
                <a:moveTo>
                  <a:pt x="6939983" y="4307617"/>
                </a:moveTo>
                <a:lnTo>
                  <a:pt x="6949894" y="4307617"/>
                </a:lnTo>
                <a:lnTo>
                  <a:pt x="6953913" y="4311656"/>
                </a:lnTo>
                <a:lnTo>
                  <a:pt x="6953913" y="4321527"/>
                </a:lnTo>
                <a:lnTo>
                  <a:pt x="6949894" y="4325566"/>
                </a:lnTo>
                <a:lnTo>
                  <a:pt x="6939983" y="4325566"/>
                </a:lnTo>
                <a:lnTo>
                  <a:pt x="6935964" y="4321527"/>
                </a:lnTo>
                <a:lnTo>
                  <a:pt x="6935964" y="4311656"/>
                </a:lnTo>
                <a:close/>
                <a:moveTo>
                  <a:pt x="6700670" y="4307617"/>
                </a:moveTo>
                <a:lnTo>
                  <a:pt x="6710581" y="4307617"/>
                </a:lnTo>
                <a:lnTo>
                  <a:pt x="6714600" y="4311656"/>
                </a:lnTo>
                <a:lnTo>
                  <a:pt x="6714600" y="4321527"/>
                </a:lnTo>
                <a:lnTo>
                  <a:pt x="6710581" y="4325566"/>
                </a:lnTo>
                <a:lnTo>
                  <a:pt x="6700670" y="4325566"/>
                </a:lnTo>
                <a:lnTo>
                  <a:pt x="6696651" y="4321527"/>
                </a:lnTo>
                <a:lnTo>
                  <a:pt x="6696651" y="4311656"/>
                </a:lnTo>
                <a:close/>
                <a:moveTo>
                  <a:pt x="6461356" y="4307617"/>
                </a:moveTo>
                <a:lnTo>
                  <a:pt x="6471266" y="4307617"/>
                </a:lnTo>
                <a:lnTo>
                  <a:pt x="6475285" y="4311656"/>
                </a:lnTo>
                <a:lnTo>
                  <a:pt x="6475285" y="4321527"/>
                </a:lnTo>
                <a:lnTo>
                  <a:pt x="6471266" y="4325566"/>
                </a:lnTo>
                <a:lnTo>
                  <a:pt x="6461356" y="4325566"/>
                </a:lnTo>
                <a:lnTo>
                  <a:pt x="6457337" y="4321527"/>
                </a:lnTo>
                <a:lnTo>
                  <a:pt x="6457337" y="4311656"/>
                </a:lnTo>
                <a:close/>
                <a:moveTo>
                  <a:pt x="6222042" y="4307617"/>
                </a:moveTo>
                <a:lnTo>
                  <a:pt x="6231952" y="4307617"/>
                </a:lnTo>
                <a:lnTo>
                  <a:pt x="6235971" y="4311656"/>
                </a:lnTo>
                <a:lnTo>
                  <a:pt x="6235971" y="4321527"/>
                </a:lnTo>
                <a:lnTo>
                  <a:pt x="6231952" y="4325566"/>
                </a:lnTo>
                <a:lnTo>
                  <a:pt x="6222042" y="4325566"/>
                </a:lnTo>
                <a:lnTo>
                  <a:pt x="6218023" y="4321527"/>
                </a:lnTo>
                <a:lnTo>
                  <a:pt x="6218023" y="4311656"/>
                </a:lnTo>
                <a:close/>
                <a:moveTo>
                  <a:pt x="5982729" y="4307617"/>
                </a:moveTo>
                <a:lnTo>
                  <a:pt x="5992639" y="4307617"/>
                </a:lnTo>
                <a:lnTo>
                  <a:pt x="5996658" y="4311656"/>
                </a:lnTo>
                <a:lnTo>
                  <a:pt x="5996658" y="4321527"/>
                </a:lnTo>
                <a:lnTo>
                  <a:pt x="5992639" y="4325566"/>
                </a:lnTo>
                <a:lnTo>
                  <a:pt x="5982729" y="4325566"/>
                </a:lnTo>
                <a:lnTo>
                  <a:pt x="5978710" y="4321527"/>
                </a:lnTo>
                <a:lnTo>
                  <a:pt x="5978710" y="4311656"/>
                </a:lnTo>
                <a:close/>
                <a:moveTo>
                  <a:pt x="5743412" y="4307617"/>
                </a:moveTo>
                <a:lnTo>
                  <a:pt x="5753323" y="4307617"/>
                </a:lnTo>
                <a:lnTo>
                  <a:pt x="5757342" y="4311656"/>
                </a:lnTo>
                <a:lnTo>
                  <a:pt x="5757342" y="4321527"/>
                </a:lnTo>
                <a:lnTo>
                  <a:pt x="5753323" y="4325566"/>
                </a:lnTo>
                <a:lnTo>
                  <a:pt x="5743412" y="4325566"/>
                </a:lnTo>
                <a:lnTo>
                  <a:pt x="5739393" y="4321527"/>
                </a:lnTo>
                <a:lnTo>
                  <a:pt x="5739393" y="4311656"/>
                </a:lnTo>
                <a:close/>
                <a:moveTo>
                  <a:pt x="5504099" y="4307617"/>
                </a:moveTo>
                <a:lnTo>
                  <a:pt x="5514010" y="4307617"/>
                </a:lnTo>
                <a:lnTo>
                  <a:pt x="5518029" y="4311656"/>
                </a:lnTo>
                <a:lnTo>
                  <a:pt x="5518029" y="4321527"/>
                </a:lnTo>
                <a:lnTo>
                  <a:pt x="5514010" y="4325566"/>
                </a:lnTo>
                <a:lnTo>
                  <a:pt x="5504099" y="4325566"/>
                </a:lnTo>
                <a:lnTo>
                  <a:pt x="5500080" y="4321527"/>
                </a:lnTo>
                <a:lnTo>
                  <a:pt x="5500080" y="4311656"/>
                </a:lnTo>
                <a:close/>
                <a:moveTo>
                  <a:pt x="5264784" y="4307617"/>
                </a:moveTo>
                <a:lnTo>
                  <a:pt x="5274694" y="4307617"/>
                </a:lnTo>
                <a:lnTo>
                  <a:pt x="5278713" y="4311656"/>
                </a:lnTo>
                <a:lnTo>
                  <a:pt x="5278713" y="4321527"/>
                </a:lnTo>
                <a:lnTo>
                  <a:pt x="5274694" y="4325566"/>
                </a:lnTo>
                <a:lnTo>
                  <a:pt x="5264784" y="4325566"/>
                </a:lnTo>
                <a:lnTo>
                  <a:pt x="5260765" y="4321527"/>
                </a:lnTo>
                <a:lnTo>
                  <a:pt x="5260765" y="4311656"/>
                </a:lnTo>
                <a:close/>
                <a:moveTo>
                  <a:pt x="5025470" y="4307617"/>
                </a:moveTo>
                <a:lnTo>
                  <a:pt x="5035381" y="4307617"/>
                </a:lnTo>
                <a:lnTo>
                  <a:pt x="5039400" y="4311656"/>
                </a:lnTo>
                <a:lnTo>
                  <a:pt x="5039400" y="4321527"/>
                </a:lnTo>
                <a:lnTo>
                  <a:pt x="5035381" y="4325566"/>
                </a:lnTo>
                <a:lnTo>
                  <a:pt x="5025470" y="4325566"/>
                </a:lnTo>
                <a:lnTo>
                  <a:pt x="5021451" y="4321527"/>
                </a:lnTo>
                <a:lnTo>
                  <a:pt x="5021451" y="4311656"/>
                </a:lnTo>
                <a:close/>
                <a:moveTo>
                  <a:pt x="4786241" y="4307617"/>
                </a:moveTo>
                <a:lnTo>
                  <a:pt x="4796152" y="4307617"/>
                </a:lnTo>
                <a:lnTo>
                  <a:pt x="4800171" y="4311656"/>
                </a:lnTo>
                <a:lnTo>
                  <a:pt x="4800171" y="4321527"/>
                </a:lnTo>
                <a:lnTo>
                  <a:pt x="4796152" y="4325566"/>
                </a:lnTo>
                <a:lnTo>
                  <a:pt x="4786241" y="4325566"/>
                </a:lnTo>
                <a:lnTo>
                  <a:pt x="4782224" y="4321527"/>
                </a:lnTo>
                <a:lnTo>
                  <a:pt x="4782224" y="4311656"/>
                </a:lnTo>
                <a:close/>
                <a:moveTo>
                  <a:pt x="4546929" y="4307617"/>
                </a:moveTo>
                <a:lnTo>
                  <a:pt x="4556840" y="4307617"/>
                </a:lnTo>
                <a:lnTo>
                  <a:pt x="4560859" y="4311656"/>
                </a:lnTo>
                <a:lnTo>
                  <a:pt x="4560859" y="4321527"/>
                </a:lnTo>
                <a:lnTo>
                  <a:pt x="4556840" y="4325566"/>
                </a:lnTo>
                <a:lnTo>
                  <a:pt x="4546929" y="4325566"/>
                </a:lnTo>
                <a:lnTo>
                  <a:pt x="4542910" y="4321527"/>
                </a:lnTo>
                <a:lnTo>
                  <a:pt x="4542910" y="4311656"/>
                </a:lnTo>
                <a:close/>
                <a:moveTo>
                  <a:pt x="4307612" y="4307617"/>
                </a:moveTo>
                <a:lnTo>
                  <a:pt x="4317523" y="4307617"/>
                </a:lnTo>
                <a:lnTo>
                  <a:pt x="4321543" y="4311656"/>
                </a:lnTo>
                <a:lnTo>
                  <a:pt x="4321543" y="4321527"/>
                </a:lnTo>
                <a:lnTo>
                  <a:pt x="4317523" y="4325566"/>
                </a:lnTo>
                <a:lnTo>
                  <a:pt x="4307612" y="4325566"/>
                </a:lnTo>
                <a:lnTo>
                  <a:pt x="4303595" y="4321527"/>
                </a:lnTo>
                <a:lnTo>
                  <a:pt x="4303595" y="4311656"/>
                </a:lnTo>
                <a:close/>
                <a:moveTo>
                  <a:pt x="4068297" y="4307617"/>
                </a:moveTo>
                <a:lnTo>
                  <a:pt x="4078210" y="4307617"/>
                </a:lnTo>
                <a:lnTo>
                  <a:pt x="4082229" y="4311656"/>
                </a:lnTo>
                <a:lnTo>
                  <a:pt x="4082229" y="4321527"/>
                </a:lnTo>
                <a:lnTo>
                  <a:pt x="4078210" y="4325566"/>
                </a:lnTo>
                <a:lnTo>
                  <a:pt x="4068297" y="4325566"/>
                </a:lnTo>
                <a:lnTo>
                  <a:pt x="4064278" y="4321527"/>
                </a:lnTo>
                <a:lnTo>
                  <a:pt x="4064278" y="4311656"/>
                </a:lnTo>
                <a:close/>
                <a:moveTo>
                  <a:pt x="3828990" y="4307617"/>
                </a:moveTo>
                <a:lnTo>
                  <a:pt x="3838899" y="4307617"/>
                </a:lnTo>
                <a:lnTo>
                  <a:pt x="3842917" y="4311656"/>
                </a:lnTo>
                <a:lnTo>
                  <a:pt x="3842917" y="4321527"/>
                </a:lnTo>
                <a:lnTo>
                  <a:pt x="3838899" y="4325566"/>
                </a:lnTo>
                <a:lnTo>
                  <a:pt x="3828990" y="4325566"/>
                </a:lnTo>
                <a:lnTo>
                  <a:pt x="3824971" y="4321527"/>
                </a:lnTo>
                <a:lnTo>
                  <a:pt x="3824971" y="4311656"/>
                </a:lnTo>
                <a:close/>
                <a:moveTo>
                  <a:pt x="3589676" y="4307617"/>
                </a:moveTo>
                <a:lnTo>
                  <a:pt x="3599585" y="4307617"/>
                </a:lnTo>
                <a:lnTo>
                  <a:pt x="3603604" y="4311656"/>
                </a:lnTo>
                <a:lnTo>
                  <a:pt x="3603604" y="4321527"/>
                </a:lnTo>
                <a:lnTo>
                  <a:pt x="3599585" y="4325566"/>
                </a:lnTo>
                <a:lnTo>
                  <a:pt x="3589676" y="4325566"/>
                </a:lnTo>
                <a:lnTo>
                  <a:pt x="3585657" y="4321527"/>
                </a:lnTo>
                <a:lnTo>
                  <a:pt x="3585657" y="4311656"/>
                </a:lnTo>
                <a:close/>
                <a:moveTo>
                  <a:pt x="3350359" y="4307617"/>
                </a:moveTo>
                <a:lnTo>
                  <a:pt x="3360268" y="4307617"/>
                </a:lnTo>
                <a:lnTo>
                  <a:pt x="3364287" y="4311656"/>
                </a:lnTo>
                <a:lnTo>
                  <a:pt x="3364287" y="4321527"/>
                </a:lnTo>
                <a:lnTo>
                  <a:pt x="3360268" y="4325566"/>
                </a:lnTo>
                <a:lnTo>
                  <a:pt x="3350359" y="4325566"/>
                </a:lnTo>
                <a:lnTo>
                  <a:pt x="3346340" y="4321527"/>
                </a:lnTo>
                <a:lnTo>
                  <a:pt x="3346340" y="4311656"/>
                </a:lnTo>
                <a:close/>
                <a:moveTo>
                  <a:pt x="3111048" y="4307617"/>
                </a:moveTo>
                <a:lnTo>
                  <a:pt x="3120959" y="4307617"/>
                </a:lnTo>
                <a:lnTo>
                  <a:pt x="3124977" y="4311656"/>
                </a:lnTo>
                <a:lnTo>
                  <a:pt x="3124977" y="4321527"/>
                </a:lnTo>
                <a:lnTo>
                  <a:pt x="3120959" y="4325566"/>
                </a:lnTo>
                <a:lnTo>
                  <a:pt x="3111048" y="4325566"/>
                </a:lnTo>
                <a:lnTo>
                  <a:pt x="3107029" y="4321527"/>
                </a:lnTo>
                <a:lnTo>
                  <a:pt x="3107029" y="4311656"/>
                </a:lnTo>
                <a:close/>
                <a:moveTo>
                  <a:pt x="2871737" y="4307617"/>
                </a:moveTo>
                <a:lnTo>
                  <a:pt x="2881646" y="4307617"/>
                </a:lnTo>
                <a:lnTo>
                  <a:pt x="2885666" y="4311656"/>
                </a:lnTo>
                <a:lnTo>
                  <a:pt x="2885666" y="4321527"/>
                </a:lnTo>
                <a:lnTo>
                  <a:pt x="2881646" y="4325566"/>
                </a:lnTo>
                <a:lnTo>
                  <a:pt x="2871737" y="4325566"/>
                </a:lnTo>
                <a:lnTo>
                  <a:pt x="2867717" y="4321527"/>
                </a:lnTo>
                <a:lnTo>
                  <a:pt x="2867717" y="4311656"/>
                </a:lnTo>
                <a:close/>
                <a:moveTo>
                  <a:pt x="2632423" y="4307617"/>
                </a:moveTo>
                <a:lnTo>
                  <a:pt x="2642334" y="4307617"/>
                </a:lnTo>
                <a:lnTo>
                  <a:pt x="2646352" y="4311656"/>
                </a:lnTo>
                <a:lnTo>
                  <a:pt x="2646352" y="4321527"/>
                </a:lnTo>
                <a:lnTo>
                  <a:pt x="2642334" y="4325566"/>
                </a:lnTo>
                <a:lnTo>
                  <a:pt x="2632423" y="4325566"/>
                </a:lnTo>
                <a:lnTo>
                  <a:pt x="2628404" y="4321527"/>
                </a:lnTo>
                <a:lnTo>
                  <a:pt x="2628404" y="4311656"/>
                </a:lnTo>
                <a:close/>
                <a:moveTo>
                  <a:pt x="2393104" y="4307617"/>
                </a:moveTo>
                <a:lnTo>
                  <a:pt x="2403015" y="4307617"/>
                </a:lnTo>
                <a:lnTo>
                  <a:pt x="2407034" y="4311656"/>
                </a:lnTo>
                <a:lnTo>
                  <a:pt x="2407034" y="4321527"/>
                </a:lnTo>
                <a:lnTo>
                  <a:pt x="2403015" y="4325566"/>
                </a:lnTo>
                <a:lnTo>
                  <a:pt x="2393104" y="4325566"/>
                </a:lnTo>
                <a:lnTo>
                  <a:pt x="2389087" y="4321527"/>
                </a:lnTo>
                <a:lnTo>
                  <a:pt x="2389087" y="4311656"/>
                </a:lnTo>
                <a:close/>
                <a:moveTo>
                  <a:pt x="721965" y="4307617"/>
                </a:moveTo>
                <a:lnTo>
                  <a:pt x="731874" y="4307617"/>
                </a:lnTo>
                <a:lnTo>
                  <a:pt x="735893" y="4311656"/>
                </a:lnTo>
                <a:lnTo>
                  <a:pt x="735893" y="4321527"/>
                </a:lnTo>
                <a:lnTo>
                  <a:pt x="731874" y="4325566"/>
                </a:lnTo>
                <a:lnTo>
                  <a:pt x="721965" y="4325566"/>
                </a:lnTo>
                <a:lnTo>
                  <a:pt x="717945" y="4321527"/>
                </a:lnTo>
                <a:lnTo>
                  <a:pt x="717945" y="4311656"/>
                </a:lnTo>
                <a:close/>
                <a:moveTo>
                  <a:pt x="482652" y="4307617"/>
                </a:moveTo>
                <a:lnTo>
                  <a:pt x="492562" y="4307617"/>
                </a:lnTo>
                <a:lnTo>
                  <a:pt x="496581" y="4311656"/>
                </a:lnTo>
                <a:lnTo>
                  <a:pt x="496581" y="4321527"/>
                </a:lnTo>
                <a:lnTo>
                  <a:pt x="492562" y="4325566"/>
                </a:lnTo>
                <a:lnTo>
                  <a:pt x="482652" y="4325566"/>
                </a:lnTo>
                <a:lnTo>
                  <a:pt x="478633" y="4321527"/>
                </a:lnTo>
                <a:lnTo>
                  <a:pt x="478633" y="4311656"/>
                </a:lnTo>
                <a:close/>
                <a:moveTo>
                  <a:pt x="243339" y="4307617"/>
                </a:moveTo>
                <a:lnTo>
                  <a:pt x="253249" y="4307617"/>
                </a:lnTo>
                <a:lnTo>
                  <a:pt x="257268" y="4311656"/>
                </a:lnTo>
                <a:lnTo>
                  <a:pt x="257268" y="4321527"/>
                </a:lnTo>
                <a:lnTo>
                  <a:pt x="253249" y="4325566"/>
                </a:lnTo>
                <a:lnTo>
                  <a:pt x="243339" y="4325566"/>
                </a:lnTo>
                <a:lnTo>
                  <a:pt x="239320" y="4321527"/>
                </a:lnTo>
                <a:lnTo>
                  <a:pt x="239320" y="4311656"/>
                </a:lnTo>
                <a:close/>
                <a:moveTo>
                  <a:pt x="4025" y="4307617"/>
                </a:moveTo>
                <a:lnTo>
                  <a:pt x="13936" y="4307617"/>
                </a:lnTo>
                <a:lnTo>
                  <a:pt x="17955" y="4311656"/>
                </a:lnTo>
                <a:lnTo>
                  <a:pt x="17955" y="4321527"/>
                </a:lnTo>
                <a:lnTo>
                  <a:pt x="13936" y="4325566"/>
                </a:lnTo>
                <a:lnTo>
                  <a:pt x="4025" y="4325566"/>
                </a:lnTo>
                <a:lnTo>
                  <a:pt x="7" y="4321527"/>
                </a:lnTo>
                <a:lnTo>
                  <a:pt x="7" y="4311656"/>
                </a:lnTo>
                <a:close/>
                <a:moveTo>
                  <a:pt x="9572438" y="4068339"/>
                </a:moveTo>
                <a:lnTo>
                  <a:pt x="9582349" y="4068339"/>
                </a:lnTo>
                <a:lnTo>
                  <a:pt x="9586368" y="4072377"/>
                </a:lnTo>
                <a:lnTo>
                  <a:pt x="9586368" y="4082248"/>
                </a:lnTo>
                <a:lnTo>
                  <a:pt x="9582349" y="4086287"/>
                </a:lnTo>
                <a:lnTo>
                  <a:pt x="9572438" y="4086287"/>
                </a:lnTo>
                <a:lnTo>
                  <a:pt x="9568419" y="4082248"/>
                </a:lnTo>
                <a:lnTo>
                  <a:pt x="9568419" y="4072377"/>
                </a:lnTo>
                <a:close/>
                <a:moveTo>
                  <a:pt x="9333125" y="4068339"/>
                </a:moveTo>
                <a:lnTo>
                  <a:pt x="9343036" y="4068339"/>
                </a:lnTo>
                <a:lnTo>
                  <a:pt x="9347055" y="4072377"/>
                </a:lnTo>
                <a:lnTo>
                  <a:pt x="9347055" y="4082248"/>
                </a:lnTo>
                <a:lnTo>
                  <a:pt x="9343036" y="4086287"/>
                </a:lnTo>
                <a:lnTo>
                  <a:pt x="9333125" y="4086287"/>
                </a:lnTo>
                <a:lnTo>
                  <a:pt x="9329106" y="4082248"/>
                </a:lnTo>
                <a:lnTo>
                  <a:pt x="9329106" y="4072377"/>
                </a:lnTo>
                <a:close/>
                <a:moveTo>
                  <a:pt x="9093811" y="4068339"/>
                </a:moveTo>
                <a:lnTo>
                  <a:pt x="9103722" y="4068339"/>
                </a:lnTo>
                <a:lnTo>
                  <a:pt x="9107741" y="4072377"/>
                </a:lnTo>
                <a:lnTo>
                  <a:pt x="9107741" y="4082248"/>
                </a:lnTo>
                <a:lnTo>
                  <a:pt x="9103722" y="4086287"/>
                </a:lnTo>
                <a:lnTo>
                  <a:pt x="9093811" y="4086287"/>
                </a:lnTo>
                <a:lnTo>
                  <a:pt x="9089792" y="4082248"/>
                </a:lnTo>
                <a:lnTo>
                  <a:pt x="9089792" y="4072377"/>
                </a:lnTo>
                <a:close/>
                <a:moveTo>
                  <a:pt x="8854496" y="4068339"/>
                </a:moveTo>
                <a:lnTo>
                  <a:pt x="8864407" y="4068339"/>
                </a:lnTo>
                <a:lnTo>
                  <a:pt x="8868426" y="4072377"/>
                </a:lnTo>
                <a:lnTo>
                  <a:pt x="8868426" y="4082248"/>
                </a:lnTo>
                <a:lnTo>
                  <a:pt x="8864407" y="4086287"/>
                </a:lnTo>
                <a:lnTo>
                  <a:pt x="8854496" y="4086287"/>
                </a:lnTo>
                <a:lnTo>
                  <a:pt x="8850477" y="4082248"/>
                </a:lnTo>
                <a:lnTo>
                  <a:pt x="8850477" y="4072377"/>
                </a:lnTo>
                <a:close/>
                <a:moveTo>
                  <a:pt x="8615184" y="4068339"/>
                </a:moveTo>
                <a:lnTo>
                  <a:pt x="8625095" y="4068339"/>
                </a:lnTo>
                <a:lnTo>
                  <a:pt x="8629114" y="4072377"/>
                </a:lnTo>
                <a:lnTo>
                  <a:pt x="8629114" y="4082248"/>
                </a:lnTo>
                <a:lnTo>
                  <a:pt x="8625095" y="4086287"/>
                </a:lnTo>
                <a:lnTo>
                  <a:pt x="8615184" y="4086287"/>
                </a:lnTo>
                <a:lnTo>
                  <a:pt x="8611165" y="4082248"/>
                </a:lnTo>
                <a:lnTo>
                  <a:pt x="8611165" y="4072377"/>
                </a:lnTo>
                <a:close/>
                <a:moveTo>
                  <a:pt x="8375869" y="4068339"/>
                </a:moveTo>
                <a:lnTo>
                  <a:pt x="8385779" y="4068339"/>
                </a:lnTo>
                <a:lnTo>
                  <a:pt x="8389799" y="4072377"/>
                </a:lnTo>
                <a:lnTo>
                  <a:pt x="8389799" y="4082248"/>
                </a:lnTo>
                <a:lnTo>
                  <a:pt x="8385779" y="4086287"/>
                </a:lnTo>
                <a:lnTo>
                  <a:pt x="8375869" y="4086287"/>
                </a:lnTo>
                <a:lnTo>
                  <a:pt x="8371850" y="4082248"/>
                </a:lnTo>
                <a:lnTo>
                  <a:pt x="8371850" y="4072377"/>
                </a:lnTo>
                <a:close/>
                <a:moveTo>
                  <a:pt x="8136553" y="4068339"/>
                </a:moveTo>
                <a:lnTo>
                  <a:pt x="8146464" y="4068339"/>
                </a:lnTo>
                <a:lnTo>
                  <a:pt x="8150483" y="4072377"/>
                </a:lnTo>
                <a:lnTo>
                  <a:pt x="8150483" y="4082248"/>
                </a:lnTo>
                <a:lnTo>
                  <a:pt x="8146464" y="4086287"/>
                </a:lnTo>
                <a:lnTo>
                  <a:pt x="8136553" y="4086287"/>
                </a:lnTo>
                <a:lnTo>
                  <a:pt x="8132534" y="4082248"/>
                </a:lnTo>
                <a:lnTo>
                  <a:pt x="8132534" y="4072377"/>
                </a:lnTo>
                <a:close/>
                <a:moveTo>
                  <a:pt x="7897241" y="4068339"/>
                </a:moveTo>
                <a:lnTo>
                  <a:pt x="7907151" y="4068339"/>
                </a:lnTo>
                <a:lnTo>
                  <a:pt x="7911170" y="4072377"/>
                </a:lnTo>
                <a:lnTo>
                  <a:pt x="7911170" y="4082248"/>
                </a:lnTo>
                <a:lnTo>
                  <a:pt x="7907151" y="4086287"/>
                </a:lnTo>
                <a:lnTo>
                  <a:pt x="7897241" y="4086287"/>
                </a:lnTo>
                <a:lnTo>
                  <a:pt x="7893222" y="4082248"/>
                </a:lnTo>
                <a:lnTo>
                  <a:pt x="7893222" y="4072377"/>
                </a:lnTo>
                <a:close/>
                <a:moveTo>
                  <a:pt x="7657926" y="4068339"/>
                </a:moveTo>
                <a:lnTo>
                  <a:pt x="7667836" y="4068339"/>
                </a:lnTo>
                <a:lnTo>
                  <a:pt x="7671855" y="4072377"/>
                </a:lnTo>
                <a:lnTo>
                  <a:pt x="7671855" y="4082248"/>
                </a:lnTo>
                <a:lnTo>
                  <a:pt x="7667836" y="4086287"/>
                </a:lnTo>
                <a:lnTo>
                  <a:pt x="7657926" y="4086287"/>
                </a:lnTo>
                <a:lnTo>
                  <a:pt x="7653906" y="4082248"/>
                </a:lnTo>
                <a:lnTo>
                  <a:pt x="7653906" y="4072377"/>
                </a:lnTo>
                <a:close/>
                <a:moveTo>
                  <a:pt x="7418611" y="4068339"/>
                </a:moveTo>
                <a:lnTo>
                  <a:pt x="7428521" y="4068339"/>
                </a:lnTo>
                <a:lnTo>
                  <a:pt x="7432540" y="4072377"/>
                </a:lnTo>
                <a:lnTo>
                  <a:pt x="7432540" y="4082248"/>
                </a:lnTo>
                <a:lnTo>
                  <a:pt x="7428521" y="4086287"/>
                </a:lnTo>
                <a:lnTo>
                  <a:pt x="7418611" y="4086287"/>
                </a:lnTo>
                <a:lnTo>
                  <a:pt x="7414592" y="4082248"/>
                </a:lnTo>
                <a:lnTo>
                  <a:pt x="7414592" y="4072377"/>
                </a:lnTo>
                <a:close/>
                <a:moveTo>
                  <a:pt x="7179298" y="4068339"/>
                </a:moveTo>
                <a:lnTo>
                  <a:pt x="7189209" y="4068339"/>
                </a:lnTo>
                <a:lnTo>
                  <a:pt x="7193228" y="4072377"/>
                </a:lnTo>
                <a:lnTo>
                  <a:pt x="7193228" y="4082248"/>
                </a:lnTo>
                <a:lnTo>
                  <a:pt x="7189209" y="4086287"/>
                </a:lnTo>
                <a:lnTo>
                  <a:pt x="7179298" y="4086287"/>
                </a:lnTo>
                <a:lnTo>
                  <a:pt x="7175279" y="4082248"/>
                </a:lnTo>
                <a:lnTo>
                  <a:pt x="7175279" y="4072377"/>
                </a:lnTo>
                <a:close/>
                <a:moveTo>
                  <a:pt x="6939983" y="4068339"/>
                </a:moveTo>
                <a:lnTo>
                  <a:pt x="6949894" y="4068339"/>
                </a:lnTo>
                <a:lnTo>
                  <a:pt x="6953913" y="4072377"/>
                </a:lnTo>
                <a:lnTo>
                  <a:pt x="6953913" y="4082248"/>
                </a:lnTo>
                <a:lnTo>
                  <a:pt x="6949894" y="4086287"/>
                </a:lnTo>
                <a:lnTo>
                  <a:pt x="6939983" y="4086287"/>
                </a:lnTo>
                <a:lnTo>
                  <a:pt x="6935964" y="4082248"/>
                </a:lnTo>
                <a:lnTo>
                  <a:pt x="6935964" y="4072377"/>
                </a:lnTo>
                <a:close/>
                <a:moveTo>
                  <a:pt x="6700670" y="4068339"/>
                </a:moveTo>
                <a:lnTo>
                  <a:pt x="6710581" y="4068339"/>
                </a:lnTo>
                <a:lnTo>
                  <a:pt x="6714600" y="4072377"/>
                </a:lnTo>
                <a:lnTo>
                  <a:pt x="6714600" y="4082248"/>
                </a:lnTo>
                <a:lnTo>
                  <a:pt x="6710581" y="4086287"/>
                </a:lnTo>
                <a:lnTo>
                  <a:pt x="6700670" y="4086287"/>
                </a:lnTo>
                <a:lnTo>
                  <a:pt x="6696651" y="4082248"/>
                </a:lnTo>
                <a:lnTo>
                  <a:pt x="6696651" y="4072377"/>
                </a:lnTo>
                <a:close/>
                <a:moveTo>
                  <a:pt x="6461356" y="4068339"/>
                </a:moveTo>
                <a:lnTo>
                  <a:pt x="6471266" y="4068339"/>
                </a:lnTo>
                <a:lnTo>
                  <a:pt x="6475285" y="4072377"/>
                </a:lnTo>
                <a:lnTo>
                  <a:pt x="6475285" y="4082248"/>
                </a:lnTo>
                <a:lnTo>
                  <a:pt x="6471266" y="4086287"/>
                </a:lnTo>
                <a:lnTo>
                  <a:pt x="6461356" y="4086287"/>
                </a:lnTo>
                <a:lnTo>
                  <a:pt x="6457337" y="4082248"/>
                </a:lnTo>
                <a:lnTo>
                  <a:pt x="6457337" y="4072377"/>
                </a:lnTo>
                <a:close/>
                <a:moveTo>
                  <a:pt x="6222042" y="4068339"/>
                </a:moveTo>
                <a:lnTo>
                  <a:pt x="6231952" y="4068339"/>
                </a:lnTo>
                <a:lnTo>
                  <a:pt x="6235971" y="4072377"/>
                </a:lnTo>
                <a:lnTo>
                  <a:pt x="6235971" y="4082248"/>
                </a:lnTo>
                <a:lnTo>
                  <a:pt x="6231952" y="4086287"/>
                </a:lnTo>
                <a:lnTo>
                  <a:pt x="6222042" y="4086287"/>
                </a:lnTo>
                <a:lnTo>
                  <a:pt x="6218023" y="4082248"/>
                </a:lnTo>
                <a:lnTo>
                  <a:pt x="6218023" y="4072377"/>
                </a:lnTo>
                <a:close/>
                <a:moveTo>
                  <a:pt x="5982729" y="4068339"/>
                </a:moveTo>
                <a:lnTo>
                  <a:pt x="5992639" y="4068339"/>
                </a:lnTo>
                <a:lnTo>
                  <a:pt x="5996658" y="4072377"/>
                </a:lnTo>
                <a:lnTo>
                  <a:pt x="5996658" y="4082248"/>
                </a:lnTo>
                <a:lnTo>
                  <a:pt x="5992639" y="4086287"/>
                </a:lnTo>
                <a:lnTo>
                  <a:pt x="5982729" y="4086287"/>
                </a:lnTo>
                <a:lnTo>
                  <a:pt x="5978710" y="4082248"/>
                </a:lnTo>
                <a:lnTo>
                  <a:pt x="5978710" y="4072377"/>
                </a:lnTo>
                <a:close/>
                <a:moveTo>
                  <a:pt x="5743412" y="4068339"/>
                </a:moveTo>
                <a:lnTo>
                  <a:pt x="5753323" y="4068339"/>
                </a:lnTo>
                <a:lnTo>
                  <a:pt x="5757342" y="4072377"/>
                </a:lnTo>
                <a:lnTo>
                  <a:pt x="5757342" y="4082248"/>
                </a:lnTo>
                <a:lnTo>
                  <a:pt x="5753323" y="4086287"/>
                </a:lnTo>
                <a:lnTo>
                  <a:pt x="5743412" y="4086287"/>
                </a:lnTo>
                <a:lnTo>
                  <a:pt x="5739393" y="4082248"/>
                </a:lnTo>
                <a:lnTo>
                  <a:pt x="5739393" y="4072377"/>
                </a:lnTo>
                <a:close/>
                <a:moveTo>
                  <a:pt x="5504099" y="4068339"/>
                </a:moveTo>
                <a:lnTo>
                  <a:pt x="5514010" y="4068339"/>
                </a:lnTo>
                <a:lnTo>
                  <a:pt x="5518029" y="4072377"/>
                </a:lnTo>
                <a:lnTo>
                  <a:pt x="5518029" y="4082248"/>
                </a:lnTo>
                <a:lnTo>
                  <a:pt x="5514010" y="4086287"/>
                </a:lnTo>
                <a:lnTo>
                  <a:pt x="5504099" y="4086287"/>
                </a:lnTo>
                <a:lnTo>
                  <a:pt x="5500080" y="4082248"/>
                </a:lnTo>
                <a:lnTo>
                  <a:pt x="5500080" y="4072377"/>
                </a:lnTo>
                <a:close/>
                <a:moveTo>
                  <a:pt x="5264784" y="4068339"/>
                </a:moveTo>
                <a:lnTo>
                  <a:pt x="5274694" y="4068339"/>
                </a:lnTo>
                <a:lnTo>
                  <a:pt x="5278713" y="4072377"/>
                </a:lnTo>
                <a:lnTo>
                  <a:pt x="5278713" y="4082248"/>
                </a:lnTo>
                <a:lnTo>
                  <a:pt x="5274694" y="4086287"/>
                </a:lnTo>
                <a:lnTo>
                  <a:pt x="5264784" y="4086287"/>
                </a:lnTo>
                <a:lnTo>
                  <a:pt x="5260765" y="4082248"/>
                </a:lnTo>
                <a:lnTo>
                  <a:pt x="5260765" y="4072377"/>
                </a:lnTo>
                <a:close/>
                <a:moveTo>
                  <a:pt x="5025470" y="4068339"/>
                </a:moveTo>
                <a:lnTo>
                  <a:pt x="5035381" y="4068339"/>
                </a:lnTo>
                <a:lnTo>
                  <a:pt x="5039400" y="4072377"/>
                </a:lnTo>
                <a:lnTo>
                  <a:pt x="5039400" y="4082248"/>
                </a:lnTo>
                <a:lnTo>
                  <a:pt x="5035381" y="4086287"/>
                </a:lnTo>
                <a:lnTo>
                  <a:pt x="5025470" y="4086287"/>
                </a:lnTo>
                <a:lnTo>
                  <a:pt x="5021451" y="4082248"/>
                </a:lnTo>
                <a:lnTo>
                  <a:pt x="5021451" y="4072377"/>
                </a:lnTo>
                <a:close/>
                <a:moveTo>
                  <a:pt x="4786241" y="4068339"/>
                </a:moveTo>
                <a:lnTo>
                  <a:pt x="4796152" y="4068339"/>
                </a:lnTo>
                <a:lnTo>
                  <a:pt x="4800171" y="4072377"/>
                </a:lnTo>
                <a:lnTo>
                  <a:pt x="4800171" y="4082248"/>
                </a:lnTo>
                <a:lnTo>
                  <a:pt x="4796152" y="4086287"/>
                </a:lnTo>
                <a:lnTo>
                  <a:pt x="4786241" y="4086287"/>
                </a:lnTo>
                <a:lnTo>
                  <a:pt x="4782224" y="4082248"/>
                </a:lnTo>
                <a:lnTo>
                  <a:pt x="4782224" y="4072377"/>
                </a:lnTo>
                <a:close/>
                <a:moveTo>
                  <a:pt x="4546929" y="4068339"/>
                </a:moveTo>
                <a:lnTo>
                  <a:pt x="4556840" y="4068339"/>
                </a:lnTo>
                <a:lnTo>
                  <a:pt x="4560859" y="4072377"/>
                </a:lnTo>
                <a:lnTo>
                  <a:pt x="4560859" y="4082248"/>
                </a:lnTo>
                <a:lnTo>
                  <a:pt x="4556840" y="4086287"/>
                </a:lnTo>
                <a:lnTo>
                  <a:pt x="4546929" y="4086287"/>
                </a:lnTo>
                <a:lnTo>
                  <a:pt x="4542910" y="4082248"/>
                </a:lnTo>
                <a:lnTo>
                  <a:pt x="4542910" y="4072377"/>
                </a:lnTo>
                <a:close/>
                <a:moveTo>
                  <a:pt x="4307612" y="4068339"/>
                </a:moveTo>
                <a:lnTo>
                  <a:pt x="4317523" y="4068339"/>
                </a:lnTo>
                <a:lnTo>
                  <a:pt x="4321543" y="4072377"/>
                </a:lnTo>
                <a:lnTo>
                  <a:pt x="4321543" y="4082248"/>
                </a:lnTo>
                <a:lnTo>
                  <a:pt x="4317523" y="4086287"/>
                </a:lnTo>
                <a:lnTo>
                  <a:pt x="4307612" y="4086287"/>
                </a:lnTo>
                <a:lnTo>
                  <a:pt x="4303595" y="4082248"/>
                </a:lnTo>
                <a:lnTo>
                  <a:pt x="4303595" y="4072377"/>
                </a:lnTo>
                <a:close/>
                <a:moveTo>
                  <a:pt x="4068297" y="4068339"/>
                </a:moveTo>
                <a:lnTo>
                  <a:pt x="4078210" y="4068339"/>
                </a:lnTo>
                <a:lnTo>
                  <a:pt x="4082229" y="4072377"/>
                </a:lnTo>
                <a:lnTo>
                  <a:pt x="4082229" y="4082248"/>
                </a:lnTo>
                <a:lnTo>
                  <a:pt x="4078210" y="4086287"/>
                </a:lnTo>
                <a:lnTo>
                  <a:pt x="4068297" y="4086287"/>
                </a:lnTo>
                <a:lnTo>
                  <a:pt x="4064278" y="4082248"/>
                </a:lnTo>
                <a:lnTo>
                  <a:pt x="4064278" y="4072377"/>
                </a:lnTo>
                <a:close/>
                <a:moveTo>
                  <a:pt x="3828990" y="4068339"/>
                </a:moveTo>
                <a:lnTo>
                  <a:pt x="3838899" y="4068339"/>
                </a:lnTo>
                <a:lnTo>
                  <a:pt x="3842917" y="4072377"/>
                </a:lnTo>
                <a:lnTo>
                  <a:pt x="3842917" y="4082248"/>
                </a:lnTo>
                <a:lnTo>
                  <a:pt x="3838899" y="4086287"/>
                </a:lnTo>
                <a:lnTo>
                  <a:pt x="3828990" y="4086287"/>
                </a:lnTo>
                <a:lnTo>
                  <a:pt x="3824971" y="4082248"/>
                </a:lnTo>
                <a:lnTo>
                  <a:pt x="3824971" y="4072377"/>
                </a:lnTo>
                <a:close/>
                <a:moveTo>
                  <a:pt x="3589676" y="4068339"/>
                </a:moveTo>
                <a:lnTo>
                  <a:pt x="3599585" y="4068339"/>
                </a:lnTo>
                <a:lnTo>
                  <a:pt x="3603604" y="4072377"/>
                </a:lnTo>
                <a:lnTo>
                  <a:pt x="3603604" y="4082248"/>
                </a:lnTo>
                <a:lnTo>
                  <a:pt x="3599585" y="4086287"/>
                </a:lnTo>
                <a:lnTo>
                  <a:pt x="3589676" y="4086287"/>
                </a:lnTo>
                <a:lnTo>
                  <a:pt x="3585657" y="4082248"/>
                </a:lnTo>
                <a:lnTo>
                  <a:pt x="3585657" y="4072377"/>
                </a:lnTo>
                <a:close/>
                <a:moveTo>
                  <a:pt x="3350359" y="4068339"/>
                </a:moveTo>
                <a:lnTo>
                  <a:pt x="3360268" y="4068339"/>
                </a:lnTo>
                <a:lnTo>
                  <a:pt x="3364287" y="4072377"/>
                </a:lnTo>
                <a:lnTo>
                  <a:pt x="3364287" y="4082248"/>
                </a:lnTo>
                <a:lnTo>
                  <a:pt x="3360268" y="4086287"/>
                </a:lnTo>
                <a:lnTo>
                  <a:pt x="3350359" y="4086287"/>
                </a:lnTo>
                <a:lnTo>
                  <a:pt x="3346340" y="4082248"/>
                </a:lnTo>
                <a:lnTo>
                  <a:pt x="3346340" y="4072377"/>
                </a:lnTo>
                <a:close/>
                <a:moveTo>
                  <a:pt x="3111048" y="4068339"/>
                </a:moveTo>
                <a:lnTo>
                  <a:pt x="3120959" y="4068339"/>
                </a:lnTo>
                <a:lnTo>
                  <a:pt x="3124977" y="4072377"/>
                </a:lnTo>
                <a:lnTo>
                  <a:pt x="3124977" y="4082248"/>
                </a:lnTo>
                <a:lnTo>
                  <a:pt x="3120959" y="4086287"/>
                </a:lnTo>
                <a:lnTo>
                  <a:pt x="3111048" y="4086287"/>
                </a:lnTo>
                <a:lnTo>
                  <a:pt x="3107029" y="4082248"/>
                </a:lnTo>
                <a:lnTo>
                  <a:pt x="3107029" y="4072377"/>
                </a:lnTo>
                <a:close/>
                <a:moveTo>
                  <a:pt x="2871737" y="4068339"/>
                </a:moveTo>
                <a:lnTo>
                  <a:pt x="2881646" y="4068339"/>
                </a:lnTo>
                <a:lnTo>
                  <a:pt x="2885666" y="4072377"/>
                </a:lnTo>
                <a:lnTo>
                  <a:pt x="2885666" y="4082248"/>
                </a:lnTo>
                <a:lnTo>
                  <a:pt x="2881646" y="4086287"/>
                </a:lnTo>
                <a:lnTo>
                  <a:pt x="2871737" y="4086287"/>
                </a:lnTo>
                <a:lnTo>
                  <a:pt x="2867717" y="4082248"/>
                </a:lnTo>
                <a:lnTo>
                  <a:pt x="2867717" y="4072377"/>
                </a:lnTo>
                <a:close/>
                <a:moveTo>
                  <a:pt x="2632423" y="4068339"/>
                </a:moveTo>
                <a:lnTo>
                  <a:pt x="2642334" y="4068339"/>
                </a:lnTo>
                <a:lnTo>
                  <a:pt x="2646352" y="4072377"/>
                </a:lnTo>
                <a:lnTo>
                  <a:pt x="2646352" y="4082248"/>
                </a:lnTo>
                <a:lnTo>
                  <a:pt x="2642334" y="4086287"/>
                </a:lnTo>
                <a:lnTo>
                  <a:pt x="2632423" y="4086287"/>
                </a:lnTo>
                <a:lnTo>
                  <a:pt x="2628404" y="4082248"/>
                </a:lnTo>
                <a:lnTo>
                  <a:pt x="2628404" y="4072377"/>
                </a:lnTo>
                <a:close/>
                <a:moveTo>
                  <a:pt x="2393104" y="4068339"/>
                </a:moveTo>
                <a:lnTo>
                  <a:pt x="2403015" y="4068339"/>
                </a:lnTo>
                <a:lnTo>
                  <a:pt x="2407034" y="4072377"/>
                </a:lnTo>
                <a:lnTo>
                  <a:pt x="2407034" y="4082248"/>
                </a:lnTo>
                <a:lnTo>
                  <a:pt x="2403015" y="4086287"/>
                </a:lnTo>
                <a:lnTo>
                  <a:pt x="2393104" y="4086287"/>
                </a:lnTo>
                <a:lnTo>
                  <a:pt x="2389087" y="4082248"/>
                </a:lnTo>
                <a:lnTo>
                  <a:pt x="2389087" y="4072377"/>
                </a:lnTo>
                <a:close/>
                <a:moveTo>
                  <a:pt x="2157819" y="4068339"/>
                </a:moveTo>
                <a:lnTo>
                  <a:pt x="2167729" y="4068339"/>
                </a:lnTo>
                <a:lnTo>
                  <a:pt x="2171749" y="4072377"/>
                </a:lnTo>
                <a:lnTo>
                  <a:pt x="2171749" y="4082248"/>
                </a:lnTo>
                <a:lnTo>
                  <a:pt x="2167729" y="4086287"/>
                </a:lnTo>
                <a:lnTo>
                  <a:pt x="2157819" y="4086287"/>
                </a:lnTo>
                <a:lnTo>
                  <a:pt x="2153801" y="4082248"/>
                </a:lnTo>
                <a:lnTo>
                  <a:pt x="2153801" y="4072377"/>
                </a:lnTo>
                <a:close/>
                <a:moveTo>
                  <a:pt x="1918511" y="4068339"/>
                </a:moveTo>
                <a:lnTo>
                  <a:pt x="1928421" y="4068339"/>
                </a:lnTo>
                <a:lnTo>
                  <a:pt x="1932440" y="4072377"/>
                </a:lnTo>
                <a:lnTo>
                  <a:pt x="1932440" y="4082248"/>
                </a:lnTo>
                <a:lnTo>
                  <a:pt x="1928421" y="4086287"/>
                </a:lnTo>
                <a:lnTo>
                  <a:pt x="1918511" y="4086287"/>
                </a:lnTo>
                <a:lnTo>
                  <a:pt x="1914492" y="4082248"/>
                </a:lnTo>
                <a:lnTo>
                  <a:pt x="1914492" y="4072377"/>
                </a:lnTo>
                <a:close/>
                <a:moveTo>
                  <a:pt x="1679207" y="4068339"/>
                </a:moveTo>
                <a:lnTo>
                  <a:pt x="1689117" y="4068339"/>
                </a:lnTo>
                <a:lnTo>
                  <a:pt x="1693137" y="4072377"/>
                </a:lnTo>
                <a:lnTo>
                  <a:pt x="1693137" y="4082248"/>
                </a:lnTo>
                <a:lnTo>
                  <a:pt x="1689117" y="4086287"/>
                </a:lnTo>
                <a:lnTo>
                  <a:pt x="1679207" y="4086287"/>
                </a:lnTo>
                <a:lnTo>
                  <a:pt x="1675189" y="4082248"/>
                </a:lnTo>
                <a:lnTo>
                  <a:pt x="1675189" y="4072377"/>
                </a:lnTo>
                <a:close/>
                <a:moveTo>
                  <a:pt x="1439891" y="4068339"/>
                </a:moveTo>
                <a:lnTo>
                  <a:pt x="1449802" y="4068339"/>
                </a:lnTo>
                <a:lnTo>
                  <a:pt x="1453820" y="4072377"/>
                </a:lnTo>
                <a:lnTo>
                  <a:pt x="1453820" y="4082248"/>
                </a:lnTo>
                <a:lnTo>
                  <a:pt x="1449802" y="4086287"/>
                </a:lnTo>
                <a:lnTo>
                  <a:pt x="1439891" y="4086287"/>
                </a:lnTo>
                <a:lnTo>
                  <a:pt x="1435873" y="4082248"/>
                </a:lnTo>
                <a:lnTo>
                  <a:pt x="1435873" y="4072377"/>
                </a:lnTo>
                <a:close/>
                <a:moveTo>
                  <a:pt x="1200576" y="4068339"/>
                </a:moveTo>
                <a:lnTo>
                  <a:pt x="1210486" y="4068339"/>
                </a:lnTo>
                <a:lnTo>
                  <a:pt x="1214505" y="4072377"/>
                </a:lnTo>
                <a:lnTo>
                  <a:pt x="1214505" y="4082248"/>
                </a:lnTo>
                <a:lnTo>
                  <a:pt x="1210486" y="4086287"/>
                </a:lnTo>
                <a:lnTo>
                  <a:pt x="1200576" y="4086287"/>
                </a:lnTo>
                <a:lnTo>
                  <a:pt x="1196558" y="4082248"/>
                </a:lnTo>
                <a:lnTo>
                  <a:pt x="1196558" y="4072377"/>
                </a:lnTo>
                <a:close/>
                <a:moveTo>
                  <a:pt x="961263" y="4068339"/>
                </a:moveTo>
                <a:lnTo>
                  <a:pt x="971174" y="4068339"/>
                </a:lnTo>
                <a:lnTo>
                  <a:pt x="975192" y="4072377"/>
                </a:lnTo>
                <a:lnTo>
                  <a:pt x="975192" y="4082248"/>
                </a:lnTo>
                <a:lnTo>
                  <a:pt x="971174" y="4086287"/>
                </a:lnTo>
                <a:lnTo>
                  <a:pt x="961263" y="4086287"/>
                </a:lnTo>
                <a:lnTo>
                  <a:pt x="957244" y="4082248"/>
                </a:lnTo>
                <a:lnTo>
                  <a:pt x="957244" y="4072377"/>
                </a:lnTo>
                <a:close/>
                <a:moveTo>
                  <a:pt x="721965" y="4068339"/>
                </a:moveTo>
                <a:lnTo>
                  <a:pt x="731876" y="4068339"/>
                </a:lnTo>
                <a:lnTo>
                  <a:pt x="735894" y="4072377"/>
                </a:lnTo>
                <a:lnTo>
                  <a:pt x="735894" y="4082248"/>
                </a:lnTo>
                <a:lnTo>
                  <a:pt x="731876" y="4086287"/>
                </a:lnTo>
                <a:lnTo>
                  <a:pt x="721965" y="4086287"/>
                </a:lnTo>
                <a:lnTo>
                  <a:pt x="717946" y="4082248"/>
                </a:lnTo>
                <a:lnTo>
                  <a:pt x="717946" y="4072377"/>
                </a:lnTo>
                <a:close/>
                <a:moveTo>
                  <a:pt x="482653" y="4068339"/>
                </a:moveTo>
                <a:lnTo>
                  <a:pt x="492563" y="4068339"/>
                </a:lnTo>
                <a:lnTo>
                  <a:pt x="496583" y="4072377"/>
                </a:lnTo>
                <a:lnTo>
                  <a:pt x="496583" y="4082248"/>
                </a:lnTo>
                <a:lnTo>
                  <a:pt x="492563" y="4086287"/>
                </a:lnTo>
                <a:lnTo>
                  <a:pt x="482653" y="4086287"/>
                </a:lnTo>
                <a:lnTo>
                  <a:pt x="478634" y="4082248"/>
                </a:lnTo>
                <a:lnTo>
                  <a:pt x="478634" y="4072377"/>
                </a:lnTo>
                <a:close/>
                <a:moveTo>
                  <a:pt x="243339" y="4068339"/>
                </a:moveTo>
                <a:lnTo>
                  <a:pt x="253250" y="4068339"/>
                </a:lnTo>
                <a:lnTo>
                  <a:pt x="257269" y="4072377"/>
                </a:lnTo>
                <a:lnTo>
                  <a:pt x="257269" y="4082248"/>
                </a:lnTo>
                <a:lnTo>
                  <a:pt x="253250" y="4086287"/>
                </a:lnTo>
                <a:lnTo>
                  <a:pt x="243339" y="4086287"/>
                </a:lnTo>
                <a:lnTo>
                  <a:pt x="239320" y="4082248"/>
                </a:lnTo>
                <a:lnTo>
                  <a:pt x="239320" y="4072377"/>
                </a:lnTo>
                <a:close/>
                <a:moveTo>
                  <a:pt x="4026" y="4068339"/>
                </a:moveTo>
                <a:lnTo>
                  <a:pt x="13936" y="4068339"/>
                </a:lnTo>
                <a:lnTo>
                  <a:pt x="17956" y="4072377"/>
                </a:lnTo>
                <a:lnTo>
                  <a:pt x="17956" y="4082248"/>
                </a:lnTo>
                <a:lnTo>
                  <a:pt x="13936" y="4086287"/>
                </a:lnTo>
                <a:lnTo>
                  <a:pt x="4026" y="4086287"/>
                </a:lnTo>
                <a:lnTo>
                  <a:pt x="7" y="4082248"/>
                </a:lnTo>
                <a:lnTo>
                  <a:pt x="7" y="4072377"/>
                </a:lnTo>
                <a:close/>
                <a:moveTo>
                  <a:pt x="2157820" y="3829058"/>
                </a:moveTo>
                <a:lnTo>
                  <a:pt x="2167731" y="3829058"/>
                </a:lnTo>
                <a:lnTo>
                  <a:pt x="2171749" y="3833097"/>
                </a:lnTo>
                <a:lnTo>
                  <a:pt x="2171749" y="3842968"/>
                </a:lnTo>
                <a:lnTo>
                  <a:pt x="2167731" y="3847007"/>
                </a:lnTo>
                <a:lnTo>
                  <a:pt x="2157820" y="3847007"/>
                </a:lnTo>
                <a:lnTo>
                  <a:pt x="2153801" y="3842968"/>
                </a:lnTo>
                <a:lnTo>
                  <a:pt x="2153801" y="3833097"/>
                </a:lnTo>
                <a:close/>
                <a:moveTo>
                  <a:pt x="1918511" y="3829058"/>
                </a:moveTo>
                <a:lnTo>
                  <a:pt x="1928421" y="3829058"/>
                </a:lnTo>
                <a:lnTo>
                  <a:pt x="1932440" y="3833097"/>
                </a:lnTo>
                <a:lnTo>
                  <a:pt x="1932440" y="3842968"/>
                </a:lnTo>
                <a:lnTo>
                  <a:pt x="1928421" y="3847007"/>
                </a:lnTo>
                <a:lnTo>
                  <a:pt x="1918511" y="3847007"/>
                </a:lnTo>
                <a:lnTo>
                  <a:pt x="1914493" y="3842968"/>
                </a:lnTo>
                <a:lnTo>
                  <a:pt x="1914493" y="3833097"/>
                </a:lnTo>
                <a:close/>
                <a:moveTo>
                  <a:pt x="1679209" y="3829058"/>
                </a:moveTo>
                <a:lnTo>
                  <a:pt x="1689118" y="3829058"/>
                </a:lnTo>
                <a:lnTo>
                  <a:pt x="1693137" y="3833097"/>
                </a:lnTo>
                <a:lnTo>
                  <a:pt x="1693137" y="3842968"/>
                </a:lnTo>
                <a:lnTo>
                  <a:pt x="1689118" y="3847007"/>
                </a:lnTo>
                <a:lnTo>
                  <a:pt x="1679209" y="3847007"/>
                </a:lnTo>
                <a:lnTo>
                  <a:pt x="1675189" y="3842968"/>
                </a:lnTo>
                <a:lnTo>
                  <a:pt x="1675189" y="3833097"/>
                </a:lnTo>
                <a:close/>
                <a:moveTo>
                  <a:pt x="1439892" y="3829058"/>
                </a:moveTo>
                <a:lnTo>
                  <a:pt x="1449802" y="3829058"/>
                </a:lnTo>
                <a:lnTo>
                  <a:pt x="1453820" y="3833097"/>
                </a:lnTo>
                <a:lnTo>
                  <a:pt x="1453820" y="3842968"/>
                </a:lnTo>
                <a:lnTo>
                  <a:pt x="1449802" y="3847007"/>
                </a:lnTo>
                <a:lnTo>
                  <a:pt x="1439892" y="3847007"/>
                </a:lnTo>
                <a:lnTo>
                  <a:pt x="1435874" y="3842968"/>
                </a:lnTo>
                <a:lnTo>
                  <a:pt x="1435874" y="3833097"/>
                </a:lnTo>
                <a:close/>
                <a:moveTo>
                  <a:pt x="1200577" y="3829058"/>
                </a:moveTo>
                <a:lnTo>
                  <a:pt x="1210487" y="3829058"/>
                </a:lnTo>
                <a:lnTo>
                  <a:pt x="1214506" y="3833097"/>
                </a:lnTo>
                <a:lnTo>
                  <a:pt x="1214506" y="3842968"/>
                </a:lnTo>
                <a:lnTo>
                  <a:pt x="1210487" y="3847007"/>
                </a:lnTo>
                <a:lnTo>
                  <a:pt x="1200577" y="3847007"/>
                </a:lnTo>
                <a:lnTo>
                  <a:pt x="1196558" y="3842968"/>
                </a:lnTo>
                <a:lnTo>
                  <a:pt x="1196558" y="3833097"/>
                </a:lnTo>
                <a:close/>
                <a:moveTo>
                  <a:pt x="961264" y="3829058"/>
                </a:moveTo>
                <a:lnTo>
                  <a:pt x="971174" y="3829058"/>
                </a:lnTo>
                <a:lnTo>
                  <a:pt x="975193" y="3833097"/>
                </a:lnTo>
                <a:lnTo>
                  <a:pt x="975193" y="3842968"/>
                </a:lnTo>
                <a:lnTo>
                  <a:pt x="971174" y="3847007"/>
                </a:lnTo>
                <a:lnTo>
                  <a:pt x="961264" y="3847007"/>
                </a:lnTo>
                <a:lnTo>
                  <a:pt x="957245" y="3842968"/>
                </a:lnTo>
                <a:lnTo>
                  <a:pt x="957245" y="3833097"/>
                </a:lnTo>
                <a:close/>
                <a:moveTo>
                  <a:pt x="9572438" y="3829008"/>
                </a:moveTo>
                <a:lnTo>
                  <a:pt x="9582349" y="3829008"/>
                </a:lnTo>
                <a:lnTo>
                  <a:pt x="9586368" y="3833046"/>
                </a:lnTo>
                <a:lnTo>
                  <a:pt x="9586368" y="3842917"/>
                </a:lnTo>
                <a:lnTo>
                  <a:pt x="9582349" y="3846956"/>
                </a:lnTo>
                <a:lnTo>
                  <a:pt x="9572438" y="3846956"/>
                </a:lnTo>
                <a:lnTo>
                  <a:pt x="9568419" y="3842917"/>
                </a:lnTo>
                <a:lnTo>
                  <a:pt x="9568419" y="3833046"/>
                </a:lnTo>
                <a:close/>
                <a:moveTo>
                  <a:pt x="9333125" y="3829008"/>
                </a:moveTo>
                <a:lnTo>
                  <a:pt x="9343036" y="3829008"/>
                </a:lnTo>
                <a:lnTo>
                  <a:pt x="9347055" y="3833046"/>
                </a:lnTo>
                <a:lnTo>
                  <a:pt x="9347055" y="3842917"/>
                </a:lnTo>
                <a:lnTo>
                  <a:pt x="9343036" y="3846956"/>
                </a:lnTo>
                <a:lnTo>
                  <a:pt x="9333125" y="3846956"/>
                </a:lnTo>
                <a:lnTo>
                  <a:pt x="9329106" y="3842917"/>
                </a:lnTo>
                <a:lnTo>
                  <a:pt x="9329106" y="3833046"/>
                </a:lnTo>
                <a:close/>
                <a:moveTo>
                  <a:pt x="9093811" y="3829008"/>
                </a:moveTo>
                <a:lnTo>
                  <a:pt x="9103722" y="3829008"/>
                </a:lnTo>
                <a:lnTo>
                  <a:pt x="9107741" y="3833046"/>
                </a:lnTo>
                <a:lnTo>
                  <a:pt x="9107741" y="3842917"/>
                </a:lnTo>
                <a:lnTo>
                  <a:pt x="9103722" y="3846956"/>
                </a:lnTo>
                <a:lnTo>
                  <a:pt x="9093811" y="3846956"/>
                </a:lnTo>
                <a:lnTo>
                  <a:pt x="9089792" y="3842917"/>
                </a:lnTo>
                <a:lnTo>
                  <a:pt x="9089792" y="3833046"/>
                </a:lnTo>
                <a:close/>
                <a:moveTo>
                  <a:pt x="8854496" y="3829008"/>
                </a:moveTo>
                <a:lnTo>
                  <a:pt x="8864407" y="3829008"/>
                </a:lnTo>
                <a:lnTo>
                  <a:pt x="8868426" y="3833046"/>
                </a:lnTo>
                <a:lnTo>
                  <a:pt x="8868426" y="3842917"/>
                </a:lnTo>
                <a:lnTo>
                  <a:pt x="8864407" y="3846956"/>
                </a:lnTo>
                <a:lnTo>
                  <a:pt x="8854496" y="3846956"/>
                </a:lnTo>
                <a:lnTo>
                  <a:pt x="8850477" y="3842917"/>
                </a:lnTo>
                <a:lnTo>
                  <a:pt x="8850477" y="3833046"/>
                </a:lnTo>
                <a:close/>
                <a:moveTo>
                  <a:pt x="8615184" y="3829008"/>
                </a:moveTo>
                <a:lnTo>
                  <a:pt x="8625095" y="3829008"/>
                </a:lnTo>
                <a:lnTo>
                  <a:pt x="8629114" y="3833046"/>
                </a:lnTo>
                <a:lnTo>
                  <a:pt x="8629114" y="3842917"/>
                </a:lnTo>
                <a:lnTo>
                  <a:pt x="8625095" y="3846956"/>
                </a:lnTo>
                <a:lnTo>
                  <a:pt x="8615184" y="3846956"/>
                </a:lnTo>
                <a:lnTo>
                  <a:pt x="8611165" y="3842917"/>
                </a:lnTo>
                <a:lnTo>
                  <a:pt x="8611165" y="3833046"/>
                </a:lnTo>
                <a:close/>
                <a:moveTo>
                  <a:pt x="8375869" y="3829008"/>
                </a:moveTo>
                <a:lnTo>
                  <a:pt x="8385779" y="3829008"/>
                </a:lnTo>
                <a:lnTo>
                  <a:pt x="8389799" y="3833046"/>
                </a:lnTo>
                <a:lnTo>
                  <a:pt x="8389799" y="3842917"/>
                </a:lnTo>
                <a:lnTo>
                  <a:pt x="8385779" y="3846956"/>
                </a:lnTo>
                <a:lnTo>
                  <a:pt x="8375869" y="3846956"/>
                </a:lnTo>
                <a:lnTo>
                  <a:pt x="8371850" y="3842917"/>
                </a:lnTo>
                <a:lnTo>
                  <a:pt x="8371850" y="3833046"/>
                </a:lnTo>
                <a:close/>
                <a:moveTo>
                  <a:pt x="8136553" y="3829008"/>
                </a:moveTo>
                <a:lnTo>
                  <a:pt x="8146464" y="3829008"/>
                </a:lnTo>
                <a:lnTo>
                  <a:pt x="8150483" y="3833046"/>
                </a:lnTo>
                <a:lnTo>
                  <a:pt x="8150483" y="3842917"/>
                </a:lnTo>
                <a:lnTo>
                  <a:pt x="8146464" y="3846956"/>
                </a:lnTo>
                <a:lnTo>
                  <a:pt x="8136553" y="3846956"/>
                </a:lnTo>
                <a:lnTo>
                  <a:pt x="8132534" y="3842917"/>
                </a:lnTo>
                <a:lnTo>
                  <a:pt x="8132534" y="3833046"/>
                </a:lnTo>
                <a:close/>
                <a:moveTo>
                  <a:pt x="7897241" y="3829008"/>
                </a:moveTo>
                <a:lnTo>
                  <a:pt x="7907151" y="3829008"/>
                </a:lnTo>
                <a:lnTo>
                  <a:pt x="7911170" y="3833046"/>
                </a:lnTo>
                <a:lnTo>
                  <a:pt x="7911170" y="3842917"/>
                </a:lnTo>
                <a:lnTo>
                  <a:pt x="7907151" y="3846956"/>
                </a:lnTo>
                <a:lnTo>
                  <a:pt x="7897241" y="3846956"/>
                </a:lnTo>
                <a:lnTo>
                  <a:pt x="7893222" y="3842917"/>
                </a:lnTo>
                <a:lnTo>
                  <a:pt x="7893222" y="3833046"/>
                </a:lnTo>
                <a:close/>
                <a:moveTo>
                  <a:pt x="7657926" y="3829008"/>
                </a:moveTo>
                <a:lnTo>
                  <a:pt x="7667836" y="3829008"/>
                </a:lnTo>
                <a:lnTo>
                  <a:pt x="7671855" y="3833046"/>
                </a:lnTo>
                <a:lnTo>
                  <a:pt x="7671855" y="3842917"/>
                </a:lnTo>
                <a:lnTo>
                  <a:pt x="7667836" y="3846956"/>
                </a:lnTo>
                <a:lnTo>
                  <a:pt x="7657926" y="3846956"/>
                </a:lnTo>
                <a:lnTo>
                  <a:pt x="7653906" y="3842917"/>
                </a:lnTo>
                <a:lnTo>
                  <a:pt x="7653906" y="3833046"/>
                </a:lnTo>
                <a:close/>
                <a:moveTo>
                  <a:pt x="7418611" y="3829008"/>
                </a:moveTo>
                <a:lnTo>
                  <a:pt x="7428521" y="3829008"/>
                </a:lnTo>
                <a:lnTo>
                  <a:pt x="7432540" y="3833046"/>
                </a:lnTo>
                <a:lnTo>
                  <a:pt x="7432540" y="3842917"/>
                </a:lnTo>
                <a:lnTo>
                  <a:pt x="7428521" y="3846956"/>
                </a:lnTo>
                <a:lnTo>
                  <a:pt x="7418611" y="3846956"/>
                </a:lnTo>
                <a:lnTo>
                  <a:pt x="7414592" y="3842917"/>
                </a:lnTo>
                <a:lnTo>
                  <a:pt x="7414592" y="3833046"/>
                </a:lnTo>
                <a:close/>
                <a:moveTo>
                  <a:pt x="7179298" y="3829008"/>
                </a:moveTo>
                <a:lnTo>
                  <a:pt x="7189209" y="3829008"/>
                </a:lnTo>
                <a:lnTo>
                  <a:pt x="7193228" y="3833046"/>
                </a:lnTo>
                <a:lnTo>
                  <a:pt x="7193228" y="3842917"/>
                </a:lnTo>
                <a:lnTo>
                  <a:pt x="7189209" y="3846956"/>
                </a:lnTo>
                <a:lnTo>
                  <a:pt x="7179298" y="3846956"/>
                </a:lnTo>
                <a:lnTo>
                  <a:pt x="7175279" y="3842917"/>
                </a:lnTo>
                <a:lnTo>
                  <a:pt x="7175279" y="3833046"/>
                </a:lnTo>
                <a:close/>
                <a:moveTo>
                  <a:pt x="6939983" y="3829008"/>
                </a:moveTo>
                <a:lnTo>
                  <a:pt x="6949894" y="3829008"/>
                </a:lnTo>
                <a:lnTo>
                  <a:pt x="6953913" y="3833046"/>
                </a:lnTo>
                <a:lnTo>
                  <a:pt x="6953913" y="3842917"/>
                </a:lnTo>
                <a:lnTo>
                  <a:pt x="6949894" y="3846956"/>
                </a:lnTo>
                <a:lnTo>
                  <a:pt x="6939983" y="3846956"/>
                </a:lnTo>
                <a:lnTo>
                  <a:pt x="6935964" y="3842917"/>
                </a:lnTo>
                <a:lnTo>
                  <a:pt x="6935964" y="3833046"/>
                </a:lnTo>
                <a:close/>
                <a:moveTo>
                  <a:pt x="6700670" y="3829008"/>
                </a:moveTo>
                <a:lnTo>
                  <a:pt x="6710581" y="3829008"/>
                </a:lnTo>
                <a:lnTo>
                  <a:pt x="6714600" y="3833046"/>
                </a:lnTo>
                <a:lnTo>
                  <a:pt x="6714600" y="3842917"/>
                </a:lnTo>
                <a:lnTo>
                  <a:pt x="6710581" y="3846956"/>
                </a:lnTo>
                <a:lnTo>
                  <a:pt x="6700670" y="3846956"/>
                </a:lnTo>
                <a:lnTo>
                  <a:pt x="6696651" y="3842917"/>
                </a:lnTo>
                <a:lnTo>
                  <a:pt x="6696651" y="3833046"/>
                </a:lnTo>
                <a:close/>
                <a:moveTo>
                  <a:pt x="6461356" y="3829008"/>
                </a:moveTo>
                <a:lnTo>
                  <a:pt x="6471266" y="3829008"/>
                </a:lnTo>
                <a:lnTo>
                  <a:pt x="6475285" y="3833046"/>
                </a:lnTo>
                <a:lnTo>
                  <a:pt x="6475285" y="3842917"/>
                </a:lnTo>
                <a:lnTo>
                  <a:pt x="6471266" y="3846956"/>
                </a:lnTo>
                <a:lnTo>
                  <a:pt x="6461356" y="3846956"/>
                </a:lnTo>
                <a:lnTo>
                  <a:pt x="6457337" y="3842917"/>
                </a:lnTo>
                <a:lnTo>
                  <a:pt x="6457337" y="3833046"/>
                </a:lnTo>
                <a:close/>
                <a:moveTo>
                  <a:pt x="6222042" y="3829008"/>
                </a:moveTo>
                <a:lnTo>
                  <a:pt x="6231952" y="3829008"/>
                </a:lnTo>
                <a:lnTo>
                  <a:pt x="6235971" y="3833046"/>
                </a:lnTo>
                <a:lnTo>
                  <a:pt x="6235971" y="3842917"/>
                </a:lnTo>
                <a:lnTo>
                  <a:pt x="6231952" y="3846956"/>
                </a:lnTo>
                <a:lnTo>
                  <a:pt x="6222042" y="3846956"/>
                </a:lnTo>
                <a:lnTo>
                  <a:pt x="6218023" y="3842917"/>
                </a:lnTo>
                <a:lnTo>
                  <a:pt x="6218023" y="3833046"/>
                </a:lnTo>
                <a:close/>
                <a:moveTo>
                  <a:pt x="5982729" y="3829008"/>
                </a:moveTo>
                <a:lnTo>
                  <a:pt x="5992639" y="3829008"/>
                </a:lnTo>
                <a:lnTo>
                  <a:pt x="5996658" y="3833046"/>
                </a:lnTo>
                <a:lnTo>
                  <a:pt x="5996658" y="3842917"/>
                </a:lnTo>
                <a:lnTo>
                  <a:pt x="5992639" y="3846956"/>
                </a:lnTo>
                <a:lnTo>
                  <a:pt x="5982729" y="3846956"/>
                </a:lnTo>
                <a:lnTo>
                  <a:pt x="5978710" y="3842917"/>
                </a:lnTo>
                <a:lnTo>
                  <a:pt x="5978710" y="3833046"/>
                </a:lnTo>
                <a:close/>
                <a:moveTo>
                  <a:pt x="5743412" y="3829008"/>
                </a:moveTo>
                <a:lnTo>
                  <a:pt x="5753323" y="3829008"/>
                </a:lnTo>
                <a:lnTo>
                  <a:pt x="5757342" y="3833046"/>
                </a:lnTo>
                <a:lnTo>
                  <a:pt x="5757342" y="3842917"/>
                </a:lnTo>
                <a:lnTo>
                  <a:pt x="5753323" y="3846956"/>
                </a:lnTo>
                <a:lnTo>
                  <a:pt x="5743412" y="3846956"/>
                </a:lnTo>
                <a:lnTo>
                  <a:pt x="5739393" y="3842917"/>
                </a:lnTo>
                <a:lnTo>
                  <a:pt x="5739393" y="3833046"/>
                </a:lnTo>
                <a:close/>
                <a:moveTo>
                  <a:pt x="5504099" y="3829008"/>
                </a:moveTo>
                <a:lnTo>
                  <a:pt x="5514010" y="3829008"/>
                </a:lnTo>
                <a:lnTo>
                  <a:pt x="5518029" y="3833046"/>
                </a:lnTo>
                <a:lnTo>
                  <a:pt x="5518029" y="3842917"/>
                </a:lnTo>
                <a:lnTo>
                  <a:pt x="5514010" y="3846956"/>
                </a:lnTo>
                <a:lnTo>
                  <a:pt x="5504099" y="3846956"/>
                </a:lnTo>
                <a:lnTo>
                  <a:pt x="5500080" y="3842917"/>
                </a:lnTo>
                <a:lnTo>
                  <a:pt x="5500080" y="3833046"/>
                </a:lnTo>
                <a:close/>
                <a:moveTo>
                  <a:pt x="5264784" y="3829008"/>
                </a:moveTo>
                <a:lnTo>
                  <a:pt x="5274694" y="3829008"/>
                </a:lnTo>
                <a:lnTo>
                  <a:pt x="5278713" y="3833046"/>
                </a:lnTo>
                <a:lnTo>
                  <a:pt x="5278713" y="3842917"/>
                </a:lnTo>
                <a:lnTo>
                  <a:pt x="5274694" y="3846956"/>
                </a:lnTo>
                <a:lnTo>
                  <a:pt x="5264784" y="3846956"/>
                </a:lnTo>
                <a:lnTo>
                  <a:pt x="5260765" y="3842917"/>
                </a:lnTo>
                <a:lnTo>
                  <a:pt x="5260765" y="3833046"/>
                </a:lnTo>
                <a:close/>
                <a:moveTo>
                  <a:pt x="5025470" y="3829008"/>
                </a:moveTo>
                <a:lnTo>
                  <a:pt x="5035381" y="3829008"/>
                </a:lnTo>
                <a:lnTo>
                  <a:pt x="5039400" y="3833046"/>
                </a:lnTo>
                <a:lnTo>
                  <a:pt x="5039400" y="3842917"/>
                </a:lnTo>
                <a:lnTo>
                  <a:pt x="5035381" y="3846956"/>
                </a:lnTo>
                <a:lnTo>
                  <a:pt x="5025470" y="3846956"/>
                </a:lnTo>
                <a:lnTo>
                  <a:pt x="5021451" y="3842917"/>
                </a:lnTo>
                <a:lnTo>
                  <a:pt x="5021451" y="3833046"/>
                </a:lnTo>
                <a:close/>
                <a:moveTo>
                  <a:pt x="4786241" y="3829008"/>
                </a:moveTo>
                <a:lnTo>
                  <a:pt x="4796152" y="3829008"/>
                </a:lnTo>
                <a:lnTo>
                  <a:pt x="4800171" y="3833046"/>
                </a:lnTo>
                <a:lnTo>
                  <a:pt x="4800171" y="3842917"/>
                </a:lnTo>
                <a:lnTo>
                  <a:pt x="4796152" y="3846956"/>
                </a:lnTo>
                <a:lnTo>
                  <a:pt x="4786241" y="3846956"/>
                </a:lnTo>
                <a:lnTo>
                  <a:pt x="4782224" y="3842917"/>
                </a:lnTo>
                <a:lnTo>
                  <a:pt x="4782224" y="3833046"/>
                </a:lnTo>
                <a:close/>
                <a:moveTo>
                  <a:pt x="4546929" y="3829008"/>
                </a:moveTo>
                <a:lnTo>
                  <a:pt x="4556840" y="3829008"/>
                </a:lnTo>
                <a:lnTo>
                  <a:pt x="4560859" y="3833046"/>
                </a:lnTo>
                <a:lnTo>
                  <a:pt x="4560859" y="3842917"/>
                </a:lnTo>
                <a:lnTo>
                  <a:pt x="4556840" y="3846956"/>
                </a:lnTo>
                <a:lnTo>
                  <a:pt x="4546929" y="3846956"/>
                </a:lnTo>
                <a:lnTo>
                  <a:pt x="4542910" y="3842917"/>
                </a:lnTo>
                <a:lnTo>
                  <a:pt x="4542910" y="3833046"/>
                </a:lnTo>
                <a:close/>
                <a:moveTo>
                  <a:pt x="4307612" y="3829008"/>
                </a:moveTo>
                <a:lnTo>
                  <a:pt x="4317523" y="3829008"/>
                </a:lnTo>
                <a:lnTo>
                  <a:pt x="4321543" y="3833046"/>
                </a:lnTo>
                <a:lnTo>
                  <a:pt x="4321543" y="3842917"/>
                </a:lnTo>
                <a:lnTo>
                  <a:pt x="4317523" y="3846956"/>
                </a:lnTo>
                <a:lnTo>
                  <a:pt x="4307612" y="3846956"/>
                </a:lnTo>
                <a:lnTo>
                  <a:pt x="4303595" y="3842917"/>
                </a:lnTo>
                <a:lnTo>
                  <a:pt x="4303595" y="3833046"/>
                </a:lnTo>
                <a:close/>
                <a:moveTo>
                  <a:pt x="4068297" y="3829008"/>
                </a:moveTo>
                <a:lnTo>
                  <a:pt x="4078210" y="3829008"/>
                </a:lnTo>
                <a:lnTo>
                  <a:pt x="4082229" y="3833046"/>
                </a:lnTo>
                <a:lnTo>
                  <a:pt x="4082229" y="3842917"/>
                </a:lnTo>
                <a:lnTo>
                  <a:pt x="4078210" y="3846956"/>
                </a:lnTo>
                <a:lnTo>
                  <a:pt x="4068297" y="3846956"/>
                </a:lnTo>
                <a:lnTo>
                  <a:pt x="4064278" y="3842917"/>
                </a:lnTo>
                <a:lnTo>
                  <a:pt x="4064278" y="3833046"/>
                </a:lnTo>
                <a:close/>
                <a:moveTo>
                  <a:pt x="3828990" y="3829008"/>
                </a:moveTo>
                <a:lnTo>
                  <a:pt x="3838899" y="3829008"/>
                </a:lnTo>
                <a:lnTo>
                  <a:pt x="3842917" y="3833046"/>
                </a:lnTo>
                <a:lnTo>
                  <a:pt x="3842917" y="3842917"/>
                </a:lnTo>
                <a:lnTo>
                  <a:pt x="3838899" y="3846956"/>
                </a:lnTo>
                <a:lnTo>
                  <a:pt x="3828990" y="3846956"/>
                </a:lnTo>
                <a:lnTo>
                  <a:pt x="3824971" y="3842917"/>
                </a:lnTo>
                <a:lnTo>
                  <a:pt x="3824971" y="3833046"/>
                </a:lnTo>
                <a:close/>
                <a:moveTo>
                  <a:pt x="3589676" y="3829008"/>
                </a:moveTo>
                <a:lnTo>
                  <a:pt x="3599585" y="3829008"/>
                </a:lnTo>
                <a:lnTo>
                  <a:pt x="3603604" y="3833046"/>
                </a:lnTo>
                <a:lnTo>
                  <a:pt x="3603604" y="3842917"/>
                </a:lnTo>
                <a:lnTo>
                  <a:pt x="3599585" y="3846956"/>
                </a:lnTo>
                <a:lnTo>
                  <a:pt x="3589676" y="3846956"/>
                </a:lnTo>
                <a:lnTo>
                  <a:pt x="3585657" y="3842917"/>
                </a:lnTo>
                <a:lnTo>
                  <a:pt x="3585657" y="3833046"/>
                </a:lnTo>
                <a:close/>
                <a:moveTo>
                  <a:pt x="3350359" y="3829008"/>
                </a:moveTo>
                <a:lnTo>
                  <a:pt x="3360268" y="3829008"/>
                </a:lnTo>
                <a:lnTo>
                  <a:pt x="3364287" y="3833046"/>
                </a:lnTo>
                <a:lnTo>
                  <a:pt x="3364287" y="3842917"/>
                </a:lnTo>
                <a:lnTo>
                  <a:pt x="3360268" y="3846956"/>
                </a:lnTo>
                <a:lnTo>
                  <a:pt x="3350359" y="3846956"/>
                </a:lnTo>
                <a:lnTo>
                  <a:pt x="3346340" y="3842917"/>
                </a:lnTo>
                <a:lnTo>
                  <a:pt x="3346340" y="3833046"/>
                </a:lnTo>
                <a:close/>
                <a:moveTo>
                  <a:pt x="3111048" y="3829008"/>
                </a:moveTo>
                <a:lnTo>
                  <a:pt x="3120959" y="3829008"/>
                </a:lnTo>
                <a:lnTo>
                  <a:pt x="3124977" y="3833046"/>
                </a:lnTo>
                <a:lnTo>
                  <a:pt x="3124977" y="3842917"/>
                </a:lnTo>
                <a:lnTo>
                  <a:pt x="3120959" y="3846956"/>
                </a:lnTo>
                <a:lnTo>
                  <a:pt x="3111048" y="3846956"/>
                </a:lnTo>
                <a:lnTo>
                  <a:pt x="3107029" y="3842917"/>
                </a:lnTo>
                <a:lnTo>
                  <a:pt x="3107029" y="3833046"/>
                </a:lnTo>
                <a:close/>
                <a:moveTo>
                  <a:pt x="2871737" y="3829008"/>
                </a:moveTo>
                <a:lnTo>
                  <a:pt x="2881646" y="3829008"/>
                </a:lnTo>
                <a:lnTo>
                  <a:pt x="2885666" y="3833046"/>
                </a:lnTo>
                <a:lnTo>
                  <a:pt x="2885666" y="3842917"/>
                </a:lnTo>
                <a:lnTo>
                  <a:pt x="2881646" y="3846956"/>
                </a:lnTo>
                <a:lnTo>
                  <a:pt x="2871737" y="3846956"/>
                </a:lnTo>
                <a:lnTo>
                  <a:pt x="2867717" y="3842917"/>
                </a:lnTo>
                <a:lnTo>
                  <a:pt x="2867717" y="3833046"/>
                </a:lnTo>
                <a:close/>
                <a:moveTo>
                  <a:pt x="2632423" y="3829008"/>
                </a:moveTo>
                <a:lnTo>
                  <a:pt x="2642334" y="3829008"/>
                </a:lnTo>
                <a:lnTo>
                  <a:pt x="2646352" y="3833046"/>
                </a:lnTo>
                <a:lnTo>
                  <a:pt x="2646352" y="3842917"/>
                </a:lnTo>
                <a:lnTo>
                  <a:pt x="2642334" y="3846956"/>
                </a:lnTo>
                <a:lnTo>
                  <a:pt x="2632423" y="3846956"/>
                </a:lnTo>
                <a:lnTo>
                  <a:pt x="2628404" y="3842917"/>
                </a:lnTo>
                <a:lnTo>
                  <a:pt x="2628404" y="3833046"/>
                </a:lnTo>
                <a:close/>
                <a:moveTo>
                  <a:pt x="2393104" y="3829008"/>
                </a:moveTo>
                <a:lnTo>
                  <a:pt x="2403015" y="3829008"/>
                </a:lnTo>
                <a:lnTo>
                  <a:pt x="2407034" y="3833046"/>
                </a:lnTo>
                <a:lnTo>
                  <a:pt x="2407034" y="3842917"/>
                </a:lnTo>
                <a:lnTo>
                  <a:pt x="2403015" y="3846956"/>
                </a:lnTo>
                <a:lnTo>
                  <a:pt x="2393104" y="3846956"/>
                </a:lnTo>
                <a:lnTo>
                  <a:pt x="2389087" y="3842917"/>
                </a:lnTo>
                <a:lnTo>
                  <a:pt x="2389087" y="3833046"/>
                </a:lnTo>
                <a:close/>
                <a:moveTo>
                  <a:pt x="721966" y="3829008"/>
                </a:moveTo>
                <a:lnTo>
                  <a:pt x="731876" y="3829008"/>
                </a:lnTo>
                <a:lnTo>
                  <a:pt x="735895" y="3833046"/>
                </a:lnTo>
                <a:lnTo>
                  <a:pt x="735895" y="3842917"/>
                </a:lnTo>
                <a:lnTo>
                  <a:pt x="731876" y="3846956"/>
                </a:lnTo>
                <a:lnTo>
                  <a:pt x="721966" y="3846956"/>
                </a:lnTo>
                <a:lnTo>
                  <a:pt x="717947" y="3842917"/>
                </a:lnTo>
                <a:lnTo>
                  <a:pt x="717947" y="3833046"/>
                </a:lnTo>
                <a:close/>
                <a:moveTo>
                  <a:pt x="482654" y="3829008"/>
                </a:moveTo>
                <a:lnTo>
                  <a:pt x="492564" y="3829008"/>
                </a:lnTo>
                <a:lnTo>
                  <a:pt x="496583" y="3833046"/>
                </a:lnTo>
                <a:lnTo>
                  <a:pt x="496583" y="3842917"/>
                </a:lnTo>
                <a:lnTo>
                  <a:pt x="492564" y="3846956"/>
                </a:lnTo>
                <a:lnTo>
                  <a:pt x="482654" y="3846956"/>
                </a:lnTo>
                <a:lnTo>
                  <a:pt x="478635" y="3842917"/>
                </a:lnTo>
                <a:lnTo>
                  <a:pt x="478635" y="3833046"/>
                </a:lnTo>
                <a:close/>
                <a:moveTo>
                  <a:pt x="243340" y="3829008"/>
                </a:moveTo>
                <a:lnTo>
                  <a:pt x="253250" y="3829008"/>
                </a:lnTo>
                <a:lnTo>
                  <a:pt x="257269" y="3833046"/>
                </a:lnTo>
                <a:lnTo>
                  <a:pt x="257269" y="3842917"/>
                </a:lnTo>
                <a:lnTo>
                  <a:pt x="253250" y="3846956"/>
                </a:lnTo>
                <a:lnTo>
                  <a:pt x="243340" y="3846956"/>
                </a:lnTo>
                <a:lnTo>
                  <a:pt x="239321" y="3842917"/>
                </a:lnTo>
                <a:lnTo>
                  <a:pt x="239321" y="3833046"/>
                </a:lnTo>
                <a:close/>
                <a:moveTo>
                  <a:pt x="4027" y="3829008"/>
                </a:moveTo>
                <a:lnTo>
                  <a:pt x="13937" y="3829008"/>
                </a:lnTo>
                <a:lnTo>
                  <a:pt x="17956" y="3833046"/>
                </a:lnTo>
                <a:lnTo>
                  <a:pt x="17956" y="3842917"/>
                </a:lnTo>
                <a:lnTo>
                  <a:pt x="13937" y="3846956"/>
                </a:lnTo>
                <a:lnTo>
                  <a:pt x="4027" y="3846956"/>
                </a:lnTo>
                <a:lnTo>
                  <a:pt x="8" y="3842917"/>
                </a:lnTo>
                <a:lnTo>
                  <a:pt x="8" y="3833046"/>
                </a:lnTo>
                <a:close/>
                <a:moveTo>
                  <a:pt x="2157820" y="3589728"/>
                </a:moveTo>
                <a:lnTo>
                  <a:pt x="2167731" y="3589728"/>
                </a:lnTo>
                <a:lnTo>
                  <a:pt x="2171749" y="3593767"/>
                </a:lnTo>
                <a:lnTo>
                  <a:pt x="2171749" y="3603637"/>
                </a:lnTo>
                <a:lnTo>
                  <a:pt x="2167731" y="3607676"/>
                </a:lnTo>
                <a:lnTo>
                  <a:pt x="2157820" y="3607676"/>
                </a:lnTo>
                <a:lnTo>
                  <a:pt x="2153801" y="3603637"/>
                </a:lnTo>
                <a:lnTo>
                  <a:pt x="2153801" y="3593767"/>
                </a:lnTo>
                <a:close/>
                <a:moveTo>
                  <a:pt x="1918511" y="3589728"/>
                </a:moveTo>
                <a:lnTo>
                  <a:pt x="1928421" y="3589728"/>
                </a:lnTo>
                <a:lnTo>
                  <a:pt x="1932441" y="3593767"/>
                </a:lnTo>
                <a:lnTo>
                  <a:pt x="1932441" y="3603637"/>
                </a:lnTo>
                <a:lnTo>
                  <a:pt x="1928421" y="3607676"/>
                </a:lnTo>
                <a:lnTo>
                  <a:pt x="1918511" y="3607676"/>
                </a:lnTo>
                <a:lnTo>
                  <a:pt x="1914493" y="3603637"/>
                </a:lnTo>
                <a:lnTo>
                  <a:pt x="1914493" y="3593767"/>
                </a:lnTo>
                <a:close/>
                <a:moveTo>
                  <a:pt x="1679209" y="3589728"/>
                </a:moveTo>
                <a:lnTo>
                  <a:pt x="1689118" y="3589728"/>
                </a:lnTo>
                <a:lnTo>
                  <a:pt x="1693138" y="3593767"/>
                </a:lnTo>
                <a:lnTo>
                  <a:pt x="1693138" y="3603637"/>
                </a:lnTo>
                <a:lnTo>
                  <a:pt x="1689118" y="3607676"/>
                </a:lnTo>
                <a:lnTo>
                  <a:pt x="1679209" y="3607676"/>
                </a:lnTo>
                <a:lnTo>
                  <a:pt x="1675190" y="3603637"/>
                </a:lnTo>
                <a:lnTo>
                  <a:pt x="1675190" y="3593767"/>
                </a:lnTo>
                <a:close/>
                <a:moveTo>
                  <a:pt x="1439892" y="3589728"/>
                </a:moveTo>
                <a:lnTo>
                  <a:pt x="1449803" y="3589728"/>
                </a:lnTo>
                <a:lnTo>
                  <a:pt x="1453822" y="3593767"/>
                </a:lnTo>
                <a:lnTo>
                  <a:pt x="1453822" y="3603637"/>
                </a:lnTo>
                <a:lnTo>
                  <a:pt x="1449803" y="3607676"/>
                </a:lnTo>
                <a:lnTo>
                  <a:pt x="1439892" y="3607676"/>
                </a:lnTo>
                <a:lnTo>
                  <a:pt x="1435874" y="3603637"/>
                </a:lnTo>
                <a:lnTo>
                  <a:pt x="1435874" y="3593767"/>
                </a:lnTo>
                <a:close/>
                <a:moveTo>
                  <a:pt x="1200577" y="3589728"/>
                </a:moveTo>
                <a:lnTo>
                  <a:pt x="1210488" y="3589728"/>
                </a:lnTo>
                <a:lnTo>
                  <a:pt x="1214506" y="3593767"/>
                </a:lnTo>
                <a:lnTo>
                  <a:pt x="1214506" y="3603637"/>
                </a:lnTo>
                <a:lnTo>
                  <a:pt x="1210488" y="3607676"/>
                </a:lnTo>
                <a:lnTo>
                  <a:pt x="1200577" y="3607676"/>
                </a:lnTo>
                <a:lnTo>
                  <a:pt x="1196559" y="3603637"/>
                </a:lnTo>
                <a:lnTo>
                  <a:pt x="1196559" y="3593767"/>
                </a:lnTo>
                <a:close/>
                <a:moveTo>
                  <a:pt x="961265" y="3589728"/>
                </a:moveTo>
                <a:lnTo>
                  <a:pt x="971175" y="3589728"/>
                </a:lnTo>
                <a:lnTo>
                  <a:pt x="975193" y="3593767"/>
                </a:lnTo>
                <a:lnTo>
                  <a:pt x="975193" y="3603637"/>
                </a:lnTo>
                <a:lnTo>
                  <a:pt x="971175" y="3607676"/>
                </a:lnTo>
                <a:lnTo>
                  <a:pt x="961265" y="3607676"/>
                </a:lnTo>
                <a:lnTo>
                  <a:pt x="957246" y="3603637"/>
                </a:lnTo>
                <a:lnTo>
                  <a:pt x="957246" y="3593767"/>
                </a:lnTo>
                <a:close/>
                <a:moveTo>
                  <a:pt x="9572438" y="3589677"/>
                </a:moveTo>
                <a:lnTo>
                  <a:pt x="9582349" y="3589677"/>
                </a:lnTo>
                <a:lnTo>
                  <a:pt x="9586368" y="3593716"/>
                </a:lnTo>
                <a:lnTo>
                  <a:pt x="9586368" y="3603586"/>
                </a:lnTo>
                <a:lnTo>
                  <a:pt x="9582349" y="3607625"/>
                </a:lnTo>
                <a:lnTo>
                  <a:pt x="9572438" y="3607625"/>
                </a:lnTo>
                <a:lnTo>
                  <a:pt x="9568419" y="3603586"/>
                </a:lnTo>
                <a:lnTo>
                  <a:pt x="9568419" y="3593716"/>
                </a:lnTo>
                <a:close/>
                <a:moveTo>
                  <a:pt x="9333125" y="3589677"/>
                </a:moveTo>
                <a:lnTo>
                  <a:pt x="9343036" y="3589677"/>
                </a:lnTo>
                <a:lnTo>
                  <a:pt x="9347055" y="3593716"/>
                </a:lnTo>
                <a:lnTo>
                  <a:pt x="9347055" y="3603586"/>
                </a:lnTo>
                <a:lnTo>
                  <a:pt x="9343036" y="3607625"/>
                </a:lnTo>
                <a:lnTo>
                  <a:pt x="9333125" y="3607625"/>
                </a:lnTo>
                <a:lnTo>
                  <a:pt x="9329106" y="3603586"/>
                </a:lnTo>
                <a:lnTo>
                  <a:pt x="9329106" y="3593716"/>
                </a:lnTo>
                <a:close/>
                <a:moveTo>
                  <a:pt x="9093811" y="3589677"/>
                </a:moveTo>
                <a:lnTo>
                  <a:pt x="9103722" y="3589677"/>
                </a:lnTo>
                <a:lnTo>
                  <a:pt x="9107741" y="3593716"/>
                </a:lnTo>
                <a:lnTo>
                  <a:pt x="9107741" y="3603586"/>
                </a:lnTo>
                <a:lnTo>
                  <a:pt x="9103722" y="3607625"/>
                </a:lnTo>
                <a:lnTo>
                  <a:pt x="9093811" y="3607625"/>
                </a:lnTo>
                <a:lnTo>
                  <a:pt x="9089792" y="3603586"/>
                </a:lnTo>
                <a:lnTo>
                  <a:pt x="9089792" y="3593716"/>
                </a:lnTo>
                <a:close/>
                <a:moveTo>
                  <a:pt x="8854496" y="3589677"/>
                </a:moveTo>
                <a:lnTo>
                  <a:pt x="8864407" y="3589677"/>
                </a:lnTo>
                <a:lnTo>
                  <a:pt x="8868426" y="3593716"/>
                </a:lnTo>
                <a:lnTo>
                  <a:pt x="8868426" y="3603586"/>
                </a:lnTo>
                <a:lnTo>
                  <a:pt x="8864407" y="3607625"/>
                </a:lnTo>
                <a:lnTo>
                  <a:pt x="8854496" y="3607625"/>
                </a:lnTo>
                <a:lnTo>
                  <a:pt x="8850477" y="3603586"/>
                </a:lnTo>
                <a:lnTo>
                  <a:pt x="8850477" y="3593716"/>
                </a:lnTo>
                <a:close/>
                <a:moveTo>
                  <a:pt x="8615184" y="3589677"/>
                </a:moveTo>
                <a:lnTo>
                  <a:pt x="8625095" y="3589677"/>
                </a:lnTo>
                <a:lnTo>
                  <a:pt x="8629114" y="3593716"/>
                </a:lnTo>
                <a:lnTo>
                  <a:pt x="8629114" y="3603586"/>
                </a:lnTo>
                <a:lnTo>
                  <a:pt x="8625095" y="3607625"/>
                </a:lnTo>
                <a:lnTo>
                  <a:pt x="8615184" y="3607625"/>
                </a:lnTo>
                <a:lnTo>
                  <a:pt x="8611165" y="3603586"/>
                </a:lnTo>
                <a:lnTo>
                  <a:pt x="8611165" y="3593716"/>
                </a:lnTo>
                <a:close/>
                <a:moveTo>
                  <a:pt x="8375869" y="3589677"/>
                </a:moveTo>
                <a:lnTo>
                  <a:pt x="8385779" y="3589677"/>
                </a:lnTo>
                <a:lnTo>
                  <a:pt x="8389799" y="3593716"/>
                </a:lnTo>
                <a:lnTo>
                  <a:pt x="8389799" y="3603586"/>
                </a:lnTo>
                <a:lnTo>
                  <a:pt x="8385779" y="3607625"/>
                </a:lnTo>
                <a:lnTo>
                  <a:pt x="8375869" y="3607625"/>
                </a:lnTo>
                <a:lnTo>
                  <a:pt x="8371850" y="3603586"/>
                </a:lnTo>
                <a:lnTo>
                  <a:pt x="8371850" y="3593716"/>
                </a:lnTo>
                <a:close/>
                <a:moveTo>
                  <a:pt x="8136553" y="3589677"/>
                </a:moveTo>
                <a:lnTo>
                  <a:pt x="8146464" y="3589677"/>
                </a:lnTo>
                <a:lnTo>
                  <a:pt x="8150483" y="3593716"/>
                </a:lnTo>
                <a:lnTo>
                  <a:pt x="8150483" y="3603586"/>
                </a:lnTo>
                <a:lnTo>
                  <a:pt x="8146464" y="3607625"/>
                </a:lnTo>
                <a:lnTo>
                  <a:pt x="8136553" y="3607625"/>
                </a:lnTo>
                <a:lnTo>
                  <a:pt x="8132534" y="3603586"/>
                </a:lnTo>
                <a:lnTo>
                  <a:pt x="8132534" y="3593716"/>
                </a:lnTo>
                <a:close/>
                <a:moveTo>
                  <a:pt x="7897241" y="3589677"/>
                </a:moveTo>
                <a:lnTo>
                  <a:pt x="7907151" y="3589677"/>
                </a:lnTo>
                <a:lnTo>
                  <a:pt x="7911170" y="3593716"/>
                </a:lnTo>
                <a:lnTo>
                  <a:pt x="7911170" y="3603586"/>
                </a:lnTo>
                <a:lnTo>
                  <a:pt x="7907151" y="3607625"/>
                </a:lnTo>
                <a:lnTo>
                  <a:pt x="7897241" y="3607625"/>
                </a:lnTo>
                <a:lnTo>
                  <a:pt x="7893222" y="3603586"/>
                </a:lnTo>
                <a:lnTo>
                  <a:pt x="7893222" y="3593716"/>
                </a:lnTo>
                <a:close/>
                <a:moveTo>
                  <a:pt x="7657926" y="3589677"/>
                </a:moveTo>
                <a:lnTo>
                  <a:pt x="7667836" y="3589677"/>
                </a:lnTo>
                <a:lnTo>
                  <a:pt x="7671855" y="3593716"/>
                </a:lnTo>
                <a:lnTo>
                  <a:pt x="7671855" y="3603586"/>
                </a:lnTo>
                <a:lnTo>
                  <a:pt x="7667836" y="3607625"/>
                </a:lnTo>
                <a:lnTo>
                  <a:pt x="7657926" y="3607625"/>
                </a:lnTo>
                <a:lnTo>
                  <a:pt x="7653906" y="3603586"/>
                </a:lnTo>
                <a:lnTo>
                  <a:pt x="7653906" y="3593716"/>
                </a:lnTo>
                <a:close/>
                <a:moveTo>
                  <a:pt x="7418611" y="3589677"/>
                </a:moveTo>
                <a:lnTo>
                  <a:pt x="7428521" y="3589677"/>
                </a:lnTo>
                <a:lnTo>
                  <a:pt x="7432540" y="3593716"/>
                </a:lnTo>
                <a:lnTo>
                  <a:pt x="7432540" y="3603586"/>
                </a:lnTo>
                <a:lnTo>
                  <a:pt x="7428521" y="3607625"/>
                </a:lnTo>
                <a:lnTo>
                  <a:pt x="7418611" y="3607625"/>
                </a:lnTo>
                <a:lnTo>
                  <a:pt x="7414592" y="3603586"/>
                </a:lnTo>
                <a:lnTo>
                  <a:pt x="7414592" y="3593716"/>
                </a:lnTo>
                <a:close/>
                <a:moveTo>
                  <a:pt x="7179298" y="3589677"/>
                </a:moveTo>
                <a:lnTo>
                  <a:pt x="7189209" y="3589677"/>
                </a:lnTo>
                <a:lnTo>
                  <a:pt x="7193228" y="3593716"/>
                </a:lnTo>
                <a:lnTo>
                  <a:pt x="7193228" y="3603586"/>
                </a:lnTo>
                <a:lnTo>
                  <a:pt x="7189209" y="3607625"/>
                </a:lnTo>
                <a:lnTo>
                  <a:pt x="7179298" y="3607625"/>
                </a:lnTo>
                <a:lnTo>
                  <a:pt x="7175279" y="3603586"/>
                </a:lnTo>
                <a:lnTo>
                  <a:pt x="7175279" y="3593716"/>
                </a:lnTo>
                <a:close/>
                <a:moveTo>
                  <a:pt x="6939983" y="3589677"/>
                </a:moveTo>
                <a:lnTo>
                  <a:pt x="6949894" y="3589677"/>
                </a:lnTo>
                <a:lnTo>
                  <a:pt x="6953913" y="3593716"/>
                </a:lnTo>
                <a:lnTo>
                  <a:pt x="6953913" y="3603586"/>
                </a:lnTo>
                <a:lnTo>
                  <a:pt x="6949894" y="3607625"/>
                </a:lnTo>
                <a:lnTo>
                  <a:pt x="6939983" y="3607625"/>
                </a:lnTo>
                <a:lnTo>
                  <a:pt x="6935964" y="3603586"/>
                </a:lnTo>
                <a:lnTo>
                  <a:pt x="6935964" y="3593716"/>
                </a:lnTo>
                <a:close/>
                <a:moveTo>
                  <a:pt x="6700670" y="3589677"/>
                </a:moveTo>
                <a:lnTo>
                  <a:pt x="6710581" y="3589677"/>
                </a:lnTo>
                <a:lnTo>
                  <a:pt x="6714600" y="3593716"/>
                </a:lnTo>
                <a:lnTo>
                  <a:pt x="6714600" y="3603586"/>
                </a:lnTo>
                <a:lnTo>
                  <a:pt x="6710581" y="3607625"/>
                </a:lnTo>
                <a:lnTo>
                  <a:pt x="6700670" y="3607625"/>
                </a:lnTo>
                <a:lnTo>
                  <a:pt x="6696651" y="3603586"/>
                </a:lnTo>
                <a:lnTo>
                  <a:pt x="6696651" y="3593716"/>
                </a:lnTo>
                <a:close/>
                <a:moveTo>
                  <a:pt x="6461356" y="3589677"/>
                </a:moveTo>
                <a:lnTo>
                  <a:pt x="6471266" y="3589677"/>
                </a:lnTo>
                <a:lnTo>
                  <a:pt x="6475285" y="3593716"/>
                </a:lnTo>
                <a:lnTo>
                  <a:pt x="6475285" y="3603586"/>
                </a:lnTo>
                <a:lnTo>
                  <a:pt x="6471266" y="3607625"/>
                </a:lnTo>
                <a:lnTo>
                  <a:pt x="6461356" y="3607625"/>
                </a:lnTo>
                <a:lnTo>
                  <a:pt x="6457337" y="3603586"/>
                </a:lnTo>
                <a:lnTo>
                  <a:pt x="6457337" y="3593716"/>
                </a:lnTo>
                <a:close/>
                <a:moveTo>
                  <a:pt x="6222042" y="3589677"/>
                </a:moveTo>
                <a:lnTo>
                  <a:pt x="6231952" y="3589677"/>
                </a:lnTo>
                <a:lnTo>
                  <a:pt x="6235971" y="3593716"/>
                </a:lnTo>
                <a:lnTo>
                  <a:pt x="6235971" y="3603586"/>
                </a:lnTo>
                <a:lnTo>
                  <a:pt x="6231952" y="3607625"/>
                </a:lnTo>
                <a:lnTo>
                  <a:pt x="6222042" y="3607625"/>
                </a:lnTo>
                <a:lnTo>
                  <a:pt x="6218023" y="3603586"/>
                </a:lnTo>
                <a:lnTo>
                  <a:pt x="6218023" y="3593716"/>
                </a:lnTo>
                <a:close/>
                <a:moveTo>
                  <a:pt x="5982729" y="3589677"/>
                </a:moveTo>
                <a:lnTo>
                  <a:pt x="5992639" y="3589677"/>
                </a:lnTo>
                <a:lnTo>
                  <a:pt x="5996658" y="3593716"/>
                </a:lnTo>
                <a:lnTo>
                  <a:pt x="5996658" y="3603586"/>
                </a:lnTo>
                <a:lnTo>
                  <a:pt x="5992639" y="3607625"/>
                </a:lnTo>
                <a:lnTo>
                  <a:pt x="5982729" y="3607625"/>
                </a:lnTo>
                <a:lnTo>
                  <a:pt x="5978710" y="3603586"/>
                </a:lnTo>
                <a:lnTo>
                  <a:pt x="5978710" y="3593716"/>
                </a:lnTo>
                <a:close/>
                <a:moveTo>
                  <a:pt x="5743412" y="3589677"/>
                </a:moveTo>
                <a:lnTo>
                  <a:pt x="5753323" y="3589677"/>
                </a:lnTo>
                <a:lnTo>
                  <a:pt x="5757342" y="3593716"/>
                </a:lnTo>
                <a:lnTo>
                  <a:pt x="5757342" y="3603586"/>
                </a:lnTo>
                <a:lnTo>
                  <a:pt x="5753323" y="3607625"/>
                </a:lnTo>
                <a:lnTo>
                  <a:pt x="5743412" y="3607625"/>
                </a:lnTo>
                <a:lnTo>
                  <a:pt x="5739393" y="3603586"/>
                </a:lnTo>
                <a:lnTo>
                  <a:pt x="5739393" y="3593716"/>
                </a:lnTo>
                <a:close/>
                <a:moveTo>
                  <a:pt x="5504099" y="3589677"/>
                </a:moveTo>
                <a:lnTo>
                  <a:pt x="5514010" y="3589677"/>
                </a:lnTo>
                <a:lnTo>
                  <a:pt x="5518029" y="3593716"/>
                </a:lnTo>
                <a:lnTo>
                  <a:pt x="5518029" y="3603586"/>
                </a:lnTo>
                <a:lnTo>
                  <a:pt x="5514010" y="3607625"/>
                </a:lnTo>
                <a:lnTo>
                  <a:pt x="5504099" y="3607625"/>
                </a:lnTo>
                <a:lnTo>
                  <a:pt x="5500080" y="3603586"/>
                </a:lnTo>
                <a:lnTo>
                  <a:pt x="5500080" y="3593716"/>
                </a:lnTo>
                <a:close/>
                <a:moveTo>
                  <a:pt x="5264784" y="3589677"/>
                </a:moveTo>
                <a:lnTo>
                  <a:pt x="5274694" y="3589677"/>
                </a:lnTo>
                <a:lnTo>
                  <a:pt x="5278713" y="3593716"/>
                </a:lnTo>
                <a:lnTo>
                  <a:pt x="5278713" y="3603586"/>
                </a:lnTo>
                <a:lnTo>
                  <a:pt x="5274694" y="3607625"/>
                </a:lnTo>
                <a:lnTo>
                  <a:pt x="5264784" y="3607625"/>
                </a:lnTo>
                <a:lnTo>
                  <a:pt x="5260765" y="3603586"/>
                </a:lnTo>
                <a:lnTo>
                  <a:pt x="5260765" y="3593716"/>
                </a:lnTo>
                <a:close/>
                <a:moveTo>
                  <a:pt x="5025470" y="3589677"/>
                </a:moveTo>
                <a:lnTo>
                  <a:pt x="5035381" y="3589677"/>
                </a:lnTo>
                <a:lnTo>
                  <a:pt x="5039400" y="3593716"/>
                </a:lnTo>
                <a:lnTo>
                  <a:pt x="5039400" y="3603586"/>
                </a:lnTo>
                <a:lnTo>
                  <a:pt x="5035381" y="3607625"/>
                </a:lnTo>
                <a:lnTo>
                  <a:pt x="5025470" y="3607625"/>
                </a:lnTo>
                <a:lnTo>
                  <a:pt x="5021451" y="3603586"/>
                </a:lnTo>
                <a:lnTo>
                  <a:pt x="5021451" y="3593716"/>
                </a:lnTo>
                <a:close/>
                <a:moveTo>
                  <a:pt x="4786241" y="3589677"/>
                </a:moveTo>
                <a:lnTo>
                  <a:pt x="4796152" y="3589677"/>
                </a:lnTo>
                <a:lnTo>
                  <a:pt x="4800171" y="3593716"/>
                </a:lnTo>
                <a:lnTo>
                  <a:pt x="4800171" y="3603586"/>
                </a:lnTo>
                <a:lnTo>
                  <a:pt x="4796152" y="3607625"/>
                </a:lnTo>
                <a:lnTo>
                  <a:pt x="4786241" y="3607625"/>
                </a:lnTo>
                <a:lnTo>
                  <a:pt x="4782224" y="3603586"/>
                </a:lnTo>
                <a:lnTo>
                  <a:pt x="4782224" y="3593716"/>
                </a:lnTo>
                <a:close/>
                <a:moveTo>
                  <a:pt x="4546929" y="3589677"/>
                </a:moveTo>
                <a:lnTo>
                  <a:pt x="4556840" y="3589677"/>
                </a:lnTo>
                <a:lnTo>
                  <a:pt x="4560859" y="3593716"/>
                </a:lnTo>
                <a:lnTo>
                  <a:pt x="4560859" y="3603586"/>
                </a:lnTo>
                <a:lnTo>
                  <a:pt x="4556840" y="3607625"/>
                </a:lnTo>
                <a:lnTo>
                  <a:pt x="4546929" y="3607625"/>
                </a:lnTo>
                <a:lnTo>
                  <a:pt x="4542910" y="3603586"/>
                </a:lnTo>
                <a:lnTo>
                  <a:pt x="4542910" y="3593716"/>
                </a:lnTo>
                <a:close/>
                <a:moveTo>
                  <a:pt x="4307612" y="3589677"/>
                </a:moveTo>
                <a:lnTo>
                  <a:pt x="4317523" y="3589677"/>
                </a:lnTo>
                <a:lnTo>
                  <a:pt x="4321543" y="3593716"/>
                </a:lnTo>
                <a:lnTo>
                  <a:pt x="4321543" y="3603586"/>
                </a:lnTo>
                <a:lnTo>
                  <a:pt x="4317523" y="3607625"/>
                </a:lnTo>
                <a:lnTo>
                  <a:pt x="4307612" y="3607625"/>
                </a:lnTo>
                <a:lnTo>
                  <a:pt x="4303595" y="3603586"/>
                </a:lnTo>
                <a:lnTo>
                  <a:pt x="4303595" y="3593716"/>
                </a:lnTo>
                <a:close/>
                <a:moveTo>
                  <a:pt x="4068297" y="3589677"/>
                </a:moveTo>
                <a:lnTo>
                  <a:pt x="4078210" y="3589677"/>
                </a:lnTo>
                <a:lnTo>
                  <a:pt x="4082229" y="3593716"/>
                </a:lnTo>
                <a:lnTo>
                  <a:pt x="4082229" y="3603586"/>
                </a:lnTo>
                <a:lnTo>
                  <a:pt x="4078210" y="3607625"/>
                </a:lnTo>
                <a:lnTo>
                  <a:pt x="4068297" y="3607625"/>
                </a:lnTo>
                <a:lnTo>
                  <a:pt x="4064278" y="3603586"/>
                </a:lnTo>
                <a:lnTo>
                  <a:pt x="4064278" y="3593716"/>
                </a:lnTo>
                <a:close/>
                <a:moveTo>
                  <a:pt x="3828990" y="3589677"/>
                </a:moveTo>
                <a:lnTo>
                  <a:pt x="3838899" y="3589677"/>
                </a:lnTo>
                <a:lnTo>
                  <a:pt x="3842917" y="3593716"/>
                </a:lnTo>
                <a:lnTo>
                  <a:pt x="3842917" y="3603586"/>
                </a:lnTo>
                <a:lnTo>
                  <a:pt x="3838899" y="3607625"/>
                </a:lnTo>
                <a:lnTo>
                  <a:pt x="3828990" y="3607625"/>
                </a:lnTo>
                <a:lnTo>
                  <a:pt x="3824971" y="3603586"/>
                </a:lnTo>
                <a:lnTo>
                  <a:pt x="3824971" y="3593716"/>
                </a:lnTo>
                <a:close/>
                <a:moveTo>
                  <a:pt x="3589676" y="3589677"/>
                </a:moveTo>
                <a:lnTo>
                  <a:pt x="3599585" y="3589677"/>
                </a:lnTo>
                <a:lnTo>
                  <a:pt x="3603604" y="3593716"/>
                </a:lnTo>
                <a:lnTo>
                  <a:pt x="3603604" y="3603586"/>
                </a:lnTo>
                <a:lnTo>
                  <a:pt x="3599585" y="3607625"/>
                </a:lnTo>
                <a:lnTo>
                  <a:pt x="3589676" y="3607625"/>
                </a:lnTo>
                <a:lnTo>
                  <a:pt x="3585657" y="3603586"/>
                </a:lnTo>
                <a:lnTo>
                  <a:pt x="3585657" y="3593716"/>
                </a:lnTo>
                <a:close/>
                <a:moveTo>
                  <a:pt x="3350359" y="3589677"/>
                </a:moveTo>
                <a:lnTo>
                  <a:pt x="3360268" y="3589677"/>
                </a:lnTo>
                <a:lnTo>
                  <a:pt x="3364287" y="3593716"/>
                </a:lnTo>
                <a:lnTo>
                  <a:pt x="3364287" y="3603586"/>
                </a:lnTo>
                <a:lnTo>
                  <a:pt x="3360268" y="3607625"/>
                </a:lnTo>
                <a:lnTo>
                  <a:pt x="3350359" y="3607625"/>
                </a:lnTo>
                <a:lnTo>
                  <a:pt x="3346340" y="3603586"/>
                </a:lnTo>
                <a:lnTo>
                  <a:pt x="3346340" y="3593716"/>
                </a:lnTo>
                <a:close/>
                <a:moveTo>
                  <a:pt x="3111048" y="3589677"/>
                </a:moveTo>
                <a:lnTo>
                  <a:pt x="3120959" y="3589677"/>
                </a:lnTo>
                <a:lnTo>
                  <a:pt x="3124977" y="3593716"/>
                </a:lnTo>
                <a:lnTo>
                  <a:pt x="3124977" y="3603586"/>
                </a:lnTo>
                <a:lnTo>
                  <a:pt x="3120959" y="3607625"/>
                </a:lnTo>
                <a:lnTo>
                  <a:pt x="3111048" y="3607625"/>
                </a:lnTo>
                <a:lnTo>
                  <a:pt x="3107029" y="3603586"/>
                </a:lnTo>
                <a:lnTo>
                  <a:pt x="3107029" y="3593716"/>
                </a:lnTo>
                <a:close/>
                <a:moveTo>
                  <a:pt x="2871737" y="3589677"/>
                </a:moveTo>
                <a:lnTo>
                  <a:pt x="2881646" y="3589677"/>
                </a:lnTo>
                <a:lnTo>
                  <a:pt x="2885666" y="3593716"/>
                </a:lnTo>
                <a:lnTo>
                  <a:pt x="2885666" y="3603586"/>
                </a:lnTo>
                <a:lnTo>
                  <a:pt x="2881646" y="3607625"/>
                </a:lnTo>
                <a:lnTo>
                  <a:pt x="2871737" y="3607625"/>
                </a:lnTo>
                <a:lnTo>
                  <a:pt x="2867717" y="3603586"/>
                </a:lnTo>
                <a:lnTo>
                  <a:pt x="2867717" y="3593716"/>
                </a:lnTo>
                <a:close/>
                <a:moveTo>
                  <a:pt x="2632423" y="3589677"/>
                </a:moveTo>
                <a:lnTo>
                  <a:pt x="2642334" y="3589677"/>
                </a:lnTo>
                <a:lnTo>
                  <a:pt x="2646352" y="3593716"/>
                </a:lnTo>
                <a:lnTo>
                  <a:pt x="2646352" y="3603586"/>
                </a:lnTo>
                <a:lnTo>
                  <a:pt x="2642334" y="3607625"/>
                </a:lnTo>
                <a:lnTo>
                  <a:pt x="2632423" y="3607625"/>
                </a:lnTo>
                <a:lnTo>
                  <a:pt x="2628404" y="3603586"/>
                </a:lnTo>
                <a:lnTo>
                  <a:pt x="2628404" y="3593716"/>
                </a:lnTo>
                <a:close/>
                <a:moveTo>
                  <a:pt x="2393104" y="3589677"/>
                </a:moveTo>
                <a:lnTo>
                  <a:pt x="2403015" y="3589677"/>
                </a:lnTo>
                <a:lnTo>
                  <a:pt x="2407034" y="3593716"/>
                </a:lnTo>
                <a:lnTo>
                  <a:pt x="2407034" y="3603586"/>
                </a:lnTo>
                <a:lnTo>
                  <a:pt x="2403015" y="3607625"/>
                </a:lnTo>
                <a:lnTo>
                  <a:pt x="2393104" y="3607625"/>
                </a:lnTo>
                <a:lnTo>
                  <a:pt x="2389087" y="3603586"/>
                </a:lnTo>
                <a:lnTo>
                  <a:pt x="2389087" y="3593716"/>
                </a:lnTo>
                <a:close/>
                <a:moveTo>
                  <a:pt x="721966" y="3589677"/>
                </a:moveTo>
                <a:lnTo>
                  <a:pt x="731877" y="3589677"/>
                </a:lnTo>
                <a:lnTo>
                  <a:pt x="735896" y="3593716"/>
                </a:lnTo>
                <a:lnTo>
                  <a:pt x="735896" y="3603586"/>
                </a:lnTo>
                <a:lnTo>
                  <a:pt x="731877" y="3607625"/>
                </a:lnTo>
                <a:lnTo>
                  <a:pt x="721966" y="3607625"/>
                </a:lnTo>
                <a:lnTo>
                  <a:pt x="717948" y="3603586"/>
                </a:lnTo>
                <a:lnTo>
                  <a:pt x="717948" y="3593716"/>
                </a:lnTo>
                <a:close/>
                <a:moveTo>
                  <a:pt x="482654" y="3589677"/>
                </a:moveTo>
                <a:lnTo>
                  <a:pt x="492565" y="3589677"/>
                </a:lnTo>
                <a:lnTo>
                  <a:pt x="496584" y="3593716"/>
                </a:lnTo>
                <a:lnTo>
                  <a:pt x="496584" y="3603586"/>
                </a:lnTo>
                <a:lnTo>
                  <a:pt x="492565" y="3607625"/>
                </a:lnTo>
                <a:lnTo>
                  <a:pt x="482654" y="3607625"/>
                </a:lnTo>
                <a:lnTo>
                  <a:pt x="478635" y="3603586"/>
                </a:lnTo>
                <a:lnTo>
                  <a:pt x="478635" y="3593716"/>
                </a:lnTo>
                <a:close/>
                <a:moveTo>
                  <a:pt x="243341" y="3589677"/>
                </a:moveTo>
                <a:lnTo>
                  <a:pt x="253251" y="3589677"/>
                </a:lnTo>
                <a:lnTo>
                  <a:pt x="257270" y="3593716"/>
                </a:lnTo>
                <a:lnTo>
                  <a:pt x="257270" y="3603586"/>
                </a:lnTo>
                <a:lnTo>
                  <a:pt x="253251" y="3607625"/>
                </a:lnTo>
                <a:lnTo>
                  <a:pt x="243341" y="3607625"/>
                </a:lnTo>
                <a:lnTo>
                  <a:pt x="239321" y="3603586"/>
                </a:lnTo>
                <a:lnTo>
                  <a:pt x="239321" y="3593716"/>
                </a:lnTo>
                <a:close/>
                <a:moveTo>
                  <a:pt x="4027" y="3589677"/>
                </a:moveTo>
                <a:lnTo>
                  <a:pt x="13938" y="3589677"/>
                </a:lnTo>
                <a:lnTo>
                  <a:pt x="17957" y="3593716"/>
                </a:lnTo>
                <a:lnTo>
                  <a:pt x="17957" y="3603586"/>
                </a:lnTo>
                <a:lnTo>
                  <a:pt x="13938" y="3607625"/>
                </a:lnTo>
                <a:lnTo>
                  <a:pt x="4027" y="3607625"/>
                </a:lnTo>
                <a:lnTo>
                  <a:pt x="8" y="3603586"/>
                </a:lnTo>
                <a:lnTo>
                  <a:pt x="8" y="3593716"/>
                </a:lnTo>
                <a:close/>
                <a:moveTo>
                  <a:pt x="9572438" y="3350398"/>
                </a:moveTo>
                <a:lnTo>
                  <a:pt x="9582349" y="3350398"/>
                </a:lnTo>
                <a:lnTo>
                  <a:pt x="9586368" y="3354436"/>
                </a:lnTo>
                <a:lnTo>
                  <a:pt x="9586368" y="3364306"/>
                </a:lnTo>
                <a:lnTo>
                  <a:pt x="9582349" y="3368345"/>
                </a:lnTo>
                <a:lnTo>
                  <a:pt x="9572438" y="3368345"/>
                </a:lnTo>
                <a:lnTo>
                  <a:pt x="9568419" y="3364306"/>
                </a:lnTo>
                <a:lnTo>
                  <a:pt x="9568419" y="3354436"/>
                </a:lnTo>
                <a:close/>
                <a:moveTo>
                  <a:pt x="9333125" y="3350398"/>
                </a:moveTo>
                <a:lnTo>
                  <a:pt x="9343036" y="3350398"/>
                </a:lnTo>
                <a:lnTo>
                  <a:pt x="9347055" y="3354436"/>
                </a:lnTo>
                <a:lnTo>
                  <a:pt x="9347055" y="3364306"/>
                </a:lnTo>
                <a:lnTo>
                  <a:pt x="9343036" y="3368345"/>
                </a:lnTo>
                <a:lnTo>
                  <a:pt x="9333125" y="3368345"/>
                </a:lnTo>
                <a:lnTo>
                  <a:pt x="9329106" y="3364306"/>
                </a:lnTo>
                <a:lnTo>
                  <a:pt x="9329106" y="3354436"/>
                </a:lnTo>
                <a:close/>
                <a:moveTo>
                  <a:pt x="9093811" y="3350398"/>
                </a:moveTo>
                <a:lnTo>
                  <a:pt x="9103722" y="3350398"/>
                </a:lnTo>
                <a:lnTo>
                  <a:pt x="9107741" y="3354436"/>
                </a:lnTo>
                <a:lnTo>
                  <a:pt x="9107741" y="3364306"/>
                </a:lnTo>
                <a:lnTo>
                  <a:pt x="9103722" y="3368345"/>
                </a:lnTo>
                <a:lnTo>
                  <a:pt x="9093811" y="3368345"/>
                </a:lnTo>
                <a:lnTo>
                  <a:pt x="9089792" y="3364306"/>
                </a:lnTo>
                <a:lnTo>
                  <a:pt x="9089792" y="3354436"/>
                </a:lnTo>
                <a:close/>
                <a:moveTo>
                  <a:pt x="8854496" y="3350398"/>
                </a:moveTo>
                <a:lnTo>
                  <a:pt x="8864407" y="3350398"/>
                </a:lnTo>
                <a:lnTo>
                  <a:pt x="8868426" y="3354436"/>
                </a:lnTo>
                <a:lnTo>
                  <a:pt x="8868426" y="3364306"/>
                </a:lnTo>
                <a:lnTo>
                  <a:pt x="8864407" y="3368345"/>
                </a:lnTo>
                <a:lnTo>
                  <a:pt x="8854496" y="3368345"/>
                </a:lnTo>
                <a:lnTo>
                  <a:pt x="8850477" y="3364306"/>
                </a:lnTo>
                <a:lnTo>
                  <a:pt x="8850477" y="3354436"/>
                </a:lnTo>
                <a:close/>
                <a:moveTo>
                  <a:pt x="8615184" y="3350398"/>
                </a:moveTo>
                <a:lnTo>
                  <a:pt x="8625095" y="3350398"/>
                </a:lnTo>
                <a:lnTo>
                  <a:pt x="8629114" y="3354436"/>
                </a:lnTo>
                <a:lnTo>
                  <a:pt x="8629114" y="3364306"/>
                </a:lnTo>
                <a:lnTo>
                  <a:pt x="8625095" y="3368345"/>
                </a:lnTo>
                <a:lnTo>
                  <a:pt x="8615184" y="3368345"/>
                </a:lnTo>
                <a:lnTo>
                  <a:pt x="8611165" y="3364306"/>
                </a:lnTo>
                <a:lnTo>
                  <a:pt x="8611165" y="3354436"/>
                </a:lnTo>
                <a:close/>
                <a:moveTo>
                  <a:pt x="8375869" y="3350398"/>
                </a:moveTo>
                <a:lnTo>
                  <a:pt x="8385779" y="3350398"/>
                </a:lnTo>
                <a:lnTo>
                  <a:pt x="8389799" y="3354436"/>
                </a:lnTo>
                <a:lnTo>
                  <a:pt x="8389799" y="3364306"/>
                </a:lnTo>
                <a:lnTo>
                  <a:pt x="8385779" y="3368345"/>
                </a:lnTo>
                <a:lnTo>
                  <a:pt x="8375869" y="3368345"/>
                </a:lnTo>
                <a:lnTo>
                  <a:pt x="8371850" y="3364306"/>
                </a:lnTo>
                <a:lnTo>
                  <a:pt x="8371850" y="3354436"/>
                </a:lnTo>
                <a:close/>
                <a:moveTo>
                  <a:pt x="8136553" y="3350398"/>
                </a:moveTo>
                <a:lnTo>
                  <a:pt x="8146464" y="3350398"/>
                </a:lnTo>
                <a:lnTo>
                  <a:pt x="8150483" y="3354436"/>
                </a:lnTo>
                <a:lnTo>
                  <a:pt x="8150483" y="3364306"/>
                </a:lnTo>
                <a:lnTo>
                  <a:pt x="8146464" y="3368345"/>
                </a:lnTo>
                <a:lnTo>
                  <a:pt x="8136553" y="3368345"/>
                </a:lnTo>
                <a:lnTo>
                  <a:pt x="8132534" y="3364306"/>
                </a:lnTo>
                <a:lnTo>
                  <a:pt x="8132534" y="3354436"/>
                </a:lnTo>
                <a:close/>
                <a:moveTo>
                  <a:pt x="7897241" y="3350398"/>
                </a:moveTo>
                <a:lnTo>
                  <a:pt x="7907151" y="3350398"/>
                </a:lnTo>
                <a:lnTo>
                  <a:pt x="7911170" y="3354436"/>
                </a:lnTo>
                <a:lnTo>
                  <a:pt x="7911170" y="3364306"/>
                </a:lnTo>
                <a:lnTo>
                  <a:pt x="7907151" y="3368345"/>
                </a:lnTo>
                <a:lnTo>
                  <a:pt x="7897241" y="3368345"/>
                </a:lnTo>
                <a:lnTo>
                  <a:pt x="7893222" y="3364306"/>
                </a:lnTo>
                <a:lnTo>
                  <a:pt x="7893222" y="3354436"/>
                </a:lnTo>
                <a:close/>
                <a:moveTo>
                  <a:pt x="7657926" y="3350398"/>
                </a:moveTo>
                <a:lnTo>
                  <a:pt x="7667836" y="3350398"/>
                </a:lnTo>
                <a:lnTo>
                  <a:pt x="7671855" y="3354436"/>
                </a:lnTo>
                <a:lnTo>
                  <a:pt x="7671855" y="3364306"/>
                </a:lnTo>
                <a:lnTo>
                  <a:pt x="7667836" y="3368345"/>
                </a:lnTo>
                <a:lnTo>
                  <a:pt x="7657926" y="3368345"/>
                </a:lnTo>
                <a:lnTo>
                  <a:pt x="7653906" y="3364306"/>
                </a:lnTo>
                <a:lnTo>
                  <a:pt x="7653906" y="3354436"/>
                </a:lnTo>
                <a:close/>
                <a:moveTo>
                  <a:pt x="7418611" y="3350398"/>
                </a:moveTo>
                <a:lnTo>
                  <a:pt x="7428521" y="3350398"/>
                </a:lnTo>
                <a:lnTo>
                  <a:pt x="7432540" y="3354436"/>
                </a:lnTo>
                <a:lnTo>
                  <a:pt x="7432540" y="3364306"/>
                </a:lnTo>
                <a:lnTo>
                  <a:pt x="7428521" y="3368345"/>
                </a:lnTo>
                <a:lnTo>
                  <a:pt x="7418611" y="3368345"/>
                </a:lnTo>
                <a:lnTo>
                  <a:pt x="7414592" y="3364306"/>
                </a:lnTo>
                <a:lnTo>
                  <a:pt x="7414592" y="3354436"/>
                </a:lnTo>
                <a:close/>
                <a:moveTo>
                  <a:pt x="7179298" y="3350398"/>
                </a:moveTo>
                <a:lnTo>
                  <a:pt x="7189209" y="3350398"/>
                </a:lnTo>
                <a:lnTo>
                  <a:pt x="7193228" y="3354436"/>
                </a:lnTo>
                <a:lnTo>
                  <a:pt x="7193228" y="3364306"/>
                </a:lnTo>
                <a:lnTo>
                  <a:pt x="7189209" y="3368345"/>
                </a:lnTo>
                <a:lnTo>
                  <a:pt x="7179298" y="3368345"/>
                </a:lnTo>
                <a:lnTo>
                  <a:pt x="7175279" y="3364306"/>
                </a:lnTo>
                <a:lnTo>
                  <a:pt x="7175279" y="3354436"/>
                </a:lnTo>
                <a:close/>
                <a:moveTo>
                  <a:pt x="6939983" y="3350398"/>
                </a:moveTo>
                <a:lnTo>
                  <a:pt x="6949894" y="3350398"/>
                </a:lnTo>
                <a:lnTo>
                  <a:pt x="6953913" y="3354436"/>
                </a:lnTo>
                <a:lnTo>
                  <a:pt x="6953913" y="3364306"/>
                </a:lnTo>
                <a:lnTo>
                  <a:pt x="6949894" y="3368345"/>
                </a:lnTo>
                <a:lnTo>
                  <a:pt x="6939983" y="3368345"/>
                </a:lnTo>
                <a:lnTo>
                  <a:pt x="6935964" y="3364306"/>
                </a:lnTo>
                <a:lnTo>
                  <a:pt x="6935964" y="3354436"/>
                </a:lnTo>
                <a:close/>
                <a:moveTo>
                  <a:pt x="6700670" y="3350398"/>
                </a:moveTo>
                <a:lnTo>
                  <a:pt x="6710581" y="3350398"/>
                </a:lnTo>
                <a:lnTo>
                  <a:pt x="6714600" y="3354436"/>
                </a:lnTo>
                <a:lnTo>
                  <a:pt x="6714600" y="3364306"/>
                </a:lnTo>
                <a:lnTo>
                  <a:pt x="6710581" y="3368345"/>
                </a:lnTo>
                <a:lnTo>
                  <a:pt x="6700670" y="3368345"/>
                </a:lnTo>
                <a:lnTo>
                  <a:pt x="6696651" y="3364306"/>
                </a:lnTo>
                <a:lnTo>
                  <a:pt x="6696651" y="3354436"/>
                </a:lnTo>
                <a:close/>
                <a:moveTo>
                  <a:pt x="6461356" y="3350398"/>
                </a:moveTo>
                <a:lnTo>
                  <a:pt x="6471266" y="3350398"/>
                </a:lnTo>
                <a:lnTo>
                  <a:pt x="6475285" y="3354436"/>
                </a:lnTo>
                <a:lnTo>
                  <a:pt x="6475285" y="3364306"/>
                </a:lnTo>
                <a:lnTo>
                  <a:pt x="6471266" y="3368345"/>
                </a:lnTo>
                <a:lnTo>
                  <a:pt x="6461356" y="3368345"/>
                </a:lnTo>
                <a:lnTo>
                  <a:pt x="6457337" y="3364306"/>
                </a:lnTo>
                <a:lnTo>
                  <a:pt x="6457337" y="3354436"/>
                </a:lnTo>
                <a:close/>
                <a:moveTo>
                  <a:pt x="6222042" y="3350398"/>
                </a:moveTo>
                <a:lnTo>
                  <a:pt x="6231952" y="3350398"/>
                </a:lnTo>
                <a:lnTo>
                  <a:pt x="6235971" y="3354436"/>
                </a:lnTo>
                <a:lnTo>
                  <a:pt x="6235971" y="3364306"/>
                </a:lnTo>
                <a:lnTo>
                  <a:pt x="6231952" y="3368345"/>
                </a:lnTo>
                <a:lnTo>
                  <a:pt x="6222042" y="3368345"/>
                </a:lnTo>
                <a:lnTo>
                  <a:pt x="6218023" y="3364306"/>
                </a:lnTo>
                <a:lnTo>
                  <a:pt x="6218023" y="3354436"/>
                </a:lnTo>
                <a:close/>
                <a:moveTo>
                  <a:pt x="5982729" y="3350398"/>
                </a:moveTo>
                <a:lnTo>
                  <a:pt x="5992639" y="3350398"/>
                </a:lnTo>
                <a:lnTo>
                  <a:pt x="5996658" y="3354436"/>
                </a:lnTo>
                <a:lnTo>
                  <a:pt x="5996658" y="3364306"/>
                </a:lnTo>
                <a:lnTo>
                  <a:pt x="5992639" y="3368345"/>
                </a:lnTo>
                <a:lnTo>
                  <a:pt x="5982729" y="3368345"/>
                </a:lnTo>
                <a:lnTo>
                  <a:pt x="5978710" y="3364306"/>
                </a:lnTo>
                <a:lnTo>
                  <a:pt x="5978710" y="3354436"/>
                </a:lnTo>
                <a:close/>
                <a:moveTo>
                  <a:pt x="5743412" y="3350398"/>
                </a:moveTo>
                <a:lnTo>
                  <a:pt x="5753323" y="3350398"/>
                </a:lnTo>
                <a:lnTo>
                  <a:pt x="5757342" y="3354436"/>
                </a:lnTo>
                <a:lnTo>
                  <a:pt x="5757342" y="3364306"/>
                </a:lnTo>
                <a:lnTo>
                  <a:pt x="5753323" y="3368345"/>
                </a:lnTo>
                <a:lnTo>
                  <a:pt x="5743412" y="3368345"/>
                </a:lnTo>
                <a:lnTo>
                  <a:pt x="5739393" y="3364306"/>
                </a:lnTo>
                <a:lnTo>
                  <a:pt x="5739393" y="3354436"/>
                </a:lnTo>
                <a:close/>
                <a:moveTo>
                  <a:pt x="5504099" y="3350398"/>
                </a:moveTo>
                <a:lnTo>
                  <a:pt x="5514010" y="3350398"/>
                </a:lnTo>
                <a:lnTo>
                  <a:pt x="5518029" y="3354436"/>
                </a:lnTo>
                <a:lnTo>
                  <a:pt x="5518029" y="3364306"/>
                </a:lnTo>
                <a:lnTo>
                  <a:pt x="5514010" y="3368345"/>
                </a:lnTo>
                <a:lnTo>
                  <a:pt x="5504099" y="3368345"/>
                </a:lnTo>
                <a:lnTo>
                  <a:pt x="5500080" y="3364306"/>
                </a:lnTo>
                <a:lnTo>
                  <a:pt x="5500080" y="3354436"/>
                </a:lnTo>
                <a:close/>
                <a:moveTo>
                  <a:pt x="5264784" y="3350398"/>
                </a:moveTo>
                <a:lnTo>
                  <a:pt x="5274694" y="3350398"/>
                </a:lnTo>
                <a:lnTo>
                  <a:pt x="5278713" y="3354436"/>
                </a:lnTo>
                <a:lnTo>
                  <a:pt x="5278713" y="3364306"/>
                </a:lnTo>
                <a:lnTo>
                  <a:pt x="5274694" y="3368345"/>
                </a:lnTo>
                <a:lnTo>
                  <a:pt x="5264784" y="3368345"/>
                </a:lnTo>
                <a:lnTo>
                  <a:pt x="5260765" y="3364306"/>
                </a:lnTo>
                <a:lnTo>
                  <a:pt x="5260765" y="3354436"/>
                </a:lnTo>
                <a:close/>
                <a:moveTo>
                  <a:pt x="5025470" y="3350398"/>
                </a:moveTo>
                <a:lnTo>
                  <a:pt x="5035381" y="3350398"/>
                </a:lnTo>
                <a:lnTo>
                  <a:pt x="5039400" y="3354436"/>
                </a:lnTo>
                <a:lnTo>
                  <a:pt x="5039400" y="3364306"/>
                </a:lnTo>
                <a:lnTo>
                  <a:pt x="5035381" y="3368345"/>
                </a:lnTo>
                <a:lnTo>
                  <a:pt x="5025470" y="3368345"/>
                </a:lnTo>
                <a:lnTo>
                  <a:pt x="5021451" y="3364306"/>
                </a:lnTo>
                <a:lnTo>
                  <a:pt x="5021451" y="3354436"/>
                </a:lnTo>
                <a:close/>
                <a:moveTo>
                  <a:pt x="4786241" y="3350398"/>
                </a:moveTo>
                <a:lnTo>
                  <a:pt x="4796152" y="3350398"/>
                </a:lnTo>
                <a:lnTo>
                  <a:pt x="4800171" y="3354436"/>
                </a:lnTo>
                <a:lnTo>
                  <a:pt x="4800171" y="3364306"/>
                </a:lnTo>
                <a:lnTo>
                  <a:pt x="4796152" y="3368345"/>
                </a:lnTo>
                <a:lnTo>
                  <a:pt x="4786241" y="3368345"/>
                </a:lnTo>
                <a:lnTo>
                  <a:pt x="4782224" y="3364306"/>
                </a:lnTo>
                <a:lnTo>
                  <a:pt x="4782224" y="3354436"/>
                </a:lnTo>
                <a:close/>
                <a:moveTo>
                  <a:pt x="4546929" y="3350398"/>
                </a:moveTo>
                <a:lnTo>
                  <a:pt x="4556840" y="3350398"/>
                </a:lnTo>
                <a:lnTo>
                  <a:pt x="4560859" y="3354436"/>
                </a:lnTo>
                <a:lnTo>
                  <a:pt x="4560859" y="3364306"/>
                </a:lnTo>
                <a:lnTo>
                  <a:pt x="4556840" y="3368345"/>
                </a:lnTo>
                <a:lnTo>
                  <a:pt x="4546929" y="3368345"/>
                </a:lnTo>
                <a:lnTo>
                  <a:pt x="4542910" y="3364306"/>
                </a:lnTo>
                <a:lnTo>
                  <a:pt x="4542910" y="3354436"/>
                </a:lnTo>
                <a:close/>
                <a:moveTo>
                  <a:pt x="4307612" y="3350398"/>
                </a:moveTo>
                <a:lnTo>
                  <a:pt x="4317523" y="3350398"/>
                </a:lnTo>
                <a:lnTo>
                  <a:pt x="4321543" y="3354436"/>
                </a:lnTo>
                <a:lnTo>
                  <a:pt x="4321543" y="3364306"/>
                </a:lnTo>
                <a:lnTo>
                  <a:pt x="4317523" y="3368345"/>
                </a:lnTo>
                <a:lnTo>
                  <a:pt x="4307612" y="3368345"/>
                </a:lnTo>
                <a:lnTo>
                  <a:pt x="4303595" y="3364306"/>
                </a:lnTo>
                <a:lnTo>
                  <a:pt x="4303595" y="3354436"/>
                </a:lnTo>
                <a:close/>
                <a:moveTo>
                  <a:pt x="4068297" y="3350398"/>
                </a:moveTo>
                <a:lnTo>
                  <a:pt x="4078210" y="3350398"/>
                </a:lnTo>
                <a:lnTo>
                  <a:pt x="4082229" y="3354436"/>
                </a:lnTo>
                <a:lnTo>
                  <a:pt x="4082229" y="3364306"/>
                </a:lnTo>
                <a:lnTo>
                  <a:pt x="4078210" y="3368345"/>
                </a:lnTo>
                <a:lnTo>
                  <a:pt x="4068297" y="3368345"/>
                </a:lnTo>
                <a:lnTo>
                  <a:pt x="4064278" y="3364306"/>
                </a:lnTo>
                <a:lnTo>
                  <a:pt x="4064278" y="3354436"/>
                </a:lnTo>
                <a:close/>
                <a:moveTo>
                  <a:pt x="3828990" y="3350398"/>
                </a:moveTo>
                <a:lnTo>
                  <a:pt x="3838899" y="3350398"/>
                </a:lnTo>
                <a:lnTo>
                  <a:pt x="3842917" y="3354436"/>
                </a:lnTo>
                <a:lnTo>
                  <a:pt x="3842917" y="3364306"/>
                </a:lnTo>
                <a:lnTo>
                  <a:pt x="3838899" y="3368345"/>
                </a:lnTo>
                <a:lnTo>
                  <a:pt x="3828990" y="3368345"/>
                </a:lnTo>
                <a:lnTo>
                  <a:pt x="3824971" y="3364306"/>
                </a:lnTo>
                <a:lnTo>
                  <a:pt x="3824971" y="3354436"/>
                </a:lnTo>
                <a:close/>
                <a:moveTo>
                  <a:pt x="3589676" y="3350398"/>
                </a:moveTo>
                <a:lnTo>
                  <a:pt x="3599585" y="3350398"/>
                </a:lnTo>
                <a:lnTo>
                  <a:pt x="3603604" y="3354436"/>
                </a:lnTo>
                <a:lnTo>
                  <a:pt x="3603604" y="3364306"/>
                </a:lnTo>
                <a:lnTo>
                  <a:pt x="3599585" y="3368345"/>
                </a:lnTo>
                <a:lnTo>
                  <a:pt x="3589676" y="3368345"/>
                </a:lnTo>
                <a:lnTo>
                  <a:pt x="3585657" y="3364306"/>
                </a:lnTo>
                <a:lnTo>
                  <a:pt x="3585657" y="3354436"/>
                </a:lnTo>
                <a:close/>
                <a:moveTo>
                  <a:pt x="3350359" y="3350398"/>
                </a:moveTo>
                <a:lnTo>
                  <a:pt x="3360268" y="3350398"/>
                </a:lnTo>
                <a:lnTo>
                  <a:pt x="3364287" y="3354436"/>
                </a:lnTo>
                <a:lnTo>
                  <a:pt x="3364287" y="3364306"/>
                </a:lnTo>
                <a:lnTo>
                  <a:pt x="3360268" y="3368345"/>
                </a:lnTo>
                <a:lnTo>
                  <a:pt x="3350359" y="3368345"/>
                </a:lnTo>
                <a:lnTo>
                  <a:pt x="3346340" y="3364306"/>
                </a:lnTo>
                <a:lnTo>
                  <a:pt x="3346340" y="3354436"/>
                </a:lnTo>
                <a:close/>
                <a:moveTo>
                  <a:pt x="3111048" y="3350398"/>
                </a:moveTo>
                <a:lnTo>
                  <a:pt x="3120959" y="3350398"/>
                </a:lnTo>
                <a:lnTo>
                  <a:pt x="3124977" y="3354436"/>
                </a:lnTo>
                <a:lnTo>
                  <a:pt x="3124977" y="3364306"/>
                </a:lnTo>
                <a:lnTo>
                  <a:pt x="3120959" y="3368345"/>
                </a:lnTo>
                <a:lnTo>
                  <a:pt x="3111048" y="3368345"/>
                </a:lnTo>
                <a:lnTo>
                  <a:pt x="3107029" y="3364306"/>
                </a:lnTo>
                <a:lnTo>
                  <a:pt x="3107029" y="3354436"/>
                </a:lnTo>
                <a:close/>
                <a:moveTo>
                  <a:pt x="2871737" y="3350398"/>
                </a:moveTo>
                <a:lnTo>
                  <a:pt x="2881646" y="3350398"/>
                </a:lnTo>
                <a:lnTo>
                  <a:pt x="2885666" y="3354436"/>
                </a:lnTo>
                <a:lnTo>
                  <a:pt x="2885666" y="3364306"/>
                </a:lnTo>
                <a:lnTo>
                  <a:pt x="2881646" y="3368345"/>
                </a:lnTo>
                <a:lnTo>
                  <a:pt x="2871737" y="3368345"/>
                </a:lnTo>
                <a:lnTo>
                  <a:pt x="2867717" y="3364306"/>
                </a:lnTo>
                <a:lnTo>
                  <a:pt x="2867717" y="3354436"/>
                </a:lnTo>
                <a:close/>
                <a:moveTo>
                  <a:pt x="2632423" y="3350398"/>
                </a:moveTo>
                <a:lnTo>
                  <a:pt x="2642334" y="3350398"/>
                </a:lnTo>
                <a:lnTo>
                  <a:pt x="2646352" y="3354436"/>
                </a:lnTo>
                <a:lnTo>
                  <a:pt x="2646352" y="3364306"/>
                </a:lnTo>
                <a:lnTo>
                  <a:pt x="2642334" y="3368345"/>
                </a:lnTo>
                <a:lnTo>
                  <a:pt x="2632423" y="3368345"/>
                </a:lnTo>
                <a:lnTo>
                  <a:pt x="2628404" y="3364306"/>
                </a:lnTo>
                <a:lnTo>
                  <a:pt x="2628404" y="3354436"/>
                </a:lnTo>
                <a:close/>
                <a:moveTo>
                  <a:pt x="2393104" y="3350398"/>
                </a:moveTo>
                <a:lnTo>
                  <a:pt x="2403015" y="3350398"/>
                </a:lnTo>
                <a:lnTo>
                  <a:pt x="2407034" y="3354436"/>
                </a:lnTo>
                <a:lnTo>
                  <a:pt x="2407034" y="3364306"/>
                </a:lnTo>
                <a:lnTo>
                  <a:pt x="2403015" y="3368345"/>
                </a:lnTo>
                <a:lnTo>
                  <a:pt x="2393104" y="3368345"/>
                </a:lnTo>
                <a:lnTo>
                  <a:pt x="2389087" y="3364306"/>
                </a:lnTo>
                <a:lnTo>
                  <a:pt x="2389087" y="3354436"/>
                </a:lnTo>
                <a:close/>
                <a:moveTo>
                  <a:pt x="2157820" y="3350398"/>
                </a:moveTo>
                <a:lnTo>
                  <a:pt x="2167731" y="3350398"/>
                </a:lnTo>
                <a:lnTo>
                  <a:pt x="2171749" y="3354436"/>
                </a:lnTo>
                <a:lnTo>
                  <a:pt x="2171749" y="3364306"/>
                </a:lnTo>
                <a:lnTo>
                  <a:pt x="2167731" y="3368345"/>
                </a:lnTo>
                <a:lnTo>
                  <a:pt x="2157820" y="3368345"/>
                </a:lnTo>
                <a:lnTo>
                  <a:pt x="2153802" y="3364306"/>
                </a:lnTo>
                <a:lnTo>
                  <a:pt x="2153802" y="3354436"/>
                </a:lnTo>
                <a:close/>
                <a:moveTo>
                  <a:pt x="1918511" y="3350398"/>
                </a:moveTo>
                <a:lnTo>
                  <a:pt x="1928422" y="3350398"/>
                </a:lnTo>
                <a:lnTo>
                  <a:pt x="1932441" y="3354436"/>
                </a:lnTo>
                <a:lnTo>
                  <a:pt x="1932441" y="3364306"/>
                </a:lnTo>
                <a:lnTo>
                  <a:pt x="1928422" y="3368345"/>
                </a:lnTo>
                <a:lnTo>
                  <a:pt x="1918511" y="3368345"/>
                </a:lnTo>
                <a:lnTo>
                  <a:pt x="1914493" y="3364306"/>
                </a:lnTo>
                <a:lnTo>
                  <a:pt x="1914493" y="3354436"/>
                </a:lnTo>
                <a:close/>
                <a:moveTo>
                  <a:pt x="1679210" y="3350398"/>
                </a:moveTo>
                <a:lnTo>
                  <a:pt x="1689120" y="3350398"/>
                </a:lnTo>
                <a:lnTo>
                  <a:pt x="1693138" y="3354436"/>
                </a:lnTo>
                <a:lnTo>
                  <a:pt x="1693138" y="3364306"/>
                </a:lnTo>
                <a:lnTo>
                  <a:pt x="1689120" y="3368345"/>
                </a:lnTo>
                <a:lnTo>
                  <a:pt x="1679210" y="3368345"/>
                </a:lnTo>
                <a:lnTo>
                  <a:pt x="1675191" y="3364306"/>
                </a:lnTo>
                <a:lnTo>
                  <a:pt x="1675191" y="3354436"/>
                </a:lnTo>
                <a:close/>
                <a:moveTo>
                  <a:pt x="1439893" y="3350398"/>
                </a:moveTo>
                <a:lnTo>
                  <a:pt x="1449803" y="3350398"/>
                </a:lnTo>
                <a:lnTo>
                  <a:pt x="1453823" y="3354436"/>
                </a:lnTo>
                <a:lnTo>
                  <a:pt x="1453823" y="3364306"/>
                </a:lnTo>
                <a:lnTo>
                  <a:pt x="1449803" y="3368345"/>
                </a:lnTo>
                <a:lnTo>
                  <a:pt x="1439893" y="3368345"/>
                </a:lnTo>
                <a:lnTo>
                  <a:pt x="1435875" y="3364306"/>
                </a:lnTo>
                <a:lnTo>
                  <a:pt x="1435875" y="3354436"/>
                </a:lnTo>
                <a:close/>
                <a:moveTo>
                  <a:pt x="1200578" y="3350398"/>
                </a:moveTo>
                <a:lnTo>
                  <a:pt x="1210488" y="3350398"/>
                </a:lnTo>
                <a:lnTo>
                  <a:pt x="1214507" y="3354436"/>
                </a:lnTo>
                <a:lnTo>
                  <a:pt x="1214507" y="3364306"/>
                </a:lnTo>
                <a:lnTo>
                  <a:pt x="1210488" y="3368345"/>
                </a:lnTo>
                <a:lnTo>
                  <a:pt x="1200578" y="3368345"/>
                </a:lnTo>
                <a:lnTo>
                  <a:pt x="1196559" y="3364306"/>
                </a:lnTo>
                <a:lnTo>
                  <a:pt x="1196559" y="3354436"/>
                </a:lnTo>
                <a:close/>
                <a:moveTo>
                  <a:pt x="961265" y="3350398"/>
                </a:moveTo>
                <a:lnTo>
                  <a:pt x="971176" y="3350398"/>
                </a:lnTo>
                <a:lnTo>
                  <a:pt x="975194" y="3354436"/>
                </a:lnTo>
                <a:lnTo>
                  <a:pt x="975194" y="3364306"/>
                </a:lnTo>
                <a:lnTo>
                  <a:pt x="971176" y="3368345"/>
                </a:lnTo>
                <a:lnTo>
                  <a:pt x="961265" y="3368345"/>
                </a:lnTo>
                <a:lnTo>
                  <a:pt x="957246" y="3364306"/>
                </a:lnTo>
                <a:lnTo>
                  <a:pt x="957246" y="3354436"/>
                </a:lnTo>
                <a:close/>
                <a:moveTo>
                  <a:pt x="721967" y="3350398"/>
                </a:moveTo>
                <a:lnTo>
                  <a:pt x="731877" y="3350398"/>
                </a:lnTo>
                <a:lnTo>
                  <a:pt x="735896" y="3354436"/>
                </a:lnTo>
                <a:lnTo>
                  <a:pt x="735896" y="3364306"/>
                </a:lnTo>
                <a:lnTo>
                  <a:pt x="731877" y="3368345"/>
                </a:lnTo>
                <a:lnTo>
                  <a:pt x="721967" y="3368345"/>
                </a:lnTo>
                <a:lnTo>
                  <a:pt x="717949" y="3364306"/>
                </a:lnTo>
                <a:lnTo>
                  <a:pt x="717949" y="3354436"/>
                </a:lnTo>
                <a:close/>
                <a:moveTo>
                  <a:pt x="482655" y="3350398"/>
                </a:moveTo>
                <a:lnTo>
                  <a:pt x="492565" y="3350398"/>
                </a:lnTo>
                <a:lnTo>
                  <a:pt x="496584" y="3354436"/>
                </a:lnTo>
                <a:lnTo>
                  <a:pt x="496584" y="3364306"/>
                </a:lnTo>
                <a:lnTo>
                  <a:pt x="492565" y="3368345"/>
                </a:lnTo>
                <a:lnTo>
                  <a:pt x="482655" y="3368345"/>
                </a:lnTo>
                <a:lnTo>
                  <a:pt x="478636" y="3364306"/>
                </a:lnTo>
                <a:lnTo>
                  <a:pt x="478636" y="3354436"/>
                </a:lnTo>
                <a:close/>
                <a:moveTo>
                  <a:pt x="243341" y="3350398"/>
                </a:moveTo>
                <a:lnTo>
                  <a:pt x="253252" y="3350398"/>
                </a:lnTo>
                <a:lnTo>
                  <a:pt x="257271" y="3354436"/>
                </a:lnTo>
                <a:lnTo>
                  <a:pt x="257271" y="3364306"/>
                </a:lnTo>
                <a:lnTo>
                  <a:pt x="253252" y="3368345"/>
                </a:lnTo>
                <a:lnTo>
                  <a:pt x="243341" y="3368345"/>
                </a:lnTo>
                <a:lnTo>
                  <a:pt x="239322" y="3364306"/>
                </a:lnTo>
                <a:lnTo>
                  <a:pt x="239322" y="3354436"/>
                </a:lnTo>
                <a:close/>
                <a:moveTo>
                  <a:pt x="4029" y="3350398"/>
                </a:moveTo>
                <a:lnTo>
                  <a:pt x="13938" y="3350398"/>
                </a:lnTo>
                <a:lnTo>
                  <a:pt x="17957" y="3354436"/>
                </a:lnTo>
                <a:lnTo>
                  <a:pt x="17957" y="3364306"/>
                </a:lnTo>
                <a:lnTo>
                  <a:pt x="13938" y="3368345"/>
                </a:lnTo>
                <a:lnTo>
                  <a:pt x="4029" y="3368345"/>
                </a:lnTo>
                <a:lnTo>
                  <a:pt x="9" y="3364306"/>
                </a:lnTo>
                <a:lnTo>
                  <a:pt x="9" y="3354436"/>
                </a:lnTo>
                <a:close/>
                <a:moveTo>
                  <a:pt x="2157820" y="3111118"/>
                </a:moveTo>
                <a:lnTo>
                  <a:pt x="2167731" y="3111118"/>
                </a:lnTo>
                <a:lnTo>
                  <a:pt x="2171750" y="3115157"/>
                </a:lnTo>
                <a:lnTo>
                  <a:pt x="2171750" y="3125027"/>
                </a:lnTo>
                <a:lnTo>
                  <a:pt x="2167731" y="3129066"/>
                </a:lnTo>
                <a:lnTo>
                  <a:pt x="2157820" y="3129066"/>
                </a:lnTo>
                <a:lnTo>
                  <a:pt x="2153802" y="3125027"/>
                </a:lnTo>
                <a:lnTo>
                  <a:pt x="2153802" y="3115157"/>
                </a:lnTo>
                <a:close/>
                <a:moveTo>
                  <a:pt x="1918513" y="3111118"/>
                </a:moveTo>
                <a:lnTo>
                  <a:pt x="1928422" y="3111118"/>
                </a:lnTo>
                <a:lnTo>
                  <a:pt x="1932441" y="3115157"/>
                </a:lnTo>
                <a:lnTo>
                  <a:pt x="1932441" y="3125027"/>
                </a:lnTo>
                <a:lnTo>
                  <a:pt x="1928422" y="3129066"/>
                </a:lnTo>
                <a:lnTo>
                  <a:pt x="1918513" y="3129066"/>
                </a:lnTo>
                <a:lnTo>
                  <a:pt x="1914493" y="3125027"/>
                </a:lnTo>
                <a:lnTo>
                  <a:pt x="1914493" y="3115157"/>
                </a:lnTo>
                <a:close/>
                <a:moveTo>
                  <a:pt x="1679211" y="3111118"/>
                </a:moveTo>
                <a:lnTo>
                  <a:pt x="1689121" y="3111118"/>
                </a:lnTo>
                <a:lnTo>
                  <a:pt x="1693139" y="3115157"/>
                </a:lnTo>
                <a:lnTo>
                  <a:pt x="1693139" y="3125027"/>
                </a:lnTo>
                <a:lnTo>
                  <a:pt x="1689121" y="3129066"/>
                </a:lnTo>
                <a:lnTo>
                  <a:pt x="1679211" y="3129066"/>
                </a:lnTo>
                <a:lnTo>
                  <a:pt x="1675191" y="3125027"/>
                </a:lnTo>
                <a:lnTo>
                  <a:pt x="1675191" y="3115157"/>
                </a:lnTo>
                <a:close/>
                <a:moveTo>
                  <a:pt x="1439895" y="3111118"/>
                </a:moveTo>
                <a:lnTo>
                  <a:pt x="1449805" y="3111118"/>
                </a:lnTo>
                <a:lnTo>
                  <a:pt x="1453823" y="3115157"/>
                </a:lnTo>
                <a:lnTo>
                  <a:pt x="1453823" y="3125027"/>
                </a:lnTo>
                <a:lnTo>
                  <a:pt x="1449805" y="3129066"/>
                </a:lnTo>
                <a:lnTo>
                  <a:pt x="1439895" y="3129066"/>
                </a:lnTo>
                <a:lnTo>
                  <a:pt x="1435875" y="3125027"/>
                </a:lnTo>
                <a:lnTo>
                  <a:pt x="1435875" y="3115157"/>
                </a:lnTo>
                <a:close/>
                <a:moveTo>
                  <a:pt x="1200578" y="3111118"/>
                </a:moveTo>
                <a:lnTo>
                  <a:pt x="1210489" y="3111118"/>
                </a:lnTo>
                <a:lnTo>
                  <a:pt x="1214507" y="3115157"/>
                </a:lnTo>
                <a:lnTo>
                  <a:pt x="1214507" y="3125027"/>
                </a:lnTo>
                <a:lnTo>
                  <a:pt x="1210489" y="3129066"/>
                </a:lnTo>
                <a:lnTo>
                  <a:pt x="1200578" y="3129066"/>
                </a:lnTo>
                <a:lnTo>
                  <a:pt x="1196560" y="3125027"/>
                </a:lnTo>
                <a:lnTo>
                  <a:pt x="1196560" y="3115157"/>
                </a:lnTo>
                <a:close/>
                <a:moveTo>
                  <a:pt x="961266" y="3111118"/>
                </a:moveTo>
                <a:lnTo>
                  <a:pt x="971176" y="3111118"/>
                </a:lnTo>
                <a:lnTo>
                  <a:pt x="975195" y="3115157"/>
                </a:lnTo>
                <a:lnTo>
                  <a:pt x="975195" y="3125027"/>
                </a:lnTo>
                <a:lnTo>
                  <a:pt x="971176" y="3129066"/>
                </a:lnTo>
                <a:lnTo>
                  <a:pt x="961266" y="3129066"/>
                </a:lnTo>
                <a:lnTo>
                  <a:pt x="957247" y="3125027"/>
                </a:lnTo>
                <a:lnTo>
                  <a:pt x="957247" y="3115157"/>
                </a:lnTo>
                <a:close/>
                <a:moveTo>
                  <a:pt x="9572438" y="3111067"/>
                </a:moveTo>
                <a:lnTo>
                  <a:pt x="9582349" y="3111067"/>
                </a:lnTo>
                <a:lnTo>
                  <a:pt x="9586368" y="3115105"/>
                </a:lnTo>
                <a:lnTo>
                  <a:pt x="9586368" y="3124976"/>
                </a:lnTo>
                <a:lnTo>
                  <a:pt x="9582349" y="3129015"/>
                </a:lnTo>
                <a:lnTo>
                  <a:pt x="9572438" y="3129015"/>
                </a:lnTo>
                <a:lnTo>
                  <a:pt x="9568419" y="3124976"/>
                </a:lnTo>
                <a:lnTo>
                  <a:pt x="9568419" y="3115105"/>
                </a:lnTo>
                <a:close/>
                <a:moveTo>
                  <a:pt x="9333125" y="3111067"/>
                </a:moveTo>
                <a:lnTo>
                  <a:pt x="9343036" y="3111067"/>
                </a:lnTo>
                <a:lnTo>
                  <a:pt x="9347055" y="3115105"/>
                </a:lnTo>
                <a:lnTo>
                  <a:pt x="9347055" y="3124976"/>
                </a:lnTo>
                <a:lnTo>
                  <a:pt x="9343036" y="3129015"/>
                </a:lnTo>
                <a:lnTo>
                  <a:pt x="9333125" y="3129015"/>
                </a:lnTo>
                <a:lnTo>
                  <a:pt x="9329106" y="3124976"/>
                </a:lnTo>
                <a:lnTo>
                  <a:pt x="9329106" y="3115105"/>
                </a:lnTo>
                <a:close/>
                <a:moveTo>
                  <a:pt x="9093811" y="3111067"/>
                </a:moveTo>
                <a:lnTo>
                  <a:pt x="9103722" y="3111067"/>
                </a:lnTo>
                <a:lnTo>
                  <a:pt x="9107741" y="3115105"/>
                </a:lnTo>
                <a:lnTo>
                  <a:pt x="9107741" y="3124976"/>
                </a:lnTo>
                <a:lnTo>
                  <a:pt x="9103722" y="3129015"/>
                </a:lnTo>
                <a:lnTo>
                  <a:pt x="9093811" y="3129015"/>
                </a:lnTo>
                <a:lnTo>
                  <a:pt x="9089792" y="3124976"/>
                </a:lnTo>
                <a:lnTo>
                  <a:pt x="9089792" y="3115105"/>
                </a:lnTo>
                <a:close/>
                <a:moveTo>
                  <a:pt x="8854496" y="3111067"/>
                </a:moveTo>
                <a:lnTo>
                  <a:pt x="8864407" y="3111067"/>
                </a:lnTo>
                <a:lnTo>
                  <a:pt x="8868426" y="3115105"/>
                </a:lnTo>
                <a:lnTo>
                  <a:pt x="8868426" y="3124976"/>
                </a:lnTo>
                <a:lnTo>
                  <a:pt x="8864407" y="3129015"/>
                </a:lnTo>
                <a:lnTo>
                  <a:pt x="8854496" y="3129015"/>
                </a:lnTo>
                <a:lnTo>
                  <a:pt x="8850477" y="3124976"/>
                </a:lnTo>
                <a:lnTo>
                  <a:pt x="8850477" y="3115105"/>
                </a:lnTo>
                <a:close/>
                <a:moveTo>
                  <a:pt x="8615184" y="3111067"/>
                </a:moveTo>
                <a:lnTo>
                  <a:pt x="8625095" y="3111067"/>
                </a:lnTo>
                <a:lnTo>
                  <a:pt x="8629114" y="3115105"/>
                </a:lnTo>
                <a:lnTo>
                  <a:pt x="8629114" y="3124976"/>
                </a:lnTo>
                <a:lnTo>
                  <a:pt x="8625095" y="3129015"/>
                </a:lnTo>
                <a:lnTo>
                  <a:pt x="8615184" y="3129015"/>
                </a:lnTo>
                <a:lnTo>
                  <a:pt x="8611165" y="3124976"/>
                </a:lnTo>
                <a:lnTo>
                  <a:pt x="8611165" y="3115105"/>
                </a:lnTo>
                <a:close/>
                <a:moveTo>
                  <a:pt x="8375869" y="3111067"/>
                </a:moveTo>
                <a:lnTo>
                  <a:pt x="8385779" y="3111067"/>
                </a:lnTo>
                <a:lnTo>
                  <a:pt x="8389799" y="3115105"/>
                </a:lnTo>
                <a:lnTo>
                  <a:pt x="8389799" y="3124976"/>
                </a:lnTo>
                <a:lnTo>
                  <a:pt x="8385779" y="3129015"/>
                </a:lnTo>
                <a:lnTo>
                  <a:pt x="8375869" y="3129015"/>
                </a:lnTo>
                <a:lnTo>
                  <a:pt x="8371850" y="3124976"/>
                </a:lnTo>
                <a:lnTo>
                  <a:pt x="8371850" y="3115105"/>
                </a:lnTo>
                <a:close/>
                <a:moveTo>
                  <a:pt x="8136553" y="3111067"/>
                </a:moveTo>
                <a:lnTo>
                  <a:pt x="8146464" y="3111067"/>
                </a:lnTo>
                <a:lnTo>
                  <a:pt x="8150483" y="3115105"/>
                </a:lnTo>
                <a:lnTo>
                  <a:pt x="8150483" y="3124976"/>
                </a:lnTo>
                <a:lnTo>
                  <a:pt x="8146464" y="3129015"/>
                </a:lnTo>
                <a:lnTo>
                  <a:pt x="8136553" y="3129015"/>
                </a:lnTo>
                <a:lnTo>
                  <a:pt x="8132534" y="3124976"/>
                </a:lnTo>
                <a:lnTo>
                  <a:pt x="8132534" y="3115105"/>
                </a:lnTo>
                <a:close/>
                <a:moveTo>
                  <a:pt x="7897241" y="3111067"/>
                </a:moveTo>
                <a:lnTo>
                  <a:pt x="7907151" y="3111067"/>
                </a:lnTo>
                <a:lnTo>
                  <a:pt x="7911170" y="3115105"/>
                </a:lnTo>
                <a:lnTo>
                  <a:pt x="7911170" y="3124976"/>
                </a:lnTo>
                <a:lnTo>
                  <a:pt x="7907151" y="3129015"/>
                </a:lnTo>
                <a:lnTo>
                  <a:pt x="7897241" y="3129015"/>
                </a:lnTo>
                <a:lnTo>
                  <a:pt x="7893222" y="3124976"/>
                </a:lnTo>
                <a:lnTo>
                  <a:pt x="7893222" y="3115105"/>
                </a:lnTo>
                <a:close/>
                <a:moveTo>
                  <a:pt x="7657926" y="3111067"/>
                </a:moveTo>
                <a:lnTo>
                  <a:pt x="7667836" y="3111067"/>
                </a:lnTo>
                <a:lnTo>
                  <a:pt x="7671855" y="3115105"/>
                </a:lnTo>
                <a:lnTo>
                  <a:pt x="7671855" y="3124976"/>
                </a:lnTo>
                <a:lnTo>
                  <a:pt x="7667836" y="3129015"/>
                </a:lnTo>
                <a:lnTo>
                  <a:pt x="7657926" y="3129015"/>
                </a:lnTo>
                <a:lnTo>
                  <a:pt x="7653906" y="3124976"/>
                </a:lnTo>
                <a:lnTo>
                  <a:pt x="7653906" y="3115105"/>
                </a:lnTo>
                <a:close/>
                <a:moveTo>
                  <a:pt x="7418611" y="3111067"/>
                </a:moveTo>
                <a:lnTo>
                  <a:pt x="7428521" y="3111067"/>
                </a:lnTo>
                <a:lnTo>
                  <a:pt x="7432540" y="3115105"/>
                </a:lnTo>
                <a:lnTo>
                  <a:pt x="7432540" y="3124976"/>
                </a:lnTo>
                <a:lnTo>
                  <a:pt x="7428521" y="3129015"/>
                </a:lnTo>
                <a:lnTo>
                  <a:pt x="7418611" y="3129015"/>
                </a:lnTo>
                <a:lnTo>
                  <a:pt x="7414592" y="3124976"/>
                </a:lnTo>
                <a:lnTo>
                  <a:pt x="7414592" y="3115105"/>
                </a:lnTo>
                <a:close/>
                <a:moveTo>
                  <a:pt x="7179298" y="3111067"/>
                </a:moveTo>
                <a:lnTo>
                  <a:pt x="7189209" y="3111067"/>
                </a:lnTo>
                <a:lnTo>
                  <a:pt x="7193228" y="3115105"/>
                </a:lnTo>
                <a:lnTo>
                  <a:pt x="7193228" y="3124976"/>
                </a:lnTo>
                <a:lnTo>
                  <a:pt x="7189209" y="3129015"/>
                </a:lnTo>
                <a:lnTo>
                  <a:pt x="7179298" y="3129015"/>
                </a:lnTo>
                <a:lnTo>
                  <a:pt x="7175279" y="3124976"/>
                </a:lnTo>
                <a:lnTo>
                  <a:pt x="7175279" y="3115105"/>
                </a:lnTo>
                <a:close/>
                <a:moveTo>
                  <a:pt x="6939983" y="3111067"/>
                </a:moveTo>
                <a:lnTo>
                  <a:pt x="6949894" y="3111067"/>
                </a:lnTo>
                <a:lnTo>
                  <a:pt x="6953913" y="3115105"/>
                </a:lnTo>
                <a:lnTo>
                  <a:pt x="6953913" y="3124976"/>
                </a:lnTo>
                <a:lnTo>
                  <a:pt x="6949894" y="3129015"/>
                </a:lnTo>
                <a:lnTo>
                  <a:pt x="6939983" y="3129015"/>
                </a:lnTo>
                <a:lnTo>
                  <a:pt x="6935964" y="3124976"/>
                </a:lnTo>
                <a:lnTo>
                  <a:pt x="6935964" y="3115105"/>
                </a:lnTo>
                <a:close/>
                <a:moveTo>
                  <a:pt x="6700670" y="3111067"/>
                </a:moveTo>
                <a:lnTo>
                  <a:pt x="6710581" y="3111067"/>
                </a:lnTo>
                <a:lnTo>
                  <a:pt x="6714600" y="3115105"/>
                </a:lnTo>
                <a:lnTo>
                  <a:pt x="6714600" y="3124976"/>
                </a:lnTo>
                <a:lnTo>
                  <a:pt x="6710581" y="3129015"/>
                </a:lnTo>
                <a:lnTo>
                  <a:pt x="6700670" y="3129015"/>
                </a:lnTo>
                <a:lnTo>
                  <a:pt x="6696651" y="3124976"/>
                </a:lnTo>
                <a:lnTo>
                  <a:pt x="6696651" y="3115105"/>
                </a:lnTo>
                <a:close/>
                <a:moveTo>
                  <a:pt x="6461356" y="3111067"/>
                </a:moveTo>
                <a:lnTo>
                  <a:pt x="6471266" y="3111067"/>
                </a:lnTo>
                <a:lnTo>
                  <a:pt x="6475285" y="3115105"/>
                </a:lnTo>
                <a:lnTo>
                  <a:pt x="6475285" y="3124976"/>
                </a:lnTo>
                <a:lnTo>
                  <a:pt x="6471266" y="3129015"/>
                </a:lnTo>
                <a:lnTo>
                  <a:pt x="6461356" y="3129015"/>
                </a:lnTo>
                <a:lnTo>
                  <a:pt x="6457337" y="3124976"/>
                </a:lnTo>
                <a:lnTo>
                  <a:pt x="6457337" y="3115105"/>
                </a:lnTo>
                <a:close/>
                <a:moveTo>
                  <a:pt x="6222042" y="3111067"/>
                </a:moveTo>
                <a:lnTo>
                  <a:pt x="6231952" y="3111067"/>
                </a:lnTo>
                <a:lnTo>
                  <a:pt x="6235971" y="3115105"/>
                </a:lnTo>
                <a:lnTo>
                  <a:pt x="6235971" y="3124976"/>
                </a:lnTo>
                <a:lnTo>
                  <a:pt x="6231952" y="3129015"/>
                </a:lnTo>
                <a:lnTo>
                  <a:pt x="6222042" y="3129015"/>
                </a:lnTo>
                <a:lnTo>
                  <a:pt x="6218023" y="3124976"/>
                </a:lnTo>
                <a:lnTo>
                  <a:pt x="6218023" y="3115105"/>
                </a:lnTo>
                <a:close/>
                <a:moveTo>
                  <a:pt x="5982729" y="3111067"/>
                </a:moveTo>
                <a:lnTo>
                  <a:pt x="5992639" y="3111067"/>
                </a:lnTo>
                <a:lnTo>
                  <a:pt x="5996658" y="3115105"/>
                </a:lnTo>
                <a:lnTo>
                  <a:pt x="5996658" y="3124976"/>
                </a:lnTo>
                <a:lnTo>
                  <a:pt x="5992639" y="3129015"/>
                </a:lnTo>
                <a:lnTo>
                  <a:pt x="5982729" y="3129015"/>
                </a:lnTo>
                <a:lnTo>
                  <a:pt x="5978710" y="3124976"/>
                </a:lnTo>
                <a:lnTo>
                  <a:pt x="5978710" y="3115105"/>
                </a:lnTo>
                <a:close/>
                <a:moveTo>
                  <a:pt x="5743412" y="3111067"/>
                </a:moveTo>
                <a:lnTo>
                  <a:pt x="5753323" y="3111067"/>
                </a:lnTo>
                <a:lnTo>
                  <a:pt x="5757342" y="3115105"/>
                </a:lnTo>
                <a:lnTo>
                  <a:pt x="5757342" y="3124976"/>
                </a:lnTo>
                <a:lnTo>
                  <a:pt x="5753323" y="3129015"/>
                </a:lnTo>
                <a:lnTo>
                  <a:pt x="5743412" y="3129015"/>
                </a:lnTo>
                <a:lnTo>
                  <a:pt x="5739393" y="3124976"/>
                </a:lnTo>
                <a:lnTo>
                  <a:pt x="5739393" y="3115105"/>
                </a:lnTo>
                <a:close/>
                <a:moveTo>
                  <a:pt x="5504099" y="3111067"/>
                </a:moveTo>
                <a:lnTo>
                  <a:pt x="5514010" y="3111067"/>
                </a:lnTo>
                <a:lnTo>
                  <a:pt x="5518029" y="3115105"/>
                </a:lnTo>
                <a:lnTo>
                  <a:pt x="5518029" y="3124976"/>
                </a:lnTo>
                <a:lnTo>
                  <a:pt x="5514010" y="3129015"/>
                </a:lnTo>
                <a:lnTo>
                  <a:pt x="5504099" y="3129015"/>
                </a:lnTo>
                <a:lnTo>
                  <a:pt x="5500080" y="3124976"/>
                </a:lnTo>
                <a:lnTo>
                  <a:pt x="5500080" y="3115105"/>
                </a:lnTo>
                <a:close/>
                <a:moveTo>
                  <a:pt x="5264784" y="3111067"/>
                </a:moveTo>
                <a:lnTo>
                  <a:pt x="5274694" y="3111067"/>
                </a:lnTo>
                <a:lnTo>
                  <a:pt x="5278713" y="3115105"/>
                </a:lnTo>
                <a:lnTo>
                  <a:pt x="5278713" y="3124976"/>
                </a:lnTo>
                <a:lnTo>
                  <a:pt x="5274694" y="3129015"/>
                </a:lnTo>
                <a:lnTo>
                  <a:pt x="5264784" y="3129015"/>
                </a:lnTo>
                <a:lnTo>
                  <a:pt x="5260765" y="3124976"/>
                </a:lnTo>
                <a:lnTo>
                  <a:pt x="5260765" y="3115105"/>
                </a:lnTo>
                <a:close/>
                <a:moveTo>
                  <a:pt x="5025470" y="3111067"/>
                </a:moveTo>
                <a:lnTo>
                  <a:pt x="5035381" y="3111067"/>
                </a:lnTo>
                <a:lnTo>
                  <a:pt x="5039400" y="3115105"/>
                </a:lnTo>
                <a:lnTo>
                  <a:pt x="5039400" y="3124976"/>
                </a:lnTo>
                <a:lnTo>
                  <a:pt x="5035381" y="3129015"/>
                </a:lnTo>
                <a:lnTo>
                  <a:pt x="5025470" y="3129015"/>
                </a:lnTo>
                <a:lnTo>
                  <a:pt x="5021451" y="3124976"/>
                </a:lnTo>
                <a:lnTo>
                  <a:pt x="5021451" y="3115105"/>
                </a:lnTo>
                <a:close/>
                <a:moveTo>
                  <a:pt x="4786241" y="3111067"/>
                </a:moveTo>
                <a:lnTo>
                  <a:pt x="4796152" y="3111067"/>
                </a:lnTo>
                <a:lnTo>
                  <a:pt x="4800171" y="3115105"/>
                </a:lnTo>
                <a:lnTo>
                  <a:pt x="4800171" y="3124976"/>
                </a:lnTo>
                <a:lnTo>
                  <a:pt x="4796152" y="3129015"/>
                </a:lnTo>
                <a:lnTo>
                  <a:pt x="4786241" y="3129015"/>
                </a:lnTo>
                <a:lnTo>
                  <a:pt x="4782224" y="3124976"/>
                </a:lnTo>
                <a:lnTo>
                  <a:pt x="4782224" y="3115105"/>
                </a:lnTo>
                <a:close/>
                <a:moveTo>
                  <a:pt x="4546929" y="3111067"/>
                </a:moveTo>
                <a:lnTo>
                  <a:pt x="4556840" y="3111067"/>
                </a:lnTo>
                <a:lnTo>
                  <a:pt x="4560859" y="3115105"/>
                </a:lnTo>
                <a:lnTo>
                  <a:pt x="4560859" y="3124976"/>
                </a:lnTo>
                <a:lnTo>
                  <a:pt x="4556840" y="3129015"/>
                </a:lnTo>
                <a:lnTo>
                  <a:pt x="4546929" y="3129015"/>
                </a:lnTo>
                <a:lnTo>
                  <a:pt x="4542910" y="3124976"/>
                </a:lnTo>
                <a:lnTo>
                  <a:pt x="4542910" y="3115105"/>
                </a:lnTo>
                <a:close/>
                <a:moveTo>
                  <a:pt x="4307612" y="3111067"/>
                </a:moveTo>
                <a:lnTo>
                  <a:pt x="4317523" y="3111067"/>
                </a:lnTo>
                <a:lnTo>
                  <a:pt x="4321543" y="3115105"/>
                </a:lnTo>
                <a:lnTo>
                  <a:pt x="4321543" y="3124976"/>
                </a:lnTo>
                <a:lnTo>
                  <a:pt x="4317523" y="3129015"/>
                </a:lnTo>
                <a:lnTo>
                  <a:pt x="4307612" y="3129015"/>
                </a:lnTo>
                <a:lnTo>
                  <a:pt x="4303595" y="3124976"/>
                </a:lnTo>
                <a:lnTo>
                  <a:pt x="4303595" y="3115105"/>
                </a:lnTo>
                <a:close/>
                <a:moveTo>
                  <a:pt x="4068297" y="3111067"/>
                </a:moveTo>
                <a:lnTo>
                  <a:pt x="4078210" y="3111067"/>
                </a:lnTo>
                <a:lnTo>
                  <a:pt x="4082229" y="3115105"/>
                </a:lnTo>
                <a:lnTo>
                  <a:pt x="4082229" y="3124976"/>
                </a:lnTo>
                <a:lnTo>
                  <a:pt x="4078210" y="3129015"/>
                </a:lnTo>
                <a:lnTo>
                  <a:pt x="4068297" y="3129015"/>
                </a:lnTo>
                <a:lnTo>
                  <a:pt x="4064278" y="3124976"/>
                </a:lnTo>
                <a:lnTo>
                  <a:pt x="4064278" y="3115105"/>
                </a:lnTo>
                <a:close/>
                <a:moveTo>
                  <a:pt x="3828990" y="3111067"/>
                </a:moveTo>
                <a:lnTo>
                  <a:pt x="3838899" y="3111067"/>
                </a:lnTo>
                <a:lnTo>
                  <a:pt x="3842917" y="3115105"/>
                </a:lnTo>
                <a:lnTo>
                  <a:pt x="3842917" y="3124976"/>
                </a:lnTo>
                <a:lnTo>
                  <a:pt x="3838899" y="3129015"/>
                </a:lnTo>
                <a:lnTo>
                  <a:pt x="3828990" y="3129015"/>
                </a:lnTo>
                <a:lnTo>
                  <a:pt x="3824971" y="3124976"/>
                </a:lnTo>
                <a:lnTo>
                  <a:pt x="3824971" y="3115105"/>
                </a:lnTo>
                <a:close/>
                <a:moveTo>
                  <a:pt x="3589676" y="3111067"/>
                </a:moveTo>
                <a:lnTo>
                  <a:pt x="3599585" y="3111067"/>
                </a:lnTo>
                <a:lnTo>
                  <a:pt x="3603604" y="3115105"/>
                </a:lnTo>
                <a:lnTo>
                  <a:pt x="3603604" y="3124976"/>
                </a:lnTo>
                <a:lnTo>
                  <a:pt x="3599585" y="3129015"/>
                </a:lnTo>
                <a:lnTo>
                  <a:pt x="3589676" y="3129015"/>
                </a:lnTo>
                <a:lnTo>
                  <a:pt x="3585657" y="3124976"/>
                </a:lnTo>
                <a:lnTo>
                  <a:pt x="3585657" y="3115105"/>
                </a:lnTo>
                <a:close/>
                <a:moveTo>
                  <a:pt x="3350359" y="3111067"/>
                </a:moveTo>
                <a:lnTo>
                  <a:pt x="3360268" y="3111067"/>
                </a:lnTo>
                <a:lnTo>
                  <a:pt x="3364287" y="3115105"/>
                </a:lnTo>
                <a:lnTo>
                  <a:pt x="3364287" y="3124976"/>
                </a:lnTo>
                <a:lnTo>
                  <a:pt x="3360268" y="3129015"/>
                </a:lnTo>
                <a:lnTo>
                  <a:pt x="3350359" y="3129015"/>
                </a:lnTo>
                <a:lnTo>
                  <a:pt x="3346340" y="3124976"/>
                </a:lnTo>
                <a:lnTo>
                  <a:pt x="3346340" y="3115105"/>
                </a:lnTo>
                <a:close/>
                <a:moveTo>
                  <a:pt x="3111048" y="3111067"/>
                </a:moveTo>
                <a:lnTo>
                  <a:pt x="3120959" y="3111067"/>
                </a:lnTo>
                <a:lnTo>
                  <a:pt x="3124977" y="3115105"/>
                </a:lnTo>
                <a:lnTo>
                  <a:pt x="3124977" y="3124976"/>
                </a:lnTo>
                <a:lnTo>
                  <a:pt x="3120959" y="3129015"/>
                </a:lnTo>
                <a:lnTo>
                  <a:pt x="3111048" y="3129015"/>
                </a:lnTo>
                <a:lnTo>
                  <a:pt x="3107029" y="3124976"/>
                </a:lnTo>
                <a:lnTo>
                  <a:pt x="3107029" y="3115105"/>
                </a:lnTo>
                <a:close/>
                <a:moveTo>
                  <a:pt x="2871737" y="3111067"/>
                </a:moveTo>
                <a:lnTo>
                  <a:pt x="2881646" y="3111067"/>
                </a:lnTo>
                <a:lnTo>
                  <a:pt x="2885666" y="3115105"/>
                </a:lnTo>
                <a:lnTo>
                  <a:pt x="2885666" y="3124976"/>
                </a:lnTo>
                <a:lnTo>
                  <a:pt x="2881646" y="3129015"/>
                </a:lnTo>
                <a:lnTo>
                  <a:pt x="2871737" y="3129015"/>
                </a:lnTo>
                <a:lnTo>
                  <a:pt x="2867717" y="3124976"/>
                </a:lnTo>
                <a:lnTo>
                  <a:pt x="2867717" y="3115105"/>
                </a:lnTo>
                <a:close/>
                <a:moveTo>
                  <a:pt x="2632423" y="3111067"/>
                </a:moveTo>
                <a:lnTo>
                  <a:pt x="2642334" y="3111067"/>
                </a:lnTo>
                <a:lnTo>
                  <a:pt x="2646352" y="3115105"/>
                </a:lnTo>
                <a:lnTo>
                  <a:pt x="2646352" y="3124976"/>
                </a:lnTo>
                <a:lnTo>
                  <a:pt x="2642334" y="3129015"/>
                </a:lnTo>
                <a:lnTo>
                  <a:pt x="2632423" y="3129015"/>
                </a:lnTo>
                <a:lnTo>
                  <a:pt x="2628404" y="3124976"/>
                </a:lnTo>
                <a:lnTo>
                  <a:pt x="2628404" y="3115105"/>
                </a:lnTo>
                <a:close/>
                <a:moveTo>
                  <a:pt x="2393104" y="3111067"/>
                </a:moveTo>
                <a:lnTo>
                  <a:pt x="2403015" y="3111067"/>
                </a:lnTo>
                <a:lnTo>
                  <a:pt x="2407034" y="3115105"/>
                </a:lnTo>
                <a:lnTo>
                  <a:pt x="2407034" y="3124976"/>
                </a:lnTo>
                <a:lnTo>
                  <a:pt x="2403015" y="3129015"/>
                </a:lnTo>
                <a:lnTo>
                  <a:pt x="2393104" y="3129015"/>
                </a:lnTo>
                <a:lnTo>
                  <a:pt x="2389087" y="3124976"/>
                </a:lnTo>
                <a:lnTo>
                  <a:pt x="2389087" y="3115105"/>
                </a:lnTo>
                <a:close/>
                <a:moveTo>
                  <a:pt x="721968" y="3111067"/>
                </a:moveTo>
                <a:lnTo>
                  <a:pt x="731878" y="3111067"/>
                </a:lnTo>
                <a:lnTo>
                  <a:pt x="735897" y="3115105"/>
                </a:lnTo>
                <a:lnTo>
                  <a:pt x="735897" y="3124976"/>
                </a:lnTo>
                <a:lnTo>
                  <a:pt x="731878" y="3129015"/>
                </a:lnTo>
                <a:lnTo>
                  <a:pt x="721968" y="3129015"/>
                </a:lnTo>
                <a:lnTo>
                  <a:pt x="717949" y="3124976"/>
                </a:lnTo>
                <a:lnTo>
                  <a:pt x="717949" y="3115105"/>
                </a:lnTo>
                <a:close/>
                <a:moveTo>
                  <a:pt x="482656" y="3111067"/>
                </a:moveTo>
                <a:lnTo>
                  <a:pt x="492566" y="3111067"/>
                </a:lnTo>
                <a:lnTo>
                  <a:pt x="496585" y="3115105"/>
                </a:lnTo>
                <a:lnTo>
                  <a:pt x="496585" y="3124976"/>
                </a:lnTo>
                <a:lnTo>
                  <a:pt x="492566" y="3129015"/>
                </a:lnTo>
                <a:lnTo>
                  <a:pt x="482656" y="3129015"/>
                </a:lnTo>
                <a:lnTo>
                  <a:pt x="478637" y="3124976"/>
                </a:lnTo>
                <a:lnTo>
                  <a:pt x="478637" y="3115105"/>
                </a:lnTo>
                <a:close/>
                <a:moveTo>
                  <a:pt x="243342" y="3111067"/>
                </a:moveTo>
                <a:lnTo>
                  <a:pt x="253252" y="3111067"/>
                </a:lnTo>
                <a:lnTo>
                  <a:pt x="257271" y="3115105"/>
                </a:lnTo>
                <a:lnTo>
                  <a:pt x="257271" y="3124976"/>
                </a:lnTo>
                <a:lnTo>
                  <a:pt x="253252" y="3129015"/>
                </a:lnTo>
                <a:lnTo>
                  <a:pt x="243342" y="3129015"/>
                </a:lnTo>
                <a:lnTo>
                  <a:pt x="239323" y="3124976"/>
                </a:lnTo>
                <a:lnTo>
                  <a:pt x="239323" y="3115105"/>
                </a:lnTo>
                <a:close/>
                <a:moveTo>
                  <a:pt x="4029" y="3111067"/>
                </a:moveTo>
                <a:lnTo>
                  <a:pt x="13939" y="3111067"/>
                </a:lnTo>
                <a:lnTo>
                  <a:pt x="17959" y="3115105"/>
                </a:lnTo>
                <a:lnTo>
                  <a:pt x="17959" y="3124976"/>
                </a:lnTo>
                <a:lnTo>
                  <a:pt x="13939" y="3129015"/>
                </a:lnTo>
                <a:lnTo>
                  <a:pt x="4029" y="3129015"/>
                </a:lnTo>
                <a:lnTo>
                  <a:pt x="10" y="3124976"/>
                </a:lnTo>
                <a:lnTo>
                  <a:pt x="10" y="3115105"/>
                </a:lnTo>
                <a:close/>
                <a:moveTo>
                  <a:pt x="2157820" y="2871788"/>
                </a:moveTo>
                <a:lnTo>
                  <a:pt x="2167732" y="2871788"/>
                </a:lnTo>
                <a:lnTo>
                  <a:pt x="2171750" y="2875826"/>
                </a:lnTo>
                <a:lnTo>
                  <a:pt x="2171750" y="2885696"/>
                </a:lnTo>
                <a:lnTo>
                  <a:pt x="2167732" y="2889735"/>
                </a:lnTo>
                <a:lnTo>
                  <a:pt x="2157820" y="2889735"/>
                </a:lnTo>
                <a:lnTo>
                  <a:pt x="2153802" y="2885696"/>
                </a:lnTo>
                <a:lnTo>
                  <a:pt x="2153802" y="2875826"/>
                </a:lnTo>
                <a:close/>
                <a:moveTo>
                  <a:pt x="1918513" y="2871788"/>
                </a:moveTo>
                <a:lnTo>
                  <a:pt x="1928422" y="2871788"/>
                </a:lnTo>
                <a:lnTo>
                  <a:pt x="1932441" y="2875826"/>
                </a:lnTo>
                <a:lnTo>
                  <a:pt x="1932441" y="2885696"/>
                </a:lnTo>
                <a:lnTo>
                  <a:pt x="1928422" y="2889735"/>
                </a:lnTo>
                <a:lnTo>
                  <a:pt x="1918513" y="2889735"/>
                </a:lnTo>
                <a:lnTo>
                  <a:pt x="1914493" y="2885696"/>
                </a:lnTo>
                <a:lnTo>
                  <a:pt x="1914493" y="2875826"/>
                </a:lnTo>
                <a:close/>
                <a:moveTo>
                  <a:pt x="1679211" y="2871788"/>
                </a:moveTo>
                <a:lnTo>
                  <a:pt x="1689121" y="2871788"/>
                </a:lnTo>
                <a:lnTo>
                  <a:pt x="1693141" y="2875826"/>
                </a:lnTo>
                <a:lnTo>
                  <a:pt x="1693141" y="2885696"/>
                </a:lnTo>
                <a:lnTo>
                  <a:pt x="1689121" y="2889735"/>
                </a:lnTo>
                <a:lnTo>
                  <a:pt x="1679211" y="2889735"/>
                </a:lnTo>
                <a:lnTo>
                  <a:pt x="1675193" y="2885696"/>
                </a:lnTo>
                <a:lnTo>
                  <a:pt x="1675193" y="2875826"/>
                </a:lnTo>
                <a:close/>
                <a:moveTo>
                  <a:pt x="1439895" y="2871788"/>
                </a:moveTo>
                <a:lnTo>
                  <a:pt x="1449805" y="2871788"/>
                </a:lnTo>
                <a:lnTo>
                  <a:pt x="1453824" y="2875826"/>
                </a:lnTo>
                <a:lnTo>
                  <a:pt x="1453824" y="2885696"/>
                </a:lnTo>
                <a:lnTo>
                  <a:pt x="1449805" y="2889735"/>
                </a:lnTo>
                <a:lnTo>
                  <a:pt x="1439895" y="2889735"/>
                </a:lnTo>
                <a:lnTo>
                  <a:pt x="1435876" y="2885696"/>
                </a:lnTo>
                <a:lnTo>
                  <a:pt x="1435876" y="2875826"/>
                </a:lnTo>
                <a:close/>
                <a:moveTo>
                  <a:pt x="1200579" y="2871788"/>
                </a:moveTo>
                <a:lnTo>
                  <a:pt x="1210489" y="2871788"/>
                </a:lnTo>
                <a:lnTo>
                  <a:pt x="1214509" y="2875826"/>
                </a:lnTo>
                <a:lnTo>
                  <a:pt x="1214509" y="2885696"/>
                </a:lnTo>
                <a:lnTo>
                  <a:pt x="1210489" y="2889735"/>
                </a:lnTo>
                <a:lnTo>
                  <a:pt x="1200579" y="2889735"/>
                </a:lnTo>
                <a:lnTo>
                  <a:pt x="1196560" y="2885696"/>
                </a:lnTo>
                <a:lnTo>
                  <a:pt x="1196560" y="2875826"/>
                </a:lnTo>
                <a:close/>
                <a:moveTo>
                  <a:pt x="961267" y="2871788"/>
                </a:moveTo>
                <a:lnTo>
                  <a:pt x="971177" y="2871788"/>
                </a:lnTo>
                <a:lnTo>
                  <a:pt x="975195" y="2875826"/>
                </a:lnTo>
                <a:lnTo>
                  <a:pt x="975195" y="2885696"/>
                </a:lnTo>
                <a:lnTo>
                  <a:pt x="971177" y="2889735"/>
                </a:lnTo>
                <a:lnTo>
                  <a:pt x="961267" y="2889735"/>
                </a:lnTo>
                <a:lnTo>
                  <a:pt x="957247" y="2885696"/>
                </a:lnTo>
                <a:lnTo>
                  <a:pt x="957247" y="2875826"/>
                </a:lnTo>
                <a:close/>
                <a:moveTo>
                  <a:pt x="9572438" y="2871736"/>
                </a:moveTo>
                <a:lnTo>
                  <a:pt x="9582349" y="2871736"/>
                </a:lnTo>
                <a:lnTo>
                  <a:pt x="9586368" y="2875775"/>
                </a:lnTo>
                <a:lnTo>
                  <a:pt x="9586368" y="2885645"/>
                </a:lnTo>
                <a:lnTo>
                  <a:pt x="9582349" y="2889684"/>
                </a:lnTo>
                <a:lnTo>
                  <a:pt x="9572438" y="2889684"/>
                </a:lnTo>
                <a:lnTo>
                  <a:pt x="9568419" y="2885645"/>
                </a:lnTo>
                <a:lnTo>
                  <a:pt x="9568419" y="2875775"/>
                </a:lnTo>
                <a:close/>
                <a:moveTo>
                  <a:pt x="9333125" y="2871736"/>
                </a:moveTo>
                <a:lnTo>
                  <a:pt x="9343036" y="2871736"/>
                </a:lnTo>
                <a:lnTo>
                  <a:pt x="9347055" y="2875775"/>
                </a:lnTo>
                <a:lnTo>
                  <a:pt x="9347055" y="2885645"/>
                </a:lnTo>
                <a:lnTo>
                  <a:pt x="9343036" y="2889684"/>
                </a:lnTo>
                <a:lnTo>
                  <a:pt x="9333125" y="2889684"/>
                </a:lnTo>
                <a:lnTo>
                  <a:pt x="9329106" y="2885645"/>
                </a:lnTo>
                <a:lnTo>
                  <a:pt x="9329106" y="2875775"/>
                </a:lnTo>
                <a:close/>
                <a:moveTo>
                  <a:pt x="9093811" y="2871736"/>
                </a:moveTo>
                <a:lnTo>
                  <a:pt x="9103722" y="2871736"/>
                </a:lnTo>
                <a:lnTo>
                  <a:pt x="9107741" y="2875775"/>
                </a:lnTo>
                <a:lnTo>
                  <a:pt x="9107741" y="2885645"/>
                </a:lnTo>
                <a:lnTo>
                  <a:pt x="9103722" y="2889684"/>
                </a:lnTo>
                <a:lnTo>
                  <a:pt x="9093811" y="2889684"/>
                </a:lnTo>
                <a:lnTo>
                  <a:pt x="9089792" y="2885645"/>
                </a:lnTo>
                <a:lnTo>
                  <a:pt x="9089792" y="2875775"/>
                </a:lnTo>
                <a:close/>
                <a:moveTo>
                  <a:pt x="8854496" y="2871736"/>
                </a:moveTo>
                <a:lnTo>
                  <a:pt x="8864407" y="2871736"/>
                </a:lnTo>
                <a:lnTo>
                  <a:pt x="8868426" y="2875775"/>
                </a:lnTo>
                <a:lnTo>
                  <a:pt x="8868426" y="2885645"/>
                </a:lnTo>
                <a:lnTo>
                  <a:pt x="8864407" y="2889684"/>
                </a:lnTo>
                <a:lnTo>
                  <a:pt x="8854496" y="2889684"/>
                </a:lnTo>
                <a:lnTo>
                  <a:pt x="8850477" y="2885645"/>
                </a:lnTo>
                <a:lnTo>
                  <a:pt x="8850477" y="2875775"/>
                </a:lnTo>
                <a:close/>
                <a:moveTo>
                  <a:pt x="8615184" y="2871736"/>
                </a:moveTo>
                <a:lnTo>
                  <a:pt x="8625095" y="2871736"/>
                </a:lnTo>
                <a:lnTo>
                  <a:pt x="8629114" y="2875775"/>
                </a:lnTo>
                <a:lnTo>
                  <a:pt x="8629114" y="2885645"/>
                </a:lnTo>
                <a:lnTo>
                  <a:pt x="8625095" y="2889684"/>
                </a:lnTo>
                <a:lnTo>
                  <a:pt x="8615184" y="2889684"/>
                </a:lnTo>
                <a:lnTo>
                  <a:pt x="8611165" y="2885645"/>
                </a:lnTo>
                <a:lnTo>
                  <a:pt x="8611165" y="2875775"/>
                </a:lnTo>
                <a:close/>
                <a:moveTo>
                  <a:pt x="8375869" y="2871736"/>
                </a:moveTo>
                <a:lnTo>
                  <a:pt x="8385779" y="2871736"/>
                </a:lnTo>
                <a:lnTo>
                  <a:pt x="8389799" y="2875775"/>
                </a:lnTo>
                <a:lnTo>
                  <a:pt x="8389799" y="2885645"/>
                </a:lnTo>
                <a:lnTo>
                  <a:pt x="8385779" y="2889684"/>
                </a:lnTo>
                <a:lnTo>
                  <a:pt x="8375869" y="2889684"/>
                </a:lnTo>
                <a:lnTo>
                  <a:pt x="8371850" y="2885645"/>
                </a:lnTo>
                <a:lnTo>
                  <a:pt x="8371850" y="2875775"/>
                </a:lnTo>
                <a:close/>
                <a:moveTo>
                  <a:pt x="8136553" y="2871736"/>
                </a:moveTo>
                <a:lnTo>
                  <a:pt x="8146464" y="2871736"/>
                </a:lnTo>
                <a:lnTo>
                  <a:pt x="8150483" y="2875775"/>
                </a:lnTo>
                <a:lnTo>
                  <a:pt x="8150483" y="2885645"/>
                </a:lnTo>
                <a:lnTo>
                  <a:pt x="8146464" y="2889684"/>
                </a:lnTo>
                <a:lnTo>
                  <a:pt x="8136553" y="2889684"/>
                </a:lnTo>
                <a:lnTo>
                  <a:pt x="8132534" y="2885645"/>
                </a:lnTo>
                <a:lnTo>
                  <a:pt x="8132534" y="2875775"/>
                </a:lnTo>
                <a:close/>
                <a:moveTo>
                  <a:pt x="7897241" y="2871736"/>
                </a:moveTo>
                <a:lnTo>
                  <a:pt x="7907151" y="2871736"/>
                </a:lnTo>
                <a:lnTo>
                  <a:pt x="7911170" y="2875775"/>
                </a:lnTo>
                <a:lnTo>
                  <a:pt x="7911170" y="2885645"/>
                </a:lnTo>
                <a:lnTo>
                  <a:pt x="7907151" y="2889684"/>
                </a:lnTo>
                <a:lnTo>
                  <a:pt x="7897241" y="2889684"/>
                </a:lnTo>
                <a:lnTo>
                  <a:pt x="7893222" y="2885645"/>
                </a:lnTo>
                <a:lnTo>
                  <a:pt x="7893222" y="2875775"/>
                </a:lnTo>
                <a:close/>
                <a:moveTo>
                  <a:pt x="7657926" y="2871736"/>
                </a:moveTo>
                <a:lnTo>
                  <a:pt x="7667836" y="2871736"/>
                </a:lnTo>
                <a:lnTo>
                  <a:pt x="7671855" y="2875775"/>
                </a:lnTo>
                <a:lnTo>
                  <a:pt x="7671855" y="2885645"/>
                </a:lnTo>
                <a:lnTo>
                  <a:pt x="7667836" y="2889684"/>
                </a:lnTo>
                <a:lnTo>
                  <a:pt x="7657926" y="2889684"/>
                </a:lnTo>
                <a:lnTo>
                  <a:pt x="7653906" y="2885645"/>
                </a:lnTo>
                <a:lnTo>
                  <a:pt x="7653906" y="2875775"/>
                </a:lnTo>
                <a:close/>
                <a:moveTo>
                  <a:pt x="7418611" y="2871736"/>
                </a:moveTo>
                <a:lnTo>
                  <a:pt x="7428521" y="2871736"/>
                </a:lnTo>
                <a:lnTo>
                  <a:pt x="7432540" y="2875775"/>
                </a:lnTo>
                <a:lnTo>
                  <a:pt x="7432540" y="2885645"/>
                </a:lnTo>
                <a:lnTo>
                  <a:pt x="7428521" y="2889684"/>
                </a:lnTo>
                <a:lnTo>
                  <a:pt x="7418611" y="2889684"/>
                </a:lnTo>
                <a:lnTo>
                  <a:pt x="7414592" y="2885645"/>
                </a:lnTo>
                <a:lnTo>
                  <a:pt x="7414592" y="2875775"/>
                </a:lnTo>
                <a:close/>
                <a:moveTo>
                  <a:pt x="7179298" y="2871736"/>
                </a:moveTo>
                <a:lnTo>
                  <a:pt x="7189209" y="2871736"/>
                </a:lnTo>
                <a:lnTo>
                  <a:pt x="7193228" y="2875775"/>
                </a:lnTo>
                <a:lnTo>
                  <a:pt x="7193228" y="2885645"/>
                </a:lnTo>
                <a:lnTo>
                  <a:pt x="7189209" y="2889684"/>
                </a:lnTo>
                <a:lnTo>
                  <a:pt x="7179298" y="2889684"/>
                </a:lnTo>
                <a:lnTo>
                  <a:pt x="7175279" y="2885645"/>
                </a:lnTo>
                <a:lnTo>
                  <a:pt x="7175279" y="2875775"/>
                </a:lnTo>
                <a:close/>
                <a:moveTo>
                  <a:pt x="6939983" y="2871736"/>
                </a:moveTo>
                <a:lnTo>
                  <a:pt x="6949894" y="2871736"/>
                </a:lnTo>
                <a:lnTo>
                  <a:pt x="6953913" y="2875775"/>
                </a:lnTo>
                <a:lnTo>
                  <a:pt x="6953913" y="2885645"/>
                </a:lnTo>
                <a:lnTo>
                  <a:pt x="6949894" y="2889684"/>
                </a:lnTo>
                <a:lnTo>
                  <a:pt x="6939983" y="2889684"/>
                </a:lnTo>
                <a:lnTo>
                  <a:pt x="6935964" y="2885645"/>
                </a:lnTo>
                <a:lnTo>
                  <a:pt x="6935964" y="2875775"/>
                </a:lnTo>
                <a:close/>
                <a:moveTo>
                  <a:pt x="6700670" y="2871736"/>
                </a:moveTo>
                <a:lnTo>
                  <a:pt x="6710581" y="2871736"/>
                </a:lnTo>
                <a:lnTo>
                  <a:pt x="6714600" y="2875775"/>
                </a:lnTo>
                <a:lnTo>
                  <a:pt x="6714600" y="2885645"/>
                </a:lnTo>
                <a:lnTo>
                  <a:pt x="6710581" y="2889684"/>
                </a:lnTo>
                <a:lnTo>
                  <a:pt x="6700670" y="2889684"/>
                </a:lnTo>
                <a:lnTo>
                  <a:pt x="6696651" y="2885645"/>
                </a:lnTo>
                <a:lnTo>
                  <a:pt x="6696651" y="2875775"/>
                </a:lnTo>
                <a:close/>
                <a:moveTo>
                  <a:pt x="6461356" y="2871736"/>
                </a:moveTo>
                <a:lnTo>
                  <a:pt x="6471266" y="2871736"/>
                </a:lnTo>
                <a:lnTo>
                  <a:pt x="6475285" y="2875775"/>
                </a:lnTo>
                <a:lnTo>
                  <a:pt x="6475285" y="2885645"/>
                </a:lnTo>
                <a:lnTo>
                  <a:pt x="6471266" y="2889684"/>
                </a:lnTo>
                <a:lnTo>
                  <a:pt x="6461356" y="2889684"/>
                </a:lnTo>
                <a:lnTo>
                  <a:pt x="6457337" y="2885645"/>
                </a:lnTo>
                <a:lnTo>
                  <a:pt x="6457337" y="2875775"/>
                </a:lnTo>
                <a:close/>
                <a:moveTo>
                  <a:pt x="6222042" y="2871736"/>
                </a:moveTo>
                <a:lnTo>
                  <a:pt x="6231952" y="2871736"/>
                </a:lnTo>
                <a:lnTo>
                  <a:pt x="6235971" y="2875775"/>
                </a:lnTo>
                <a:lnTo>
                  <a:pt x="6235971" y="2885645"/>
                </a:lnTo>
                <a:lnTo>
                  <a:pt x="6231952" y="2889684"/>
                </a:lnTo>
                <a:lnTo>
                  <a:pt x="6222042" y="2889684"/>
                </a:lnTo>
                <a:lnTo>
                  <a:pt x="6218023" y="2885645"/>
                </a:lnTo>
                <a:lnTo>
                  <a:pt x="6218023" y="2875775"/>
                </a:lnTo>
                <a:close/>
                <a:moveTo>
                  <a:pt x="5982729" y="2871736"/>
                </a:moveTo>
                <a:lnTo>
                  <a:pt x="5992639" y="2871736"/>
                </a:lnTo>
                <a:lnTo>
                  <a:pt x="5996658" y="2875775"/>
                </a:lnTo>
                <a:lnTo>
                  <a:pt x="5996658" y="2885645"/>
                </a:lnTo>
                <a:lnTo>
                  <a:pt x="5992639" y="2889684"/>
                </a:lnTo>
                <a:lnTo>
                  <a:pt x="5982729" y="2889684"/>
                </a:lnTo>
                <a:lnTo>
                  <a:pt x="5978710" y="2885645"/>
                </a:lnTo>
                <a:lnTo>
                  <a:pt x="5978710" y="2875775"/>
                </a:lnTo>
                <a:close/>
                <a:moveTo>
                  <a:pt x="5743412" y="2871736"/>
                </a:moveTo>
                <a:lnTo>
                  <a:pt x="5753323" y="2871736"/>
                </a:lnTo>
                <a:lnTo>
                  <a:pt x="5757342" y="2875775"/>
                </a:lnTo>
                <a:lnTo>
                  <a:pt x="5757342" y="2885645"/>
                </a:lnTo>
                <a:lnTo>
                  <a:pt x="5753323" y="2889684"/>
                </a:lnTo>
                <a:lnTo>
                  <a:pt x="5743412" y="2889684"/>
                </a:lnTo>
                <a:lnTo>
                  <a:pt x="5739393" y="2885645"/>
                </a:lnTo>
                <a:lnTo>
                  <a:pt x="5739393" y="2875775"/>
                </a:lnTo>
                <a:close/>
                <a:moveTo>
                  <a:pt x="5504099" y="2871736"/>
                </a:moveTo>
                <a:lnTo>
                  <a:pt x="5514010" y="2871736"/>
                </a:lnTo>
                <a:lnTo>
                  <a:pt x="5518029" y="2875775"/>
                </a:lnTo>
                <a:lnTo>
                  <a:pt x="5518029" y="2885645"/>
                </a:lnTo>
                <a:lnTo>
                  <a:pt x="5514010" y="2889684"/>
                </a:lnTo>
                <a:lnTo>
                  <a:pt x="5504099" y="2889684"/>
                </a:lnTo>
                <a:lnTo>
                  <a:pt x="5500080" y="2885645"/>
                </a:lnTo>
                <a:lnTo>
                  <a:pt x="5500080" y="2875775"/>
                </a:lnTo>
                <a:close/>
                <a:moveTo>
                  <a:pt x="5264784" y="2871736"/>
                </a:moveTo>
                <a:lnTo>
                  <a:pt x="5274694" y="2871736"/>
                </a:lnTo>
                <a:lnTo>
                  <a:pt x="5278713" y="2875775"/>
                </a:lnTo>
                <a:lnTo>
                  <a:pt x="5278713" y="2885645"/>
                </a:lnTo>
                <a:lnTo>
                  <a:pt x="5274694" y="2889684"/>
                </a:lnTo>
                <a:lnTo>
                  <a:pt x="5264784" y="2889684"/>
                </a:lnTo>
                <a:lnTo>
                  <a:pt x="5260765" y="2885645"/>
                </a:lnTo>
                <a:lnTo>
                  <a:pt x="5260765" y="2875775"/>
                </a:lnTo>
                <a:close/>
                <a:moveTo>
                  <a:pt x="5025470" y="2871736"/>
                </a:moveTo>
                <a:lnTo>
                  <a:pt x="5035381" y="2871736"/>
                </a:lnTo>
                <a:lnTo>
                  <a:pt x="5039400" y="2875775"/>
                </a:lnTo>
                <a:lnTo>
                  <a:pt x="5039400" y="2885645"/>
                </a:lnTo>
                <a:lnTo>
                  <a:pt x="5035381" y="2889684"/>
                </a:lnTo>
                <a:lnTo>
                  <a:pt x="5025470" y="2889684"/>
                </a:lnTo>
                <a:lnTo>
                  <a:pt x="5021451" y="2885645"/>
                </a:lnTo>
                <a:lnTo>
                  <a:pt x="5021451" y="2875775"/>
                </a:lnTo>
                <a:close/>
                <a:moveTo>
                  <a:pt x="4786241" y="2871736"/>
                </a:moveTo>
                <a:lnTo>
                  <a:pt x="4796152" y="2871736"/>
                </a:lnTo>
                <a:lnTo>
                  <a:pt x="4800171" y="2875775"/>
                </a:lnTo>
                <a:lnTo>
                  <a:pt x="4800171" y="2885645"/>
                </a:lnTo>
                <a:lnTo>
                  <a:pt x="4796152" y="2889684"/>
                </a:lnTo>
                <a:lnTo>
                  <a:pt x="4786241" y="2889684"/>
                </a:lnTo>
                <a:lnTo>
                  <a:pt x="4782224" y="2885645"/>
                </a:lnTo>
                <a:lnTo>
                  <a:pt x="4782224" y="2875775"/>
                </a:lnTo>
                <a:close/>
                <a:moveTo>
                  <a:pt x="4546929" y="2871736"/>
                </a:moveTo>
                <a:lnTo>
                  <a:pt x="4556840" y="2871736"/>
                </a:lnTo>
                <a:lnTo>
                  <a:pt x="4560859" y="2875775"/>
                </a:lnTo>
                <a:lnTo>
                  <a:pt x="4560859" y="2885645"/>
                </a:lnTo>
                <a:lnTo>
                  <a:pt x="4556840" y="2889684"/>
                </a:lnTo>
                <a:lnTo>
                  <a:pt x="4546929" y="2889684"/>
                </a:lnTo>
                <a:lnTo>
                  <a:pt x="4542910" y="2885645"/>
                </a:lnTo>
                <a:lnTo>
                  <a:pt x="4542910" y="2875775"/>
                </a:lnTo>
                <a:close/>
                <a:moveTo>
                  <a:pt x="4307612" y="2871736"/>
                </a:moveTo>
                <a:lnTo>
                  <a:pt x="4317523" y="2871736"/>
                </a:lnTo>
                <a:lnTo>
                  <a:pt x="4321543" y="2875775"/>
                </a:lnTo>
                <a:lnTo>
                  <a:pt x="4321543" y="2885645"/>
                </a:lnTo>
                <a:lnTo>
                  <a:pt x="4317523" y="2889684"/>
                </a:lnTo>
                <a:lnTo>
                  <a:pt x="4307612" y="2889684"/>
                </a:lnTo>
                <a:lnTo>
                  <a:pt x="4303595" y="2885645"/>
                </a:lnTo>
                <a:lnTo>
                  <a:pt x="4303595" y="2875775"/>
                </a:lnTo>
                <a:close/>
                <a:moveTo>
                  <a:pt x="4068297" y="2871736"/>
                </a:moveTo>
                <a:lnTo>
                  <a:pt x="4078210" y="2871736"/>
                </a:lnTo>
                <a:lnTo>
                  <a:pt x="4082229" y="2875775"/>
                </a:lnTo>
                <a:lnTo>
                  <a:pt x="4082229" y="2885645"/>
                </a:lnTo>
                <a:lnTo>
                  <a:pt x="4078210" y="2889684"/>
                </a:lnTo>
                <a:lnTo>
                  <a:pt x="4068297" y="2889684"/>
                </a:lnTo>
                <a:lnTo>
                  <a:pt x="4064278" y="2885645"/>
                </a:lnTo>
                <a:lnTo>
                  <a:pt x="4064278" y="2875775"/>
                </a:lnTo>
                <a:close/>
                <a:moveTo>
                  <a:pt x="3828990" y="2871736"/>
                </a:moveTo>
                <a:lnTo>
                  <a:pt x="3838899" y="2871736"/>
                </a:lnTo>
                <a:lnTo>
                  <a:pt x="3842917" y="2875775"/>
                </a:lnTo>
                <a:lnTo>
                  <a:pt x="3842917" y="2885645"/>
                </a:lnTo>
                <a:lnTo>
                  <a:pt x="3838899" y="2889684"/>
                </a:lnTo>
                <a:lnTo>
                  <a:pt x="3828990" y="2889684"/>
                </a:lnTo>
                <a:lnTo>
                  <a:pt x="3824971" y="2885645"/>
                </a:lnTo>
                <a:lnTo>
                  <a:pt x="3824971" y="2875775"/>
                </a:lnTo>
                <a:close/>
                <a:moveTo>
                  <a:pt x="3589676" y="2871736"/>
                </a:moveTo>
                <a:lnTo>
                  <a:pt x="3599585" y="2871736"/>
                </a:lnTo>
                <a:lnTo>
                  <a:pt x="3603604" y="2875775"/>
                </a:lnTo>
                <a:lnTo>
                  <a:pt x="3603604" y="2885645"/>
                </a:lnTo>
                <a:lnTo>
                  <a:pt x="3599585" y="2889684"/>
                </a:lnTo>
                <a:lnTo>
                  <a:pt x="3589676" y="2889684"/>
                </a:lnTo>
                <a:lnTo>
                  <a:pt x="3585657" y="2885645"/>
                </a:lnTo>
                <a:lnTo>
                  <a:pt x="3585657" y="2875775"/>
                </a:lnTo>
                <a:close/>
                <a:moveTo>
                  <a:pt x="3350359" y="2871736"/>
                </a:moveTo>
                <a:lnTo>
                  <a:pt x="3360268" y="2871736"/>
                </a:lnTo>
                <a:lnTo>
                  <a:pt x="3364287" y="2875775"/>
                </a:lnTo>
                <a:lnTo>
                  <a:pt x="3364287" y="2885645"/>
                </a:lnTo>
                <a:lnTo>
                  <a:pt x="3360268" y="2889684"/>
                </a:lnTo>
                <a:lnTo>
                  <a:pt x="3350359" y="2889684"/>
                </a:lnTo>
                <a:lnTo>
                  <a:pt x="3346340" y="2885645"/>
                </a:lnTo>
                <a:lnTo>
                  <a:pt x="3346340" y="2875775"/>
                </a:lnTo>
                <a:close/>
                <a:moveTo>
                  <a:pt x="3111048" y="2871736"/>
                </a:moveTo>
                <a:lnTo>
                  <a:pt x="3120959" y="2871736"/>
                </a:lnTo>
                <a:lnTo>
                  <a:pt x="3124977" y="2875775"/>
                </a:lnTo>
                <a:lnTo>
                  <a:pt x="3124977" y="2885645"/>
                </a:lnTo>
                <a:lnTo>
                  <a:pt x="3120959" y="2889684"/>
                </a:lnTo>
                <a:lnTo>
                  <a:pt x="3111048" y="2889684"/>
                </a:lnTo>
                <a:lnTo>
                  <a:pt x="3107029" y="2885645"/>
                </a:lnTo>
                <a:lnTo>
                  <a:pt x="3107029" y="2875775"/>
                </a:lnTo>
                <a:close/>
                <a:moveTo>
                  <a:pt x="2871737" y="2871736"/>
                </a:moveTo>
                <a:lnTo>
                  <a:pt x="2881646" y="2871736"/>
                </a:lnTo>
                <a:lnTo>
                  <a:pt x="2885666" y="2875775"/>
                </a:lnTo>
                <a:lnTo>
                  <a:pt x="2885666" y="2885645"/>
                </a:lnTo>
                <a:lnTo>
                  <a:pt x="2881646" y="2889684"/>
                </a:lnTo>
                <a:lnTo>
                  <a:pt x="2871737" y="2889684"/>
                </a:lnTo>
                <a:lnTo>
                  <a:pt x="2867717" y="2885645"/>
                </a:lnTo>
                <a:lnTo>
                  <a:pt x="2867717" y="2875775"/>
                </a:lnTo>
                <a:close/>
                <a:moveTo>
                  <a:pt x="2632423" y="2871736"/>
                </a:moveTo>
                <a:lnTo>
                  <a:pt x="2642334" y="2871736"/>
                </a:lnTo>
                <a:lnTo>
                  <a:pt x="2646352" y="2875775"/>
                </a:lnTo>
                <a:lnTo>
                  <a:pt x="2646352" y="2885645"/>
                </a:lnTo>
                <a:lnTo>
                  <a:pt x="2642334" y="2889684"/>
                </a:lnTo>
                <a:lnTo>
                  <a:pt x="2632423" y="2889684"/>
                </a:lnTo>
                <a:lnTo>
                  <a:pt x="2628404" y="2885645"/>
                </a:lnTo>
                <a:lnTo>
                  <a:pt x="2628404" y="2875775"/>
                </a:lnTo>
                <a:close/>
                <a:moveTo>
                  <a:pt x="2393104" y="2871736"/>
                </a:moveTo>
                <a:lnTo>
                  <a:pt x="2403015" y="2871736"/>
                </a:lnTo>
                <a:lnTo>
                  <a:pt x="2407034" y="2875775"/>
                </a:lnTo>
                <a:lnTo>
                  <a:pt x="2407034" y="2885645"/>
                </a:lnTo>
                <a:lnTo>
                  <a:pt x="2403015" y="2889684"/>
                </a:lnTo>
                <a:lnTo>
                  <a:pt x="2393104" y="2889684"/>
                </a:lnTo>
                <a:lnTo>
                  <a:pt x="2389087" y="2885645"/>
                </a:lnTo>
                <a:lnTo>
                  <a:pt x="2389087" y="2875775"/>
                </a:lnTo>
                <a:close/>
                <a:moveTo>
                  <a:pt x="721969" y="2871736"/>
                </a:moveTo>
                <a:lnTo>
                  <a:pt x="731879" y="2871736"/>
                </a:lnTo>
                <a:lnTo>
                  <a:pt x="735898" y="2875775"/>
                </a:lnTo>
                <a:lnTo>
                  <a:pt x="735898" y="2885645"/>
                </a:lnTo>
                <a:lnTo>
                  <a:pt x="731879" y="2889684"/>
                </a:lnTo>
                <a:lnTo>
                  <a:pt x="721969" y="2889684"/>
                </a:lnTo>
                <a:lnTo>
                  <a:pt x="717950" y="2885645"/>
                </a:lnTo>
                <a:lnTo>
                  <a:pt x="717950" y="2875775"/>
                </a:lnTo>
                <a:close/>
                <a:moveTo>
                  <a:pt x="482656" y="2871736"/>
                </a:moveTo>
                <a:lnTo>
                  <a:pt x="492567" y="2871736"/>
                </a:lnTo>
                <a:lnTo>
                  <a:pt x="496586" y="2875775"/>
                </a:lnTo>
                <a:lnTo>
                  <a:pt x="496586" y="2885645"/>
                </a:lnTo>
                <a:lnTo>
                  <a:pt x="492567" y="2889684"/>
                </a:lnTo>
                <a:lnTo>
                  <a:pt x="482656" y="2889684"/>
                </a:lnTo>
                <a:lnTo>
                  <a:pt x="478637" y="2885645"/>
                </a:lnTo>
                <a:lnTo>
                  <a:pt x="478637" y="2875775"/>
                </a:lnTo>
                <a:close/>
                <a:moveTo>
                  <a:pt x="243343" y="2871736"/>
                </a:moveTo>
                <a:lnTo>
                  <a:pt x="253253" y="2871736"/>
                </a:lnTo>
                <a:lnTo>
                  <a:pt x="257272" y="2875775"/>
                </a:lnTo>
                <a:lnTo>
                  <a:pt x="257272" y="2885645"/>
                </a:lnTo>
                <a:lnTo>
                  <a:pt x="253253" y="2889684"/>
                </a:lnTo>
                <a:lnTo>
                  <a:pt x="243343" y="2889684"/>
                </a:lnTo>
                <a:lnTo>
                  <a:pt x="239324" y="2885645"/>
                </a:lnTo>
                <a:lnTo>
                  <a:pt x="239324" y="2875775"/>
                </a:lnTo>
                <a:close/>
                <a:moveTo>
                  <a:pt x="4030" y="2871736"/>
                </a:moveTo>
                <a:lnTo>
                  <a:pt x="13940" y="2871736"/>
                </a:lnTo>
                <a:lnTo>
                  <a:pt x="17959" y="2875775"/>
                </a:lnTo>
                <a:lnTo>
                  <a:pt x="17959" y="2885645"/>
                </a:lnTo>
                <a:lnTo>
                  <a:pt x="13940" y="2889684"/>
                </a:lnTo>
                <a:lnTo>
                  <a:pt x="4030" y="2889684"/>
                </a:lnTo>
                <a:lnTo>
                  <a:pt x="11" y="2885645"/>
                </a:lnTo>
                <a:lnTo>
                  <a:pt x="11" y="2875775"/>
                </a:lnTo>
                <a:close/>
                <a:moveTo>
                  <a:pt x="9572438" y="2632457"/>
                </a:moveTo>
                <a:lnTo>
                  <a:pt x="9582349" y="2632457"/>
                </a:lnTo>
                <a:lnTo>
                  <a:pt x="9586368" y="2636496"/>
                </a:lnTo>
                <a:lnTo>
                  <a:pt x="9586368" y="2646366"/>
                </a:lnTo>
                <a:lnTo>
                  <a:pt x="9582349" y="2650405"/>
                </a:lnTo>
                <a:lnTo>
                  <a:pt x="9572438" y="2650405"/>
                </a:lnTo>
                <a:lnTo>
                  <a:pt x="9568419" y="2646366"/>
                </a:lnTo>
                <a:lnTo>
                  <a:pt x="9568419" y="2636496"/>
                </a:lnTo>
                <a:close/>
                <a:moveTo>
                  <a:pt x="9333125" y="2632457"/>
                </a:moveTo>
                <a:lnTo>
                  <a:pt x="9343036" y="2632457"/>
                </a:lnTo>
                <a:lnTo>
                  <a:pt x="9347055" y="2636496"/>
                </a:lnTo>
                <a:lnTo>
                  <a:pt x="9347055" y="2646366"/>
                </a:lnTo>
                <a:lnTo>
                  <a:pt x="9343036" y="2650405"/>
                </a:lnTo>
                <a:lnTo>
                  <a:pt x="9333125" y="2650405"/>
                </a:lnTo>
                <a:lnTo>
                  <a:pt x="9329106" y="2646366"/>
                </a:lnTo>
                <a:lnTo>
                  <a:pt x="9329106" y="2636496"/>
                </a:lnTo>
                <a:close/>
                <a:moveTo>
                  <a:pt x="9093811" y="2632457"/>
                </a:moveTo>
                <a:lnTo>
                  <a:pt x="9103722" y="2632457"/>
                </a:lnTo>
                <a:lnTo>
                  <a:pt x="9107741" y="2636496"/>
                </a:lnTo>
                <a:lnTo>
                  <a:pt x="9107741" y="2646366"/>
                </a:lnTo>
                <a:lnTo>
                  <a:pt x="9103722" y="2650405"/>
                </a:lnTo>
                <a:lnTo>
                  <a:pt x="9093811" y="2650405"/>
                </a:lnTo>
                <a:lnTo>
                  <a:pt x="9089792" y="2646366"/>
                </a:lnTo>
                <a:lnTo>
                  <a:pt x="9089792" y="2636496"/>
                </a:lnTo>
                <a:close/>
                <a:moveTo>
                  <a:pt x="8854496" y="2632457"/>
                </a:moveTo>
                <a:lnTo>
                  <a:pt x="8864407" y="2632457"/>
                </a:lnTo>
                <a:lnTo>
                  <a:pt x="8868426" y="2636496"/>
                </a:lnTo>
                <a:lnTo>
                  <a:pt x="8868426" y="2646366"/>
                </a:lnTo>
                <a:lnTo>
                  <a:pt x="8864407" y="2650405"/>
                </a:lnTo>
                <a:lnTo>
                  <a:pt x="8854496" y="2650405"/>
                </a:lnTo>
                <a:lnTo>
                  <a:pt x="8850477" y="2646366"/>
                </a:lnTo>
                <a:lnTo>
                  <a:pt x="8850477" y="2636496"/>
                </a:lnTo>
                <a:close/>
                <a:moveTo>
                  <a:pt x="8615184" y="2632457"/>
                </a:moveTo>
                <a:lnTo>
                  <a:pt x="8625095" y="2632457"/>
                </a:lnTo>
                <a:lnTo>
                  <a:pt x="8629114" y="2636496"/>
                </a:lnTo>
                <a:lnTo>
                  <a:pt x="8629114" y="2646366"/>
                </a:lnTo>
                <a:lnTo>
                  <a:pt x="8625095" y="2650405"/>
                </a:lnTo>
                <a:lnTo>
                  <a:pt x="8615184" y="2650405"/>
                </a:lnTo>
                <a:lnTo>
                  <a:pt x="8611165" y="2646366"/>
                </a:lnTo>
                <a:lnTo>
                  <a:pt x="8611165" y="2636496"/>
                </a:lnTo>
                <a:close/>
                <a:moveTo>
                  <a:pt x="8375869" y="2632457"/>
                </a:moveTo>
                <a:lnTo>
                  <a:pt x="8385779" y="2632457"/>
                </a:lnTo>
                <a:lnTo>
                  <a:pt x="8389799" y="2636496"/>
                </a:lnTo>
                <a:lnTo>
                  <a:pt x="8389799" y="2646366"/>
                </a:lnTo>
                <a:lnTo>
                  <a:pt x="8385779" y="2650405"/>
                </a:lnTo>
                <a:lnTo>
                  <a:pt x="8375869" y="2650405"/>
                </a:lnTo>
                <a:lnTo>
                  <a:pt x="8371850" y="2646366"/>
                </a:lnTo>
                <a:lnTo>
                  <a:pt x="8371850" y="2636496"/>
                </a:lnTo>
                <a:close/>
                <a:moveTo>
                  <a:pt x="8136553" y="2632457"/>
                </a:moveTo>
                <a:lnTo>
                  <a:pt x="8146464" y="2632457"/>
                </a:lnTo>
                <a:lnTo>
                  <a:pt x="8150483" y="2636496"/>
                </a:lnTo>
                <a:lnTo>
                  <a:pt x="8150483" y="2646366"/>
                </a:lnTo>
                <a:lnTo>
                  <a:pt x="8146464" y="2650405"/>
                </a:lnTo>
                <a:lnTo>
                  <a:pt x="8136553" y="2650405"/>
                </a:lnTo>
                <a:lnTo>
                  <a:pt x="8132534" y="2646366"/>
                </a:lnTo>
                <a:lnTo>
                  <a:pt x="8132534" y="2636496"/>
                </a:lnTo>
                <a:close/>
                <a:moveTo>
                  <a:pt x="7897241" y="2632457"/>
                </a:moveTo>
                <a:lnTo>
                  <a:pt x="7907151" y="2632457"/>
                </a:lnTo>
                <a:lnTo>
                  <a:pt x="7911170" y="2636496"/>
                </a:lnTo>
                <a:lnTo>
                  <a:pt x="7911170" y="2646366"/>
                </a:lnTo>
                <a:lnTo>
                  <a:pt x="7907151" y="2650405"/>
                </a:lnTo>
                <a:lnTo>
                  <a:pt x="7897241" y="2650405"/>
                </a:lnTo>
                <a:lnTo>
                  <a:pt x="7893222" y="2646366"/>
                </a:lnTo>
                <a:lnTo>
                  <a:pt x="7893222" y="2636496"/>
                </a:lnTo>
                <a:close/>
                <a:moveTo>
                  <a:pt x="7657926" y="2632457"/>
                </a:moveTo>
                <a:lnTo>
                  <a:pt x="7667836" y="2632457"/>
                </a:lnTo>
                <a:lnTo>
                  <a:pt x="7671855" y="2636496"/>
                </a:lnTo>
                <a:lnTo>
                  <a:pt x="7671855" y="2646366"/>
                </a:lnTo>
                <a:lnTo>
                  <a:pt x="7667836" y="2650405"/>
                </a:lnTo>
                <a:lnTo>
                  <a:pt x="7657926" y="2650405"/>
                </a:lnTo>
                <a:lnTo>
                  <a:pt x="7653906" y="2646366"/>
                </a:lnTo>
                <a:lnTo>
                  <a:pt x="7653906" y="2636496"/>
                </a:lnTo>
                <a:close/>
                <a:moveTo>
                  <a:pt x="7418611" y="2632457"/>
                </a:moveTo>
                <a:lnTo>
                  <a:pt x="7428521" y="2632457"/>
                </a:lnTo>
                <a:lnTo>
                  <a:pt x="7432540" y="2636496"/>
                </a:lnTo>
                <a:lnTo>
                  <a:pt x="7432540" y="2646366"/>
                </a:lnTo>
                <a:lnTo>
                  <a:pt x="7428521" y="2650405"/>
                </a:lnTo>
                <a:lnTo>
                  <a:pt x="7418611" y="2650405"/>
                </a:lnTo>
                <a:lnTo>
                  <a:pt x="7414592" y="2646366"/>
                </a:lnTo>
                <a:lnTo>
                  <a:pt x="7414592" y="2636496"/>
                </a:lnTo>
                <a:close/>
                <a:moveTo>
                  <a:pt x="7179298" y="2632457"/>
                </a:moveTo>
                <a:lnTo>
                  <a:pt x="7189209" y="2632457"/>
                </a:lnTo>
                <a:lnTo>
                  <a:pt x="7193228" y="2636496"/>
                </a:lnTo>
                <a:lnTo>
                  <a:pt x="7193228" y="2646366"/>
                </a:lnTo>
                <a:lnTo>
                  <a:pt x="7189209" y="2650405"/>
                </a:lnTo>
                <a:lnTo>
                  <a:pt x="7179298" y="2650405"/>
                </a:lnTo>
                <a:lnTo>
                  <a:pt x="7175279" y="2646366"/>
                </a:lnTo>
                <a:lnTo>
                  <a:pt x="7175279" y="2636496"/>
                </a:lnTo>
                <a:close/>
                <a:moveTo>
                  <a:pt x="6939983" y="2632457"/>
                </a:moveTo>
                <a:lnTo>
                  <a:pt x="6949894" y="2632457"/>
                </a:lnTo>
                <a:lnTo>
                  <a:pt x="6953913" y="2636496"/>
                </a:lnTo>
                <a:lnTo>
                  <a:pt x="6953913" y="2646366"/>
                </a:lnTo>
                <a:lnTo>
                  <a:pt x="6949894" y="2650405"/>
                </a:lnTo>
                <a:lnTo>
                  <a:pt x="6939983" y="2650405"/>
                </a:lnTo>
                <a:lnTo>
                  <a:pt x="6935964" y="2646366"/>
                </a:lnTo>
                <a:lnTo>
                  <a:pt x="6935964" y="2636496"/>
                </a:lnTo>
                <a:close/>
                <a:moveTo>
                  <a:pt x="6700670" y="2632457"/>
                </a:moveTo>
                <a:lnTo>
                  <a:pt x="6710581" y="2632457"/>
                </a:lnTo>
                <a:lnTo>
                  <a:pt x="6714600" y="2636496"/>
                </a:lnTo>
                <a:lnTo>
                  <a:pt x="6714600" y="2646366"/>
                </a:lnTo>
                <a:lnTo>
                  <a:pt x="6710581" y="2650405"/>
                </a:lnTo>
                <a:lnTo>
                  <a:pt x="6700670" y="2650405"/>
                </a:lnTo>
                <a:lnTo>
                  <a:pt x="6696651" y="2646366"/>
                </a:lnTo>
                <a:lnTo>
                  <a:pt x="6696651" y="2636496"/>
                </a:lnTo>
                <a:close/>
                <a:moveTo>
                  <a:pt x="6461356" y="2632457"/>
                </a:moveTo>
                <a:lnTo>
                  <a:pt x="6471266" y="2632457"/>
                </a:lnTo>
                <a:lnTo>
                  <a:pt x="6475285" y="2636496"/>
                </a:lnTo>
                <a:lnTo>
                  <a:pt x="6475285" y="2646366"/>
                </a:lnTo>
                <a:lnTo>
                  <a:pt x="6471266" y="2650405"/>
                </a:lnTo>
                <a:lnTo>
                  <a:pt x="6461356" y="2650405"/>
                </a:lnTo>
                <a:lnTo>
                  <a:pt x="6457337" y="2646366"/>
                </a:lnTo>
                <a:lnTo>
                  <a:pt x="6457337" y="2636496"/>
                </a:lnTo>
                <a:close/>
                <a:moveTo>
                  <a:pt x="6222042" y="2632457"/>
                </a:moveTo>
                <a:lnTo>
                  <a:pt x="6231952" y="2632457"/>
                </a:lnTo>
                <a:lnTo>
                  <a:pt x="6235971" y="2636496"/>
                </a:lnTo>
                <a:lnTo>
                  <a:pt x="6235971" y="2646366"/>
                </a:lnTo>
                <a:lnTo>
                  <a:pt x="6231952" y="2650405"/>
                </a:lnTo>
                <a:lnTo>
                  <a:pt x="6222042" y="2650405"/>
                </a:lnTo>
                <a:lnTo>
                  <a:pt x="6218023" y="2646366"/>
                </a:lnTo>
                <a:lnTo>
                  <a:pt x="6218023" y="2636496"/>
                </a:lnTo>
                <a:close/>
                <a:moveTo>
                  <a:pt x="5982729" y="2632457"/>
                </a:moveTo>
                <a:lnTo>
                  <a:pt x="5992639" y="2632457"/>
                </a:lnTo>
                <a:lnTo>
                  <a:pt x="5996658" y="2636496"/>
                </a:lnTo>
                <a:lnTo>
                  <a:pt x="5996658" y="2646366"/>
                </a:lnTo>
                <a:lnTo>
                  <a:pt x="5992639" y="2650405"/>
                </a:lnTo>
                <a:lnTo>
                  <a:pt x="5982729" y="2650405"/>
                </a:lnTo>
                <a:lnTo>
                  <a:pt x="5978710" y="2646366"/>
                </a:lnTo>
                <a:lnTo>
                  <a:pt x="5978710" y="2636496"/>
                </a:lnTo>
                <a:close/>
                <a:moveTo>
                  <a:pt x="5743412" y="2632457"/>
                </a:moveTo>
                <a:lnTo>
                  <a:pt x="5753323" y="2632457"/>
                </a:lnTo>
                <a:lnTo>
                  <a:pt x="5757342" y="2636496"/>
                </a:lnTo>
                <a:lnTo>
                  <a:pt x="5757342" y="2646366"/>
                </a:lnTo>
                <a:lnTo>
                  <a:pt x="5753323" y="2650405"/>
                </a:lnTo>
                <a:lnTo>
                  <a:pt x="5743412" y="2650405"/>
                </a:lnTo>
                <a:lnTo>
                  <a:pt x="5739393" y="2646366"/>
                </a:lnTo>
                <a:lnTo>
                  <a:pt x="5739393" y="2636496"/>
                </a:lnTo>
                <a:close/>
                <a:moveTo>
                  <a:pt x="5504099" y="2632457"/>
                </a:moveTo>
                <a:lnTo>
                  <a:pt x="5514010" y="2632457"/>
                </a:lnTo>
                <a:lnTo>
                  <a:pt x="5518029" y="2636496"/>
                </a:lnTo>
                <a:lnTo>
                  <a:pt x="5518029" y="2646366"/>
                </a:lnTo>
                <a:lnTo>
                  <a:pt x="5514010" y="2650405"/>
                </a:lnTo>
                <a:lnTo>
                  <a:pt x="5504099" y="2650405"/>
                </a:lnTo>
                <a:lnTo>
                  <a:pt x="5500080" y="2646366"/>
                </a:lnTo>
                <a:lnTo>
                  <a:pt x="5500080" y="2636496"/>
                </a:lnTo>
                <a:close/>
                <a:moveTo>
                  <a:pt x="5264784" y="2632457"/>
                </a:moveTo>
                <a:lnTo>
                  <a:pt x="5274694" y="2632457"/>
                </a:lnTo>
                <a:lnTo>
                  <a:pt x="5278713" y="2636496"/>
                </a:lnTo>
                <a:lnTo>
                  <a:pt x="5278713" y="2646366"/>
                </a:lnTo>
                <a:lnTo>
                  <a:pt x="5274694" y="2650405"/>
                </a:lnTo>
                <a:lnTo>
                  <a:pt x="5264784" y="2650405"/>
                </a:lnTo>
                <a:lnTo>
                  <a:pt x="5260765" y="2646366"/>
                </a:lnTo>
                <a:lnTo>
                  <a:pt x="5260765" y="2636496"/>
                </a:lnTo>
                <a:close/>
                <a:moveTo>
                  <a:pt x="5025470" y="2632457"/>
                </a:moveTo>
                <a:lnTo>
                  <a:pt x="5035381" y="2632457"/>
                </a:lnTo>
                <a:lnTo>
                  <a:pt x="5039400" y="2636496"/>
                </a:lnTo>
                <a:lnTo>
                  <a:pt x="5039400" y="2646366"/>
                </a:lnTo>
                <a:lnTo>
                  <a:pt x="5035381" y="2650405"/>
                </a:lnTo>
                <a:lnTo>
                  <a:pt x="5025470" y="2650405"/>
                </a:lnTo>
                <a:lnTo>
                  <a:pt x="5021451" y="2646366"/>
                </a:lnTo>
                <a:lnTo>
                  <a:pt x="5021451" y="2636496"/>
                </a:lnTo>
                <a:close/>
                <a:moveTo>
                  <a:pt x="4786241" y="2632457"/>
                </a:moveTo>
                <a:lnTo>
                  <a:pt x="4796152" y="2632457"/>
                </a:lnTo>
                <a:lnTo>
                  <a:pt x="4800171" y="2636496"/>
                </a:lnTo>
                <a:lnTo>
                  <a:pt x="4800171" y="2646366"/>
                </a:lnTo>
                <a:lnTo>
                  <a:pt x="4796152" y="2650405"/>
                </a:lnTo>
                <a:lnTo>
                  <a:pt x="4786241" y="2650405"/>
                </a:lnTo>
                <a:lnTo>
                  <a:pt x="4782224" y="2646366"/>
                </a:lnTo>
                <a:lnTo>
                  <a:pt x="4782224" y="2636496"/>
                </a:lnTo>
                <a:close/>
                <a:moveTo>
                  <a:pt x="4546929" y="2632457"/>
                </a:moveTo>
                <a:lnTo>
                  <a:pt x="4556840" y="2632457"/>
                </a:lnTo>
                <a:lnTo>
                  <a:pt x="4560859" y="2636496"/>
                </a:lnTo>
                <a:lnTo>
                  <a:pt x="4560859" y="2646366"/>
                </a:lnTo>
                <a:lnTo>
                  <a:pt x="4556840" y="2650405"/>
                </a:lnTo>
                <a:lnTo>
                  <a:pt x="4546929" y="2650405"/>
                </a:lnTo>
                <a:lnTo>
                  <a:pt x="4542910" y="2646366"/>
                </a:lnTo>
                <a:lnTo>
                  <a:pt x="4542910" y="2636496"/>
                </a:lnTo>
                <a:close/>
                <a:moveTo>
                  <a:pt x="4307612" y="2632457"/>
                </a:moveTo>
                <a:lnTo>
                  <a:pt x="4317523" y="2632457"/>
                </a:lnTo>
                <a:lnTo>
                  <a:pt x="4321543" y="2636496"/>
                </a:lnTo>
                <a:lnTo>
                  <a:pt x="4321543" y="2646366"/>
                </a:lnTo>
                <a:lnTo>
                  <a:pt x="4317523" y="2650405"/>
                </a:lnTo>
                <a:lnTo>
                  <a:pt x="4307612" y="2650405"/>
                </a:lnTo>
                <a:lnTo>
                  <a:pt x="4303595" y="2646366"/>
                </a:lnTo>
                <a:lnTo>
                  <a:pt x="4303595" y="2636496"/>
                </a:lnTo>
                <a:close/>
                <a:moveTo>
                  <a:pt x="4068297" y="2632457"/>
                </a:moveTo>
                <a:lnTo>
                  <a:pt x="4078210" y="2632457"/>
                </a:lnTo>
                <a:lnTo>
                  <a:pt x="4082229" y="2636496"/>
                </a:lnTo>
                <a:lnTo>
                  <a:pt x="4082229" y="2646366"/>
                </a:lnTo>
                <a:lnTo>
                  <a:pt x="4078210" y="2650405"/>
                </a:lnTo>
                <a:lnTo>
                  <a:pt x="4068297" y="2650405"/>
                </a:lnTo>
                <a:lnTo>
                  <a:pt x="4064278" y="2646366"/>
                </a:lnTo>
                <a:lnTo>
                  <a:pt x="4064278" y="2636496"/>
                </a:lnTo>
                <a:close/>
                <a:moveTo>
                  <a:pt x="3828990" y="2632457"/>
                </a:moveTo>
                <a:lnTo>
                  <a:pt x="3838899" y="2632457"/>
                </a:lnTo>
                <a:lnTo>
                  <a:pt x="3842917" y="2636496"/>
                </a:lnTo>
                <a:lnTo>
                  <a:pt x="3842917" y="2646366"/>
                </a:lnTo>
                <a:lnTo>
                  <a:pt x="3838899" y="2650405"/>
                </a:lnTo>
                <a:lnTo>
                  <a:pt x="3828990" y="2650405"/>
                </a:lnTo>
                <a:lnTo>
                  <a:pt x="3824971" y="2646366"/>
                </a:lnTo>
                <a:lnTo>
                  <a:pt x="3824971" y="2636496"/>
                </a:lnTo>
                <a:close/>
                <a:moveTo>
                  <a:pt x="3589676" y="2632457"/>
                </a:moveTo>
                <a:lnTo>
                  <a:pt x="3599585" y="2632457"/>
                </a:lnTo>
                <a:lnTo>
                  <a:pt x="3603604" y="2636496"/>
                </a:lnTo>
                <a:lnTo>
                  <a:pt x="3603604" y="2646366"/>
                </a:lnTo>
                <a:lnTo>
                  <a:pt x="3599585" y="2650405"/>
                </a:lnTo>
                <a:lnTo>
                  <a:pt x="3589676" y="2650405"/>
                </a:lnTo>
                <a:lnTo>
                  <a:pt x="3585657" y="2646366"/>
                </a:lnTo>
                <a:lnTo>
                  <a:pt x="3585657" y="2636496"/>
                </a:lnTo>
                <a:close/>
                <a:moveTo>
                  <a:pt x="3350359" y="2632457"/>
                </a:moveTo>
                <a:lnTo>
                  <a:pt x="3360268" y="2632457"/>
                </a:lnTo>
                <a:lnTo>
                  <a:pt x="3364287" y="2636496"/>
                </a:lnTo>
                <a:lnTo>
                  <a:pt x="3364287" y="2646366"/>
                </a:lnTo>
                <a:lnTo>
                  <a:pt x="3360268" y="2650405"/>
                </a:lnTo>
                <a:lnTo>
                  <a:pt x="3350359" y="2650405"/>
                </a:lnTo>
                <a:lnTo>
                  <a:pt x="3346340" y="2646366"/>
                </a:lnTo>
                <a:lnTo>
                  <a:pt x="3346340" y="2636496"/>
                </a:lnTo>
                <a:close/>
                <a:moveTo>
                  <a:pt x="3111048" y="2632457"/>
                </a:moveTo>
                <a:lnTo>
                  <a:pt x="3120959" y="2632457"/>
                </a:lnTo>
                <a:lnTo>
                  <a:pt x="3124977" y="2636496"/>
                </a:lnTo>
                <a:lnTo>
                  <a:pt x="3124977" y="2646366"/>
                </a:lnTo>
                <a:lnTo>
                  <a:pt x="3120959" y="2650405"/>
                </a:lnTo>
                <a:lnTo>
                  <a:pt x="3111048" y="2650405"/>
                </a:lnTo>
                <a:lnTo>
                  <a:pt x="3107029" y="2646366"/>
                </a:lnTo>
                <a:lnTo>
                  <a:pt x="3107029" y="2636496"/>
                </a:lnTo>
                <a:close/>
                <a:moveTo>
                  <a:pt x="2871737" y="2632457"/>
                </a:moveTo>
                <a:lnTo>
                  <a:pt x="2881646" y="2632457"/>
                </a:lnTo>
                <a:lnTo>
                  <a:pt x="2885666" y="2636496"/>
                </a:lnTo>
                <a:lnTo>
                  <a:pt x="2885666" y="2646366"/>
                </a:lnTo>
                <a:lnTo>
                  <a:pt x="2881646" y="2650405"/>
                </a:lnTo>
                <a:lnTo>
                  <a:pt x="2871737" y="2650405"/>
                </a:lnTo>
                <a:lnTo>
                  <a:pt x="2867717" y="2646366"/>
                </a:lnTo>
                <a:lnTo>
                  <a:pt x="2867717" y="2636496"/>
                </a:lnTo>
                <a:close/>
                <a:moveTo>
                  <a:pt x="2632423" y="2632457"/>
                </a:moveTo>
                <a:lnTo>
                  <a:pt x="2642334" y="2632457"/>
                </a:lnTo>
                <a:lnTo>
                  <a:pt x="2646352" y="2636496"/>
                </a:lnTo>
                <a:lnTo>
                  <a:pt x="2646352" y="2646366"/>
                </a:lnTo>
                <a:lnTo>
                  <a:pt x="2642334" y="2650405"/>
                </a:lnTo>
                <a:lnTo>
                  <a:pt x="2632423" y="2650405"/>
                </a:lnTo>
                <a:lnTo>
                  <a:pt x="2628404" y="2646366"/>
                </a:lnTo>
                <a:lnTo>
                  <a:pt x="2628404" y="2636496"/>
                </a:lnTo>
                <a:close/>
                <a:moveTo>
                  <a:pt x="2393104" y="2632457"/>
                </a:moveTo>
                <a:lnTo>
                  <a:pt x="2403015" y="2632457"/>
                </a:lnTo>
                <a:lnTo>
                  <a:pt x="2407034" y="2636496"/>
                </a:lnTo>
                <a:lnTo>
                  <a:pt x="2407034" y="2646366"/>
                </a:lnTo>
                <a:lnTo>
                  <a:pt x="2403015" y="2650405"/>
                </a:lnTo>
                <a:lnTo>
                  <a:pt x="2393104" y="2650405"/>
                </a:lnTo>
                <a:lnTo>
                  <a:pt x="2389087" y="2646366"/>
                </a:lnTo>
                <a:lnTo>
                  <a:pt x="2389087" y="2636496"/>
                </a:lnTo>
                <a:close/>
                <a:moveTo>
                  <a:pt x="2157821" y="2632457"/>
                </a:moveTo>
                <a:lnTo>
                  <a:pt x="2167732" y="2632457"/>
                </a:lnTo>
                <a:lnTo>
                  <a:pt x="2171750" y="2636496"/>
                </a:lnTo>
                <a:lnTo>
                  <a:pt x="2171750" y="2646366"/>
                </a:lnTo>
                <a:lnTo>
                  <a:pt x="2167732" y="2650405"/>
                </a:lnTo>
                <a:lnTo>
                  <a:pt x="2157821" y="2650405"/>
                </a:lnTo>
                <a:lnTo>
                  <a:pt x="2153802" y="2646366"/>
                </a:lnTo>
                <a:lnTo>
                  <a:pt x="2153802" y="2636496"/>
                </a:lnTo>
                <a:close/>
                <a:moveTo>
                  <a:pt x="1918513" y="2632457"/>
                </a:moveTo>
                <a:lnTo>
                  <a:pt x="1928422" y="2632457"/>
                </a:lnTo>
                <a:lnTo>
                  <a:pt x="1932441" y="2636496"/>
                </a:lnTo>
                <a:lnTo>
                  <a:pt x="1932441" y="2646366"/>
                </a:lnTo>
                <a:lnTo>
                  <a:pt x="1928422" y="2650405"/>
                </a:lnTo>
                <a:lnTo>
                  <a:pt x="1918513" y="2650405"/>
                </a:lnTo>
                <a:lnTo>
                  <a:pt x="1914494" y="2646366"/>
                </a:lnTo>
                <a:lnTo>
                  <a:pt x="1914494" y="2636496"/>
                </a:lnTo>
                <a:close/>
                <a:moveTo>
                  <a:pt x="1679212" y="2632457"/>
                </a:moveTo>
                <a:lnTo>
                  <a:pt x="1689122" y="2632457"/>
                </a:lnTo>
                <a:lnTo>
                  <a:pt x="1693141" y="2636496"/>
                </a:lnTo>
                <a:lnTo>
                  <a:pt x="1693141" y="2646366"/>
                </a:lnTo>
                <a:lnTo>
                  <a:pt x="1689122" y="2650405"/>
                </a:lnTo>
                <a:lnTo>
                  <a:pt x="1679212" y="2650405"/>
                </a:lnTo>
                <a:lnTo>
                  <a:pt x="1675193" y="2646366"/>
                </a:lnTo>
                <a:lnTo>
                  <a:pt x="1675193" y="2636496"/>
                </a:lnTo>
                <a:close/>
                <a:moveTo>
                  <a:pt x="1439896" y="2632457"/>
                </a:moveTo>
                <a:lnTo>
                  <a:pt x="1449806" y="2632457"/>
                </a:lnTo>
                <a:lnTo>
                  <a:pt x="1453824" y="2636496"/>
                </a:lnTo>
                <a:lnTo>
                  <a:pt x="1453824" y="2646366"/>
                </a:lnTo>
                <a:lnTo>
                  <a:pt x="1449806" y="2650405"/>
                </a:lnTo>
                <a:lnTo>
                  <a:pt x="1439896" y="2650405"/>
                </a:lnTo>
                <a:lnTo>
                  <a:pt x="1435876" y="2646366"/>
                </a:lnTo>
                <a:lnTo>
                  <a:pt x="1435876" y="2636496"/>
                </a:lnTo>
                <a:close/>
                <a:moveTo>
                  <a:pt x="1200580" y="2632457"/>
                </a:moveTo>
                <a:lnTo>
                  <a:pt x="1210490" y="2632457"/>
                </a:lnTo>
                <a:lnTo>
                  <a:pt x="1214509" y="2636496"/>
                </a:lnTo>
                <a:lnTo>
                  <a:pt x="1214509" y="2646366"/>
                </a:lnTo>
                <a:lnTo>
                  <a:pt x="1210490" y="2650405"/>
                </a:lnTo>
                <a:lnTo>
                  <a:pt x="1200580" y="2650405"/>
                </a:lnTo>
                <a:lnTo>
                  <a:pt x="1196561" y="2646366"/>
                </a:lnTo>
                <a:lnTo>
                  <a:pt x="1196561" y="2636496"/>
                </a:lnTo>
                <a:close/>
                <a:moveTo>
                  <a:pt x="961267" y="2632457"/>
                </a:moveTo>
                <a:lnTo>
                  <a:pt x="971178" y="2632457"/>
                </a:lnTo>
                <a:lnTo>
                  <a:pt x="975196" y="2636496"/>
                </a:lnTo>
                <a:lnTo>
                  <a:pt x="975196" y="2646366"/>
                </a:lnTo>
                <a:lnTo>
                  <a:pt x="971178" y="2650405"/>
                </a:lnTo>
                <a:lnTo>
                  <a:pt x="961267" y="2650405"/>
                </a:lnTo>
                <a:lnTo>
                  <a:pt x="957249" y="2646366"/>
                </a:lnTo>
                <a:lnTo>
                  <a:pt x="957249" y="2636496"/>
                </a:lnTo>
                <a:close/>
                <a:moveTo>
                  <a:pt x="721970" y="2632457"/>
                </a:moveTo>
                <a:lnTo>
                  <a:pt x="731879" y="2632457"/>
                </a:lnTo>
                <a:lnTo>
                  <a:pt x="735898" y="2636496"/>
                </a:lnTo>
                <a:lnTo>
                  <a:pt x="735898" y="2646366"/>
                </a:lnTo>
                <a:lnTo>
                  <a:pt x="731879" y="2650405"/>
                </a:lnTo>
                <a:lnTo>
                  <a:pt x="721970" y="2650405"/>
                </a:lnTo>
                <a:lnTo>
                  <a:pt x="717951" y="2646366"/>
                </a:lnTo>
                <a:lnTo>
                  <a:pt x="717951" y="2636496"/>
                </a:lnTo>
                <a:close/>
                <a:moveTo>
                  <a:pt x="482657" y="2632457"/>
                </a:moveTo>
                <a:lnTo>
                  <a:pt x="492567" y="2632457"/>
                </a:lnTo>
                <a:lnTo>
                  <a:pt x="496586" y="2636496"/>
                </a:lnTo>
                <a:lnTo>
                  <a:pt x="496586" y="2646366"/>
                </a:lnTo>
                <a:lnTo>
                  <a:pt x="492567" y="2650405"/>
                </a:lnTo>
                <a:lnTo>
                  <a:pt x="482657" y="2650405"/>
                </a:lnTo>
                <a:lnTo>
                  <a:pt x="478638" y="2646366"/>
                </a:lnTo>
                <a:lnTo>
                  <a:pt x="478638" y="2636496"/>
                </a:lnTo>
                <a:close/>
                <a:moveTo>
                  <a:pt x="243344" y="2632457"/>
                </a:moveTo>
                <a:lnTo>
                  <a:pt x="253254" y="2632457"/>
                </a:lnTo>
                <a:lnTo>
                  <a:pt x="257273" y="2636496"/>
                </a:lnTo>
                <a:lnTo>
                  <a:pt x="257273" y="2646366"/>
                </a:lnTo>
                <a:lnTo>
                  <a:pt x="253254" y="2650405"/>
                </a:lnTo>
                <a:lnTo>
                  <a:pt x="243344" y="2650405"/>
                </a:lnTo>
                <a:lnTo>
                  <a:pt x="239325" y="2646366"/>
                </a:lnTo>
                <a:lnTo>
                  <a:pt x="239325" y="2636496"/>
                </a:lnTo>
                <a:close/>
                <a:moveTo>
                  <a:pt x="4030" y="2632457"/>
                </a:moveTo>
                <a:lnTo>
                  <a:pt x="13941" y="2632457"/>
                </a:lnTo>
                <a:lnTo>
                  <a:pt x="17960" y="2636496"/>
                </a:lnTo>
                <a:lnTo>
                  <a:pt x="17960" y="2646366"/>
                </a:lnTo>
                <a:lnTo>
                  <a:pt x="13941" y="2650405"/>
                </a:lnTo>
                <a:lnTo>
                  <a:pt x="4030" y="2650405"/>
                </a:lnTo>
                <a:lnTo>
                  <a:pt x="11" y="2646366"/>
                </a:lnTo>
                <a:lnTo>
                  <a:pt x="11" y="2636496"/>
                </a:lnTo>
                <a:close/>
                <a:moveTo>
                  <a:pt x="2157821" y="2393178"/>
                </a:moveTo>
                <a:lnTo>
                  <a:pt x="2167732" y="2393178"/>
                </a:lnTo>
                <a:lnTo>
                  <a:pt x="2171750" y="2397216"/>
                </a:lnTo>
                <a:lnTo>
                  <a:pt x="2171750" y="2407087"/>
                </a:lnTo>
                <a:lnTo>
                  <a:pt x="2167732" y="2411126"/>
                </a:lnTo>
                <a:lnTo>
                  <a:pt x="2157821" y="2411126"/>
                </a:lnTo>
                <a:lnTo>
                  <a:pt x="2153802" y="2407087"/>
                </a:lnTo>
                <a:lnTo>
                  <a:pt x="2153802" y="2397216"/>
                </a:lnTo>
                <a:close/>
                <a:moveTo>
                  <a:pt x="1918513" y="2393178"/>
                </a:moveTo>
                <a:lnTo>
                  <a:pt x="1928422" y="2393178"/>
                </a:lnTo>
                <a:lnTo>
                  <a:pt x="1932443" y="2397216"/>
                </a:lnTo>
                <a:lnTo>
                  <a:pt x="1932443" y="2407087"/>
                </a:lnTo>
                <a:lnTo>
                  <a:pt x="1928422" y="2411126"/>
                </a:lnTo>
                <a:lnTo>
                  <a:pt x="1918513" y="2411126"/>
                </a:lnTo>
                <a:lnTo>
                  <a:pt x="1914494" y="2407087"/>
                </a:lnTo>
                <a:lnTo>
                  <a:pt x="1914494" y="2397216"/>
                </a:lnTo>
                <a:close/>
                <a:moveTo>
                  <a:pt x="1679212" y="2393178"/>
                </a:moveTo>
                <a:lnTo>
                  <a:pt x="1689123" y="2393178"/>
                </a:lnTo>
                <a:lnTo>
                  <a:pt x="1693142" y="2397216"/>
                </a:lnTo>
                <a:lnTo>
                  <a:pt x="1693142" y="2407087"/>
                </a:lnTo>
                <a:lnTo>
                  <a:pt x="1689123" y="2411126"/>
                </a:lnTo>
                <a:lnTo>
                  <a:pt x="1679212" y="2411126"/>
                </a:lnTo>
                <a:lnTo>
                  <a:pt x="1675194" y="2407087"/>
                </a:lnTo>
                <a:lnTo>
                  <a:pt x="1675194" y="2397216"/>
                </a:lnTo>
                <a:close/>
                <a:moveTo>
                  <a:pt x="1439896" y="2393178"/>
                </a:moveTo>
                <a:lnTo>
                  <a:pt x="1449806" y="2393178"/>
                </a:lnTo>
                <a:lnTo>
                  <a:pt x="1453826" y="2397216"/>
                </a:lnTo>
                <a:lnTo>
                  <a:pt x="1453826" y="2407087"/>
                </a:lnTo>
                <a:lnTo>
                  <a:pt x="1449806" y="2411126"/>
                </a:lnTo>
                <a:lnTo>
                  <a:pt x="1439896" y="2411126"/>
                </a:lnTo>
                <a:lnTo>
                  <a:pt x="1435878" y="2407087"/>
                </a:lnTo>
                <a:lnTo>
                  <a:pt x="1435878" y="2397216"/>
                </a:lnTo>
                <a:close/>
                <a:moveTo>
                  <a:pt x="1200580" y="2393178"/>
                </a:moveTo>
                <a:lnTo>
                  <a:pt x="1210491" y="2393178"/>
                </a:lnTo>
                <a:lnTo>
                  <a:pt x="1214510" y="2397216"/>
                </a:lnTo>
                <a:lnTo>
                  <a:pt x="1214510" y="2407087"/>
                </a:lnTo>
                <a:lnTo>
                  <a:pt x="1210491" y="2411126"/>
                </a:lnTo>
                <a:lnTo>
                  <a:pt x="1200580" y="2411126"/>
                </a:lnTo>
                <a:lnTo>
                  <a:pt x="1196562" y="2407087"/>
                </a:lnTo>
                <a:lnTo>
                  <a:pt x="1196562" y="2397216"/>
                </a:lnTo>
                <a:close/>
                <a:moveTo>
                  <a:pt x="961268" y="2393178"/>
                </a:moveTo>
                <a:lnTo>
                  <a:pt x="971178" y="2393178"/>
                </a:lnTo>
                <a:lnTo>
                  <a:pt x="975196" y="2397216"/>
                </a:lnTo>
                <a:lnTo>
                  <a:pt x="975196" y="2407087"/>
                </a:lnTo>
                <a:lnTo>
                  <a:pt x="971178" y="2411126"/>
                </a:lnTo>
                <a:lnTo>
                  <a:pt x="961268" y="2411126"/>
                </a:lnTo>
                <a:lnTo>
                  <a:pt x="957249" y="2407087"/>
                </a:lnTo>
                <a:lnTo>
                  <a:pt x="957249" y="2397216"/>
                </a:lnTo>
                <a:close/>
                <a:moveTo>
                  <a:pt x="9572438" y="2393127"/>
                </a:moveTo>
                <a:lnTo>
                  <a:pt x="9582349" y="2393127"/>
                </a:lnTo>
                <a:lnTo>
                  <a:pt x="9586368" y="2397165"/>
                </a:lnTo>
                <a:lnTo>
                  <a:pt x="9586368" y="2407036"/>
                </a:lnTo>
                <a:lnTo>
                  <a:pt x="9582349" y="2411074"/>
                </a:lnTo>
                <a:lnTo>
                  <a:pt x="9572438" y="2411074"/>
                </a:lnTo>
                <a:lnTo>
                  <a:pt x="9568419" y="2407036"/>
                </a:lnTo>
                <a:lnTo>
                  <a:pt x="9568419" y="2397165"/>
                </a:lnTo>
                <a:close/>
                <a:moveTo>
                  <a:pt x="9333125" y="2393127"/>
                </a:moveTo>
                <a:lnTo>
                  <a:pt x="9343036" y="2393127"/>
                </a:lnTo>
                <a:lnTo>
                  <a:pt x="9347055" y="2397165"/>
                </a:lnTo>
                <a:lnTo>
                  <a:pt x="9347055" y="2407036"/>
                </a:lnTo>
                <a:lnTo>
                  <a:pt x="9343036" y="2411074"/>
                </a:lnTo>
                <a:lnTo>
                  <a:pt x="9333125" y="2411074"/>
                </a:lnTo>
                <a:lnTo>
                  <a:pt x="9329106" y="2407036"/>
                </a:lnTo>
                <a:lnTo>
                  <a:pt x="9329106" y="2397165"/>
                </a:lnTo>
                <a:close/>
                <a:moveTo>
                  <a:pt x="9093811" y="2393127"/>
                </a:moveTo>
                <a:lnTo>
                  <a:pt x="9103722" y="2393127"/>
                </a:lnTo>
                <a:lnTo>
                  <a:pt x="9107741" y="2397165"/>
                </a:lnTo>
                <a:lnTo>
                  <a:pt x="9107741" y="2407036"/>
                </a:lnTo>
                <a:lnTo>
                  <a:pt x="9103722" y="2411074"/>
                </a:lnTo>
                <a:lnTo>
                  <a:pt x="9093811" y="2411074"/>
                </a:lnTo>
                <a:lnTo>
                  <a:pt x="9089792" y="2407036"/>
                </a:lnTo>
                <a:lnTo>
                  <a:pt x="9089792" y="2397165"/>
                </a:lnTo>
                <a:close/>
                <a:moveTo>
                  <a:pt x="8854496" y="2393127"/>
                </a:moveTo>
                <a:lnTo>
                  <a:pt x="8864407" y="2393127"/>
                </a:lnTo>
                <a:lnTo>
                  <a:pt x="8868426" y="2397165"/>
                </a:lnTo>
                <a:lnTo>
                  <a:pt x="8868426" y="2407036"/>
                </a:lnTo>
                <a:lnTo>
                  <a:pt x="8864407" y="2411074"/>
                </a:lnTo>
                <a:lnTo>
                  <a:pt x="8854496" y="2411074"/>
                </a:lnTo>
                <a:lnTo>
                  <a:pt x="8850477" y="2407036"/>
                </a:lnTo>
                <a:lnTo>
                  <a:pt x="8850477" y="2397165"/>
                </a:lnTo>
                <a:close/>
                <a:moveTo>
                  <a:pt x="8615184" y="2393127"/>
                </a:moveTo>
                <a:lnTo>
                  <a:pt x="8625095" y="2393127"/>
                </a:lnTo>
                <a:lnTo>
                  <a:pt x="8629114" y="2397165"/>
                </a:lnTo>
                <a:lnTo>
                  <a:pt x="8629114" y="2407036"/>
                </a:lnTo>
                <a:lnTo>
                  <a:pt x="8625095" y="2411074"/>
                </a:lnTo>
                <a:lnTo>
                  <a:pt x="8615184" y="2411074"/>
                </a:lnTo>
                <a:lnTo>
                  <a:pt x="8611165" y="2407036"/>
                </a:lnTo>
                <a:lnTo>
                  <a:pt x="8611165" y="2397165"/>
                </a:lnTo>
                <a:close/>
                <a:moveTo>
                  <a:pt x="8375869" y="2393127"/>
                </a:moveTo>
                <a:lnTo>
                  <a:pt x="8385779" y="2393127"/>
                </a:lnTo>
                <a:lnTo>
                  <a:pt x="8389799" y="2397165"/>
                </a:lnTo>
                <a:lnTo>
                  <a:pt x="8389799" y="2407036"/>
                </a:lnTo>
                <a:lnTo>
                  <a:pt x="8385779" y="2411074"/>
                </a:lnTo>
                <a:lnTo>
                  <a:pt x="8375869" y="2411074"/>
                </a:lnTo>
                <a:lnTo>
                  <a:pt x="8371850" y="2407036"/>
                </a:lnTo>
                <a:lnTo>
                  <a:pt x="8371850" y="2397165"/>
                </a:lnTo>
                <a:close/>
                <a:moveTo>
                  <a:pt x="8136553" y="2393127"/>
                </a:moveTo>
                <a:lnTo>
                  <a:pt x="8146464" y="2393127"/>
                </a:lnTo>
                <a:lnTo>
                  <a:pt x="8150483" y="2397165"/>
                </a:lnTo>
                <a:lnTo>
                  <a:pt x="8150483" y="2407036"/>
                </a:lnTo>
                <a:lnTo>
                  <a:pt x="8146464" y="2411074"/>
                </a:lnTo>
                <a:lnTo>
                  <a:pt x="8136553" y="2411074"/>
                </a:lnTo>
                <a:lnTo>
                  <a:pt x="8132534" y="2407036"/>
                </a:lnTo>
                <a:lnTo>
                  <a:pt x="8132534" y="2397165"/>
                </a:lnTo>
                <a:close/>
                <a:moveTo>
                  <a:pt x="7897241" y="2393127"/>
                </a:moveTo>
                <a:lnTo>
                  <a:pt x="7907151" y="2393127"/>
                </a:lnTo>
                <a:lnTo>
                  <a:pt x="7911170" y="2397165"/>
                </a:lnTo>
                <a:lnTo>
                  <a:pt x="7911170" y="2407036"/>
                </a:lnTo>
                <a:lnTo>
                  <a:pt x="7907151" y="2411074"/>
                </a:lnTo>
                <a:lnTo>
                  <a:pt x="7897241" y="2411074"/>
                </a:lnTo>
                <a:lnTo>
                  <a:pt x="7893222" y="2407036"/>
                </a:lnTo>
                <a:lnTo>
                  <a:pt x="7893222" y="2397165"/>
                </a:lnTo>
                <a:close/>
                <a:moveTo>
                  <a:pt x="7657926" y="2393127"/>
                </a:moveTo>
                <a:lnTo>
                  <a:pt x="7667836" y="2393127"/>
                </a:lnTo>
                <a:lnTo>
                  <a:pt x="7671855" y="2397165"/>
                </a:lnTo>
                <a:lnTo>
                  <a:pt x="7671855" y="2407036"/>
                </a:lnTo>
                <a:lnTo>
                  <a:pt x="7667836" y="2411074"/>
                </a:lnTo>
                <a:lnTo>
                  <a:pt x="7657926" y="2411074"/>
                </a:lnTo>
                <a:lnTo>
                  <a:pt x="7653906" y="2407036"/>
                </a:lnTo>
                <a:lnTo>
                  <a:pt x="7653906" y="2397165"/>
                </a:lnTo>
                <a:close/>
                <a:moveTo>
                  <a:pt x="7418611" y="2393127"/>
                </a:moveTo>
                <a:lnTo>
                  <a:pt x="7428521" y="2393127"/>
                </a:lnTo>
                <a:lnTo>
                  <a:pt x="7432540" y="2397165"/>
                </a:lnTo>
                <a:lnTo>
                  <a:pt x="7432540" y="2407036"/>
                </a:lnTo>
                <a:lnTo>
                  <a:pt x="7428521" y="2411074"/>
                </a:lnTo>
                <a:lnTo>
                  <a:pt x="7418611" y="2411074"/>
                </a:lnTo>
                <a:lnTo>
                  <a:pt x="7414592" y="2407036"/>
                </a:lnTo>
                <a:lnTo>
                  <a:pt x="7414592" y="2397165"/>
                </a:lnTo>
                <a:close/>
                <a:moveTo>
                  <a:pt x="7179298" y="2393127"/>
                </a:moveTo>
                <a:lnTo>
                  <a:pt x="7189209" y="2393127"/>
                </a:lnTo>
                <a:lnTo>
                  <a:pt x="7193228" y="2397165"/>
                </a:lnTo>
                <a:lnTo>
                  <a:pt x="7193228" y="2407036"/>
                </a:lnTo>
                <a:lnTo>
                  <a:pt x="7189209" y="2411074"/>
                </a:lnTo>
                <a:lnTo>
                  <a:pt x="7179298" y="2411074"/>
                </a:lnTo>
                <a:lnTo>
                  <a:pt x="7175279" y="2407036"/>
                </a:lnTo>
                <a:lnTo>
                  <a:pt x="7175279" y="2397165"/>
                </a:lnTo>
                <a:close/>
                <a:moveTo>
                  <a:pt x="6939983" y="2393127"/>
                </a:moveTo>
                <a:lnTo>
                  <a:pt x="6949894" y="2393127"/>
                </a:lnTo>
                <a:lnTo>
                  <a:pt x="6953913" y="2397165"/>
                </a:lnTo>
                <a:lnTo>
                  <a:pt x="6953913" y="2407036"/>
                </a:lnTo>
                <a:lnTo>
                  <a:pt x="6949894" y="2411074"/>
                </a:lnTo>
                <a:lnTo>
                  <a:pt x="6939983" y="2411074"/>
                </a:lnTo>
                <a:lnTo>
                  <a:pt x="6935964" y="2407036"/>
                </a:lnTo>
                <a:lnTo>
                  <a:pt x="6935964" y="2397165"/>
                </a:lnTo>
                <a:close/>
                <a:moveTo>
                  <a:pt x="6700670" y="2393127"/>
                </a:moveTo>
                <a:lnTo>
                  <a:pt x="6710581" y="2393127"/>
                </a:lnTo>
                <a:lnTo>
                  <a:pt x="6714600" y="2397165"/>
                </a:lnTo>
                <a:lnTo>
                  <a:pt x="6714600" y="2407036"/>
                </a:lnTo>
                <a:lnTo>
                  <a:pt x="6710581" y="2411074"/>
                </a:lnTo>
                <a:lnTo>
                  <a:pt x="6700670" y="2411074"/>
                </a:lnTo>
                <a:lnTo>
                  <a:pt x="6696651" y="2407036"/>
                </a:lnTo>
                <a:lnTo>
                  <a:pt x="6696651" y="2397165"/>
                </a:lnTo>
                <a:close/>
                <a:moveTo>
                  <a:pt x="6461356" y="2393127"/>
                </a:moveTo>
                <a:lnTo>
                  <a:pt x="6471266" y="2393127"/>
                </a:lnTo>
                <a:lnTo>
                  <a:pt x="6475285" y="2397165"/>
                </a:lnTo>
                <a:lnTo>
                  <a:pt x="6475285" y="2407036"/>
                </a:lnTo>
                <a:lnTo>
                  <a:pt x="6471266" y="2411074"/>
                </a:lnTo>
                <a:lnTo>
                  <a:pt x="6461356" y="2411074"/>
                </a:lnTo>
                <a:lnTo>
                  <a:pt x="6457337" y="2407036"/>
                </a:lnTo>
                <a:lnTo>
                  <a:pt x="6457337" y="2397165"/>
                </a:lnTo>
                <a:close/>
                <a:moveTo>
                  <a:pt x="6222042" y="2393127"/>
                </a:moveTo>
                <a:lnTo>
                  <a:pt x="6231952" y="2393127"/>
                </a:lnTo>
                <a:lnTo>
                  <a:pt x="6235971" y="2397165"/>
                </a:lnTo>
                <a:lnTo>
                  <a:pt x="6235971" y="2407036"/>
                </a:lnTo>
                <a:lnTo>
                  <a:pt x="6231952" y="2411074"/>
                </a:lnTo>
                <a:lnTo>
                  <a:pt x="6222042" y="2411074"/>
                </a:lnTo>
                <a:lnTo>
                  <a:pt x="6218023" y="2407036"/>
                </a:lnTo>
                <a:lnTo>
                  <a:pt x="6218023" y="2397165"/>
                </a:lnTo>
                <a:close/>
                <a:moveTo>
                  <a:pt x="5982729" y="2393127"/>
                </a:moveTo>
                <a:lnTo>
                  <a:pt x="5992639" y="2393127"/>
                </a:lnTo>
                <a:lnTo>
                  <a:pt x="5996658" y="2397165"/>
                </a:lnTo>
                <a:lnTo>
                  <a:pt x="5996658" y="2407036"/>
                </a:lnTo>
                <a:lnTo>
                  <a:pt x="5992639" y="2411074"/>
                </a:lnTo>
                <a:lnTo>
                  <a:pt x="5982729" y="2411074"/>
                </a:lnTo>
                <a:lnTo>
                  <a:pt x="5978710" y="2407036"/>
                </a:lnTo>
                <a:lnTo>
                  <a:pt x="5978710" y="2397165"/>
                </a:lnTo>
                <a:close/>
                <a:moveTo>
                  <a:pt x="5743412" y="2393127"/>
                </a:moveTo>
                <a:lnTo>
                  <a:pt x="5753323" y="2393127"/>
                </a:lnTo>
                <a:lnTo>
                  <a:pt x="5757342" y="2397165"/>
                </a:lnTo>
                <a:lnTo>
                  <a:pt x="5757342" y="2407036"/>
                </a:lnTo>
                <a:lnTo>
                  <a:pt x="5753323" y="2411074"/>
                </a:lnTo>
                <a:lnTo>
                  <a:pt x="5743412" y="2411074"/>
                </a:lnTo>
                <a:lnTo>
                  <a:pt x="5739393" y="2407036"/>
                </a:lnTo>
                <a:lnTo>
                  <a:pt x="5739393" y="2397165"/>
                </a:lnTo>
                <a:close/>
                <a:moveTo>
                  <a:pt x="5504099" y="2393127"/>
                </a:moveTo>
                <a:lnTo>
                  <a:pt x="5514010" y="2393127"/>
                </a:lnTo>
                <a:lnTo>
                  <a:pt x="5518029" y="2397165"/>
                </a:lnTo>
                <a:lnTo>
                  <a:pt x="5518029" y="2407036"/>
                </a:lnTo>
                <a:lnTo>
                  <a:pt x="5514010" y="2411074"/>
                </a:lnTo>
                <a:lnTo>
                  <a:pt x="5504099" y="2411074"/>
                </a:lnTo>
                <a:lnTo>
                  <a:pt x="5500080" y="2407036"/>
                </a:lnTo>
                <a:lnTo>
                  <a:pt x="5500080" y="2397165"/>
                </a:lnTo>
                <a:close/>
                <a:moveTo>
                  <a:pt x="5264784" y="2393127"/>
                </a:moveTo>
                <a:lnTo>
                  <a:pt x="5274694" y="2393127"/>
                </a:lnTo>
                <a:lnTo>
                  <a:pt x="5278713" y="2397165"/>
                </a:lnTo>
                <a:lnTo>
                  <a:pt x="5278713" y="2407036"/>
                </a:lnTo>
                <a:lnTo>
                  <a:pt x="5274694" y="2411074"/>
                </a:lnTo>
                <a:lnTo>
                  <a:pt x="5264784" y="2411074"/>
                </a:lnTo>
                <a:lnTo>
                  <a:pt x="5260765" y="2407036"/>
                </a:lnTo>
                <a:lnTo>
                  <a:pt x="5260765" y="2397165"/>
                </a:lnTo>
                <a:close/>
                <a:moveTo>
                  <a:pt x="5025470" y="2393127"/>
                </a:moveTo>
                <a:lnTo>
                  <a:pt x="5035381" y="2393127"/>
                </a:lnTo>
                <a:lnTo>
                  <a:pt x="5039400" y="2397165"/>
                </a:lnTo>
                <a:lnTo>
                  <a:pt x="5039400" y="2407036"/>
                </a:lnTo>
                <a:lnTo>
                  <a:pt x="5035381" y="2411074"/>
                </a:lnTo>
                <a:lnTo>
                  <a:pt x="5025470" y="2411074"/>
                </a:lnTo>
                <a:lnTo>
                  <a:pt x="5021451" y="2407036"/>
                </a:lnTo>
                <a:lnTo>
                  <a:pt x="5021451" y="2397165"/>
                </a:lnTo>
                <a:close/>
                <a:moveTo>
                  <a:pt x="4786241" y="2393127"/>
                </a:moveTo>
                <a:lnTo>
                  <a:pt x="4796152" y="2393127"/>
                </a:lnTo>
                <a:lnTo>
                  <a:pt x="4800171" y="2397165"/>
                </a:lnTo>
                <a:lnTo>
                  <a:pt x="4800171" y="2407036"/>
                </a:lnTo>
                <a:lnTo>
                  <a:pt x="4796152" y="2411074"/>
                </a:lnTo>
                <a:lnTo>
                  <a:pt x="4786241" y="2411074"/>
                </a:lnTo>
                <a:lnTo>
                  <a:pt x="4782224" y="2407036"/>
                </a:lnTo>
                <a:lnTo>
                  <a:pt x="4782224" y="2397165"/>
                </a:lnTo>
                <a:close/>
                <a:moveTo>
                  <a:pt x="4546929" y="2393127"/>
                </a:moveTo>
                <a:lnTo>
                  <a:pt x="4556840" y="2393127"/>
                </a:lnTo>
                <a:lnTo>
                  <a:pt x="4560859" y="2397165"/>
                </a:lnTo>
                <a:lnTo>
                  <a:pt x="4560859" y="2407036"/>
                </a:lnTo>
                <a:lnTo>
                  <a:pt x="4556840" y="2411074"/>
                </a:lnTo>
                <a:lnTo>
                  <a:pt x="4546929" y="2411074"/>
                </a:lnTo>
                <a:lnTo>
                  <a:pt x="4542910" y="2407036"/>
                </a:lnTo>
                <a:lnTo>
                  <a:pt x="4542910" y="2397165"/>
                </a:lnTo>
                <a:close/>
                <a:moveTo>
                  <a:pt x="4307612" y="2393127"/>
                </a:moveTo>
                <a:lnTo>
                  <a:pt x="4317523" y="2393127"/>
                </a:lnTo>
                <a:lnTo>
                  <a:pt x="4321543" y="2397165"/>
                </a:lnTo>
                <a:lnTo>
                  <a:pt x="4321543" y="2407036"/>
                </a:lnTo>
                <a:lnTo>
                  <a:pt x="4317523" y="2411074"/>
                </a:lnTo>
                <a:lnTo>
                  <a:pt x="4307612" y="2411074"/>
                </a:lnTo>
                <a:lnTo>
                  <a:pt x="4303595" y="2407036"/>
                </a:lnTo>
                <a:lnTo>
                  <a:pt x="4303595" y="2397165"/>
                </a:lnTo>
                <a:close/>
                <a:moveTo>
                  <a:pt x="4068297" y="2393127"/>
                </a:moveTo>
                <a:lnTo>
                  <a:pt x="4078210" y="2393127"/>
                </a:lnTo>
                <a:lnTo>
                  <a:pt x="4082229" y="2397165"/>
                </a:lnTo>
                <a:lnTo>
                  <a:pt x="4082229" y="2407036"/>
                </a:lnTo>
                <a:lnTo>
                  <a:pt x="4078210" y="2411074"/>
                </a:lnTo>
                <a:lnTo>
                  <a:pt x="4068297" y="2411074"/>
                </a:lnTo>
                <a:lnTo>
                  <a:pt x="4064278" y="2407036"/>
                </a:lnTo>
                <a:lnTo>
                  <a:pt x="4064278" y="2397165"/>
                </a:lnTo>
                <a:close/>
                <a:moveTo>
                  <a:pt x="3828990" y="2393127"/>
                </a:moveTo>
                <a:lnTo>
                  <a:pt x="3838899" y="2393127"/>
                </a:lnTo>
                <a:lnTo>
                  <a:pt x="3842917" y="2397165"/>
                </a:lnTo>
                <a:lnTo>
                  <a:pt x="3842917" y="2407036"/>
                </a:lnTo>
                <a:lnTo>
                  <a:pt x="3838899" y="2411074"/>
                </a:lnTo>
                <a:lnTo>
                  <a:pt x="3828990" y="2411074"/>
                </a:lnTo>
                <a:lnTo>
                  <a:pt x="3824971" y="2407036"/>
                </a:lnTo>
                <a:lnTo>
                  <a:pt x="3824971" y="2397165"/>
                </a:lnTo>
                <a:close/>
                <a:moveTo>
                  <a:pt x="3589676" y="2393127"/>
                </a:moveTo>
                <a:lnTo>
                  <a:pt x="3599585" y="2393127"/>
                </a:lnTo>
                <a:lnTo>
                  <a:pt x="3603604" y="2397165"/>
                </a:lnTo>
                <a:lnTo>
                  <a:pt x="3603604" y="2407036"/>
                </a:lnTo>
                <a:lnTo>
                  <a:pt x="3599585" y="2411074"/>
                </a:lnTo>
                <a:lnTo>
                  <a:pt x="3589676" y="2411074"/>
                </a:lnTo>
                <a:lnTo>
                  <a:pt x="3585657" y="2407036"/>
                </a:lnTo>
                <a:lnTo>
                  <a:pt x="3585657" y="2397165"/>
                </a:lnTo>
                <a:close/>
                <a:moveTo>
                  <a:pt x="3350359" y="2393127"/>
                </a:moveTo>
                <a:lnTo>
                  <a:pt x="3360268" y="2393127"/>
                </a:lnTo>
                <a:lnTo>
                  <a:pt x="3364287" y="2397165"/>
                </a:lnTo>
                <a:lnTo>
                  <a:pt x="3364287" y="2407036"/>
                </a:lnTo>
                <a:lnTo>
                  <a:pt x="3360268" y="2411074"/>
                </a:lnTo>
                <a:lnTo>
                  <a:pt x="3350359" y="2411074"/>
                </a:lnTo>
                <a:lnTo>
                  <a:pt x="3346340" y="2407036"/>
                </a:lnTo>
                <a:lnTo>
                  <a:pt x="3346340" y="2397165"/>
                </a:lnTo>
                <a:close/>
                <a:moveTo>
                  <a:pt x="3111048" y="2393127"/>
                </a:moveTo>
                <a:lnTo>
                  <a:pt x="3120959" y="2393127"/>
                </a:lnTo>
                <a:lnTo>
                  <a:pt x="3124977" y="2397165"/>
                </a:lnTo>
                <a:lnTo>
                  <a:pt x="3124977" y="2407036"/>
                </a:lnTo>
                <a:lnTo>
                  <a:pt x="3120959" y="2411074"/>
                </a:lnTo>
                <a:lnTo>
                  <a:pt x="3111048" y="2411074"/>
                </a:lnTo>
                <a:lnTo>
                  <a:pt x="3107029" y="2407036"/>
                </a:lnTo>
                <a:lnTo>
                  <a:pt x="3107029" y="2397165"/>
                </a:lnTo>
                <a:close/>
                <a:moveTo>
                  <a:pt x="2871737" y="2393127"/>
                </a:moveTo>
                <a:lnTo>
                  <a:pt x="2881646" y="2393127"/>
                </a:lnTo>
                <a:lnTo>
                  <a:pt x="2885666" y="2397165"/>
                </a:lnTo>
                <a:lnTo>
                  <a:pt x="2885666" y="2407036"/>
                </a:lnTo>
                <a:lnTo>
                  <a:pt x="2881646" y="2411074"/>
                </a:lnTo>
                <a:lnTo>
                  <a:pt x="2871737" y="2411074"/>
                </a:lnTo>
                <a:lnTo>
                  <a:pt x="2867717" y="2407036"/>
                </a:lnTo>
                <a:lnTo>
                  <a:pt x="2867717" y="2397165"/>
                </a:lnTo>
                <a:close/>
                <a:moveTo>
                  <a:pt x="2632423" y="2393127"/>
                </a:moveTo>
                <a:lnTo>
                  <a:pt x="2642334" y="2393127"/>
                </a:lnTo>
                <a:lnTo>
                  <a:pt x="2646352" y="2397165"/>
                </a:lnTo>
                <a:lnTo>
                  <a:pt x="2646352" y="2407036"/>
                </a:lnTo>
                <a:lnTo>
                  <a:pt x="2642334" y="2411074"/>
                </a:lnTo>
                <a:lnTo>
                  <a:pt x="2632423" y="2411074"/>
                </a:lnTo>
                <a:lnTo>
                  <a:pt x="2628404" y="2407036"/>
                </a:lnTo>
                <a:lnTo>
                  <a:pt x="2628404" y="2397165"/>
                </a:lnTo>
                <a:close/>
                <a:moveTo>
                  <a:pt x="2393104" y="2393127"/>
                </a:moveTo>
                <a:lnTo>
                  <a:pt x="2403015" y="2393127"/>
                </a:lnTo>
                <a:lnTo>
                  <a:pt x="2407034" y="2397165"/>
                </a:lnTo>
                <a:lnTo>
                  <a:pt x="2407034" y="2407036"/>
                </a:lnTo>
                <a:lnTo>
                  <a:pt x="2403015" y="2411074"/>
                </a:lnTo>
                <a:lnTo>
                  <a:pt x="2393104" y="2411074"/>
                </a:lnTo>
                <a:lnTo>
                  <a:pt x="2389087" y="2407036"/>
                </a:lnTo>
                <a:lnTo>
                  <a:pt x="2389087" y="2397165"/>
                </a:lnTo>
                <a:close/>
                <a:moveTo>
                  <a:pt x="721970" y="2393127"/>
                </a:moveTo>
                <a:lnTo>
                  <a:pt x="731881" y="2393127"/>
                </a:lnTo>
                <a:lnTo>
                  <a:pt x="735899" y="2397165"/>
                </a:lnTo>
                <a:lnTo>
                  <a:pt x="735899" y="2407036"/>
                </a:lnTo>
                <a:lnTo>
                  <a:pt x="731881" y="2411074"/>
                </a:lnTo>
                <a:lnTo>
                  <a:pt x="721970" y="2411074"/>
                </a:lnTo>
                <a:lnTo>
                  <a:pt x="717951" y="2407036"/>
                </a:lnTo>
                <a:lnTo>
                  <a:pt x="717951" y="2397165"/>
                </a:lnTo>
                <a:close/>
                <a:moveTo>
                  <a:pt x="482658" y="2393127"/>
                </a:moveTo>
                <a:lnTo>
                  <a:pt x="492568" y="2393127"/>
                </a:lnTo>
                <a:lnTo>
                  <a:pt x="496588" y="2397165"/>
                </a:lnTo>
                <a:lnTo>
                  <a:pt x="496588" y="2407036"/>
                </a:lnTo>
                <a:lnTo>
                  <a:pt x="492568" y="2411074"/>
                </a:lnTo>
                <a:lnTo>
                  <a:pt x="482658" y="2411074"/>
                </a:lnTo>
                <a:lnTo>
                  <a:pt x="478639" y="2407036"/>
                </a:lnTo>
                <a:lnTo>
                  <a:pt x="478639" y="2397165"/>
                </a:lnTo>
                <a:close/>
                <a:moveTo>
                  <a:pt x="243344" y="2393127"/>
                </a:moveTo>
                <a:lnTo>
                  <a:pt x="253255" y="2393127"/>
                </a:lnTo>
                <a:lnTo>
                  <a:pt x="257274" y="2397165"/>
                </a:lnTo>
                <a:lnTo>
                  <a:pt x="257274" y="2407036"/>
                </a:lnTo>
                <a:lnTo>
                  <a:pt x="253255" y="2411074"/>
                </a:lnTo>
                <a:lnTo>
                  <a:pt x="243344" y="2411074"/>
                </a:lnTo>
                <a:lnTo>
                  <a:pt x="239325" y="2407036"/>
                </a:lnTo>
                <a:lnTo>
                  <a:pt x="239325" y="2397165"/>
                </a:lnTo>
                <a:close/>
                <a:moveTo>
                  <a:pt x="4031" y="2393127"/>
                </a:moveTo>
                <a:lnTo>
                  <a:pt x="13941" y="2393127"/>
                </a:lnTo>
                <a:lnTo>
                  <a:pt x="17961" y="2397165"/>
                </a:lnTo>
                <a:lnTo>
                  <a:pt x="17961" y="2407036"/>
                </a:lnTo>
                <a:lnTo>
                  <a:pt x="13941" y="2411074"/>
                </a:lnTo>
                <a:lnTo>
                  <a:pt x="4031" y="2411074"/>
                </a:lnTo>
                <a:lnTo>
                  <a:pt x="12" y="2407036"/>
                </a:lnTo>
                <a:lnTo>
                  <a:pt x="12" y="2397165"/>
                </a:lnTo>
                <a:close/>
                <a:moveTo>
                  <a:pt x="3111048" y="2153996"/>
                </a:moveTo>
                <a:lnTo>
                  <a:pt x="3120959" y="2153996"/>
                </a:lnTo>
                <a:lnTo>
                  <a:pt x="3124977" y="2158034"/>
                </a:lnTo>
                <a:lnTo>
                  <a:pt x="3124977" y="2167907"/>
                </a:lnTo>
                <a:lnTo>
                  <a:pt x="3120959" y="2171946"/>
                </a:lnTo>
                <a:lnTo>
                  <a:pt x="3111048" y="2171946"/>
                </a:lnTo>
                <a:lnTo>
                  <a:pt x="3107029" y="2167907"/>
                </a:lnTo>
                <a:lnTo>
                  <a:pt x="3107029" y="2158034"/>
                </a:lnTo>
                <a:close/>
                <a:moveTo>
                  <a:pt x="2871737" y="2153996"/>
                </a:moveTo>
                <a:lnTo>
                  <a:pt x="2881646" y="2153996"/>
                </a:lnTo>
                <a:lnTo>
                  <a:pt x="2885666" y="2158034"/>
                </a:lnTo>
                <a:lnTo>
                  <a:pt x="2885666" y="2167907"/>
                </a:lnTo>
                <a:lnTo>
                  <a:pt x="2881646" y="2171946"/>
                </a:lnTo>
                <a:lnTo>
                  <a:pt x="2871737" y="2171946"/>
                </a:lnTo>
                <a:lnTo>
                  <a:pt x="2867717" y="2167907"/>
                </a:lnTo>
                <a:lnTo>
                  <a:pt x="2867717" y="2158034"/>
                </a:lnTo>
                <a:close/>
                <a:moveTo>
                  <a:pt x="2632423" y="2153996"/>
                </a:moveTo>
                <a:lnTo>
                  <a:pt x="2642334" y="2153996"/>
                </a:lnTo>
                <a:lnTo>
                  <a:pt x="2646352" y="2158034"/>
                </a:lnTo>
                <a:lnTo>
                  <a:pt x="2646352" y="2167907"/>
                </a:lnTo>
                <a:lnTo>
                  <a:pt x="2642334" y="2171947"/>
                </a:lnTo>
                <a:lnTo>
                  <a:pt x="2632423" y="2171947"/>
                </a:lnTo>
                <a:lnTo>
                  <a:pt x="2628404" y="2167907"/>
                </a:lnTo>
                <a:lnTo>
                  <a:pt x="2628404" y="2158034"/>
                </a:lnTo>
                <a:close/>
                <a:moveTo>
                  <a:pt x="2393104" y="2153996"/>
                </a:moveTo>
                <a:lnTo>
                  <a:pt x="2403015" y="2153996"/>
                </a:lnTo>
                <a:lnTo>
                  <a:pt x="2407034" y="2158034"/>
                </a:lnTo>
                <a:lnTo>
                  <a:pt x="2407034" y="2167907"/>
                </a:lnTo>
                <a:lnTo>
                  <a:pt x="2403015" y="2171947"/>
                </a:lnTo>
                <a:lnTo>
                  <a:pt x="2393104" y="2171947"/>
                </a:lnTo>
                <a:lnTo>
                  <a:pt x="2389087" y="2167907"/>
                </a:lnTo>
                <a:lnTo>
                  <a:pt x="2389087" y="2158034"/>
                </a:lnTo>
                <a:close/>
                <a:moveTo>
                  <a:pt x="3350359" y="2153995"/>
                </a:moveTo>
                <a:lnTo>
                  <a:pt x="3360268" y="2153995"/>
                </a:lnTo>
                <a:lnTo>
                  <a:pt x="3364287" y="2158034"/>
                </a:lnTo>
                <a:lnTo>
                  <a:pt x="3364287" y="2167907"/>
                </a:lnTo>
                <a:lnTo>
                  <a:pt x="3360268" y="2171946"/>
                </a:lnTo>
                <a:lnTo>
                  <a:pt x="3350359" y="2171946"/>
                </a:lnTo>
                <a:lnTo>
                  <a:pt x="3346340" y="2167907"/>
                </a:lnTo>
                <a:lnTo>
                  <a:pt x="3346340" y="2158034"/>
                </a:lnTo>
                <a:close/>
                <a:moveTo>
                  <a:pt x="4546929" y="2153976"/>
                </a:moveTo>
                <a:lnTo>
                  <a:pt x="4556840" y="2153976"/>
                </a:lnTo>
                <a:lnTo>
                  <a:pt x="4560859" y="2158014"/>
                </a:lnTo>
                <a:lnTo>
                  <a:pt x="4560859" y="2167886"/>
                </a:lnTo>
                <a:lnTo>
                  <a:pt x="4556840" y="2171926"/>
                </a:lnTo>
                <a:lnTo>
                  <a:pt x="4546929" y="2171926"/>
                </a:lnTo>
                <a:lnTo>
                  <a:pt x="4542910" y="2167886"/>
                </a:lnTo>
                <a:lnTo>
                  <a:pt x="4542910" y="2158014"/>
                </a:lnTo>
                <a:close/>
                <a:moveTo>
                  <a:pt x="4307612" y="2153976"/>
                </a:moveTo>
                <a:lnTo>
                  <a:pt x="4317523" y="2153976"/>
                </a:lnTo>
                <a:lnTo>
                  <a:pt x="4321543" y="2158014"/>
                </a:lnTo>
                <a:lnTo>
                  <a:pt x="4321543" y="2167887"/>
                </a:lnTo>
                <a:lnTo>
                  <a:pt x="4317523" y="2171926"/>
                </a:lnTo>
                <a:lnTo>
                  <a:pt x="4307612" y="2171926"/>
                </a:lnTo>
                <a:lnTo>
                  <a:pt x="4303595" y="2167887"/>
                </a:lnTo>
                <a:lnTo>
                  <a:pt x="4303595" y="2158014"/>
                </a:lnTo>
                <a:close/>
                <a:moveTo>
                  <a:pt x="4068297" y="2153976"/>
                </a:moveTo>
                <a:lnTo>
                  <a:pt x="4078210" y="2153976"/>
                </a:lnTo>
                <a:lnTo>
                  <a:pt x="4082229" y="2158014"/>
                </a:lnTo>
                <a:lnTo>
                  <a:pt x="4082229" y="2167887"/>
                </a:lnTo>
                <a:lnTo>
                  <a:pt x="4078210" y="2171926"/>
                </a:lnTo>
                <a:lnTo>
                  <a:pt x="4068297" y="2171926"/>
                </a:lnTo>
                <a:lnTo>
                  <a:pt x="4064278" y="2167887"/>
                </a:lnTo>
                <a:lnTo>
                  <a:pt x="4064278" y="2158014"/>
                </a:lnTo>
                <a:close/>
                <a:moveTo>
                  <a:pt x="3828990" y="2153976"/>
                </a:moveTo>
                <a:lnTo>
                  <a:pt x="3838899" y="2153976"/>
                </a:lnTo>
                <a:lnTo>
                  <a:pt x="3842917" y="2158014"/>
                </a:lnTo>
                <a:lnTo>
                  <a:pt x="3842917" y="2167887"/>
                </a:lnTo>
                <a:lnTo>
                  <a:pt x="3838899" y="2171926"/>
                </a:lnTo>
                <a:lnTo>
                  <a:pt x="3828990" y="2171926"/>
                </a:lnTo>
                <a:lnTo>
                  <a:pt x="3824971" y="2167887"/>
                </a:lnTo>
                <a:lnTo>
                  <a:pt x="3824971" y="2158014"/>
                </a:lnTo>
                <a:close/>
                <a:moveTo>
                  <a:pt x="3589676" y="2153976"/>
                </a:moveTo>
                <a:lnTo>
                  <a:pt x="3599585" y="2153976"/>
                </a:lnTo>
                <a:lnTo>
                  <a:pt x="3603604" y="2158014"/>
                </a:lnTo>
                <a:lnTo>
                  <a:pt x="3603604" y="2167887"/>
                </a:lnTo>
                <a:lnTo>
                  <a:pt x="3599585" y="2171926"/>
                </a:lnTo>
                <a:lnTo>
                  <a:pt x="3589676" y="2171926"/>
                </a:lnTo>
                <a:lnTo>
                  <a:pt x="3585657" y="2167887"/>
                </a:lnTo>
                <a:lnTo>
                  <a:pt x="3585657" y="2158014"/>
                </a:lnTo>
                <a:close/>
                <a:moveTo>
                  <a:pt x="5504099" y="2153956"/>
                </a:moveTo>
                <a:lnTo>
                  <a:pt x="5514010" y="2153956"/>
                </a:lnTo>
                <a:lnTo>
                  <a:pt x="5518029" y="2157994"/>
                </a:lnTo>
                <a:lnTo>
                  <a:pt x="5518029" y="2167867"/>
                </a:lnTo>
                <a:lnTo>
                  <a:pt x="5514010" y="2171905"/>
                </a:lnTo>
                <a:lnTo>
                  <a:pt x="5504099" y="2171905"/>
                </a:lnTo>
                <a:lnTo>
                  <a:pt x="5500080" y="2167867"/>
                </a:lnTo>
                <a:lnTo>
                  <a:pt x="5500080" y="2157994"/>
                </a:lnTo>
                <a:close/>
                <a:moveTo>
                  <a:pt x="5264784" y="2153956"/>
                </a:moveTo>
                <a:lnTo>
                  <a:pt x="5274694" y="2153956"/>
                </a:lnTo>
                <a:lnTo>
                  <a:pt x="5278713" y="2157994"/>
                </a:lnTo>
                <a:lnTo>
                  <a:pt x="5278713" y="2167867"/>
                </a:lnTo>
                <a:lnTo>
                  <a:pt x="5274694" y="2171905"/>
                </a:lnTo>
                <a:lnTo>
                  <a:pt x="5264784" y="2171905"/>
                </a:lnTo>
                <a:lnTo>
                  <a:pt x="5260765" y="2167867"/>
                </a:lnTo>
                <a:lnTo>
                  <a:pt x="5260765" y="2157994"/>
                </a:lnTo>
                <a:close/>
                <a:moveTo>
                  <a:pt x="5025470" y="2153956"/>
                </a:moveTo>
                <a:lnTo>
                  <a:pt x="5035381" y="2153956"/>
                </a:lnTo>
                <a:lnTo>
                  <a:pt x="5039400" y="2157994"/>
                </a:lnTo>
                <a:lnTo>
                  <a:pt x="5039400" y="2167867"/>
                </a:lnTo>
                <a:lnTo>
                  <a:pt x="5035381" y="2171906"/>
                </a:lnTo>
                <a:lnTo>
                  <a:pt x="5025470" y="2171906"/>
                </a:lnTo>
                <a:lnTo>
                  <a:pt x="5021451" y="2167867"/>
                </a:lnTo>
                <a:lnTo>
                  <a:pt x="5021451" y="2157994"/>
                </a:lnTo>
                <a:close/>
                <a:moveTo>
                  <a:pt x="4786241" y="2153956"/>
                </a:moveTo>
                <a:lnTo>
                  <a:pt x="4796152" y="2153956"/>
                </a:lnTo>
                <a:lnTo>
                  <a:pt x="4800171" y="2157994"/>
                </a:lnTo>
                <a:lnTo>
                  <a:pt x="4800171" y="2167867"/>
                </a:lnTo>
                <a:lnTo>
                  <a:pt x="4796152" y="2171906"/>
                </a:lnTo>
                <a:lnTo>
                  <a:pt x="4786241" y="2171906"/>
                </a:lnTo>
                <a:lnTo>
                  <a:pt x="4782224" y="2167867"/>
                </a:lnTo>
                <a:lnTo>
                  <a:pt x="4782224" y="2157994"/>
                </a:lnTo>
                <a:close/>
                <a:moveTo>
                  <a:pt x="5743412" y="2153955"/>
                </a:moveTo>
                <a:lnTo>
                  <a:pt x="5753323" y="2153955"/>
                </a:lnTo>
                <a:lnTo>
                  <a:pt x="5757342" y="2157994"/>
                </a:lnTo>
                <a:lnTo>
                  <a:pt x="5757342" y="2167866"/>
                </a:lnTo>
                <a:lnTo>
                  <a:pt x="5753323" y="2171905"/>
                </a:lnTo>
                <a:lnTo>
                  <a:pt x="5743412" y="2171905"/>
                </a:lnTo>
                <a:lnTo>
                  <a:pt x="5739393" y="2167866"/>
                </a:lnTo>
                <a:lnTo>
                  <a:pt x="5739393" y="2157994"/>
                </a:lnTo>
                <a:close/>
                <a:moveTo>
                  <a:pt x="6222042" y="2153936"/>
                </a:moveTo>
                <a:lnTo>
                  <a:pt x="6231952" y="2153936"/>
                </a:lnTo>
                <a:lnTo>
                  <a:pt x="6235971" y="2157974"/>
                </a:lnTo>
                <a:lnTo>
                  <a:pt x="6235971" y="2167846"/>
                </a:lnTo>
                <a:lnTo>
                  <a:pt x="6231952" y="2171885"/>
                </a:lnTo>
                <a:lnTo>
                  <a:pt x="6222042" y="2171885"/>
                </a:lnTo>
                <a:lnTo>
                  <a:pt x="6218023" y="2167846"/>
                </a:lnTo>
                <a:lnTo>
                  <a:pt x="6218023" y="2157974"/>
                </a:lnTo>
                <a:close/>
                <a:moveTo>
                  <a:pt x="5982729" y="2153936"/>
                </a:moveTo>
                <a:lnTo>
                  <a:pt x="5992639" y="2153936"/>
                </a:lnTo>
                <a:lnTo>
                  <a:pt x="5996658" y="2157974"/>
                </a:lnTo>
                <a:lnTo>
                  <a:pt x="5996658" y="2167846"/>
                </a:lnTo>
                <a:lnTo>
                  <a:pt x="5992639" y="2171885"/>
                </a:lnTo>
                <a:lnTo>
                  <a:pt x="5982729" y="2171885"/>
                </a:lnTo>
                <a:lnTo>
                  <a:pt x="5978710" y="2167846"/>
                </a:lnTo>
                <a:lnTo>
                  <a:pt x="5978710" y="2157974"/>
                </a:lnTo>
                <a:close/>
                <a:moveTo>
                  <a:pt x="6939983" y="2153935"/>
                </a:moveTo>
                <a:lnTo>
                  <a:pt x="6949894" y="2153935"/>
                </a:lnTo>
                <a:lnTo>
                  <a:pt x="6953913" y="2157974"/>
                </a:lnTo>
                <a:lnTo>
                  <a:pt x="6953913" y="2167845"/>
                </a:lnTo>
                <a:lnTo>
                  <a:pt x="6949894" y="2171885"/>
                </a:lnTo>
                <a:lnTo>
                  <a:pt x="6939983" y="2171885"/>
                </a:lnTo>
                <a:lnTo>
                  <a:pt x="6935964" y="2167845"/>
                </a:lnTo>
                <a:lnTo>
                  <a:pt x="6935964" y="2157974"/>
                </a:lnTo>
                <a:close/>
                <a:moveTo>
                  <a:pt x="6700670" y="2153935"/>
                </a:moveTo>
                <a:lnTo>
                  <a:pt x="6710581" y="2153935"/>
                </a:lnTo>
                <a:lnTo>
                  <a:pt x="6714600" y="2157974"/>
                </a:lnTo>
                <a:lnTo>
                  <a:pt x="6714600" y="2167846"/>
                </a:lnTo>
                <a:lnTo>
                  <a:pt x="6710581" y="2171885"/>
                </a:lnTo>
                <a:lnTo>
                  <a:pt x="6700670" y="2171885"/>
                </a:lnTo>
                <a:lnTo>
                  <a:pt x="6696651" y="2167846"/>
                </a:lnTo>
                <a:lnTo>
                  <a:pt x="6696651" y="2157974"/>
                </a:lnTo>
                <a:close/>
                <a:moveTo>
                  <a:pt x="6461356" y="2153935"/>
                </a:moveTo>
                <a:lnTo>
                  <a:pt x="6471266" y="2153935"/>
                </a:lnTo>
                <a:lnTo>
                  <a:pt x="6475285" y="2157974"/>
                </a:lnTo>
                <a:lnTo>
                  <a:pt x="6475285" y="2167846"/>
                </a:lnTo>
                <a:lnTo>
                  <a:pt x="6471266" y="2171885"/>
                </a:lnTo>
                <a:lnTo>
                  <a:pt x="6461356" y="2171885"/>
                </a:lnTo>
                <a:lnTo>
                  <a:pt x="6457337" y="2167846"/>
                </a:lnTo>
                <a:lnTo>
                  <a:pt x="6457337" y="2157974"/>
                </a:lnTo>
                <a:close/>
                <a:moveTo>
                  <a:pt x="7418611" y="2153916"/>
                </a:moveTo>
                <a:lnTo>
                  <a:pt x="7428521" y="2153916"/>
                </a:lnTo>
                <a:lnTo>
                  <a:pt x="7432540" y="2157955"/>
                </a:lnTo>
                <a:lnTo>
                  <a:pt x="7432540" y="2167826"/>
                </a:lnTo>
                <a:lnTo>
                  <a:pt x="7428521" y="2171865"/>
                </a:lnTo>
                <a:lnTo>
                  <a:pt x="7418611" y="2171865"/>
                </a:lnTo>
                <a:lnTo>
                  <a:pt x="7414592" y="2167826"/>
                </a:lnTo>
                <a:lnTo>
                  <a:pt x="7414592" y="2157955"/>
                </a:lnTo>
                <a:close/>
                <a:moveTo>
                  <a:pt x="7179298" y="2153916"/>
                </a:moveTo>
                <a:lnTo>
                  <a:pt x="7189209" y="2153916"/>
                </a:lnTo>
                <a:lnTo>
                  <a:pt x="7193228" y="2157955"/>
                </a:lnTo>
                <a:lnTo>
                  <a:pt x="7193228" y="2167826"/>
                </a:lnTo>
                <a:lnTo>
                  <a:pt x="7189209" y="2171865"/>
                </a:lnTo>
                <a:lnTo>
                  <a:pt x="7179298" y="2171865"/>
                </a:lnTo>
                <a:lnTo>
                  <a:pt x="7175279" y="2167826"/>
                </a:lnTo>
                <a:lnTo>
                  <a:pt x="7175279" y="2157955"/>
                </a:lnTo>
                <a:close/>
                <a:moveTo>
                  <a:pt x="8136553" y="2153915"/>
                </a:moveTo>
                <a:lnTo>
                  <a:pt x="8146464" y="2153915"/>
                </a:lnTo>
                <a:lnTo>
                  <a:pt x="8150483" y="2157955"/>
                </a:lnTo>
                <a:lnTo>
                  <a:pt x="8150483" y="2167825"/>
                </a:lnTo>
                <a:lnTo>
                  <a:pt x="8146464" y="2171864"/>
                </a:lnTo>
                <a:lnTo>
                  <a:pt x="8136553" y="2171864"/>
                </a:lnTo>
                <a:lnTo>
                  <a:pt x="8132534" y="2167825"/>
                </a:lnTo>
                <a:lnTo>
                  <a:pt x="8132534" y="2157955"/>
                </a:lnTo>
                <a:close/>
                <a:moveTo>
                  <a:pt x="7897241" y="2153915"/>
                </a:moveTo>
                <a:lnTo>
                  <a:pt x="7907151" y="2153915"/>
                </a:lnTo>
                <a:lnTo>
                  <a:pt x="7911170" y="2157955"/>
                </a:lnTo>
                <a:lnTo>
                  <a:pt x="7911170" y="2167826"/>
                </a:lnTo>
                <a:lnTo>
                  <a:pt x="7907151" y="2171864"/>
                </a:lnTo>
                <a:lnTo>
                  <a:pt x="7897241" y="2171864"/>
                </a:lnTo>
                <a:lnTo>
                  <a:pt x="7893222" y="2167826"/>
                </a:lnTo>
                <a:lnTo>
                  <a:pt x="7893222" y="2157955"/>
                </a:lnTo>
                <a:close/>
                <a:moveTo>
                  <a:pt x="7657926" y="2153915"/>
                </a:moveTo>
                <a:lnTo>
                  <a:pt x="7667836" y="2153915"/>
                </a:lnTo>
                <a:lnTo>
                  <a:pt x="7671855" y="2157955"/>
                </a:lnTo>
                <a:lnTo>
                  <a:pt x="7671855" y="2167826"/>
                </a:lnTo>
                <a:lnTo>
                  <a:pt x="7667836" y="2171864"/>
                </a:lnTo>
                <a:lnTo>
                  <a:pt x="7657926" y="2171864"/>
                </a:lnTo>
                <a:lnTo>
                  <a:pt x="7653906" y="2167826"/>
                </a:lnTo>
                <a:lnTo>
                  <a:pt x="7653906" y="2157955"/>
                </a:lnTo>
                <a:close/>
                <a:moveTo>
                  <a:pt x="8615184" y="2153896"/>
                </a:moveTo>
                <a:lnTo>
                  <a:pt x="8625095" y="2153896"/>
                </a:lnTo>
                <a:lnTo>
                  <a:pt x="8629114" y="2157935"/>
                </a:lnTo>
                <a:lnTo>
                  <a:pt x="8629114" y="2167805"/>
                </a:lnTo>
                <a:lnTo>
                  <a:pt x="8625095" y="2171844"/>
                </a:lnTo>
                <a:lnTo>
                  <a:pt x="8615184" y="2171844"/>
                </a:lnTo>
                <a:lnTo>
                  <a:pt x="8611165" y="2167805"/>
                </a:lnTo>
                <a:lnTo>
                  <a:pt x="8611165" y="2157935"/>
                </a:lnTo>
                <a:close/>
                <a:moveTo>
                  <a:pt x="8375869" y="2153896"/>
                </a:moveTo>
                <a:lnTo>
                  <a:pt x="8385779" y="2153896"/>
                </a:lnTo>
                <a:lnTo>
                  <a:pt x="8389799" y="2157935"/>
                </a:lnTo>
                <a:lnTo>
                  <a:pt x="8389799" y="2167805"/>
                </a:lnTo>
                <a:lnTo>
                  <a:pt x="8385779" y="2171844"/>
                </a:lnTo>
                <a:lnTo>
                  <a:pt x="8375869" y="2171844"/>
                </a:lnTo>
                <a:lnTo>
                  <a:pt x="8371850" y="2167805"/>
                </a:lnTo>
                <a:lnTo>
                  <a:pt x="8371850" y="2157935"/>
                </a:lnTo>
                <a:close/>
                <a:moveTo>
                  <a:pt x="9333125" y="2153895"/>
                </a:moveTo>
                <a:lnTo>
                  <a:pt x="9343036" y="2153895"/>
                </a:lnTo>
                <a:lnTo>
                  <a:pt x="9347055" y="2157934"/>
                </a:lnTo>
                <a:lnTo>
                  <a:pt x="9347055" y="2167805"/>
                </a:lnTo>
                <a:lnTo>
                  <a:pt x="9343036" y="2171844"/>
                </a:lnTo>
                <a:lnTo>
                  <a:pt x="9333125" y="2171844"/>
                </a:lnTo>
                <a:lnTo>
                  <a:pt x="9329106" y="2167805"/>
                </a:lnTo>
                <a:lnTo>
                  <a:pt x="9329106" y="2157934"/>
                </a:lnTo>
                <a:close/>
                <a:moveTo>
                  <a:pt x="9093811" y="2153895"/>
                </a:moveTo>
                <a:lnTo>
                  <a:pt x="9103722" y="2153895"/>
                </a:lnTo>
                <a:lnTo>
                  <a:pt x="9107741" y="2157935"/>
                </a:lnTo>
                <a:lnTo>
                  <a:pt x="9107741" y="2167805"/>
                </a:lnTo>
                <a:lnTo>
                  <a:pt x="9103722" y="2171844"/>
                </a:lnTo>
                <a:lnTo>
                  <a:pt x="9093811" y="2171844"/>
                </a:lnTo>
                <a:lnTo>
                  <a:pt x="9089792" y="2167805"/>
                </a:lnTo>
                <a:lnTo>
                  <a:pt x="9089792" y="2157935"/>
                </a:lnTo>
                <a:close/>
                <a:moveTo>
                  <a:pt x="8854496" y="2153895"/>
                </a:moveTo>
                <a:lnTo>
                  <a:pt x="8864407" y="2153895"/>
                </a:lnTo>
                <a:lnTo>
                  <a:pt x="8868426" y="2157935"/>
                </a:lnTo>
                <a:lnTo>
                  <a:pt x="8868426" y="2167805"/>
                </a:lnTo>
                <a:lnTo>
                  <a:pt x="8864407" y="2171844"/>
                </a:lnTo>
                <a:lnTo>
                  <a:pt x="8854496" y="2171844"/>
                </a:lnTo>
                <a:lnTo>
                  <a:pt x="8850477" y="2167805"/>
                </a:lnTo>
                <a:lnTo>
                  <a:pt x="8850477" y="2157935"/>
                </a:lnTo>
                <a:close/>
                <a:moveTo>
                  <a:pt x="9572438" y="2153876"/>
                </a:moveTo>
                <a:lnTo>
                  <a:pt x="9582349" y="2153876"/>
                </a:lnTo>
                <a:lnTo>
                  <a:pt x="9586368" y="2157914"/>
                </a:lnTo>
                <a:lnTo>
                  <a:pt x="9586368" y="2167786"/>
                </a:lnTo>
                <a:lnTo>
                  <a:pt x="9582349" y="2171824"/>
                </a:lnTo>
                <a:lnTo>
                  <a:pt x="9572438" y="2171824"/>
                </a:lnTo>
                <a:lnTo>
                  <a:pt x="9568419" y="2167786"/>
                </a:lnTo>
                <a:lnTo>
                  <a:pt x="9568419" y="2157914"/>
                </a:lnTo>
                <a:close/>
                <a:moveTo>
                  <a:pt x="1200582" y="2153867"/>
                </a:moveTo>
                <a:lnTo>
                  <a:pt x="1210491" y="2153867"/>
                </a:lnTo>
                <a:lnTo>
                  <a:pt x="1214510" y="2157906"/>
                </a:lnTo>
                <a:lnTo>
                  <a:pt x="1214510" y="2167776"/>
                </a:lnTo>
                <a:lnTo>
                  <a:pt x="1210491" y="2171815"/>
                </a:lnTo>
                <a:lnTo>
                  <a:pt x="1200582" y="2171815"/>
                </a:lnTo>
                <a:lnTo>
                  <a:pt x="1196562" y="2167776"/>
                </a:lnTo>
                <a:lnTo>
                  <a:pt x="1196562" y="2157906"/>
                </a:lnTo>
                <a:close/>
                <a:moveTo>
                  <a:pt x="961268" y="2153867"/>
                </a:moveTo>
                <a:lnTo>
                  <a:pt x="971179" y="2153867"/>
                </a:lnTo>
                <a:lnTo>
                  <a:pt x="975198" y="2157906"/>
                </a:lnTo>
                <a:lnTo>
                  <a:pt x="975198" y="2167776"/>
                </a:lnTo>
                <a:lnTo>
                  <a:pt x="971179" y="2171815"/>
                </a:lnTo>
                <a:lnTo>
                  <a:pt x="961268" y="2171815"/>
                </a:lnTo>
                <a:lnTo>
                  <a:pt x="957250" y="2167776"/>
                </a:lnTo>
                <a:lnTo>
                  <a:pt x="957250" y="2157906"/>
                </a:lnTo>
                <a:close/>
                <a:moveTo>
                  <a:pt x="1679214" y="2153867"/>
                </a:moveTo>
                <a:lnTo>
                  <a:pt x="1689123" y="2153867"/>
                </a:lnTo>
                <a:lnTo>
                  <a:pt x="1693144" y="2157905"/>
                </a:lnTo>
                <a:lnTo>
                  <a:pt x="1693144" y="2167775"/>
                </a:lnTo>
                <a:lnTo>
                  <a:pt x="1689123" y="2171814"/>
                </a:lnTo>
                <a:lnTo>
                  <a:pt x="1679214" y="2171814"/>
                </a:lnTo>
                <a:lnTo>
                  <a:pt x="1675195" y="2167775"/>
                </a:lnTo>
                <a:lnTo>
                  <a:pt x="1675195" y="2157905"/>
                </a:lnTo>
                <a:close/>
                <a:moveTo>
                  <a:pt x="1439897" y="2153867"/>
                </a:moveTo>
                <a:lnTo>
                  <a:pt x="1449807" y="2153867"/>
                </a:lnTo>
                <a:lnTo>
                  <a:pt x="1453826" y="2157905"/>
                </a:lnTo>
                <a:lnTo>
                  <a:pt x="1453826" y="2167776"/>
                </a:lnTo>
                <a:lnTo>
                  <a:pt x="1449807" y="2171814"/>
                </a:lnTo>
                <a:lnTo>
                  <a:pt x="1439897" y="2171814"/>
                </a:lnTo>
                <a:lnTo>
                  <a:pt x="1435878" y="2167776"/>
                </a:lnTo>
                <a:lnTo>
                  <a:pt x="1435878" y="2157905"/>
                </a:lnTo>
                <a:close/>
                <a:moveTo>
                  <a:pt x="1918513" y="2153855"/>
                </a:moveTo>
                <a:lnTo>
                  <a:pt x="1928422" y="2153855"/>
                </a:lnTo>
                <a:lnTo>
                  <a:pt x="1932443" y="2157892"/>
                </a:lnTo>
                <a:lnTo>
                  <a:pt x="1932443" y="2167763"/>
                </a:lnTo>
                <a:lnTo>
                  <a:pt x="1928422" y="2171803"/>
                </a:lnTo>
                <a:lnTo>
                  <a:pt x="1918513" y="2171803"/>
                </a:lnTo>
                <a:lnTo>
                  <a:pt x="1914494" y="2167763"/>
                </a:lnTo>
                <a:lnTo>
                  <a:pt x="1914494" y="2157892"/>
                </a:lnTo>
                <a:close/>
                <a:moveTo>
                  <a:pt x="2157821" y="2153850"/>
                </a:moveTo>
                <a:lnTo>
                  <a:pt x="2167732" y="2153850"/>
                </a:lnTo>
                <a:lnTo>
                  <a:pt x="2171750" y="2157889"/>
                </a:lnTo>
                <a:lnTo>
                  <a:pt x="2171750" y="2167759"/>
                </a:lnTo>
                <a:lnTo>
                  <a:pt x="2167732" y="2171798"/>
                </a:lnTo>
                <a:lnTo>
                  <a:pt x="2157821" y="2171798"/>
                </a:lnTo>
                <a:lnTo>
                  <a:pt x="2153803" y="2167759"/>
                </a:lnTo>
                <a:lnTo>
                  <a:pt x="2153803" y="2157889"/>
                </a:lnTo>
                <a:close/>
                <a:moveTo>
                  <a:pt x="4032" y="2153832"/>
                </a:moveTo>
                <a:lnTo>
                  <a:pt x="13942" y="2153832"/>
                </a:lnTo>
                <a:lnTo>
                  <a:pt x="17961" y="2157870"/>
                </a:lnTo>
                <a:lnTo>
                  <a:pt x="17961" y="2167741"/>
                </a:lnTo>
                <a:lnTo>
                  <a:pt x="13942" y="2171780"/>
                </a:lnTo>
                <a:lnTo>
                  <a:pt x="4032" y="2171780"/>
                </a:lnTo>
                <a:lnTo>
                  <a:pt x="13" y="2167741"/>
                </a:lnTo>
                <a:lnTo>
                  <a:pt x="13" y="2157870"/>
                </a:lnTo>
                <a:close/>
                <a:moveTo>
                  <a:pt x="721971" y="2153832"/>
                </a:moveTo>
                <a:lnTo>
                  <a:pt x="731881" y="2153832"/>
                </a:lnTo>
                <a:lnTo>
                  <a:pt x="735900" y="2157870"/>
                </a:lnTo>
                <a:lnTo>
                  <a:pt x="735900" y="2167740"/>
                </a:lnTo>
                <a:lnTo>
                  <a:pt x="731881" y="2171780"/>
                </a:lnTo>
                <a:lnTo>
                  <a:pt x="721971" y="2171780"/>
                </a:lnTo>
                <a:lnTo>
                  <a:pt x="717952" y="2167740"/>
                </a:lnTo>
                <a:lnTo>
                  <a:pt x="717952" y="2157870"/>
                </a:lnTo>
                <a:close/>
                <a:moveTo>
                  <a:pt x="482659" y="2153832"/>
                </a:moveTo>
                <a:lnTo>
                  <a:pt x="492569" y="2153832"/>
                </a:lnTo>
                <a:lnTo>
                  <a:pt x="496588" y="2157870"/>
                </a:lnTo>
                <a:lnTo>
                  <a:pt x="496588" y="2167741"/>
                </a:lnTo>
                <a:lnTo>
                  <a:pt x="492569" y="2171780"/>
                </a:lnTo>
                <a:lnTo>
                  <a:pt x="482659" y="2171780"/>
                </a:lnTo>
                <a:lnTo>
                  <a:pt x="478640" y="2167741"/>
                </a:lnTo>
                <a:lnTo>
                  <a:pt x="478640" y="2157870"/>
                </a:lnTo>
                <a:close/>
                <a:moveTo>
                  <a:pt x="243345" y="2153832"/>
                </a:moveTo>
                <a:lnTo>
                  <a:pt x="253255" y="2153832"/>
                </a:lnTo>
                <a:lnTo>
                  <a:pt x="257274" y="2157870"/>
                </a:lnTo>
                <a:lnTo>
                  <a:pt x="257274" y="2167741"/>
                </a:lnTo>
                <a:lnTo>
                  <a:pt x="253255" y="2171780"/>
                </a:lnTo>
                <a:lnTo>
                  <a:pt x="243345" y="2171780"/>
                </a:lnTo>
                <a:lnTo>
                  <a:pt x="239326" y="2167741"/>
                </a:lnTo>
                <a:lnTo>
                  <a:pt x="239326" y="2157870"/>
                </a:lnTo>
                <a:close/>
                <a:moveTo>
                  <a:pt x="2393104" y="1914701"/>
                </a:moveTo>
                <a:lnTo>
                  <a:pt x="2403015" y="1914701"/>
                </a:lnTo>
                <a:lnTo>
                  <a:pt x="2407034" y="1918739"/>
                </a:lnTo>
                <a:lnTo>
                  <a:pt x="2407034" y="1928610"/>
                </a:lnTo>
                <a:lnTo>
                  <a:pt x="2403015" y="1932649"/>
                </a:lnTo>
                <a:lnTo>
                  <a:pt x="2393104" y="1932649"/>
                </a:lnTo>
                <a:lnTo>
                  <a:pt x="2389087" y="1928610"/>
                </a:lnTo>
                <a:lnTo>
                  <a:pt x="2389087" y="1918739"/>
                </a:lnTo>
                <a:close/>
                <a:moveTo>
                  <a:pt x="3350359" y="1914699"/>
                </a:moveTo>
                <a:lnTo>
                  <a:pt x="3360268" y="1914699"/>
                </a:lnTo>
                <a:lnTo>
                  <a:pt x="3364287" y="1918738"/>
                </a:lnTo>
                <a:lnTo>
                  <a:pt x="3364287" y="1928610"/>
                </a:lnTo>
                <a:lnTo>
                  <a:pt x="3360268" y="1932649"/>
                </a:lnTo>
                <a:lnTo>
                  <a:pt x="3350359" y="1932649"/>
                </a:lnTo>
                <a:lnTo>
                  <a:pt x="3346340" y="1928610"/>
                </a:lnTo>
                <a:lnTo>
                  <a:pt x="3346340" y="1918738"/>
                </a:lnTo>
                <a:close/>
                <a:moveTo>
                  <a:pt x="3111048" y="1914699"/>
                </a:moveTo>
                <a:lnTo>
                  <a:pt x="3120959" y="1914699"/>
                </a:lnTo>
                <a:lnTo>
                  <a:pt x="3124977" y="1918739"/>
                </a:lnTo>
                <a:lnTo>
                  <a:pt x="3124977" y="1928610"/>
                </a:lnTo>
                <a:lnTo>
                  <a:pt x="3120959" y="1932649"/>
                </a:lnTo>
                <a:lnTo>
                  <a:pt x="3111048" y="1932649"/>
                </a:lnTo>
                <a:lnTo>
                  <a:pt x="3107029" y="1928610"/>
                </a:lnTo>
                <a:lnTo>
                  <a:pt x="3107029" y="1918739"/>
                </a:lnTo>
                <a:close/>
                <a:moveTo>
                  <a:pt x="2871737" y="1914699"/>
                </a:moveTo>
                <a:lnTo>
                  <a:pt x="2881646" y="1914699"/>
                </a:lnTo>
                <a:lnTo>
                  <a:pt x="2885666" y="1918739"/>
                </a:lnTo>
                <a:lnTo>
                  <a:pt x="2885666" y="1928610"/>
                </a:lnTo>
                <a:lnTo>
                  <a:pt x="2881646" y="1932649"/>
                </a:lnTo>
                <a:lnTo>
                  <a:pt x="2871737" y="1932649"/>
                </a:lnTo>
                <a:lnTo>
                  <a:pt x="2867717" y="1928610"/>
                </a:lnTo>
                <a:lnTo>
                  <a:pt x="2867717" y="1918739"/>
                </a:lnTo>
                <a:close/>
                <a:moveTo>
                  <a:pt x="2632423" y="1914699"/>
                </a:moveTo>
                <a:lnTo>
                  <a:pt x="2642334" y="1914699"/>
                </a:lnTo>
                <a:lnTo>
                  <a:pt x="2646352" y="1918739"/>
                </a:lnTo>
                <a:lnTo>
                  <a:pt x="2646352" y="1928610"/>
                </a:lnTo>
                <a:lnTo>
                  <a:pt x="2642334" y="1932649"/>
                </a:lnTo>
                <a:lnTo>
                  <a:pt x="2632423" y="1932649"/>
                </a:lnTo>
                <a:lnTo>
                  <a:pt x="2628404" y="1928610"/>
                </a:lnTo>
                <a:lnTo>
                  <a:pt x="2628404" y="1918739"/>
                </a:lnTo>
                <a:close/>
                <a:moveTo>
                  <a:pt x="3589676" y="1914682"/>
                </a:moveTo>
                <a:lnTo>
                  <a:pt x="3599585" y="1914682"/>
                </a:lnTo>
                <a:lnTo>
                  <a:pt x="3603604" y="1918721"/>
                </a:lnTo>
                <a:lnTo>
                  <a:pt x="3603604" y="1928592"/>
                </a:lnTo>
                <a:lnTo>
                  <a:pt x="3599585" y="1932631"/>
                </a:lnTo>
                <a:lnTo>
                  <a:pt x="3589676" y="1932631"/>
                </a:lnTo>
                <a:lnTo>
                  <a:pt x="3585657" y="1928592"/>
                </a:lnTo>
                <a:lnTo>
                  <a:pt x="3585657" y="1918721"/>
                </a:lnTo>
                <a:close/>
                <a:moveTo>
                  <a:pt x="4546929" y="1914681"/>
                </a:moveTo>
                <a:lnTo>
                  <a:pt x="4556840" y="1914681"/>
                </a:lnTo>
                <a:lnTo>
                  <a:pt x="4560859" y="1918719"/>
                </a:lnTo>
                <a:lnTo>
                  <a:pt x="4560859" y="1928592"/>
                </a:lnTo>
                <a:lnTo>
                  <a:pt x="4556840" y="1932631"/>
                </a:lnTo>
                <a:lnTo>
                  <a:pt x="4546929" y="1932631"/>
                </a:lnTo>
                <a:lnTo>
                  <a:pt x="4542910" y="1928592"/>
                </a:lnTo>
                <a:lnTo>
                  <a:pt x="4542910" y="1918719"/>
                </a:lnTo>
                <a:close/>
                <a:moveTo>
                  <a:pt x="4307612" y="1914681"/>
                </a:moveTo>
                <a:lnTo>
                  <a:pt x="4317523" y="1914681"/>
                </a:lnTo>
                <a:lnTo>
                  <a:pt x="4321543" y="1918720"/>
                </a:lnTo>
                <a:lnTo>
                  <a:pt x="4321543" y="1928592"/>
                </a:lnTo>
                <a:lnTo>
                  <a:pt x="4317523" y="1932631"/>
                </a:lnTo>
                <a:lnTo>
                  <a:pt x="4307612" y="1932631"/>
                </a:lnTo>
                <a:lnTo>
                  <a:pt x="4303595" y="1928592"/>
                </a:lnTo>
                <a:lnTo>
                  <a:pt x="4303595" y="1918720"/>
                </a:lnTo>
                <a:close/>
                <a:moveTo>
                  <a:pt x="4068297" y="1914681"/>
                </a:moveTo>
                <a:lnTo>
                  <a:pt x="4078210" y="1914681"/>
                </a:lnTo>
                <a:lnTo>
                  <a:pt x="4082229" y="1918720"/>
                </a:lnTo>
                <a:lnTo>
                  <a:pt x="4082229" y="1928592"/>
                </a:lnTo>
                <a:lnTo>
                  <a:pt x="4078210" y="1932631"/>
                </a:lnTo>
                <a:lnTo>
                  <a:pt x="4068297" y="1932631"/>
                </a:lnTo>
                <a:lnTo>
                  <a:pt x="4064278" y="1928592"/>
                </a:lnTo>
                <a:lnTo>
                  <a:pt x="4064278" y="1918720"/>
                </a:lnTo>
                <a:close/>
                <a:moveTo>
                  <a:pt x="3828990" y="1914681"/>
                </a:moveTo>
                <a:lnTo>
                  <a:pt x="3838899" y="1914681"/>
                </a:lnTo>
                <a:lnTo>
                  <a:pt x="3842917" y="1918720"/>
                </a:lnTo>
                <a:lnTo>
                  <a:pt x="3842917" y="1928592"/>
                </a:lnTo>
                <a:lnTo>
                  <a:pt x="3838899" y="1932631"/>
                </a:lnTo>
                <a:lnTo>
                  <a:pt x="3828990" y="1932631"/>
                </a:lnTo>
                <a:lnTo>
                  <a:pt x="3824971" y="1928592"/>
                </a:lnTo>
                <a:lnTo>
                  <a:pt x="3824971" y="1918720"/>
                </a:lnTo>
                <a:close/>
                <a:moveTo>
                  <a:pt x="4786241" y="1914664"/>
                </a:moveTo>
                <a:lnTo>
                  <a:pt x="4796152" y="1914664"/>
                </a:lnTo>
                <a:lnTo>
                  <a:pt x="4800171" y="1918702"/>
                </a:lnTo>
                <a:lnTo>
                  <a:pt x="4800171" y="1928573"/>
                </a:lnTo>
                <a:lnTo>
                  <a:pt x="4796152" y="1932612"/>
                </a:lnTo>
                <a:lnTo>
                  <a:pt x="4786241" y="1932612"/>
                </a:lnTo>
                <a:lnTo>
                  <a:pt x="4782224" y="1928573"/>
                </a:lnTo>
                <a:lnTo>
                  <a:pt x="4782224" y="1918702"/>
                </a:lnTo>
                <a:close/>
                <a:moveTo>
                  <a:pt x="5504099" y="1914663"/>
                </a:moveTo>
                <a:lnTo>
                  <a:pt x="5514010" y="1914663"/>
                </a:lnTo>
                <a:lnTo>
                  <a:pt x="5518029" y="1918702"/>
                </a:lnTo>
                <a:lnTo>
                  <a:pt x="5518029" y="1928572"/>
                </a:lnTo>
                <a:lnTo>
                  <a:pt x="5514010" y="1932612"/>
                </a:lnTo>
                <a:lnTo>
                  <a:pt x="5504099" y="1932612"/>
                </a:lnTo>
                <a:lnTo>
                  <a:pt x="5500080" y="1928572"/>
                </a:lnTo>
                <a:lnTo>
                  <a:pt x="5500080" y="1918702"/>
                </a:lnTo>
                <a:close/>
                <a:moveTo>
                  <a:pt x="5264784" y="1914663"/>
                </a:moveTo>
                <a:lnTo>
                  <a:pt x="5274694" y="1914663"/>
                </a:lnTo>
                <a:lnTo>
                  <a:pt x="5278713" y="1918702"/>
                </a:lnTo>
                <a:lnTo>
                  <a:pt x="5278713" y="1928573"/>
                </a:lnTo>
                <a:lnTo>
                  <a:pt x="5274694" y="1932612"/>
                </a:lnTo>
                <a:lnTo>
                  <a:pt x="5264784" y="1932612"/>
                </a:lnTo>
                <a:lnTo>
                  <a:pt x="5260765" y="1928573"/>
                </a:lnTo>
                <a:lnTo>
                  <a:pt x="5260765" y="1918702"/>
                </a:lnTo>
                <a:close/>
                <a:moveTo>
                  <a:pt x="5025470" y="1914663"/>
                </a:moveTo>
                <a:lnTo>
                  <a:pt x="5035381" y="1914663"/>
                </a:lnTo>
                <a:lnTo>
                  <a:pt x="5039400" y="1918702"/>
                </a:lnTo>
                <a:lnTo>
                  <a:pt x="5039400" y="1928573"/>
                </a:lnTo>
                <a:lnTo>
                  <a:pt x="5035381" y="1932612"/>
                </a:lnTo>
                <a:lnTo>
                  <a:pt x="5025470" y="1932612"/>
                </a:lnTo>
                <a:lnTo>
                  <a:pt x="5021451" y="1928573"/>
                </a:lnTo>
                <a:lnTo>
                  <a:pt x="5021451" y="1918702"/>
                </a:lnTo>
                <a:close/>
                <a:moveTo>
                  <a:pt x="5743412" y="1914662"/>
                </a:moveTo>
                <a:lnTo>
                  <a:pt x="5753323" y="1914662"/>
                </a:lnTo>
                <a:lnTo>
                  <a:pt x="5757342" y="1918701"/>
                </a:lnTo>
                <a:lnTo>
                  <a:pt x="5757342" y="1928572"/>
                </a:lnTo>
                <a:lnTo>
                  <a:pt x="5753323" y="1932612"/>
                </a:lnTo>
                <a:lnTo>
                  <a:pt x="5743412" y="1932612"/>
                </a:lnTo>
                <a:lnTo>
                  <a:pt x="5739393" y="1928572"/>
                </a:lnTo>
                <a:lnTo>
                  <a:pt x="5739393" y="1918701"/>
                </a:lnTo>
                <a:close/>
                <a:moveTo>
                  <a:pt x="5982729" y="1914645"/>
                </a:moveTo>
                <a:lnTo>
                  <a:pt x="5992639" y="1914645"/>
                </a:lnTo>
                <a:lnTo>
                  <a:pt x="5996658" y="1918684"/>
                </a:lnTo>
                <a:lnTo>
                  <a:pt x="5996658" y="1928555"/>
                </a:lnTo>
                <a:lnTo>
                  <a:pt x="5992639" y="1932594"/>
                </a:lnTo>
                <a:lnTo>
                  <a:pt x="5982729" y="1932594"/>
                </a:lnTo>
                <a:lnTo>
                  <a:pt x="5978710" y="1928555"/>
                </a:lnTo>
                <a:lnTo>
                  <a:pt x="5978710" y="1918684"/>
                </a:lnTo>
                <a:close/>
                <a:moveTo>
                  <a:pt x="6939983" y="1914645"/>
                </a:moveTo>
                <a:lnTo>
                  <a:pt x="6949894" y="1914645"/>
                </a:lnTo>
                <a:lnTo>
                  <a:pt x="6953913" y="1918682"/>
                </a:lnTo>
                <a:lnTo>
                  <a:pt x="6953913" y="1928554"/>
                </a:lnTo>
                <a:lnTo>
                  <a:pt x="6949894" y="1932594"/>
                </a:lnTo>
                <a:lnTo>
                  <a:pt x="6939983" y="1932594"/>
                </a:lnTo>
                <a:lnTo>
                  <a:pt x="6935964" y="1928554"/>
                </a:lnTo>
                <a:lnTo>
                  <a:pt x="6935964" y="1918682"/>
                </a:lnTo>
                <a:close/>
                <a:moveTo>
                  <a:pt x="6700670" y="1914645"/>
                </a:moveTo>
                <a:lnTo>
                  <a:pt x="6710581" y="1914645"/>
                </a:lnTo>
                <a:lnTo>
                  <a:pt x="6714600" y="1918683"/>
                </a:lnTo>
                <a:lnTo>
                  <a:pt x="6714600" y="1928554"/>
                </a:lnTo>
                <a:lnTo>
                  <a:pt x="6710581" y="1932594"/>
                </a:lnTo>
                <a:lnTo>
                  <a:pt x="6700670" y="1932594"/>
                </a:lnTo>
                <a:lnTo>
                  <a:pt x="6696651" y="1928554"/>
                </a:lnTo>
                <a:lnTo>
                  <a:pt x="6696651" y="1918683"/>
                </a:lnTo>
                <a:close/>
                <a:moveTo>
                  <a:pt x="6461356" y="1914645"/>
                </a:moveTo>
                <a:lnTo>
                  <a:pt x="6471266" y="1914645"/>
                </a:lnTo>
                <a:lnTo>
                  <a:pt x="6475285" y="1918683"/>
                </a:lnTo>
                <a:lnTo>
                  <a:pt x="6475285" y="1928555"/>
                </a:lnTo>
                <a:lnTo>
                  <a:pt x="6471266" y="1932594"/>
                </a:lnTo>
                <a:lnTo>
                  <a:pt x="6461356" y="1932594"/>
                </a:lnTo>
                <a:lnTo>
                  <a:pt x="6457337" y="1928555"/>
                </a:lnTo>
                <a:lnTo>
                  <a:pt x="6457337" y="1918683"/>
                </a:lnTo>
                <a:close/>
                <a:moveTo>
                  <a:pt x="6222042" y="1914645"/>
                </a:moveTo>
                <a:lnTo>
                  <a:pt x="6231952" y="1914645"/>
                </a:lnTo>
                <a:lnTo>
                  <a:pt x="6235971" y="1918683"/>
                </a:lnTo>
                <a:lnTo>
                  <a:pt x="6235971" y="1928555"/>
                </a:lnTo>
                <a:lnTo>
                  <a:pt x="6231952" y="1932594"/>
                </a:lnTo>
                <a:lnTo>
                  <a:pt x="6222042" y="1932594"/>
                </a:lnTo>
                <a:lnTo>
                  <a:pt x="6218023" y="1928555"/>
                </a:lnTo>
                <a:lnTo>
                  <a:pt x="6218023" y="1918683"/>
                </a:lnTo>
                <a:close/>
                <a:moveTo>
                  <a:pt x="7179298" y="1914627"/>
                </a:moveTo>
                <a:lnTo>
                  <a:pt x="7189209" y="1914627"/>
                </a:lnTo>
                <a:lnTo>
                  <a:pt x="7193228" y="1918666"/>
                </a:lnTo>
                <a:lnTo>
                  <a:pt x="7193228" y="1928536"/>
                </a:lnTo>
                <a:lnTo>
                  <a:pt x="7189209" y="1932575"/>
                </a:lnTo>
                <a:lnTo>
                  <a:pt x="7179298" y="1932575"/>
                </a:lnTo>
                <a:lnTo>
                  <a:pt x="7175279" y="1928536"/>
                </a:lnTo>
                <a:lnTo>
                  <a:pt x="7175279" y="1918666"/>
                </a:lnTo>
                <a:close/>
                <a:moveTo>
                  <a:pt x="7897241" y="1914627"/>
                </a:moveTo>
                <a:lnTo>
                  <a:pt x="7907151" y="1914627"/>
                </a:lnTo>
                <a:lnTo>
                  <a:pt x="7911170" y="1918664"/>
                </a:lnTo>
                <a:lnTo>
                  <a:pt x="7911170" y="1928535"/>
                </a:lnTo>
                <a:lnTo>
                  <a:pt x="7907151" y="1932575"/>
                </a:lnTo>
                <a:lnTo>
                  <a:pt x="7897241" y="1932575"/>
                </a:lnTo>
                <a:lnTo>
                  <a:pt x="7893222" y="1928535"/>
                </a:lnTo>
                <a:lnTo>
                  <a:pt x="7893222" y="1918664"/>
                </a:lnTo>
                <a:close/>
                <a:moveTo>
                  <a:pt x="7657926" y="1914627"/>
                </a:moveTo>
                <a:lnTo>
                  <a:pt x="7667836" y="1914627"/>
                </a:lnTo>
                <a:lnTo>
                  <a:pt x="7671855" y="1918664"/>
                </a:lnTo>
                <a:lnTo>
                  <a:pt x="7671855" y="1928536"/>
                </a:lnTo>
                <a:lnTo>
                  <a:pt x="7667836" y="1932575"/>
                </a:lnTo>
                <a:lnTo>
                  <a:pt x="7657926" y="1932575"/>
                </a:lnTo>
                <a:lnTo>
                  <a:pt x="7653906" y="1928536"/>
                </a:lnTo>
                <a:lnTo>
                  <a:pt x="7653906" y="1918664"/>
                </a:lnTo>
                <a:close/>
                <a:moveTo>
                  <a:pt x="7418611" y="1914627"/>
                </a:moveTo>
                <a:lnTo>
                  <a:pt x="7428521" y="1914627"/>
                </a:lnTo>
                <a:lnTo>
                  <a:pt x="7432540" y="1918664"/>
                </a:lnTo>
                <a:lnTo>
                  <a:pt x="7432540" y="1928536"/>
                </a:lnTo>
                <a:lnTo>
                  <a:pt x="7428521" y="1932575"/>
                </a:lnTo>
                <a:lnTo>
                  <a:pt x="7418611" y="1932575"/>
                </a:lnTo>
                <a:lnTo>
                  <a:pt x="7414592" y="1928536"/>
                </a:lnTo>
                <a:lnTo>
                  <a:pt x="7414592" y="1918664"/>
                </a:lnTo>
                <a:close/>
                <a:moveTo>
                  <a:pt x="8136553" y="1914626"/>
                </a:moveTo>
                <a:lnTo>
                  <a:pt x="8146464" y="1914626"/>
                </a:lnTo>
                <a:lnTo>
                  <a:pt x="8150483" y="1918664"/>
                </a:lnTo>
                <a:lnTo>
                  <a:pt x="8150483" y="1928535"/>
                </a:lnTo>
                <a:lnTo>
                  <a:pt x="8146464" y="1932575"/>
                </a:lnTo>
                <a:lnTo>
                  <a:pt x="8136553" y="1932575"/>
                </a:lnTo>
                <a:lnTo>
                  <a:pt x="8132534" y="1928535"/>
                </a:lnTo>
                <a:lnTo>
                  <a:pt x="8132534" y="1918664"/>
                </a:lnTo>
                <a:close/>
                <a:moveTo>
                  <a:pt x="8375869" y="1914608"/>
                </a:moveTo>
                <a:lnTo>
                  <a:pt x="8385779" y="1914608"/>
                </a:lnTo>
                <a:lnTo>
                  <a:pt x="8389799" y="1918647"/>
                </a:lnTo>
                <a:lnTo>
                  <a:pt x="8389799" y="1928518"/>
                </a:lnTo>
                <a:lnTo>
                  <a:pt x="8385779" y="1932557"/>
                </a:lnTo>
                <a:lnTo>
                  <a:pt x="8375869" y="1932557"/>
                </a:lnTo>
                <a:lnTo>
                  <a:pt x="8371850" y="1928518"/>
                </a:lnTo>
                <a:lnTo>
                  <a:pt x="8371850" y="1918647"/>
                </a:lnTo>
                <a:close/>
                <a:moveTo>
                  <a:pt x="9333125" y="1914608"/>
                </a:moveTo>
                <a:lnTo>
                  <a:pt x="9343036" y="1914608"/>
                </a:lnTo>
                <a:lnTo>
                  <a:pt x="9347055" y="1918646"/>
                </a:lnTo>
                <a:lnTo>
                  <a:pt x="9347055" y="1928517"/>
                </a:lnTo>
                <a:lnTo>
                  <a:pt x="9343036" y="1932557"/>
                </a:lnTo>
                <a:lnTo>
                  <a:pt x="9333125" y="1932557"/>
                </a:lnTo>
                <a:lnTo>
                  <a:pt x="9329106" y="1928517"/>
                </a:lnTo>
                <a:lnTo>
                  <a:pt x="9329106" y="1918646"/>
                </a:lnTo>
                <a:close/>
                <a:moveTo>
                  <a:pt x="9093811" y="1914608"/>
                </a:moveTo>
                <a:lnTo>
                  <a:pt x="9103722" y="1914608"/>
                </a:lnTo>
                <a:lnTo>
                  <a:pt x="9107741" y="1918646"/>
                </a:lnTo>
                <a:lnTo>
                  <a:pt x="9107741" y="1928517"/>
                </a:lnTo>
                <a:lnTo>
                  <a:pt x="9103722" y="1932557"/>
                </a:lnTo>
                <a:lnTo>
                  <a:pt x="9093811" y="1932557"/>
                </a:lnTo>
                <a:lnTo>
                  <a:pt x="9089792" y="1928517"/>
                </a:lnTo>
                <a:lnTo>
                  <a:pt x="9089792" y="1918646"/>
                </a:lnTo>
                <a:close/>
                <a:moveTo>
                  <a:pt x="8854496" y="1914608"/>
                </a:moveTo>
                <a:lnTo>
                  <a:pt x="8864407" y="1914608"/>
                </a:lnTo>
                <a:lnTo>
                  <a:pt x="8868426" y="1918646"/>
                </a:lnTo>
                <a:lnTo>
                  <a:pt x="8868426" y="1928518"/>
                </a:lnTo>
                <a:lnTo>
                  <a:pt x="8864407" y="1932557"/>
                </a:lnTo>
                <a:lnTo>
                  <a:pt x="8854496" y="1932557"/>
                </a:lnTo>
                <a:lnTo>
                  <a:pt x="8850477" y="1928518"/>
                </a:lnTo>
                <a:lnTo>
                  <a:pt x="8850477" y="1918646"/>
                </a:lnTo>
                <a:close/>
                <a:moveTo>
                  <a:pt x="8615184" y="1914608"/>
                </a:moveTo>
                <a:lnTo>
                  <a:pt x="8625095" y="1914608"/>
                </a:lnTo>
                <a:lnTo>
                  <a:pt x="8629114" y="1918646"/>
                </a:lnTo>
                <a:lnTo>
                  <a:pt x="8629114" y="1928518"/>
                </a:lnTo>
                <a:lnTo>
                  <a:pt x="8625095" y="1932557"/>
                </a:lnTo>
                <a:lnTo>
                  <a:pt x="8615184" y="1932557"/>
                </a:lnTo>
                <a:lnTo>
                  <a:pt x="8611165" y="1928518"/>
                </a:lnTo>
                <a:lnTo>
                  <a:pt x="8611165" y="1918646"/>
                </a:lnTo>
                <a:close/>
                <a:moveTo>
                  <a:pt x="9572438" y="1914590"/>
                </a:moveTo>
                <a:lnTo>
                  <a:pt x="9582349" y="1914590"/>
                </a:lnTo>
                <a:lnTo>
                  <a:pt x="9586368" y="1918629"/>
                </a:lnTo>
                <a:lnTo>
                  <a:pt x="9586368" y="1928499"/>
                </a:lnTo>
                <a:lnTo>
                  <a:pt x="9582349" y="1932538"/>
                </a:lnTo>
                <a:lnTo>
                  <a:pt x="9572438" y="1932538"/>
                </a:lnTo>
                <a:lnTo>
                  <a:pt x="9568419" y="1928499"/>
                </a:lnTo>
                <a:lnTo>
                  <a:pt x="9568419" y="1918629"/>
                </a:lnTo>
                <a:close/>
                <a:moveTo>
                  <a:pt x="243346" y="1914550"/>
                </a:moveTo>
                <a:lnTo>
                  <a:pt x="253256" y="1914550"/>
                </a:lnTo>
                <a:lnTo>
                  <a:pt x="257275" y="1918589"/>
                </a:lnTo>
                <a:lnTo>
                  <a:pt x="257275" y="1928459"/>
                </a:lnTo>
                <a:lnTo>
                  <a:pt x="253256" y="1932498"/>
                </a:lnTo>
                <a:lnTo>
                  <a:pt x="243346" y="1932498"/>
                </a:lnTo>
                <a:lnTo>
                  <a:pt x="239327" y="1928459"/>
                </a:lnTo>
                <a:lnTo>
                  <a:pt x="239327" y="1918589"/>
                </a:lnTo>
                <a:close/>
                <a:moveTo>
                  <a:pt x="4032" y="1914550"/>
                </a:moveTo>
                <a:lnTo>
                  <a:pt x="13943" y="1914550"/>
                </a:lnTo>
                <a:lnTo>
                  <a:pt x="17962" y="1918589"/>
                </a:lnTo>
                <a:lnTo>
                  <a:pt x="17962" y="1928459"/>
                </a:lnTo>
                <a:lnTo>
                  <a:pt x="13943" y="1932498"/>
                </a:lnTo>
                <a:lnTo>
                  <a:pt x="4032" y="1932498"/>
                </a:lnTo>
                <a:lnTo>
                  <a:pt x="13" y="1928459"/>
                </a:lnTo>
                <a:lnTo>
                  <a:pt x="13" y="1918589"/>
                </a:lnTo>
                <a:close/>
                <a:moveTo>
                  <a:pt x="721971" y="1914550"/>
                </a:moveTo>
                <a:lnTo>
                  <a:pt x="731882" y="1914550"/>
                </a:lnTo>
                <a:lnTo>
                  <a:pt x="735901" y="1918588"/>
                </a:lnTo>
                <a:lnTo>
                  <a:pt x="735901" y="1928459"/>
                </a:lnTo>
                <a:lnTo>
                  <a:pt x="731882" y="1932497"/>
                </a:lnTo>
                <a:lnTo>
                  <a:pt x="721971" y="1932497"/>
                </a:lnTo>
                <a:lnTo>
                  <a:pt x="717953" y="1928459"/>
                </a:lnTo>
                <a:lnTo>
                  <a:pt x="717953" y="1918588"/>
                </a:lnTo>
                <a:close/>
                <a:moveTo>
                  <a:pt x="482660" y="1914550"/>
                </a:moveTo>
                <a:lnTo>
                  <a:pt x="492570" y="1914550"/>
                </a:lnTo>
                <a:lnTo>
                  <a:pt x="496589" y="1918588"/>
                </a:lnTo>
                <a:lnTo>
                  <a:pt x="496589" y="1928459"/>
                </a:lnTo>
                <a:lnTo>
                  <a:pt x="492570" y="1932497"/>
                </a:lnTo>
                <a:lnTo>
                  <a:pt x="482660" y="1932497"/>
                </a:lnTo>
                <a:lnTo>
                  <a:pt x="478640" y="1928459"/>
                </a:lnTo>
                <a:lnTo>
                  <a:pt x="478640" y="1918588"/>
                </a:lnTo>
                <a:close/>
                <a:moveTo>
                  <a:pt x="1679215" y="1914535"/>
                </a:moveTo>
                <a:lnTo>
                  <a:pt x="1689125" y="1914535"/>
                </a:lnTo>
                <a:lnTo>
                  <a:pt x="1693144" y="1918573"/>
                </a:lnTo>
                <a:lnTo>
                  <a:pt x="1693144" y="1928444"/>
                </a:lnTo>
                <a:lnTo>
                  <a:pt x="1689125" y="1932482"/>
                </a:lnTo>
                <a:lnTo>
                  <a:pt x="1679215" y="1932482"/>
                </a:lnTo>
                <a:lnTo>
                  <a:pt x="1675195" y="1928444"/>
                </a:lnTo>
                <a:lnTo>
                  <a:pt x="1675195" y="1918573"/>
                </a:lnTo>
                <a:close/>
                <a:moveTo>
                  <a:pt x="1439897" y="1914535"/>
                </a:moveTo>
                <a:lnTo>
                  <a:pt x="1449808" y="1914535"/>
                </a:lnTo>
                <a:lnTo>
                  <a:pt x="1453827" y="1918573"/>
                </a:lnTo>
                <a:lnTo>
                  <a:pt x="1453827" y="1928444"/>
                </a:lnTo>
                <a:lnTo>
                  <a:pt x="1449808" y="1932483"/>
                </a:lnTo>
                <a:lnTo>
                  <a:pt x="1439897" y="1932483"/>
                </a:lnTo>
                <a:lnTo>
                  <a:pt x="1435879" y="1928444"/>
                </a:lnTo>
                <a:lnTo>
                  <a:pt x="1435879" y="1918573"/>
                </a:lnTo>
                <a:close/>
                <a:moveTo>
                  <a:pt x="1200582" y="1914535"/>
                </a:moveTo>
                <a:lnTo>
                  <a:pt x="1210492" y="1914535"/>
                </a:lnTo>
                <a:lnTo>
                  <a:pt x="1214511" y="1918573"/>
                </a:lnTo>
                <a:lnTo>
                  <a:pt x="1214511" y="1928444"/>
                </a:lnTo>
                <a:lnTo>
                  <a:pt x="1210492" y="1932483"/>
                </a:lnTo>
                <a:lnTo>
                  <a:pt x="1200582" y="1932483"/>
                </a:lnTo>
                <a:lnTo>
                  <a:pt x="1196563" y="1928444"/>
                </a:lnTo>
                <a:lnTo>
                  <a:pt x="1196563" y="1918573"/>
                </a:lnTo>
                <a:close/>
                <a:moveTo>
                  <a:pt x="961269" y="1914535"/>
                </a:moveTo>
                <a:lnTo>
                  <a:pt x="971179" y="1914535"/>
                </a:lnTo>
                <a:lnTo>
                  <a:pt x="975198" y="1918573"/>
                </a:lnTo>
                <a:lnTo>
                  <a:pt x="975198" y="1928444"/>
                </a:lnTo>
                <a:lnTo>
                  <a:pt x="971179" y="1932483"/>
                </a:lnTo>
                <a:lnTo>
                  <a:pt x="961269" y="1932483"/>
                </a:lnTo>
                <a:lnTo>
                  <a:pt x="957250" y="1928444"/>
                </a:lnTo>
                <a:lnTo>
                  <a:pt x="957250" y="1918573"/>
                </a:lnTo>
                <a:close/>
                <a:moveTo>
                  <a:pt x="1918513" y="1914523"/>
                </a:moveTo>
                <a:lnTo>
                  <a:pt x="1928424" y="1914523"/>
                </a:lnTo>
                <a:lnTo>
                  <a:pt x="1932443" y="1918562"/>
                </a:lnTo>
                <a:lnTo>
                  <a:pt x="1932443" y="1928432"/>
                </a:lnTo>
                <a:lnTo>
                  <a:pt x="1928424" y="1932471"/>
                </a:lnTo>
                <a:lnTo>
                  <a:pt x="1918513" y="1932471"/>
                </a:lnTo>
                <a:lnTo>
                  <a:pt x="1914494" y="1928432"/>
                </a:lnTo>
                <a:lnTo>
                  <a:pt x="1914494" y="1918562"/>
                </a:lnTo>
                <a:close/>
                <a:moveTo>
                  <a:pt x="2157821" y="1914520"/>
                </a:moveTo>
                <a:lnTo>
                  <a:pt x="2167732" y="1914520"/>
                </a:lnTo>
                <a:lnTo>
                  <a:pt x="2171751" y="1918558"/>
                </a:lnTo>
                <a:lnTo>
                  <a:pt x="2171751" y="1928428"/>
                </a:lnTo>
                <a:lnTo>
                  <a:pt x="2167732" y="1932467"/>
                </a:lnTo>
                <a:lnTo>
                  <a:pt x="2157821" y="1932467"/>
                </a:lnTo>
                <a:lnTo>
                  <a:pt x="2153803" y="1928428"/>
                </a:lnTo>
                <a:lnTo>
                  <a:pt x="2153803" y="1918558"/>
                </a:lnTo>
                <a:close/>
                <a:moveTo>
                  <a:pt x="2871737" y="1675350"/>
                </a:moveTo>
                <a:lnTo>
                  <a:pt x="2881646" y="1675350"/>
                </a:lnTo>
                <a:lnTo>
                  <a:pt x="2885666" y="1679389"/>
                </a:lnTo>
                <a:lnTo>
                  <a:pt x="2885666" y="1689260"/>
                </a:lnTo>
                <a:lnTo>
                  <a:pt x="2881646" y="1693299"/>
                </a:lnTo>
                <a:lnTo>
                  <a:pt x="2871737" y="1693299"/>
                </a:lnTo>
                <a:lnTo>
                  <a:pt x="2867717" y="1689260"/>
                </a:lnTo>
                <a:lnTo>
                  <a:pt x="2867717" y="1679389"/>
                </a:lnTo>
                <a:close/>
                <a:moveTo>
                  <a:pt x="2632423" y="1675350"/>
                </a:moveTo>
                <a:lnTo>
                  <a:pt x="2642334" y="1675350"/>
                </a:lnTo>
                <a:lnTo>
                  <a:pt x="2646352" y="1679389"/>
                </a:lnTo>
                <a:lnTo>
                  <a:pt x="2646352" y="1689260"/>
                </a:lnTo>
                <a:lnTo>
                  <a:pt x="2642334" y="1693299"/>
                </a:lnTo>
                <a:lnTo>
                  <a:pt x="2632423" y="1693299"/>
                </a:lnTo>
                <a:lnTo>
                  <a:pt x="2628404" y="1689260"/>
                </a:lnTo>
                <a:lnTo>
                  <a:pt x="2628404" y="1679389"/>
                </a:lnTo>
                <a:close/>
                <a:moveTo>
                  <a:pt x="2393104" y="1675350"/>
                </a:moveTo>
                <a:lnTo>
                  <a:pt x="2403015" y="1675350"/>
                </a:lnTo>
                <a:lnTo>
                  <a:pt x="2407034" y="1679389"/>
                </a:lnTo>
                <a:lnTo>
                  <a:pt x="2407034" y="1689260"/>
                </a:lnTo>
                <a:lnTo>
                  <a:pt x="2403015" y="1693299"/>
                </a:lnTo>
                <a:lnTo>
                  <a:pt x="2393104" y="1693299"/>
                </a:lnTo>
                <a:lnTo>
                  <a:pt x="2389087" y="1689260"/>
                </a:lnTo>
                <a:lnTo>
                  <a:pt x="2389087" y="1679389"/>
                </a:lnTo>
                <a:close/>
                <a:moveTo>
                  <a:pt x="3350359" y="1675349"/>
                </a:moveTo>
                <a:lnTo>
                  <a:pt x="3360268" y="1675349"/>
                </a:lnTo>
                <a:lnTo>
                  <a:pt x="3364287" y="1679388"/>
                </a:lnTo>
                <a:lnTo>
                  <a:pt x="3364287" y="1689260"/>
                </a:lnTo>
                <a:lnTo>
                  <a:pt x="3360268" y="1693298"/>
                </a:lnTo>
                <a:lnTo>
                  <a:pt x="3350359" y="1693298"/>
                </a:lnTo>
                <a:lnTo>
                  <a:pt x="3346340" y="1689260"/>
                </a:lnTo>
                <a:lnTo>
                  <a:pt x="3346340" y="1679388"/>
                </a:lnTo>
                <a:close/>
                <a:moveTo>
                  <a:pt x="3111048" y="1675349"/>
                </a:moveTo>
                <a:lnTo>
                  <a:pt x="3120959" y="1675349"/>
                </a:lnTo>
                <a:lnTo>
                  <a:pt x="3124977" y="1679388"/>
                </a:lnTo>
                <a:lnTo>
                  <a:pt x="3124977" y="1689260"/>
                </a:lnTo>
                <a:lnTo>
                  <a:pt x="3120959" y="1693299"/>
                </a:lnTo>
                <a:lnTo>
                  <a:pt x="3111048" y="1693299"/>
                </a:lnTo>
                <a:lnTo>
                  <a:pt x="3107029" y="1689260"/>
                </a:lnTo>
                <a:lnTo>
                  <a:pt x="3107029" y="1679388"/>
                </a:lnTo>
                <a:close/>
                <a:moveTo>
                  <a:pt x="4068297" y="1675334"/>
                </a:moveTo>
                <a:lnTo>
                  <a:pt x="4078210" y="1675334"/>
                </a:lnTo>
                <a:lnTo>
                  <a:pt x="4082229" y="1679373"/>
                </a:lnTo>
                <a:lnTo>
                  <a:pt x="4082229" y="1689243"/>
                </a:lnTo>
                <a:lnTo>
                  <a:pt x="4078210" y="1693282"/>
                </a:lnTo>
                <a:lnTo>
                  <a:pt x="4068297" y="1693282"/>
                </a:lnTo>
                <a:lnTo>
                  <a:pt x="4064278" y="1689243"/>
                </a:lnTo>
                <a:lnTo>
                  <a:pt x="4064278" y="1679373"/>
                </a:lnTo>
                <a:close/>
                <a:moveTo>
                  <a:pt x="3828990" y="1675334"/>
                </a:moveTo>
                <a:lnTo>
                  <a:pt x="3838899" y="1675334"/>
                </a:lnTo>
                <a:lnTo>
                  <a:pt x="3842917" y="1679373"/>
                </a:lnTo>
                <a:lnTo>
                  <a:pt x="3842917" y="1689243"/>
                </a:lnTo>
                <a:lnTo>
                  <a:pt x="3838899" y="1693282"/>
                </a:lnTo>
                <a:lnTo>
                  <a:pt x="3828990" y="1693282"/>
                </a:lnTo>
                <a:lnTo>
                  <a:pt x="3824971" y="1689243"/>
                </a:lnTo>
                <a:lnTo>
                  <a:pt x="3824971" y="1679373"/>
                </a:lnTo>
                <a:close/>
                <a:moveTo>
                  <a:pt x="3589676" y="1675334"/>
                </a:moveTo>
                <a:lnTo>
                  <a:pt x="3599585" y="1675334"/>
                </a:lnTo>
                <a:lnTo>
                  <a:pt x="3603604" y="1679373"/>
                </a:lnTo>
                <a:lnTo>
                  <a:pt x="3603604" y="1689243"/>
                </a:lnTo>
                <a:lnTo>
                  <a:pt x="3599585" y="1693282"/>
                </a:lnTo>
                <a:lnTo>
                  <a:pt x="3589676" y="1693282"/>
                </a:lnTo>
                <a:lnTo>
                  <a:pt x="3585657" y="1689243"/>
                </a:lnTo>
                <a:lnTo>
                  <a:pt x="3585657" y="1679373"/>
                </a:lnTo>
                <a:close/>
                <a:moveTo>
                  <a:pt x="4546929" y="1675333"/>
                </a:moveTo>
                <a:lnTo>
                  <a:pt x="4556840" y="1675333"/>
                </a:lnTo>
                <a:lnTo>
                  <a:pt x="4560859" y="1679372"/>
                </a:lnTo>
                <a:lnTo>
                  <a:pt x="4560859" y="1689243"/>
                </a:lnTo>
                <a:lnTo>
                  <a:pt x="4556840" y="1693281"/>
                </a:lnTo>
                <a:lnTo>
                  <a:pt x="4546929" y="1693281"/>
                </a:lnTo>
                <a:lnTo>
                  <a:pt x="4542910" y="1689243"/>
                </a:lnTo>
                <a:lnTo>
                  <a:pt x="4542910" y="1679372"/>
                </a:lnTo>
                <a:close/>
                <a:moveTo>
                  <a:pt x="4307612" y="1675333"/>
                </a:moveTo>
                <a:lnTo>
                  <a:pt x="4317523" y="1675333"/>
                </a:lnTo>
                <a:lnTo>
                  <a:pt x="4321543" y="1679372"/>
                </a:lnTo>
                <a:lnTo>
                  <a:pt x="4321543" y="1689243"/>
                </a:lnTo>
                <a:lnTo>
                  <a:pt x="4317523" y="1693282"/>
                </a:lnTo>
                <a:lnTo>
                  <a:pt x="4307612" y="1693282"/>
                </a:lnTo>
                <a:lnTo>
                  <a:pt x="4303595" y="1689243"/>
                </a:lnTo>
                <a:lnTo>
                  <a:pt x="4303595" y="1679372"/>
                </a:lnTo>
                <a:close/>
                <a:moveTo>
                  <a:pt x="5264784" y="1675318"/>
                </a:moveTo>
                <a:lnTo>
                  <a:pt x="5274694" y="1675318"/>
                </a:lnTo>
                <a:lnTo>
                  <a:pt x="5278713" y="1679357"/>
                </a:lnTo>
                <a:lnTo>
                  <a:pt x="5278713" y="1689227"/>
                </a:lnTo>
                <a:lnTo>
                  <a:pt x="5274694" y="1693266"/>
                </a:lnTo>
                <a:lnTo>
                  <a:pt x="5264784" y="1693266"/>
                </a:lnTo>
                <a:lnTo>
                  <a:pt x="5260765" y="1689227"/>
                </a:lnTo>
                <a:lnTo>
                  <a:pt x="5260765" y="1679357"/>
                </a:lnTo>
                <a:close/>
                <a:moveTo>
                  <a:pt x="5025470" y="1675318"/>
                </a:moveTo>
                <a:lnTo>
                  <a:pt x="5035381" y="1675318"/>
                </a:lnTo>
                <a:lnTo>
                  <a:pt x="5039400" y="1679357"/>
                </a:lnTo>
                <a:lnTo>
                  <a:pt x="5039400" y="1689227"/>
                </a:lnTo>
                <a:lnTo>
                  <a:pt x="5035381" y="1693266"/>
                </a:lnTo>
                <a:lnTo>
                  <a:pt x="5025470" y="1693266"/>
                </a:lnTo>
                <a:lnTo>
                  <a:pt x="5021451" y="1689227"/>
                </a:lnTo>
                <a:lnTo>
                  <a:pt x="5021451" y="1679357"/>
                </a:lnTo>
                <a:close/>
                <a:moveTo>
                  <a:pt x="4786241" y="1675318"/>
                </a:moveTo>
                <a:lnTo>
                  <a:pt x="4796152" y="1675318"/>
                </a:lnTo>
                <a:lnTo>
                  <a:pt x="4800171" y="1679357"/>
                </a:lnTo>
                <a:lnTo>
                  <a:pt x="4800171" y="1689227"/>
                </a:lnTo>
                <a:lnTo>
                  <a:pt x="4796152" y="1693266"/>
                </a:lnTo>
                <a:lnTo>
                  <a:pt x="4786241" y="1693266"/>
                </a:lnTo>
                <a:lnTo>
                  <a:pt x="4782224" y="1689227"/>
                </a:lnTo>
                <a:lnTo>
                  <a:pt x="4782224" y="1679357"/>
                </a:lnTo>
                <a:close/>
                <a:moveTo>
                  <a:pt x="5743412" y="1675316"/>
                </a:moveTo>
                <a:lnTo>
                  <a:pt x="5753323" y="1675316"/>
                </a:lnTo>
                <a:lnTo>
                  <a:pt x="5757342" y="1679356"/>
                </a:lnTo>
                <a:lnTo>
                  <a:pt x="5757342" y="1689227"/>
                </a:lnTo>
                <a:lnTo>
                  <a:pt x="5753323" y="1693266"/>
                </a:lnTo>
                <a:lnTo>
                  <a:pt x="5743412" y="1693266"/>
                </a:lnTo>
                <a:lnTo>
                  <a:pt x="5739393" y="1689227"/>
                </a:lnTo>
                <a:lnTo>
                  <a:pt x="5739393" y="1679356"/>
                </a:lnTo>
                <a:close/>
                <a:moveTo>
                  <a:pt x="5504099" y="1675316"/>
                </a:moveTo>
                <a:lnTo>
                  <a:pt x="5514010" y="1675316"/>
                </a:lnTo>
                <a:lnTo>
                  <a:pt x="5518029" y="1679356"/>
                </a:lnTo>
                <a:lnTo>
                  <a:pt x="5518029" y="1689227"/>
                </a:lnTo>
                <a:lnTo>
                  <a:pt x="5514010" y="1693266"/>
                </a:lnTo>
                <a:lnTo>
                  <a:pt x="5504099" y="1693266"/>
                </a:lnTo>
                <a:lnTo>
                  <a:pt x="5500080" y="1689227"/>
                </a:lnTo>
                <a:lnTo>
                  <a:pt x="5500080" y="1679356"/>
                </a:lnTo>
                <a:close/>
                <a:moveTo>
                  <a:pt x="6461356" y="1675301"/>
                </a:moveTo>
                <a:lnTo>
                  <a:pt x="6471266" y="1675301"/>
                </a:lnTo>
                <a:lnTo>
                  <a:pt x="6475285" y="1679339"/>
                </a:lnTo>
                <a:lnTo>
                  <a:pt x="6475285" y="1689210"/>
                </a:lnTo>
                <a:lnTo>
                  <a:pt x="6471266" y="1693249"/>
                </a:lnTo>
                <a:lnTo>
                  <a:pt x="6461356" y="1693249"/>
                </a:lnTo>
                <a:lnTo>
                  <a:pt x="6457337" y="1689210"/>
                </a:lnTo>
                <a:lnTo>
                  <a:pt x="6457337" y="1679339"/>
                </a:lnTo>
                <a:close/>
                <a:moveTo>
                  <a:pt x="6222042" y="1675301"/>
                </a:moveTo>
                <a:lnTo>
                  <a:pt x="6231952" y="1675301"/>
                </a:lnTo>
                <a:lnTo>
                  <a:pt x="6235971" y="1679339"/>
                </a:lnTo>
                <a:lnTo>
                  <a:pt x="6235971" y="1689211"/>
                </a:lnTo>
                <a:lnTo>
                  <a:pt x="6231952" y="1693249"/>
                </a:lnTo>
                <a:lnTo>
                  <a:pt x="6222042" y="1693249"/>
                </a:lnTo>
                <a:lnTo>
                  <a:pt x="6218023" y="1689211"/>
                </a:lnTo>
                <a:lnTo>
                  <a:pt x="6218023" y="1679339"/>
                </a:lnTo>
                <a:close/>
                <a:moveTo>
                  <a:pt x="5982729" y="1675301"/>
                </a:moveTo>
                <a:lnTo>
                  <a:pt x="5992639" y="1675301"/>
                </a:lnTo>
                <a:lnTo>
                  <a:pt x="5996658" y="1679339"/>
                </a:lnTo>
                <a:lnTo>
                  <a:pt x="5996658" y="1689211"/>
                </a:lnTo>
                <a:lnTo>
                  <a:pt x="5992639" y="1693251"/>
                </a:lnTo>
                <a:lnTo>
                  <a:pt x="5982729" y="1693251"/>
                </a:lnTo>
                <a:lnTo>
                  <a:pt x="5978710" y="1689211"/>
                </a:lnTo>
                <a:lnTo>
                  <a:pt x="5978710" y="1679339"/>
                </a:lnTo>
                <a:close/>
                <a:moveTo>
                  <a:pt x="6939983" y="1675300"/>
                </a:moveTo>
                <a:lnTo>
                  <a:pt x="6949894" y="1675300"/>
                </a:lnTo>
                <a:lnTo>
                  <a:pt x="6953913" y="1679339"/>
                </a:lnTo>
                <a:lnTo>
                  <a:pt x="6953913" y="1689210"/>
                </a:lnTo>
                <a:lnTo>
                  <a:pt x="6949894" y="1693249"/>
                </a:lnTo>
                <a:lnTo>
                  <a:pt x="6939983" y="1693249"/>
                </a:lnTo>
                <a:lnTo>
                  <a:pt x="6935964" y="1689210"/>
                </a:lnTo>
                <a:lnTo>
                  <a:pt x="6935964" y="1679339"/>
                </a:lnTo>
                <a:close/>
                <a:moveTo>
                  <a:pt x="6700670" y="1675300"/>
                </a:moveTo>
                <a:lnTo>
                  <a:pt x="6710581" y="1675300"/>
                </a:lnTo>
                <a:lnTo>
                  <a:pt x="6714600" y="1679339"/>
                </a:lnTo>
                <a:lnTo>
                  <a:pt x="6714600" y="1689210"/>
                </a:lnTo>
                <a:lnTo>
                  <a:pt x="6710581" y="1693249"/>
                </a:lnTo>
                <a:lnTo>
                  <a:pt x="6700670" y="1693249"/>
                </a:lnTo>
                <a:lnTo>
                  <a:pt x="6696651" y="1689210"/>
                </a:lnTo>
                <a:lnTo>
                  <a:pt x="6696651" y="1679339"/>
                </a:lnTo>
                <a:close/>
                <a:moveTo>
                  <a:pt x="8136553" y="1675285"/>
                </a:moveTo>
                <a:lnTo>
                  <a:pt x="8146464" y="1675285"/>
                </a:lnTo>
                <a:lnTo>
                  <a:pt x="8150483" y="1679323"/>
                </a:lnTo>
                <a:lnTo>
                  <a:pt x="8150483" y="1689193"/>
                </a:lnTo>
                <a:lnTo>
                  <a:pt x="8146464" y="1693232"/>
                </a:lnTo>
                <a:lnTo>
                  <a:pt x="8136553" y="1693232"/>
                </a:lnTo>
                <a:lnTo>
                  <a:pt x="8132534" y="1689193"/>
                </a:lnTo>
                <a:lnTo>
                  <a:pt x="8132534" y="1679323"/>
                </a:lnTo>
                <a:close/>
                <a:moveTo>
                  <a:pt x="7897241" y="1675285"/>
                </a:moveTo>
                <a:lnTo>
                  <a:pt x="7907151" y="1675285"/>
                </a:lnTo>
                <a:lnTo>
                  <a:pt x="7911170" y="1679323"/>
                </a:lnTo>
                <a:lnTo>
                  <a:pt x="7911170" y="1689193"/>
                </a:lnTo>
                <a:lnTo>
                  <a:pt x="7907151" y="1693232"/>
                </a:lnTo>
                <a:lnTo>
                  <a:pt x="7897241" y="1693232"/>
                </a:lnTo>
                <a:lnTo>
                  <a:pt x="7893222" y="1689193"/>
                </a:lnTo>
                <a:lnTo>
                  <a:pt x="7893222" y="1679323"/>
                </a:lnTo>
                <a:close/>
                <a:moveTo>
                  <a:pt x="7657926" y="1675285"/>
                </a:moveTo>
                <a:lnTo>
                  <a:pt x="7667836" y="1675285"/>
                </a:lnTo>
                <a:lnTo>
                  <a:pt x="7671855" y="1679323"/>
                </a:lnTo>
                <a:lnTo>
                  <a:pt x="7671855" y="1689193"/>
                </a:lnTo>
                <a:lnTo>
                  <a:pt x="7667836" y="1693232"/>
                </a:lnTo>
                <a:lnTo>
                  <a:pt x="7657926" y="1693232"/>
                </a:lnTo>
                <a:lnTo>
                  <a:pt x="7653906" y="1689193"/>
                </a:lnTo>
                <a:lnTo>
                  <a:pt x="7653906" y="1679323"/>
                </a:lnTo>
                <a:close/>
                <a:moveTo>
                  <a:pt x="7418611" y="1675285"/>
                </a:moveTo>
                <a:lnTo>
                  <a:pt x="7428521" y="1675285"/>
                </a:lnTo>
                <a:lnTo>
                  <a:pt x="7432540" y="1679323"/>
                </a:lnTo>
                <a:lnTo>
                  <a:pt x="7432540" y="1689195"/>
                </a:lnTo>
                <a:lnTo>
                  <a:pt x="7428521" y="1693232"/>
                </a:lnTo>
                <a:lnTo>
                  <a:pt x="7418611" y="1693232"/>
                </a:lnTo>
                <a:lnTo>
                  <a:pt x="7414592" y="1689195"/>
                </a:lnTo>
                <a:lnTo>
                  <a:pt x="7414592" y="1679323"/>
                </a:lnTo>
                <a:close/>
                <a:moveTo>
                  <a:pt x="7179298" y="1675285"/>
                </a:moveTo>
                <a:lnTo>
                  <a:pt x="7189209" y="1675285"/>
                </a:lnTo>
                <a:lnTo>
                  <a:pt x="7193228" y="1679323"/>
                </a:lnTo>
                <a:lnTo>
                  <a:pt x="7193228" y="1689195"/>
                </a:lnTo>
                <a:lnTo>
                  <a:pt x="7189209" y="1693234"/>
                </a:lnTo>
                <a:lnTo>
                  <a:pt x="7179298" y="1693234"/>
                </a:lnTo>
                <a:lnTo>
                  <a:pt x="7175279" y="1689195"/>
                </a:lnTo>
                <a:lnTo>
                  <a:pt x="7175279" y="1679323"/>
                </a:lnTo>
                <a:close/>
                <a:moveTo>
                  <a:pt x="9333125" y="1675268"/>
                </a:moveTo>
                <a:lnTo>
                  <a:pt x="9343036" y="1675268"/>
                </a:lnTo>
                <a:lnTo>
                  <a:pt x="9347055" y="1679306"/>
                </a:lnTo>
                <a:lnTo>
                  <a:pt x="9347055" y="1689177"/>
                </a:lnTo>
                <a:lnTo>
                  <a:pt x="9343036" y="1693216"/>
                </a:lnTo>
                <a:lnTo>
                  <a:pt x="9333125" y="1693216"/>
                </a:lnTo>
                <a:lnTo>
                  <a:pt x="9329106" y="1689177"/>
                </a:lnTo>
                <a:lnTo>
                  <a:pt x="9329106" y="1679306"/>
                </a:lnTo>
                <a:close/>
                <a:moveTo>
                  <a:pt x="9093811" y="1675268"/>
                </a:moveTo>
                <a:lnTo>
                  <a:pt x="9103722" y="1675268"/>
                </a:lnTo>
                <a:lnTo>
                  <a:pt x="9107741" y="1679306"/>
                </a:lnTo>
                <a:lnTo>
                  <a:pt x="9107741" y="1689177"/>
                </a:lnTo>
                <a:lnTo>
                  <a:pt x="9103722" y="1693217"/>
                </a:lnTo>
                <a:lnTo>
                  <a:pt x="9093811" y="1693217"/>
                </a:lnTo>
                <a:lnTo>
                  <a:pt x="9089792" y="1689177"/>
                </a:lnTo>
                <a:lnTo>
                  <a:pt x="9089792" y="1679306"/>
                </a:lnTo>
                <a:close/>
                <a:moveTo>
                  <a:pt x="8854496" y="1675268"/>
                </a:moveTo>
                <a:lnTo>
                  <a:pt x="8864407" y="1675268"/>
                </a:lnTo>
                <a:lnTo>
                  <a:pt x="8868426" y="1679307"/>
                </a:lnTo>
                <a:lnTo>
                  <a:pt x="8868426" y="1689177"/>
                </a:lnTo>
                <a:lnTo>
                  <a:pt x="8864407" y="1693217"/>
                </a:lnTo>
                <a:lnTo>
                  <a:pt x="8854496" y="1693217"/>
                </a:lnTo>
                <a:lnTo>
                  <a:pt x="8850477" y="1689177"/>
                </a:lnTo>
                <a:lnTo>
                  <a:pt x="8850477" y="1679307"/>
                </a:lnTo>
                <a:close/>
                <a:moveTo>
                  <a:pt x="8615184" y="1675268"/>
                </a:moveTo>
                <a:lnTo>
                  <a:pt x="8625095" y="1675268"/>
                </a:lnTo>
                <a:lnTo>
                  <a:pt x="8629114" y="1679307"/>
                </a:lnTo>
                <a:lnTo>
                  <a:pt x="8629114" y="1689178"/>
                </a:lnTo>
                <a:lnTo>
                  <a:pt x="8625095" y="1693217"/>
                </a:lnTo>
                <a:lnTo>
                  <a:pt x="8615184" y="1693217"/>
                </a:lnTo>
                <a:lnTo>
                  <a:pt x="8611165" y="1689178"/>
                </a:lnTo>
                <a:lnTo>
                  <a:pt x="8611165" y="1679307"/>
                </a:lnTo>
                <a:close/>
                <a:moveTo>
                  <a:pt x="8375869" y="1675268"/>
                </a:moveTo>
                <a:lnTo>
                  <a:pt x="8385779" y="1675268"/>
                </a:lnTo>
                <a:lnTo>
                  <a:pt x="8389799" y="1679307"/>
                </a:lnTo>
                <a:lnTo>
                  <a:pt x="8389799" y="1689178"/>
                </a:lnTo>
                <a:lnTo>
                  <a:pt x="8385779" y="1693217"/>
                </a:lnTo>
                <a:lnTo>
                  <a:pt x="8375869" y="1693217"/>
                </a:lnTo>
                <a:lnTo>
                  <a:pt x="8371850" y="1689178"/>
                </a:lnTo>
                <a:lnTo>
                  <a:pt x="8371850" y="1679307"/>
                </a:lnTo>
                <a:close/>
                <a:moveTo>
                  <a:pt x="961270" y="1675255"/>
                </a:moveTo>
                <a:lnTo>
                  <a:pt x="971180" y="1675255"/>
                </a:lnTo>
                <a:lnTo>
                  <a:pt x="975199" y="1679292"/>
                </a:lnTo>
                <a:lnTo>
                  <a:pt x="975199" y="1689163"/>
                </a:lnTo>
                <a:lnTo>
                  <a:pt x="971180" y="1693202"/>
                </a:lnTo>
                <a:lnTo>
                  <a:pt x="961270" y="1693202"/>
                </a:lnTo>
                <a:lnTo>
                  <a:pt x="957251" y="1689163"/>
                </a:lnTo>
                <a:lnTo>
                  <a:pt x="957251" y="1679292"/>
                </a:lnTo>
                <a:close/>
                <a:moveTo>
                  <a:pt x="1679215" y="1675254"/>
                </a:moveTo>
                <a:lnTo>
                  <a:pt x="1689126" y="1675254"/>
                </a:lnTo>
                <a:lnTo>
                  <a:pt x="1693145" y="1679292"/>
                </a:lnTo>
                <a:lnTo>
                  <a:pt x="1693145" y="1689163"/>
                </a:lnTo>
                <a:lnTo>
                  <a:pt x="1689126" y="1693202"/>
                </a:lnTo>
                <a:lnTo>
                  <a:pt x="1679215" y="1693202"/>
                </a:lnTo>
                <a:lnTo>
                  <a:pt x="1675196" y="1689163"/>
                </a:lnTo>
                <a:lnTo>
                  <a:pt x="1675196" y="1679292"/>
                </a:lnTo>
                <a:close/>
                <a:moveTo>
                  <a:pt x="1439898" y="1675254"/>
                </a:moveTo>
                <a:lnTo>
                  <a:pt x="1449808" y="1675254"/>
                </a:lnTo>
                <a:lnTo>
                  <a:pt x="1453828" y="1679292"/>
                </a:lnTo>
                <a:lnTo>
                  <a:pt x="1453828" y="1689163"/>
                </a:lnTo>
                <a:lnTo>
                  <a:pt x="1449808" y="1693202"/>
                </a:lnTo>
                <a:lnTo>
                  <a:pt x="1439898" y="1693202"/>
                </a:lnTo>
                <a:lnTo>
                  <a:pt x="1435880" y="1689163"/>
                </a:lnTo>
                <a:lnTo>
                  <a:pt x="1435880" y="1679292"/>
                </a:lnTo>
                <a:close/>
                <a:moveTo>
                  <a:pt x="1200583" y="1675254"/>
                </a:moveTo>
                <a:lnTo>
                  <a:pt x="1210493" y="1675254"/>
                </a:lnTo>
                <a:lnTo>
                  <a:pt x="1214511" y="1679292"/>
                </a:lnTo>
                <a:lnTo>
                  <a:pt x="1214511" y="1689163"/>
                </a:lnTo>
                <a:lnTo>
                  <a:pt x="1210493" y="1693202"/>
                </a:lnTo>
                <a:lnTo>
                  <a:pt x="1200583" y="1693202"/>
                </a:lnTo>
                <a:lnTo>
                  <a:pt x="1196564" y="1689163"/>
                </a:lnTo>
                <a:lnTo>
                  <a:pt x="1196564" y="1679292"/>
                </a:lnTo>
                <a:close/>
                <a:moveTo>
                  <a:pt x="9572438" y="1675251"/>
                </a:moveTo>
                <a:lnTo>
                  <a:pt x="9582349" y="1675251"/>
                </a:lnTo>
                <a:lnTo>
                  <a:pt x="9586368" y="1679290"/>
                </a:lnTo>
                <a:lnTo>
                  <a:pt x="9586368" y="1689161"/>
                </a:lnTo>
                <a:lnTo>
                  <a:pt x="9582349" y="1693201"/>
                </a:lnTo>
                <a:lnTo>
                  <a:pt x="9572438" y="1693201"/>
                </a:lnTo>
                <a:lnTo>
                  <a:pt x="9568419" y="1689161"/>
                </a:lnTo>
                <a:lnTo>
                  <a:pt x="9568419" y="1679290"/>
                </a:lnTo>
                <a:close/>
                <a:moveTo>
                  <a:pt x="1918514" y="1675243"/>
                </a:moveTo>
                <a:lnTo>
                  <a:pt x="1928424" y="1675243"/>
                </a:lnTo>
                <a:lnTo>
                  <a:pt x="1932443" y="1679282"/>
                </a:lnTo>
                <a:lnTo>
                  <a:pt x="1932443" y="1689153"/>
                </a:lnTo>
                <a:lnTo>
                  <a:pt x="1928424" y="1693191"/>
                </a:lnTo>
                <a:lnTo>
                  <a:pt x="1918514" y="1693191"/>
                </a:lnTo>
                <a:lnTo>
                  <a:pt x="1914494" y="1689153"/>
                </a:lnTo>
                <a:lnTo>
                  <a:pt x="1914494" y="1679282"/>
                </a:lnTo>
                <a:close/>
                <a:moveTo>
                  <a:pt x="2157821" y="1675240"/>
                </a:moveTo>
                <a:lnTo>
                  <a:pt x="2167732" y="1675240"/>
                </a:lnTo>
                <a:lnTo>
                  <a:pt x="2171751" y="1679279"/>
                </a:lnTo>
                <a:lnTo>
                  <a:pt x="2171751" y="1689149"/>
                </a:lnTo>
                <a:lnTo>
                  <a:pt x="2167732" y="1693188"/>
                </a:lnTo>
                <a:lnTo>
                  <a:pt x="2157821" y="1693188"/>
                </a:lnTo>
                <a:lnTo>
                  <a:pt x="2153803" y="1689149"/>
                </a:lnTo>
                <a:lnTo>
                  <a:pt x="2153803" y="1679279"/>
                </a:lnTo>
                <a:close/>
                <a:moveTo>
                  <a:pt x="243346" y="1675216"/>
                </a:moveTo>
                <a:lnTo>
                  <a:pt x="253257" y="1675216"/>
                </a:lnTo>
                <a:lnTo>
                  <a:pt x="257276" y="1679254"/>
                </a:lnTo>
                <a:lnTo>
                  <a:pt x="257276" y="1689125"/>
                </a:lnTo>
                <a:lnTo>
                  <a:pt x="253257" y="1693164"/>
                </a:lnTo>
                <a:lnTo>
                  <a:pt x="243346" y="1693164"/>
                </a:lnTo>
                <a:lnTo>
                  <a:pt x="239327" y="1689125"/>
                </a:lnTo>
                <a:lnTo>
                  <a:pt x="239327" y="1679254"/>
                </a:lnTo>
                <a:close/>
                <a:moveTo>
                  <a:pt x="4034" y="1675216"/>
                </a:moveTo>
                <a:lnTo>
                  <a:pt x="13943" y="1675216"/>
                </a:lnTo>
                <a:lnTo>
                  <a:pt x="17962" y="1679254"/>
                </a:lnTo>
                <a:lnTo>
                  <a:pt x="17962" y="1689125"/>
                </a:lnTo>
                <a:lnTo>
                  <a:pt x="13943" y="1693164"/>
                </a:lnTo>
                <a:lnTo>
                  <a:pt x="4034" y="1693164"/>
                </a:lnTo>
                <a:lnTo>
                  <a:pt x="14" y="1689125"/>
                </a:lnTo>
                <a:lnTo>
                  <a:pt x="14" y="1679254"/>
                </a:lnTo>
                <a:close/>
                <a:moveTo>
                  <a:pt x="721972" y="1675216"/>
                </a:moveTo>
                <a:lnTo>
                  <a:pt x="731882" y="1675216"/>
                </a:lnTo>
                <a:lnTo>
                  <a:pt x="735902" y="1679254"/>
                </a:lnTo>
                <a:lnTo>
                  <a:pt x="735902" y="1689125"/>
                </a:lnTo>
                <a:lnTo>
                  <a:pt x="731882" y="1693164"/>
                </a:lnTo>
                <a:lnTo>
                  <a:pt x="721972" y="1693164"/>
                </a:lnTo>
                <a:lnTo>
                  <a:pt x="717954" y="1689125"/>
                </a:lnTo>
                <a:lnTo>
                  <a:pt x="717954" y="1679254"/>
                </a:lnTo>
                <a:close/>
                <a:moveTo>
                  <a:pt x="482660" y="1675216"/>
                </a:moveTo>
                <a:lnTo>
                  <a:pt x="492571" y="1675216"/>
                </a:lnTo>
                <a:lnTo>
                  <a:pt x="496589" y="1679254"/>
                </a:lnTo>
                <a:lnTo>
                  <a:pt x="496589" y="1689125"/>
                </a:lnTo>
                <a:lnTo>
                  <a:pt x="492571" y="1693164"/>
                </a:lnTo>
                <a:lnTo>
                  <a:pt x="482660" y="1693164"/>
                </a:lnTo>
                <a:lnTo>
                  <a:pt x="478641" y="1689125"/>
                </a:lnTo>
                <a:lnTo>
                  <a:pt x="478641" y="1679254"/>
                </a:lnTo>
                <a:close/>
                <a:moveTo>
                  <a:pt x="2393104" y="1436001"/>
                </a:moveTo>
                <a:lnTo>
                  <a:pt x="2403015" y="1436001"/>
                </a:lnTo>
                <a:lnTo>
                  <a:pt x="2407034" y="1440038"/>
                </a:lnTo>
                <a:lnTo>
                  <a:pt x="2407034" y="1449910"/>
                </a:lnTo>
                <a:lnTo>
                  <a:pt x="2403015" y="1453949"/>
                </a:lnTo>
                <a:lnTo>
                  <a:pt x="2393104" y="1453949"/>
                </a:lnTo>
                <a:lnTo>
                  <a:pt x="2389087" y="1449910"/>
                </a:lnTo>
                <a:lnTo>
                  <a:pt x="2389087" y="1440038"/>
                </a:lnTo>
                <a:close/>
                <a:moveTo>
                  <a:pt x="3350359" y="1436000"/>
                </a:moveTo>
                <a:lnTo>
                  <a:pt x="3360268" y="1436000"/>
                </a:lnTo>
                <a:lnTo>
                  <a:pt x="3364287" y="1440038"/>
                </a:lnTo>
                <a:lnTo>
                  <a:pt x="3364287" y="1449909"/>
                </a:lnTo>
                <a:lnTo>
                  <a:pt x="3360268" y="1453949"/>
                </a:lnTo>
                <a:lnTo>
                  <a:pt x="3350359" y="1453949"/>
                </a:lnTo>
                <a:lnTo>
                  <a:pt x="3346340" y="1449909"/>
                </a:lnTo>
                <a:lnTo>
                  <a:pt x="3346340" y="1440038"/>
                </a:lnTo>
                <a:close/>
                <a:moveTo>
                  <a:pt x="3111048" y="1436000"/>
                </a:moveTo>
                <a:lnTo>
                  <a:pt x="3120959" y="1436000"/>
                </a:lnTo>
                <a:lnTo>
                  <a:pt x="3124977" y="1440038"/>
                </a:lnTo>
                <a:lnTo>
                  <a:pt x="3124977" y="1449910"/>
                </a:lnTo>
                <a:lnTo>
                  <a:pt x="3120959" y="1453949"/>
                </a:lnTo>
                <a:lnTo>
                  <a:pt x="3111048" y="1453949"/>
                </a:lnTo>
                <a:lnTo>
                  <a:pt x="3107029" y="1449910"/>
                </a:lnTo>
                <a:lnTo>
                  <a:pt x="3107029" y="1440038"/>
                </a:lnTo>
                <a:close/>
                <a:moveTo>
                  <a:pt x="2871737" y="1436000"/>
                </a:moveTo>
                <a:lnTo>
                  <a:pt x="2881646" y="1436000"/>
                </a:lnTo>
                <a:lnTo>
                  <a:pt x="2885666" y="1440038"/>
                </a:lnTo>
                <a:lnTo>
                  <a:pt x="2885666" y="1449910"/>
                </a:lnTo>
                <a:lnTo>
                  <a:pt x="2881646" y="1453949"/>
                </a:lnTo>
                <a:lnTo>
                  <a:pt x="2871737" y="1453949"/>
                </a:lnTo>
                <a:lnTo>
                  <a:pt x="2867717" y="1449910"/>
                </a:lnTo>
                <a:lnTo>
                  <a:pt x="2867717" y="1440038"/>
                </a:lnTo>
                <a:close/>
                <a:moveTo>
                  <a:pt x="2632423" y="1436000"/>
                </a:moveTo>
                <a:lnTo>
                  <a:pt x="2642334" y="1436000"/>
                </a:lnTo>
                <a:lnTo>
                  <a:pt x="2646352" y="1440038"/>
                </a:lnTo>
                <a:lnTo>
                  <a:pt x="2646352" y="1449910"/>
                </a:lnTo>
                <a:lnTo>
                  <a:pt x="2642334" y="1453949"/>
                </a:lnTo>
                <a:lnTo>
                  <a:pt x="2632423" y="1453949"/>
                </a:lnTo>
                <a:lnTo>
                  <a:pt x="2628404" y="1449910"/>
                </a:lnTo>
                <a:lnTo>
                  <a:pt x="2628404" y="1440038"/>
                </a:lnTo>
                <a:close/>
                <a:moveTo>
                  <a:pt x="3589676" y="1435986"/>
                </a:moveTo>
                <a:lnTo>
                  <a:pt x="3599585" y="1435986"/>
                </a:lnTo>
                <a:lnTo>
                  <a:pt x="3603604" y="1440024"/>
                </a:lnTo>
                <a:lnTo>
                  <a:pt x="3603604" y="1449895"/>
                </a:lnTo>
                <a:lnTo>
                  <a:pt x="3599585" y="1453934"/>
                </a:lnTo>
                <a:lnTo>
                  <a:pt x="3589676" y="1453934"/>
                </a:lnTo>
                <a:lnTo>
                  <a:pt x="3585657" y="1449895"/>
                </a:lnTo>
                <a:lnTo>
                  <a:pt x="3585657" y="1440024"/>
                </a:lnTo>
                <a:close/>
                <a:moveTo>
                  <a:pt x="4546929" y="1435986"/>
                </a:moveTo>
                <a:lnTo>
                  <a:pt x="4556840" y="1435986"/>
                </a:lnTo>
                <a:lnTo>
                  <a:pt x="4560859" y="1440024"/>
                </a:lnTo>
                <a:lnTo>
                  <a:pt x="4560859" y="1449895"/>
                </a:lnTo>
                <a:lnTo>
                  <a:pt x="4556840" y="1453934"/>
                </a:lnTo>
                <a:lnTo>
                  <a:pt x="4546929" y="1453934"/>
                </a:lnTo>
                <a:lnTo>
                  <a:pt x="4542910" y="1449895"/>
                </a:lnTo>
                <a:lnTo>
                  <a:pt x="4542910" y="1440024"/>
                </a:lnTo>
                <a:close/>
                <a:moveTo>
                  <a:pt x="4307612" y="1435986"/>
                </a:moveTo>
                <a:lnTo>
                  <a:pt x="4317523" y="1435986"/>
                </a:lnTo>
                <a:lnTo>
                  <a:pt x="4321543" y="1440024"/>
                </a:lnTo>
                <a:lnTo>
                  <a:pt x="4321543" y="1449895"/>
                </a:lnTo>
                <a:lnTo>
                  <a:pt x="4317523" y="1453934"/>
                </a:lnTo>
                <a:lnTo>
                  <a:pt x="4307612" y="1453934"/>
                </a:lnTo>
                <a:lnTo>
                  <a:pt x="4303595" y="1449895"/>
                </a:lnTo>
                <a:lnTo>
                  <a:pt x="4303595" y="1440024"/>
                </a:lnTo>
                <a:close/>
                <a:moveTo>
                  <a:pt x="4068297" y="1435986"/>
                </a:moveTo>
                <a:lnTo>
                  <a:pt x="4078210" y="1435986"/>
                </a:lnTo>
                <a:lnTo>
                  <a:pt x="4082229" y="1440024"/>
                </a:lnTo>
                <a:lnTo>
                  <a:pt x="4082229" y="1449895"/>
                </a:lnTo>
                <a:lnTo>
                  <a:pt x="4078210" y="1453934"/>
                </a:lnTo>
                <a:lnTo>
                  <a:pt x="4068297" y="1453934"/>
                </a:lnTo>
                <a:lnTo>
                  <a:pt x="4064278" y="1449895"/>
                </a:lnTo>
                <a:lnTo>
                  <a:pt x="4064278" y="1440024"/>
                </a:lnTo>
                <a:close/>
                <a:moveTo>
                  <a:pt x="3828990" y="1435986"/>
                </a:moveTo>
                <a:lnTo>
                  <a:pt x="3838899" y="1435986"/>
                </a:lnTo>
                <a:lnTo>
                  <a:pt x="3842917" y="1440024"/>
                </a:lnTo>
                <a:lnTo>
                  <a:pt x="3842917" y="1449895"/>
                </a:lnTo>
                <a:lnTo>
                  <a:pt x="3838899" y="1453934"/>
                </a:lnTo>
                <a:lnTo>
                  <a:pt x="3828990" y="1453934"/>
                </a:lnTo>
                <a:lnTo>
                  <a:pt x="3824971" y="1449895"/>
                </a:lnTo>
                <a:lnTo>
                  <a:pt x="3824971" y="1440024"/>
                </a:lnTo>
                <a:close/>
                <a:moveTo>
                  <a:pt x="4786241" y="1435972"/>
                </a:moveTo>
                <a:lnTo>
                  <a:pt x="4796152" y="1435972"/>
                </a:lnTo>
                <a:lnTo>
                  <a:pt x="4800171" y="1440010"/>
                </a:lnTo>
                <a:lnTo>
                  <a:pt x="4800171" y="1449881"/>
                </a:lnTo>
                <a:lnTo>
                  <a:pt x="4796152" y="1453920"/>
                </a:lnTo>
                <a:lnTo>
                  <a:pt x="4786241" y="1453920"/>
                </a:lnTo>
                <a:lnTo>
                  <a:pt x="4782224" y="1449881"/>
                </a:lnTo>
                <a:lnTo>
                  <a:pt x="4782224" y="1440010"/>
                </a:lnTo>
                <a:close/>
                <a:moveTo>
                  <a:pt x="5743412" y="1435971"/>
                </a:moveTo>
                <a:lnTo>
                  <a:pt x="5753323" y="1435971"/>
                </a:lnTo>
                <a:lnTo>
                  <a:pt x="5757342" y="1440010"/>
                </a:lnTo>
                <a:lnTo>
                  <a:pt x="5757342" y="1449880"/>
                </a:lnTo>
                <a:lnTo>
                  <a:pt x="5753323" y="1453919"/>
                </a:lnTo>
                <a:lnTo>
                  <a:pt x="5743412" y="1453919"/>
                </a:lnTo>
                <a:lnTo>
                  <a:pt x="5739393" y="1449880"/>
                </a:lnTo>
                <a:lnTo>
                  <a:pt x="5739393" y="1440010"/>
                </a:lnTo>
                <a:close/>
                <a:moveTo>
                  <a:pt x="5504099" y="1435971"/>
                </a:moveTo>
                <a:lnTo>
                  <a:pt x="5514010" y="1435971"/>
                </a:lnTo>
                <a:lnTo>
                  <a:pt x="5518029" y="1440010"/>
                </a:lnTo>
                <a:lnTo>
                  <a:pt x="5518029" y="1449881"/>
                </a:lnTo>
                <a:lnTo>
                  <a:pt x="5514010" y="1453919"/>
                </a:lnTo>
                <a:lnTo>
                  <a:pt x="5504099" y="1453919"/>
                </a:lnTo>
                <a:lnTo>
                  <a:pt x="5500080" y="1449881"/>
                </a:lnTo>
                <a:lnTo>
                  <a:pt x="5500080" y="1440010"/>
                </a:lnTo>
                <a:close/>
                <a:moveTo>
                  <a:pt x="5264784" y="1435971"/>
                </a:moveTo>
                <a:lnTo>
                  <a:pt x="5274694" y="1435971"/>
                </a:lnTo>
                <a:lnTo>
                  <a:pt x="5278713" y="1440010"/>
                </a:lnTo>
                <a:lnTo>
                  <a:pt x="5278713" y="1449881"/>
                </a:lnTo>
                <a:lnTo>
                  <a:pt x="5274694" y="1453920"/>
                </a:lnTo>
                <a:lnTo>
                  <a:pt x="5264784" y="1453920"/>
                </a:lnTo>
                <a:lnTo>
                  <a:pt x="5260765" y="1449881"/>
                </a:lnTo>
                <a:lnTo>
                  <a:pt x="5260765" y="1440010"/>
                </a:lnTo>
                <a:close/>
                <a:moveTo>
                  <a:pt x="5025470" y="1435971"/>
                </a:moveTo>
                <a:lnTo>
                  <a:pt x="5035381" y="1435971"/>
                </a:lnTo>
                <a:lnTo>
                  <a:pt x="5039400" y="1440010"/>
                </a:lnTo>
                <a:lnTo>
                  <a:pt x="5039400" y="1449881"/>
                </a:lnTo>
                <a:lnTo>
                  <a:pt x="5035381" y="1453920"/>
                </a:lnTo>
                <a:lnTo>
                  <a:pt x="5025470" y="1453920"/>
                </a:lnTo>
                <a:lnTo>
                  <a:pt x="5021451" y="1449881"/>
                </a:lnTo>
                <a:lnTo>
                  <a:pt x="5021451" y="1440010"/>
                </a:lnTo>
                <a:close/>
                <a:moveTo>
                  <a:pt x="5982729" y="1435958"/>
                </a:moveTo>
                <a:lnTo>
                  <a:pt x="5992639" y="1435958"/>
                </a:lnTo>
                <a:lnTo>
                  <a:pt x="5996658" y="1439995"/>
                </a:lnTo>
                <a:lnTo>
                  <a:pt x="5996658" y="1449866"/>
                </a:lnTo>
                <a:lnTo>
                  <a:pt x="5992639" y="1453905"/>
                </a:lnTo>
                <a:lnTo>
                  <a:pt x="5982729" y="1453905"/>
                </a:lnTo>
                <a:lnTo>
                  <a:pt x="5978710" y="1449866"/>
                </a:lnTo>
                <a:lnTo>
                  <a:pt x="5978710" y="1439995"/>
                </a:lnTo>
                <a:close/>
                <a:moveTo>
                  <a:pt x="6939983" y="1435956"/>
                </a:moveTo>
                <a:lnTo>
                  <a:pt x="6949894" y="1435956"/>
                </a:lnTo>
                <a:lnTo>
                  <a:pt x="6953913" y="1439995"/>
                </a:lnTo>
                <a:lnTo>
                  <a:pt x="6953913" y="1449865"/>
                </a:lnTo>
                <a:lnTo>
                  <a:pt x="6949894" y="1453905"/>
                </a:lnTo>
                <a:lnTo>
                  <a:pt x="6939983" y="1453905"/>
                </a:lnTo>
                <a:lnTo>
                  <a:pt x="6935964" y="1449865"/>
                </a:lnTo>
                <a:lnTo>
                  <a:pt x="6935964" y="1439995"/>
                </a:lnTo>
                <a:close/>
                <a:moveTo>
                  <a:pt x="6700670" y="1435956"/>
                </a:moveTo>
                <a:lnTo>
                  <a:pt x="6710581" y="1435956"/>
                </a:lnTo>
                <a:lnTo>
                  <a:pt x="6714600" y="1439995"/>
                </a:lnTo>
                <a:lnTo>
                  <a:pt x="6714600" y="1449866"/>
                </a:lnTo>
                <a:lnTo>
                  <a:pt x="6710581" y="1453905"/>
                </a:lnTo>
                <a:lnTo>
                  <a:pt x="6700670" y="1453905"/>
                </a:lnTo>
                <a:lnTo>
                  <a:pt x="6696651" y="1449866"/>
                </a:lnTo>
                <a:lnTo>
                  <a:pt x="6696651" y="1439995"/>
                </a:lnTo>
                <a:close/>
                <a:moveTo>
                  <a:pt x="6461356" y="1435956"/>
                </a:moveTo>
                <a:lnTo>
                  <a:pt x="6471266" y="1435956"/>
                </a:lnTo>
                <a:lnTo>
                  <a:pt x="6475285" y="1439995"/>
                </a:lnTo>
                <a:lnTo>
                  <a:pt x="6475285" y="1449866"/>
                </a:lnTo>
                <a:lnTo>
                  <a:pt x="6471266" y="1453905"/>
                </a:lnTo>
                <a:lnTo>
                  <a:pt x="6461356" y="1453905"/>
                </a:lnTo>
                <a:lnTo>
                  <a:pt x="6457337" y="1449866"/>
                </a:lnTo>
                <a:lnTo>
                  <a:pt x="6457337" y="1439995"/>
                </a:lnTo>
                <a:close/>
                <a:moveTo>
                  <a:pt x="6222042" y="1435956"/>
                </a:moveTo>
                <a:lnTo>
                  <a:pt x="6231952" y="1435956"/>
                </a:lnTo>
                <a:lnTo>
                  <a:pt x="6235971" y="1439995"/>
                </a:lnTo>
                <a:lnTo>
                  <a:pt x="6235971" y="1449866"/>
                </a:lnTo>
                <a:lnTo>
                  <a:pt x="6231952" y="1453905"/>
                </a:lnTo>
                <a:lnTo>
                  <a:pt x="6222042" y="1453905"/>
                </a:lnTo>
                <a:lnTo>
                  <a:pt x="6218023" y="1449866"/>
                </a:lnTo>
                <a:lnTo>
                  <a:pt x="6218023" y="1439995"/>
                </a:lnTo>
                <a:close/>
                <a:moveTo>
                  <a:pt x="7179298" y="1435943"/>
                </a:moveTo>
                <a:lnTo>
                  <a:pt x="7189209" y="1435943"/>
                </a:lnTo>
                <a:lnTo>
                  <a:pt x="7193228" y="1439981"/>
                </a:lnTo>
                <a:lnTo>
                  <a:pt x="7193228" y="1449852"/>
                </a:lnTo>
                <a:lnTo>
                  <a:pt x="7189209" y="1453891"/>
                </a:lnTo>
                <a:lnTo>
                  <a:pt x="7179298" y="1453891"/>
                </a:lnTo>
                <a:lnTo>
                  <a:pt x="7175279" y="1449852"/>
                </a:lnTo>
                <a:lnTo>
                  <a:pt x="7175279" y="1439981"/>
                </a:lnTo>
                <a:close/>
                <a:moveTo>
                  <a:pt x="8136553" y="1435943"/>
                </a:moveTo>
                <a:lnTo>
                  <a:pt x="8146464" y="1435943"/>
                </a:lnTo>
                <a:lnTo>
                  <a:pt x="8150483" y="1439980"/>
                </a:lnTo>
                <a:lnTo>
                  <a:pt x="8150483" y="1449851"/>
                </a:lnTo>
                <a:lnTo>
                  <a:pt x="8146464" y="1453890"/>
                </a:lnTo>
                <a:lnTo>
                  <a:pt x="8136553" y="1453890"/>
                </a:lnTo>
                <a:lnTo>
                  <a:pt x="8132534" y="1449851"/>
                </a:lnTo>
                <a:lnTo>
                  <a:pt x="8132534" y="1439980"/>
                </a:lnTo>
                <a:close/>
                <a:moveTo>
                  <a:pt x="7897241" y="1435943"/>
                </a:moveTo>
                <a:lnTo>
                  <a:pt x="7907151" y="1435943"/>
                </a:lnTo>
                <a:lnTo>
                  <a:pt x="7911170" y="1439980"/>
                </a:lnTo>
                <a:lnTo>
                  <a:pt x="7911170" y="1449852"/>
                </a:lnTo>
                <a:lnTo>
                  <a:pt x="7907151" y="1453890"/>
                </a:lnTo>
                <a:lnTo>
                  <a:pt x="7897241" y="1453890"/>
                </a:lnTo>
                <a:lnTo>
                  <a:pt x="7893222" y="1449852"/>
                </a:lnTo>
                <a:lnTo>
                  <a:pt x="7893222" y="1439980"/>
                </a:lnTo>
                <a:close/>
                <a:moveTo>
                  <a:pt x="7657926" y="1435943"/>
                </a:moveTo>
                <a:lnTo>
                  <a:pt x="7667836" y="1435943"/>
                </a:lnTo>
                <a:lnTo>
                  <a:pt x="7671855" y="1439980"/>
                </a:lnTo>
                <a:lnTo>
                  <a:pt x="7671855" y="1449852"/>
                </a:lnTo>
                <a:lnTo>
                  <a:pt x="7667836" y="1453891"/>
                </a:lnTo>
                <a:lnTo>
                  <a:pt x="7657926" y="1453891"/>
                </a:lnTo>
                <a:lnTo>
                  <a:pt x="7653906" y="1449852"/>
                </a:lnTo>
                <a:lnTo>
                  <a:pt x="7653906" y="1439980"/>
                </a:lnTo>
                <a:close/>
                <a:moveTo>
                  <a:pt x="7418611" y="1435943"/>
                </a:moveTo>
                <a:lnTo>
                  <a:pt x="7428521" y="1435943"/>
                </a:lnTo>
                <a:lnTo>
                  <a:pt x="7432540" y="1439980"/>
                </a:lnTo>
                <a:lnTo>
                  <a:pt x="7432540" y="1449852"/>
                </a:lnTo>
                <a:lnTo>
                  <a:pt x="7428521" y="1453891"/>
                </a:lnTo>
                <a:lnTo>
                  <a:pt x="7418611" y="1453891"/>
                </a:lnTo>
                <a:lnTo>
                  <a:pt x="7414592" y="1449852"/>
                </a:lnTo>
                <a:lnTo>
                  <a:pt x="7414592" y="1439980"/>
                </a:lnTo>
                <a:close/>
                <a:moveTo>
                  <a:pt x="8375869" y="1435928"/>
                </a:moveTo>
                <a:lnTo>
                  <a:pt x="8385779" y="1435928"/>
                </a:lnTo>
                <a:lnTo>
                  <a:pt x="8389799" y="1439967"/>
                </a:lnTo>
                <a:lnTo>
                  <a:pt x="8389799" y="1449837"/>
                </a:lnTo>
                <a:lnTo>
                  <a:pt x="8385779" y="1453877"/>
                </a:lnTo>
                <a:lnTo>
                  <a:pt x="8375869" y="1453877"/>
                </a:lnTo>
                <a:lnTo>
                  <a:pt x="8371850" y="1449837"/>
                </a:lnTo>
                <a:lnTo>
                  <a:pt x="8371850" y="1439967"/>
                </a:lnTo>
                <a:close/>
                <a:moveTo>
                  <a:pt x="9333125" y="1435928"/>
                </a:moveTo>
                <a:lnTo>
                  <a:pt x="9343036" y="1435928"/>
                </a:lnTo>
                <a:lnTo>
                  <a:pt x="9347055" y="1439967"/>
                </a:lnTo>
                <a:lnTo>
                  <a:pt x="9347055" y="1449836"/>
                </a:lnTo>
                <a:lnTo>
                  <a:pt x="9343036" y="1453876"/>
                </a:lnTo>
                <a:lnTo>
                  <a:pt x="9333125" y="1453876"/>
                </a:lnTo>
                <a:lnTo>
                  <a:pt x="9329106" y="1449836"/>
                </a:lnTo>
                <a:lnTo>
                  <a:pt x="9329106" y="1439967"/>
                </a:lnTo>
                <a:close/>
                <a:moveTo>
                  <a:pt x="9093811" y="1435928"/>
                </a:moveTo>
                <a:lnTo>
                  <a:pt x="9103722" y="1435928"/>
                </a:lnTo>
                <a:lnTo>
                  <a:pt x="9107741" y="1439967"/>
                </a:lnTo>
                <a:lnTo>
                  <a:pt x="9107741" y="1449837"/>
                </a:lnTo>
                <a:lnTo>
                  <a:pt x="9103722" y="1453876"/>
                </a:lnTo>
                <a:lnTo>
                  <a:pt x="9093811" y="1453876"/>
                </a:lnTo>
                <a:lnTo>
                  <a:pt x="9089792" y="1449837"/>
                </a:lnTo>
                <a:lnTo>
                  <a:pt x="9089792" y="1439967"/>
                </a:lnTo>
                <a:close/>
                <a:moveTo>
                  <a:pt x="8854496" y="1435928"/>
                </a:moveTo>
                <a:lnTo>
                  <a:pt x="8864407" y="1435928"/>
                </a:lnTo>
                <a:lnTo>
                  <a:pt x="8868426" y="1439967"/>
                </a:lnTo>
                <a:lnTo>
                  <a:pt x="8868426" y="1449837"/>
                </a:lnTo>
                <a:lnTo>
                  <a:pt x="8864407" y="1453877"/>
                </a:lnTo>
                <a:lnTo>
                  <a:pt x="8854496" y="1453877"/>
                </a:lnTo>
                <a:lnTo>
                  <a:pt x="8850477" y="1449837"/>
                </a:lnTo>
                <a:lnTo>
                  <a:pt x="8850477" y="1439967"/>
                </a:lnTo>
                <a:close/>
                <a:moveTo>
                  <a:pt x="8615184" y="1435928"/>
                </a:moveTo>
                <a:lnTo>
                  <a:pt x="8625095" y="1435928"/>
                </a:lnTo>
                <a:lnTo>
                  <a:pt x="8629114" y="1439967"/>
                </a:lnTo>
                <a:lnTo>
                  <a:pt x="8629114" y="1449837"/>
                </a:lnTo>
                <a:lnTo>
                  <a:pt x="8625095" y="1453877"/>
                </a:lnTo>
                <a:lnTo>
                  <a:pt x="8615184" y="1453877"/>
                </a:lnTo>
                <a:lnTo>
                  <a:pt x="8611165" y="1449837"/>
                </a:lnTo>
                <a:lnTo>
                  <a:pt x="8611165" y="1439967"/>
                </a:lnTo>
                <a:close/>
                <a:moveTo>
                  <a:pt x="1679216" y="1435922"/>
                </a:moveTo>
                <a:lnTo>
                  <a:pt x="1689126" y="1435922"/>
                </a:lnTo>
                <a:lnTo>
                  <a:pt x="1693146" y="1439960"/>
                </a:lnTo>
                <a:lnTo>
                  <a:pt x="1693146" y="1449831"/>
                </a:lnTo>
                <a:lnTo>
                  <a:pt x="1689126" y="1453870"/>
                </a:lnTo>
                <a:lnTo>
                  <a:pt x="1679216" y="1453870"/>
                </a:lnTo>
                <a:lnTo>
                  <a:pt x="1675198" y="1449831"/>
                </a:lnTo>
                <a:lnTo>
                  <a:pt x="1675198" y="1439960"/>
                </a:lnTo>
                <a:close/>
                <a:moveTo>
                  <a:pt x="1439900" y="1435922"/>
                </a:moveTo>
                <a:lnTo>
                  <a:pt x="1449810" y="1435922"/>
                </a:lnTo>
                <a:lnTo>
                  <a:pt x="1453828" y="1439960"/>
                </a:lnTo>
                <a:lnTo>
                  <a:pt x="1453828" y="1449831"/>
                </a:lnTo>
                <a:lnTo>
                  <a:pt x="1449810" y="1453870"/>
                </a:lnTo>
                <a:lnTo>
                  <a:pt x="1439900" y="1453870"/>
                </a:lnTo>
                <a:lnTo>
                  <a:pt x="1435880" y="1449831"/>
                </a:lnTo>
                <a:lnTo>
                  <a:pt x="1435880" y="1439960"/>
                </a:lnTo>
                <a:close/>
                <a:moveTo>
                  <a:pt x="1200583" y="1435922"/>
                </a:moveTo>
                <a:lnTo>
                  <a:pt x="1210493" y="1435922"/>
                </a:lnTo>
                <a:lnTo>
                  <a:pt x="1214512" y="1439960"/>
                </a:lnTo>
                <a:lnTo>
                  <a:pt x="1214512" y="1449831"/>
                </a:lnTo>
                <a:lnTo>
                  <a:pt x="1210493" y="1453870"/>
                </a:lnTo>
                <a:lnTo>
                  <a:pt x="1200583" y="1453870"/>
                </a:lnTo>
                <a:lnTo>
                  <a:pt x="1196564" y="1449831"/>
                </a:lnTo>
                <a:lnTo>
                  <a:pt x="1196564" y="1439960"/>
                </a:lnTo>
                <a:close/>
                <a:moveTo>
                  <a:pt x="961270" y="1435922"/>
                </a:moveTo>
                <a:lnTo>
                  <a:pt x="971181" y="1435922"/>
                </a:lnTo>
                <a:lnTo>
                  <a:pt x="975200" y="1439960"/>
                </a:lnTo>
                <a:lnTo>
                  <a:pt x="975200" y="1449831"/>
                </a:lnTo>
                <a:lnTo>
                  <a:pt x="971181" y="1453870"/>
                </a:lnTo>
                <a:lnTo>
                  <a:pt x="961270" y="1453870"/>
                </a:lnTo>
                <a:lnTo>
                  <a:pt x="957252" y="1449831"/>
                </a:lnTo>
                <a:lnTo>
                  <a:pt x="957252" y="1439960"/>
                </a:lnTo>
                <a:close/>
                <a:moveTo>
                  <a:pt x="9572438" y="1435914"/>
                </a:moveTo>
                <a:lnTo>
                  <a:pt x="9582349" y="1435914"/>
                </a:lnTo>
                <a:lnTo>
                  <a:pt x="9586368" y="1439952"/>
                </a:lnTo>
                <a:lnTo>
                  <a:pt x="9586368" y="1449823"/>
                </a:lnTo>
                <a:lnTo>
                  <a:pt x="9582349" y="1453862"/>
                </a:lnTo>
                <a:lnTo>
                  <a:pt x="9572438" y="1453862"/>
                </a:lnTo>
                <a:lnTo>
                  <a:pt x="9568419" y="1449823"/>
                </a:lnTo>
                <a:lnTo>
                  <a:pt x="9568419" y="1439952"/>
                </a:lnTo>
                <a:close/>
                <a:moveTo>
                  <a:pt x="1918514" y="1435912"/>
                </a:moveTo>
                <a:lnTo>
                  <a:pt x="1928424" y="1435912"/>
                </a:lnTo>
                <a:lnTo>
                  <a:pt x="1932443" y="1439950"/>
                </a:lnTo>
                <a:lnTo>
                  <a:pt x="1932443" y="1449821"/>
                </a:lnTo>
                <a:lnTo>
                  <a:pt x="1928424" y="1453860"/>
                </a:lnTo>
                <a:lnTo>
                  <a:pt x="1918514" y="1453860"/>
                </a:lnTo>
                <a:lnTo>
                  <a:pt x="1914494" y="1449821"/>
                </a:lnTo>
                <a:lnTo>
                  <a:pt x="1914494" y="1439950"/>
                </a:lnTo>
                <a:close/>
                <a:moveTo>
                  <a:pt x="2157823" y="1435909"/>
                </a:moveTo>
                <a:lnTo>
                  <a:pt x="2167733" y="1435909"/>
                </a:lnTo>
                <a:lnTo>
                  <a:pt x="2171751" y="1439947"/>
                </a:lnTo>
                <a:lnTo>
                  <a:pt x="2171751" y="1449818"/>
                </a:lnTo>
                <a:lnTo>
                  <a:pt x="2167733" y="1453857"/>
                </a:lnTo>
                <a:lnTo>
                  <a:pt x="2157823" y="1453857"/>
                </a:lnTo>
                <a:lnTo>
                  <a:pt x="2153803" y="1449818"/>
                </a:lnTo>
                <a:lnTo>
                  <a:pt x="2153803" y="1439947"/>
                </a:lnTo>
                <a:close/>
                <a:moveTo>
                  <a:pt x="243347" y="1435883"/>
                </a:moveTo>
                <a:lnTo>
                  <a:pt x="253257" y="1435883"/>
                </a:lnTo>
                <a:lnTo>
                  <a:pt x="257276" y="1439920"/>
                </a:lnTo>
                <a:lnTo>
                  <a:pt x="257276" y="1449791"/>
                </a:lnTo>
                <a:lnTo>
                  <a:pt x="253257" y="1453830"/>
                </a:lnTo>
                <a:lnTo>
                  <a:pt x="243347" y="1453830"/>
                </a:lnTo>
                <a:lnTo>
                  <a:pt x="239328" y="1449791"/>
                </a:lnTo>
                <a:lnTo>
                  <a:pt x="239328" y="1439920"/>
                </a:lnTo>
                <a:close/>
                <a:moveTo>
                  <a:pt x="4034" y="1435883"/>
                </a:moveTo>
                <a:lnTo>
                  <a:pt x="13944" y="1435883"/>
                </a:lnTo>
                <a:lnTo>
                  <a:pt x="17964" y="1439920"/>
                </a:lnTo>
                <a:lnTo>
                  <a:pt x="17964" y="1449791"/>
                </a:lnTo>
                <a:lnTo>
                  <a:pt x="13944" y="1453830"/>
                </a:lnTo>
                <a:lnTo>
                  <a:pt x="4034" y="1453830"/>
                </a:lnTo>
                <a:lnTo>
                  <a:pt x="15" y="1449791"/>
                </a:lnTo>
                <a:lnTo>
                  <a:pt x="15" y="1439920"/>
                </a:lnTo>
                <a:close/>
                <a:moveTo>
                  <a:pt x="721973" y="1435882"/>
                </a:moveTo>
                <a:lnTo>
                  <a:pt x="731883" y="1435882"/>
                </a:lnTo>
                <a:lnTo>
                  <a:pt x="735902" y="1439920"/>
                </a:lnTo>
                <a:lnTo>
                  <a:pt x="735902" y="1449791"/>
                </a:lnTo>
                <a:lnTo>
                  <a:pt x="731883" y="1453830"/>
                </a:lnTo>
                <a:lnTo>
                  <a:pt x="721973" y="1453830"/>
                </a:lnTo>
                <a:lnTo>
                  <a:pt x="717954" y="1449791"/>
                </a:lnTo>
                <a:lnTo>
                  <a:pt x="717954" y="1439920"/>
                </a:lnTo>
                <a:close/>
                <a:moveTo>
                  <a:pt x="482661" y="1435882"/>
                </a:moveTo>
                <a:lnTo>
                  <a:pt x="492571" y="1435882"/>
                </a:lnTo>
                <a:lnTo>
                  <a:pt x="496590" y="1439920"/>
                </a:lnTo>
                <a:lnTo>
                  <a:pt x="496590" y="1449791"/>
                </a:lnTo>
                <a:lnTo>
                  <a:pt x="492571" y="1453830"/>
                </a:lnTo>
                <a:lnTo>
                  <a:pt x="482661" y="1453830"/>
                </a:lnTo>
                <a:lnTo>
                  <a:pt x="478642" y="1449791"/>
                </a:lnTo>
                <a:lnTo>
                  <a:pt x="478642" y="1439920"/>
                </a:lnTo>
                <a:close/>
                <a:moveTo>
                  <a:pt x="3350359" y="1196701"/>
                </a:moveTo>
                <a:lnTo>
                  <a:pt x="3360268" y="1196701"/>
                </a:lnTo>
                <a:lnTo>
                  <a:pt x="3364287" y="1200738"/>
                </a:lnTo>
                <a:lnTo>
                  <a:pt x="3364287" y="1210610"/>
                </a:lnTo>
                <a:lnTo>
                  <a:pt x="3360268" y="1214650"/>
                </a:lnTo>
                <a:lnTo>
                  <a:pt x="3350359" y="1214650"/>
                </a:lnTo>
                <a:lnTo>
                  <a:pt x="3346340" y="1210610"/>
                </a:lnTo>
                <a:lnTo>
                  <a:pt x="3346340" y="1200738"/>
                </a:lnTo>
                <a:close/>
                <a:moveTo>
                  <a:pt x="3111048" y="1196701"/>
                </a:moveTo>
                <a:lnTo>
                  <a:pt x="3120959" y="1196701"/>
                </a:lnTo>
                <a:lnTo>
                  <a:pt x="3124977" y="1200738"/>
                </a:lnTo>
                <a:lnTo>
                  <a:pt x="3124977" y="1210610"/>
                </a:lnTo>
                <a:lnTo>
                  <a:pt x="3120959" y="1214650"/>
                </a:lnTo>
                <a:lnTo>
                  <a:pt x="3111048" y="1214650"/>
                </a:lnTo>
                <a:lnTo>
                  <a:pt x="3107029" y="1210610"/>
                </a:lnTo>
                <a:lnTo>
                  <a:pt x="3107029" y="1200738"/>
                </a:lnTo>
                <a:close/>
                <a:moveTo>
                  <a:pt x="2871737" y="1196701"/>
                </a:moveTo>
                <a:lnTo>
                  <a:pt x="2881646" y="1196701"/>
                </a:lnTo>
                <a:lnTo>
                  <a:pt x="2885666" y="1200738"/>
                </a:lnTo>
                <a:lnTo>
                  <a:pt x="2885666" y="1210610"/>
                </a:lnTo>
                <a:lnTo>
                  <a:pt x="2881646" y="1214650"/>
                </a:lnTo>
                <a:lnTo>
                  <a:pt x="2871737" y="1214650"/>
                </a:lnTo>
                <a:lnTo>
                  <a:pt x="2867717" y="1210610"/>
                </a:lnTo>
                <a:lnTo>
                  <a:pt x="2867717" y="1200738"/>
                </a:lnTo>
                <a:close/>
                <a:moveTo>
                  <a:pt x="2632423" y="1196701"/>
                </a:moveTo>
                <a:lnTo>
                  <a:pt x="2642334" y="1196701"/>
                </a:lnTo>
                <a:lnTo>
                  <a:pt x="2646352" y="1200740"/>
                </a:lnTo>
                <a:lnTo>
                  <a:pt x="2646352" y="1210610"/>
                </a:lnTo>
                <a:lnTo>
                  <a:pt x="2642334" y="1214650"/>
                </a:lnTo>
                <a:lnTo>
                  <a:pt x="2632423" y="1214650"/>
                </a:lnTo>
                <a:lnTo>
                  <a:pt x="2628404" y="1210610"/>
                </a:lnTo>
                <a:lnTo>
                  <a:pt x="2628404" y="1200740"/>
                </a:lnTo>
                <a:close/>
                <a:moveTo>
                  <a:pt x="2393104" y="1196701"/>
                </a:moveTo>
                <a:lnTo>
                  <a:pt x="2403015" y="1196701"/>
                </a:lnTo>
                <a:lnTo>
                  <a:pt x="2407034" y="1200740"/>
                </a:lnTo>
                <a:lnTo>
                  <a:pt x="2407034" y="1210610"/>
                </a:lnTo>
                <a:lnTo>
                  <a:pt x="2403015" y="1214650"/>
                </a:lnTo>
                <a:lnTo>
                  <a:pt x="2393104" y="1214650"/>
                </a:lnTo>
                <a:lnTo>
                  <a:pt x="2389087" y="1210610"/>
                </a:lnTo>
                <a:lnTo>
                  <a:pt x="2389087" y="1200740"/>
                </a:lnTo>
                <a:close/>
                <a:moveTo>
                  <a:pt x="4546929" y="1196689"/>
                </a:moveTo>
                <a:lnTo>
                  <a:pt x="4556840" y="1196689"/>
                </a:lnTo>
                <a:lnTo>
                  <a:pt x="4560859" y="1200726"/>
                </a:lnTo>
                <a:lnTo>
                  <a:pt x="4560859" y="1210598"/>
                </a:lnTo>
                <a:lnTo>
                  <a:pt x="4556840" y="1214637"/>
                </a:lnTo>
                <a:lnTo>
                  <a:pt x="4546929" y="1214637"/>
                </a:lnTo>
                <a:lnTo>
                  <a:pt x="4542910" y="1210598"/>
                </a:lnTo>
                <a:lnTo>
                  <a:pt x="4542910" y="1200726"/>
                </a:lnTo>
                <a:close/>
                <a:moveTo>
                  <a:pt x="4307612" y="1196689"/>
                </a:moveTo>
                <a:lnTo>
                  <a:pt x="4317523" y="1196689"/>
                </a:lnTo>
                <a:lnTo>
                  <a:pt x="4321543" y="1200726"/>
                </a:lnTo>
                <a:lnTo>
                  <a:pt x="4321543" y="1210598"/>
                </a:lnTo>
                <a:lnTo>
                  <a:pt x="4317523" y="1214637"/>
                </a:lnTo>
                <a:lnTo>
                  <a:pt x="4307612" y="1214637"/>
                </a:lnTo>
                <a:lnTo>
                  <a:pt x="4303595" y="1210598"/>
                </a:lnTo>
                <a:lnTo>
                  <a:pt x="4303595" y="1200726"/>
                </a:lnTo>
                <a:close/>
                <a:moveTo>
                  <a:pt x="4068297" y="1196689"/>
                </a:moveTo>
                <a:lnTo>
                  <a:pt x="4078210" y="1196689"/>
                </a:lnTo>
                <a:lnTo>
                  <a:pt x="4082229" y="1200726"/>
                </a:lnTo>
                <a:lnTo>
                  <a:pt x="4082229" y="1210598"/>
                </a:lnTo>
                <a:lnTo>
                  <a:pt x="4078210" y="1214637"/>
                </a:lnTo>
                <a:lnTo>
                  <a:pt x="4068297" y="1214637"/>
                </a:lnTo>
                <a:lnTo>
                  <a:pt x="4064278" y="1210598"/>
                </a:lnTo>
                <a:lnTo>
                  <a:pt x="4064278" y="1200726"/>
                </a:lnTo>
                <a:close/>
                <a:moveTo>
                  <a:pt x="3828990" y="1196689"/>
                </a:moveTo>
                <a:lnTo>
                  <a:pt x="3838899" y="1196689"/>
                </a:lnTo>
                <a:lnTo>
                  <a:pt x="3842917" y="1200728"/>
                </a:lnTo>
                <a:lnTo>
                  <a:pt x="3842917" y="1210598"/>
                </a:lnTo>
                <a:lnTo>
                  <a:pt x="3838899" y="1214637"/>
                </a:lnTo>
                <a:lnTo>
                  <a:pt x="3828990" y="1214637"/>
                </a:lnTo>
                <a:lnTo>
                  <a:pt x="3824971" y="1210598"/>
                </a:lnTo>
                <a:lnTo>
                  <a:pt x="3824971" y="1200728"/>
                </a:lnTo>
                <a:close/>
                <a:moveTo>
                  <a:pt x="3589676" y="1196689"/>
                </a:moveTo>
                <a:lnTo>
                  <a:pt x="3599585" y="1196689"/>
                </a:lnTo>
                <a:lnTo>
                  <a:pt x="3603604" y="1200728"/>
                </a:lnTo>
                <a:lnTo>
                  <a:pt x="3603604" y="1210598"/>
                </a:lnTo>
                <a:lnTo>
                  <a:pt x="3599585" y="1214637"/>
                </a:lnTo>
                <a:lnTo>
                  <a:pt x="3589676" y="1214637"/>
                </a:lnTo>
                <a:lnTo>
                  <a:pt x="3585657" y="1210598"/>
                </a:lnTo>
                <a:lnTo>
                  <a:pt x="3585657" y="1200728"/>
                </a:lnTo>
                <a:close/>
                <a:moveTo>
                  <a:pt x="5743412" y="1196676"/>
                </a:moveTo>
                <a:lnTo>
                  <a:pt x="5753323" y="1196676"/>
                </a:lnTo>
                <a:lnTo>
                  <a:pt x="5757342" y="1200714"/>
                </a:lnTo>
                <a:lnTo>
                  <a:pt x="5757342" y="1210586"/>
                </a:lnTo>
                <a:lnTo>
                  <a:pt x="5753323" y="1214625"/>
                </a:lnTo>
                <a:lnTo>
                  <a:pt x="5743412" y="1214625"/>
                </a:lnTo>
                <a:lnTo>
                  <a:pt x="5739393" y="1210586"/>
                </a:lnTo>
                <a:lnTo>
                  <a:pt x="5739393" y="1200714"/>
                </a:lnTo>
                <a:close/>
                <a:moveTo>
                  <a:pt x="5504099" y="1196676"/>
                </a:moveTo>
                <a:lnTo>
                  <a:pt x="5514010" y="1196676"/>
                </a:lnTo>
                <a:lnTo>
                  <a:pt x="5518029" y="1200714"/>
                </a:lnTo>
                <a:lnTo>
                  <a:pt x="5518029" y="1210586"/>
                </a:lnTo>
                <a:lnTo>
                  <a:pt x="5514010" y="1214625"/>
                </a:lnTo>
                <a:lnTo>
                  <a:pt x="5504099" y="1214625"/>
                </a:lnTo>
                <a:lnTo>
                  <a:pt x="5500080" y="1210586"/>
                </a:lnTo>
                <a:lnTo>
                  <a:pt x="5500080" y="1200714"/>
                </a:lnTo>
                <a:close/>
                <a:moveTo>
                  <a:pt x="5264784" y="1196676"/>
                </a:moveTo>
                <a:lnTo>
                  <a:pt x="5274694" y="1196676"/>
                </a:lnTo>
                <a:lnTo>
                  <a:pt x="5278713" y="1200714"/>
                </a:lnTo>
                <a:lnTo>
                  <a:pt x="5278713" y="1210586"/>
                </a:lnTo>
                <a:lnTo>
                  <a:pt x="5274694" y="1214625"/>
                </a:lnTo>
                <a:lnTo>
                  <a:pt x="5264784" y="1214625"/>
                </a:lnTo>
                <a:lnTo>
                  <a:pt x="5260765" y="1210586"/>
                </a:lnTo>
                <a:lnTo>
                  <a:pt x="5260765" y="1200714"/>
                </a:lnTo>
                <a:close/>
                <a:moveTo>
                  <a:pt x="5025470" y="1196676"/>
                </a:moveTo>
                <a:lnTo>
                  <a:pt x="5035381" y="1196676"/>
                </a:lnTo>
                <a:lnTo>
                  <a:pt x="5039400" y="1200715"/>
                </a:lnTo>
                <a:lnTo>
                  <a:pt x="5039400" y="1210586"/>
                </a:lnTo>
                <a:lnTo>
                  <a:pt x="5035381" y="1214625"/>
                </a:lnTo>
                <a:lnTo>
                  <a:pt x="5025470" y="1214625"/>
                </a:lnTo>
                <a:lnTo>
                  <a:pt x="5021451" y="1210586"/>
                </a:lnTo>
                <a:lnTo>
                  <a:pt x="5021451" y="1200715"/>
                </a:lnTo>
                <a:close/>
                <a:moveTo>
                  <a:pt x="4786241" y="1196676"/>
                </a:moveTo>
                <a:lnTo>
                  <a:pt x="4796152" y="1196676"/>
                </a:lnTo>
                <a:lnTo>
                  <a:pt x="4800171" y="1200715"/>
                </a:lnTo>
                <a:lnTo>
                  <a:pt x="4800171" y="1210586"/>
                </a:lnTo>
                <a:lnTo>
                  <a:pt x="4796152" y="1214625"/>
                </a:lnTo>
                <a:lnTo>
                  <a:pt x="4786241" y="1214625"/>
                </a:lnTo>
                <a:lnTo>
                  <a:pt x="4782224" y="1210586"/>
                </a:lnTo>
                <a:lnTo>
                  <a:pt x="4782224" y="1200715"/>
                </a:lnTo>
                <a:close/>
                <a:moveTo>
                  <a:pt x="6222042" y="1196664"/>
                </a:moveTo>
                <a:lnTo>
                  <a:pt x="6231952" y="1196664"/>
                </a:lnTo>
                <a:lnTo>
                  <a:pt x="6235971" y="1200703"/>
                </a:lnTo>
                <a:lnTo>
                  <a:pt x="6235971" y="1210573"/>
                </a:lnTo>
                <a:lnTo>
                  <a:pt x="6231952" y="1214612"/>
                </a:lnTo>
                <a:lnTo>
                  <a:pt x="6222042" y="1214612"/>
                </a:lnTo>
                <a:lnTo>
                  <a:pt x="6218023" y="1210573"/>
                </a:lnTo>
                <a:lnTo>
                  <a:pt x="6218023" y="1200703"/>
                </a:lnTo>
                <a:close/>
                <a:moveTo>
                  <a:pt x="5982729" y="1196664"/>
                </a:moveTo>
                <a:lnTo>
                  <a:pt x="5992639" y="1196664"/>
                </a:lnTo>
                <a:lnTo>
                  <a:pt x="5996658" y="1200703"/>
                </a:lnTo>
                <a:lnTo>
                  <a:pt x="5996658" y="1210573"/>
                </a:lnTo>
                <a:lnTo>
                  <a:pt x="5992639" y="1214612"/>
                </a:lnTo>
                <a:lnTo>
                  <a:pt x="5982729" y="1214612"/>
                </a:lnTo>
                <a:lnTo>
                  <a:pt x="5978710" y="1210573"/>
                </a:lnTo>
                <a:lnTo>
                  <a:pt x="5978710" y="1200703"/>
                </a:lnTo>
                <a:close/>
                <a:moveTo>
                  <a:pt x="6939983" y="1196664"/>
                </a:moveTo>
                <a:lnTo>
                  <a:pt x="6949894" y="1196664"/>
                </a:lnTo>
                <a:lnTo>
                  <a:pt x="6953913" y="1200702"/>
                </a:lnTo>
                <a:lnTo>
                  <a:pt x="6953913" y="1210573"/>
                </a:lnTo>
                <a:lnTo>
                  <a:pt x="6949894" y="1214612"/>
                </a:lnTo>
                <a:lnTo>
                  <a:pt x="6939983" y="1214612"/>
                </a:lnTo>
                <a:lnTo>
                  <a:pt x="6935964" y="1210573"/>
                </a:lnTo>
                <a:lnTo>
                  <a:pt x="6935964" y="1200702"/>
                </a:lnTo>
                <a:close/>
                <a:moveTo>
                  <a:pt x="6700670" y="1196664"/>
                </a:moveTo>
                <a:lnTo>
                  <a:pt x="6710581" y="1196664"/>
                </a:lnTo>
                <a:lnTo>
                  <a:pt x="6714600" y="1200702"/>
                </a:lnTo>
                <a:lnTo>
                  <a:pt x="6714600" y="1210573"/>
                </a:lnTo>
                <a:lnTo>
                  <a:pt x="6710581" y="1214612"/>
                </a:lnTo>
                <a:lnTo>
                  <a:pt x="6700670" y="1214612"/>
                </a:lnTo>
                <a:lnTo>
                  <a:pt x="6696651" y="1210573"/>
                </a:lnTo>
                <a:lnTo>
                  <a:pt x="6696651" y="1200702"/>
                </a:lnTo>
                <a:close/>
                <a:moveTo>
                  <a:pt x="6461356" y="1196664"/>
                </a:moveTo>
                <a:lnTo>
                  <a:pt x="6471266" y="1196664"/>
                </a:lnTo>
                <a:lnTo>
                  <a:pt x="6475285" y="1200702"/>
                </a:lnTo>
                <a:lnTo>
                  <a:pt x="6475285" y="1210573"/>
                </a:lnTo>
                <a:lnTo>
                  <a:pt x="6471266" y="1214612"/>
                </a:lnTo>
                <a:lnTo>
                  <a:pt x="6461356" y="1214612"/>
                </a:lnTo>
                <a:lnTo>
                  <a:pt x="6457337" y="1210573"/>
                </a:lnTo>
                <a:lnTo>
                  <a:pt x="6457337" y="1200702"/>
                </a:lnTo>
                <a:close/>
                <a:moveTo>
                  <a:pt x="7418611" y="1196652"/>
                </a:moveTo>
                <a:lnTo>
                  <a:pt x="7428521" y="1196652"/>
                </a:lnTo>
                <a:lnTo>
                  <a:pt x="7432540" y="1200690"/>
                </a:lnTo>
                <a:lnTo>
                  <a:pt x="7432540" y="1210561"/>
                </a:lnTo>
                <a:lnTo>
                  <a:pt x="7428521" y="1214600"/>
                </a:lnTo>
                <a:lnTo>
                  <a:pt x="7418611" y="1214600"/>
                </a:lnTo>
                <a:lnTo>
                  <a:pt x="7414592" y="1210561"/>
                </a:lnTo>
                <a:lnTo>
                  <a:pt x="7414592" y="1200690"/>
                </a:lnTo>
                <a:close/>
                <a:moveTo>
                  <a:pt x="7179298" y="1196652"/>
                </a:moveTo>
                <a:lnTo>
                  <a:pt x="7189209" y="1196652"/>
                </a:lnTo>
                <a:lnTo>
                  <a:pt x="7193228" y="1200690"/>
                </a:lnTo>
                <a:lnTo>
                  <a:pt x="7193228" y="1210561"/>
                </a:lnTo>
                <a:lnTo>
                  <a:pt x="7189209" y="1214600"/>
                </a:lnTo>
                <a:lnTo>
                  <a:pt x="7179298" y="1214600"/>
                </a:lnTo>
                <a:lnTo>
                  <a:pt x="7175279" y="1210561"/>
                </a:lnTo>
                <a:lnTo>
                  <a:pt x="7175279" y="1200690"/>
                </a:lnTo>
                <a:close/>
                <a:moveTo>
                  <a:pt x="8136553" y="1196651"/>
                </a:moveTo>
                <a:lnTo>
                  <a:pt x="8146464" y="1196651"/>
                </a:lnTo>
                <a:lnTo>
                  <a:pt x="8150483" y="1200689"/>
                </a:lnTo>
                <a:lnTo>
                  <a:pt x="8150483" y="1210561"/>
                </a:lnTo>
                <a:lnTo>
                  <a:pt x="8146464" y="1214600"/>
                </a:lnTo>
                <a:lnTo>
                  <a:pt x="8136553" y="1214600"/>
                </a:lnTo>
                <a:lnTo>
                  <a:pt x="8132534" y="1210561"/>
                </a:lnTo>
                <a:lnTo>
                  <a:pt x="8132534" y="1200689"/>
                </a:lnTo>
                <a:close/>
                <a:moveTo>
                  <a:pt x="7897241" y="1196651"/>
                </a:moveTo>
                <a:lnTo>
                  <a:pt x="7907151" y="1196651"/>
                </a:lnTo>
                <a:lnTo>
                  <a:pt x="7911170" y="1200689"/>
                </a:lnTo>
                <a:lnTo>
                  <a:pt x="7911170" y="1210561"/>
                </a:lnTo>
                <a:lnTo>
                  <a:pt x="7907151" y="1214600"/>
                </a:lnTo>
                <a:lnTo>
                  <a:pt x="7897241" y="1214600"/>
                </a:lnTo>
                <a:lnTo>
                  <a:pt x="7893222" y="1210561"/>
                </a:lnTo>
                <a:lnTo>
                  <a:pt x="7893222" y="1200689"/>
                </a:lnTo>
                <a:close/>
                <a:moveTo>
                  <a:pt x="7657926" y="1196651"/>
                </a:moveTo>
                <a:lnTo>
                  <a:pt x="7667836" y="1196651"/>
                </a:lnTo>
                <a:lnTo>
                  <a:pt x="7671855" y="1200689"/>
                </a:lnTo>
                <a:lnTo>
                  <a:pt x="7671855" y="1210561"/>
                </a:lnTo>
                <a:lnTo>
                  <a:pt x="7667836" y="1214600"/>
                </a:lnTo>
                <a:lnTo>
                  <a:pt x="7657926" y="1214600"/>
                </a:lnTo>
                <a:lnTo>
                  <a:pt x="7653906" y="1210561"/>
                </a:lnTo>
                <a:lnTo>
                  <a:pt x="7653906" y="1200689"/>
                </a:lnTo>
                <a:close/>
                <a:moveTo>
                  <a:pt x="8615184" y="1196639"/>
                </a:moveTo>
                <a:lnTo>
                  <a:pt x="8625095" y="1196639"/>
                </a:lnTo>
                <a:lnTo>
                  <a:pt x="8629114" y="1200678"/>
                </a:lnTo>
                <a:lnTo>
                  <a:pt x="8629114" y="1210548"/>
                </a:lnTo>
                <a:lnTo>
                  <a:pt x="8625095" y="1214587"/>
                </a:lnTo>
                <a:lnTo>
                  <a:pt x="8615184" y="1214587"/>
                </a:lnTo>
                <a:lnTo>
                  <a:pt x="8611165" y="1210548"/>
                </a:lnTo>
                <a:lnTo>
                  <a:pt x="8611165" y="1200678"/>
                </a:lnTo>
                <a:close/>
                <a:moveTo>
                  <a:pt x="8375869" y="1196639"/>
                </a:moveTo>
                <a:lnTo>
                  <a:pt x="8385779" y="1196639"/>
                </a:lnTo>
                <a:lnTo>
                  <a:pt x="8389799" y="1200678"/>
                </a:lnTo>
                <a:lnTo>
                  <a:pt x="8389799" y="1210549"/>
                </a:lnTo>
                <a:lnTo>
                  <a:pt x="8385779" y="1214587"/>
                </a:lnTo>
                <a:lnTo>
                  <a:pt x="8375869" y="1214587"/>
                </a:lnTo>
                <a:lnTo>
                  <a:pt x="8371850" y="1210549"/>
                </a:lnTo>
                <a:lnTo>
                  <a:pt x="8371850" y="1200678"/>
                </a:lnTo>
                <a:close/>
                <a:moveTo>
                  <a:pt x="9333125" y="1196639"/>
                </a:moveTo>
                <a:lnTo>
                  <a:pt x="9343036" y="1196639"/>
                </a:lnTo>
                <a:lnTo>
                  <a:pt x="9347055" y="1200677"/>
                </a:lnTo>
                <a:lnTo>
                  <a:pt x="9347055" y="1210548"/>
                </a:lnTo>
                <a:lnTo>
                  <a:pt x="9343036" y="1214587"/>
                </a:lnTo>
                <a:lnTo>
                  <a:pt x="9333125" y="1214587"/>
                </a:lnTo>
                <a:lnTo>
                  <a:pt x="9329106" y="1210548"/>
                </a:lnTo>
                <a:lnTo>
                  <a:pt x="9329106" y="1200677"/>
                </a:lnTo>
                <a:close/>
                <a:moveTo>
                  <a:pt x="9093811" y="1196639"/>
                </a:moveTo>
                <a:lnTo>
                  <a:pt x="9103722" y="1196639"/>
                </a:lnTo>
                <a:lnTo>
                  <a:pt x="9107741" y="1200677"/>
                </a:lnTo>
                <a:lnTo>
                  <a:pt x="9107741" y="1210548"/>
                </a:lnTo>
                <a:lnTo>
                  <a:pt x="9103722" y="1214587"/>
                </a:lnTo>
                <a:lnTo>
                  <a:pt x="9093811" y="1214587"/>
                </a:lnTo>
                <a:lnTo>
                  <a:pt x="9089792" y="1210548"/>
                </a:lnTo>
                <a:lnTo>
                  <a:pt x="9089792" y="1200677"/>
                </a:lnTo>
                <a:close/>
                <a:moveTo>
                  <a:pt x="8854496" y="1196639"/>
                </a:moveTo>
                <a:lnTo>
                  <a:pt x="8864407" y="1196639"/>
                </a:lnTo>
                <a:lnTo>
                  <a:pt x="8868426" y="1200677"/>
                </a:lnTo>
                <a:lnTo>
                  <a:pt x="8868426" y="1210548"/>
                </a:lnTo>
                <a:lnTo>
                  <a:pt x="8864407" y="1214587"/>
                </a:lnTo>
                <a:lnTo>
                  <a:pt x="8854496" y="1214587"/>
                </a:lnTo>
                <a:lnTo>
                  <a:pt x="8850477" y="1210548"/>
                </a:lnTo>
                <a:lnTo>
                  <a:pt x="8850477" y="1200677"/>
                </a:lnTo>
                <a:close/>
                <a:moveTo>
                  <a:pt x="9572438" y="1196627"/>
                </a:moveTo>
                <a:lnTo>
                  <a:pt x="9582349" y="1196627"/>
                </a:lnTo>
                <a:lnTo>
                  <a:pt x="9586368" y="1200665"/>
                </a:lnTo>
                <a:lnTo>
                  <a:pt x="9586368" y="1210536"/>
                </a:lnTo>
                <a:lnTo>
                  <a:pt x="9582349" y="1214575"/>
                </a:lnTo>
                <a:lnTo>
                  <a:pt x="9572438" y="1214575"/>
                </a:lnTo>
                <a:lnTo>
                  <a:pt x="9568419" y="1210536"/>
                </a:lnTo>
                <a:lnTo>
                  <a:pt x="9568419" y="1200665"/>
                </a:lnTo>
                <a:close/>
                <a:moveTo>
                  <a:pt x="4035" y="1196600"/>
                </a:moveTo>
                <a:lnTo>
                  <a:pt x="13945" y="1196600"/>
                </a:lnTo>
                <a:lnTo>
                  <a:pt x="17964" y="1200638"/>
                </a:lnTo>
                <a:lnTo>
                  <a:pt x="17964" y="1210509"/>
                </a:lnTo>
                <a:lnTo>
                  <a:pt x="13945" y="1214548"/>
                </a:lnTo>
                <a:lnTo>
                  <a:pt x="4035" y="1214548"/>
                </a:lnTo>
                <a:lnTo>
                  <a:pt x="16" y="1210509"/>
                </a:lnTo>
                <a:lnTo>
                  <a:pt x="16" y="1200638"/>
                </a:lnTo>
                <a:close/>
                <a:moveTo>
                  <a:pt x="721974" y="1196599"/>
                </a:moveTo>
                <a:lnTo>
                  <a:pt x="731884" y="1196599"/>
                </a:lnTo>
                <a:lnTo>
                  <a:pt x="735903" y="1200638"/>
                </a:lnTo>
                <a:lnTo>
                  <a:pt x="735903" y="1210509"/>
                </a:lnTo>
                <a:lnTo>
                  <a:pt x="731884" y="1214547"/>
                </a:lnTo>
                <a:lnTo>
                  <a:pt x="721974" y="1214547"/>
                </a:lnTo>
                <a:lnTo>
                  <a:pt x="717955" y="1210509"/>
                </a:lnTo>
                <a:lnTo>
                  <a:pt x="717955" y="1200638"/>
                </a:lnTo>
                <a:close/>
                <a:moveTo>
                  <a:pt x="482661" y="1196599"/>
                </a:moveTo>
                <a:lnTo>
                  <a:pt x="492572" y="1196599"/>
                </a:lnTo>
                <a:lnTo>
                  <a:pt x="496591" y="1200638"/>
                </a:lnTo>
                <a:lnTo>
                  <a:pt x="496591" y="1210509"/>
                </a:lnTo>
                <a:lnTo>
                  <a:pt x="492572" y="1214548"/>
                </a:lnTo>
                <a:lnTo>
                  <a:pt x="482661" y="1214548"/>
                </a:lnTo>
                <a:lnTo>
                  <a:pt x="478642" y="1210509"/>
                </a:lnTo>
                <a:lnTo>
                  <a:pt x="478642" y="1200638"/>
                </a:lnTo>
                <a:close/>
                <a:moveTo>
                  <a:pt x="243348" y="1196599"/>
                </a:moveTo>
                <a:lnTo>
                  <a:pt x="253258" y="1196599"/>
                </a:lnTo>
                <a:lnTo>
                  <a:pt x="257278" y="1200638"/>
                </a:lnTo>
                <a:lnTo>
                  <a:pt x="257278" y="1210509"/>
                </a:lnTo>
                <a:lnTo>
                  <a:pt x="253258" y="1214548"/>
                </a:lnTo>
                <a:lnTo>
                  <a:pt x="243348" y="1214548"/>
                </a:lnTo>
                <a:lnTo>
                  <a:pt x="239329" y="1210509"/>
                </a:lnTo>
                <a:lnTo>
                  <a:pt x="239329" y="1200638"/>
                </a:lnTo>
                <a:close/>
                <a:moveTo>
                  <a:pt x="1439900" y="1196589"/>
                </a:moveTo>
                <a:lnTo>
                  <a:pt x="1449810" y="1196589"/>
                </a:lnTo>
                <a:lnTo>
                  <a:pt x="1453829" y="1200628"/>
                </a:lnTo>
                <a:lnTo>
                  <a:pt x="1453829" y="1210498"/>
                </a:lnTo>
                <a:lnTo>
                  <a:pt x="1449810" y="1214537"/>
                </a:lnTo>
                <a:lnTo>
                  <a:pt x="1439900" y="1214537"/>
                </a:lnTo>
                <a:lnTo>
                  <a:pt x="1435881" y="1210498"/>
                </a:lnTo>
                <a:lnTo>
                  <a:pt x="1435881" y="1200628"/>
                </a:lnTo>
                <a:close/>
                <a:moveTo>
                  <a:pt x="1200584" y="1196589"/>
                </a:moveTo>
                <a:lnTo>
                  <a:pt x="1210494" y="1196589"/>
                </a:lnTo>
                <a:lnTo>
                  <a:pt x="1214512" y="1200628"/>
                </a:lnTo>
                <a:lnTo>
                  <a:pt x="1214512" y="1210498"/>
                </a:lnTo>
                <a:lnTo>
                  <a:pt x="1210494" y="1214537"/>
                </a:lnTo>
                <a:lnTo>
                  <a:pt x="1200584" y="1214537"/>
                </a:lnTo>
                <a:lnTo>
                  <a:pt x="1196565" y="1210498"/>
                </a:lnTo>
                <a:lnTo>
                  <a:pt x="1196565" y="1200628"/>
                </a:lnTo>
                <a:close/>
                <a:moveTo>
                  <a:pt x="961271" y="1196589"/>
                </a:moveTo>
                <a:lnTo>
                  <a:pt x="971181" y="1196589"/>
                </a:lnTo>
                <a:lnTo>
                  <a:pt x="975200" y="1200628"/>
                </a:lnTo>
                <a:lnTo>
                  <a:pt x="975200" y="1210499"/>
                </a:lnTo>
                <a:lnTo>
                  <a:pt x="971181" y="1214537"/>
                </a:lnTo>
                <a:lnTo>
                  <a:pt x="961271" y="1214537"/>
                </a:lnTo>
                <a:lnTo>
                  <a:pt x="957253" y="1210499"/>
                </a:lnTo>
                <a:lnTo>
                  <a:pt x="957253" y="1200628"/>
                </a:lnTo>
                <a:close/>
                <a:moveTo>
                  <a:pt x="1679217" y="1196589"/>
                </a:moveTo>
                <a:lnTo>
                  <a:pt x="1689127" y="1196589"/>
                </a:lnTo>
                <a:lnTo>
                  <a:pt x="1693146" y="1200627"/>
                </a:lnTo>
                <a:lnTo>
                  <a:pt x="1693146" y="1210498"/>
                </a:lnTo>
                <a:lnTo>
                  <a:pt x="1689127" y="1214537"/>
                </a:lnTo>
                <a:lnTo>
                  <a:pt x="1679217" y="1214537"/>
                </a:lnTo>
                <a:lnTo>
                  <a:pt x="1675198" y="1210498"/>
                </a:lnTo>
                <a:lnTo>
                  <a:pt x="1675198" y="1200627"/>
                </a:lnTo>
                <a:close/>
                <a:moveTo>
                  <a:pt x="1918514" y="1196581"/>
                </a:moveTo>
                <a:lnTo>
                  <a:pt x="1928424" y="1196581"/>
                </a:lnTo>
                <a:lnTo>
                  <a:pt x="1932443" y="1200619"/>
                </a:lnTo>
                <a:lnTo>
                  <a:pt x="1932443" y="1210489"/>
                </a:lnTo>
                <a:lnTo>
                  <a:pt x="1928424" y="1214528"/>
                </a:lnTo>
                <a:lnTo>
                  <a:pt x="1918514" y="1214528"/>
                </a:lnTo>
                <a:lnTo>
                  <a:pt x="1914495" y="1210489"/>
                </a:lnTo>
                <a:lnTo>
                  <a:pt x="1914495" y="1200619"/>
                </a:lnTo>
                <a:close/>
                <a:moveTo>
                  <a:pt x="2157823" y="1196578"/>
                </a:moveTo>
                <a:lnTo>
                  <a:pt x="2167733" y="1196578"/>
                </a:lnTo>
                <a:lnTo>
                  <a:pt x="2171751" y="1200617"/>
                </a:lnTo>
                <a:lnTo>
                  <a:pt x="2171751" y="1210488"/>
                </a:lnTo>
                <a:lnTo>
                  <a:pt x="2167733" y="1214526"/>
                </a:lnTo>
                <a:lnTo>
                  <a:pt x="2157823" y="1214526"/>
                </a:lnTo>
                <a:lnTo>
                  <a:pt x="2153803" y="1210488"/>
                </a:lnTo>
                <a:lnTo>
                  <a:pt x="2153803" y="1200617"/>
                </a:lnTo>
                <a:close/>
                <a:moveTo>
                  <a:pt x="3350359" y="957358"/>
                </a:moveTo>
                <a:lnTo>
                  <a:pt x="3360268" y="957358"/>
                </a:lnTo>
                <a:lnTo>
                  <a:pt x="3364287" y="961396"/>
                </a:lnTo>
                <a:lnTo>
                  <a:pt x="3364287" y="971266"/>
                </a:lnTo>
                <a:lnTo>
                  <a:pt x="3360268" y="975304"/>
                </a:lnTo>
                <a:lnTo>
                  <a:pt x="3350359" y="975304"/>
                </a:lnTo>
                <a:lnTo>
                  <a:pt x="3346340" y="971266"/>
                </a:lnTo>
                <a:lnTo>
                  <a:pt x="3346340" y="961396"/>
                </a:lnTo>
                <a:close/>
                <a:moveTo>
                  <a:pt x="3111048" y="957358"/>
                </a:moveTo>
                <a:lnTo>
                  <a:pt x="3120959" y="957358"/>
                </a:lnTo>
                <a:lnTo>
                  <a:pt x="3124977" y="961396"/>
                </a:lnTo>
                <a:lnTo>
                  <a:pt x="3124977" y="971266"/>
                </a:lnTo>
                <a:lnTo>
                  <a:pt x="3120959" y="975304"/>
                </a:lnTo>
                <a:lnTo>
                  <a:pt x="3111048" y="975304"/>
                </a:lnTo>
                <a:lnTo>
                  <a:pt x="3107029" y="971266"/>
                </a:lnTo>
                <a:lnTo>
                  <a:pt x="3107029" y="961396"/>
                </a:lnTo>
                <a:close/>
                <a:moveTo>
                  <a:pt x="2871737" y="957358"/>
                </a:moveTo>
                <a:lnTo>
                  <a:pt x="2881646" y="957358"/>
                </a:lnTo>
                <a:lnTo>
                  <a:pt x="2885666" y="961396"/>
                </a:lnTo>
                <a:lnTo>
                  <a:pt x="2885666" y="971266"/>
                </a:lnTo>
                <a:lnTo>
                  <a:pt x="2881646" y="975304"/>
                </a:lnTo>
                <a:lnTo>
                  <a:pt x="2871737" y="975304"/>
                </a:lnTo>
                <a:lnTo>
                  <a:pt x="2867717" y="971266"/>
                </a:lnTo>
                <a:lnTo>
                  <a:pt x="2867717" y="961396"/>
                </a:lnTo>
                <a:close/>
                <a:moveTo>
                  <a:pt x="2632423" y="957358"/>
                </a:moveTo>
                <a:lnTo>
                  <a:pt x="2642334" y="957358"/>
                </a:lnTo>
                <a:lnTo>
                  <a:pt x="2646352" y="961396"/>
                </a:lnTo>
                <a:lnTo>
                  <a:pt x="2646352" y="971266"/>
                </a:lnTo>
                <a:lnTo>
                  <a:pt x="2642334" y="975305"/>
                </a:lnTo>
                <a:lnTo>
                  <a:pt x="2632423" y="975305"/>
                </a:lnTo>
                <a:lnTo>
                  <a:pt x="2628404" y="971266"/>
                </a:lnTo>
                <a:lnTo>
                  <a:pt x="2628404" y="961396"/>
                </a:lnTo>
                <a:close/>
                <a:moveTo>
                  <a:pt x="2393104" y="957358"/>
                </a:moveTo>
                <a:lnTo>
                  <a:pt x="2403015" y="957358"/>
                </a:lnTo>
                <a:lnTo>
                  <a:pt x="2407034" y="961396"/>
                </a:lnTo>
                <a:lnTo>
                  <a:pt x="2407034" y="971266"/>
                </a:lnTo>
                <a:lnTo>
                  <a:pt x="2403015" y="975305"/>
                </a:lnTo>
                <a:lnTo>
                  <a:pt x="2393104" y="975305"/>
                </a:lnTo>
                <a:lnTo>
                  <a:pt x="2389087" y="971266"/>
                </a:lnTo>
                <a:lnTo>
                  <a:pt x="2389087" y="961396"/>
                </a:lnTo>
                <a:close/>
                <a:moveTo>
                  <a:pt x="4546929" y="957347"/>
                </a:moveTo>
                <a:lnTo>
                  <a:pt x="4556840" y="957347"/>
                </a:lnTo>
                <a:lnTo>
                  <a:pt x="4560859" y="961385"/>
                </a:lnTo>
                <a:lnTo>
                  <a:pt x="4560859" y="971255"/>
                </a:lnTo>
                <a:lnTo>
                  <a:pt x="4556840" y="975293"/>
                </a:lnTo>
                <a:lnTo>
                  <a:pt x="4546929" y="975293"/>
                </a:lnTo>
                <a:lnTo>
                  <a:pt x="4542910" y="971255"/>
                </a:lnTo>
                <a:lnTo>
                  <a:pt x="4542910" y="961385"/>
                </a:lnTo>
                <a:close/>
                <a:moveTo>
                  <a:pt x="4307612" y="957347"/>
                </a:moveTo>
                <a:lnTo>
                  <a:pt x="4317523" y="957347"/>
                </a:lnTo>
                <a:lnTo>
                  <a:pt x="4321543" y="961385"/>
                </a:lnTo>
                <a:lnTo>
                  <a:pt x="4321543" y="971255"/>
                </a:lnTo>
                <a:lnTo>
                  <a:pt x="4317523" y="975293"/>
                </a:lnTo>
                <a:lnTo>
                  <a:pt x="4307612" y="975293"/>
                </a:lnTo>
                <a:lnTo>
                  <a:pt x="4303595" y="971255"/>
                </a:lnTo>
                <a:lnTo>
                  <a:pt x="4303595" y="961385"/>
                </a:lnTo>
                <a:close/>
                <a:moveTo>
                  <a:pt x="4068297" y="957347"/>
                </a:moveTo>
                <a:lnTo>
                  <a:pt x="4078210" y="957347"/>
                </a:lnTo>
                <a:lnTo>
                  <a:pt x="4082229" y="961385"/>
                </a:lnTo>
                <a:lnTo>
                  <a:pt x="4082229" y="971255"/>
                </a:lnTo>
                <a:lnTo>
                  <a:pt x="4078210" y="975293"/>
                </a:lnTo>
                <a:lnTo>
                  <a:pt x="4068297" y="975293"/>
                </a:lnTo>
                <a:lnTo>
                  <a:pt x="4064278" y="971255"/>
                </a:lnTo>
                <a:lnTo>
                  <a:pt x="4064278" y="961385"/>
                </a:lnTo>
                <a:close/>
                <a:moveTo>
                  <a:pt x="3828990" y="957347"/>
                </a:moveTo>
                <a:lnTo>
                  <a:pt x="3838899" y="957347"/>
                </a:lnTo>
                <a:lnTo>
                  <a:pt x="3842917" y="961385"/>
                </a:lnTo>
                <a:lnTo>
                  <a:pt x="3842917" y="971255"/>
                </a:lnTo>
                <a:lnTo>
                  <a:pt x="3838899" y="975293"/>
                </a:lnTo>
                <a:lnTo>
                  <a:pt x="3828990" y="975293"/>
                </a:lnTo>
                <a:lnTo>
                  <a:pt x="3824971" y="971255"/>
                </a:lnTo>
                <a:lnTo>
                  <a:pt x="3824971" y="961385"/>
                </a:lnTo>
                <a:close/>
                <a:moveTo>
                  <a:pt x="3589676" y="957347"/>
                </a:moveTo>
                <a:lnTo>
                  <a:pt x="3599585" y="957347"/>
                </a:lnTo>
                <a:lnTo>
                  <a:pt x="3603604" y="961385"/>
                </a:lnTo>
                <a:lnTo>
                  <a:pt x="3603604" y="971255"/>
                </a:lnTo>
                <a:lnTo>
                  <a:pt x="3599585" y="975293"/>
                </a:lnTo>
                <a:lnTo>
                  <a:pt x="3589676" y="975293"/>
                </a:lnTo>
                <a:lnTo>
                  <a:pt x="3585657" y="971255"/>
                </a:lnTo>
                <a:lnTo>
                  <a:pt x="3585657" y="961385"/>
                </a:lnTo>
                <a:close/>
                <a:moveTo>
                  <a:pt x="5743412" y="957335"/>
                </a:moveTo>
                <a:lnTo>
                  <a:pt x="5753323" y="957335"/>
                </a:lnTo>
                <a:lnTo>
                  <a:pt x="5757342" y="961373"/>
                </a:lnTo>
                <a:lnTo>
                  <a:pt x="5757342" y="971244"/>
                </a:lnTo>
                <a:lnTo>
                  <a:pt x="5753323" y="975282"/>
                </a:lnTo>
                <a:lnTo>
                  <a:pt x="5743412" y="975282"/>
                </a:lnTo>
                <a:lnTo>
                  <a:pt x="5739393" y="971244"/>
                </a:lnTo>
                <a:lnTo>
                  <a:pt x="5739393" y="961373"/>
                </a:lnTo>
                <a:close/>
                <a:moveTo>
                  <a:pt x="5504099" y="957335"/>
                </a:moveTo>
                <a:lnTo>
                  <a:pt x="5514010" y="957335"/>
                </a:lnTo>
                <a:lnTo>
                  <a:pt x="5518029" y="961373"/>
                </a:lnTo>
                <a:lnTo>
                  <a:pt x="5518029" y="971244"/>
                </a:lnTo>
                <a:lnTo>
                  <a:pt x="5514010" y="975282"/>
                </a:lnTo>
                <a:lnTo>
                  <a:pt x="5504099" y="975282"/>
                </a:lnTo>
                <a:lnTo>
                  <a:pt x="5500080" y="971244"/>
                </a:lnTo>
                <a:lnTo>
                  <a:pt x="5500080" y="961373"/>
                </a:lnTo>
                <a:close/>
                <a:moveTo>
                  <a:pt x="5264784" y="957335"/>
                </a:moveTo>
                <a:lnTo>
                  <a:pt x="5274694" y="957335"/>
                </a:lnTo>
                <a:lnTo>
                  <a:pt x="5278713" y="961373"/>
                </a:lnTo>
                <a:lnTo>
                  <a:pt x="5278713" y="971244"/>
                </a:lnTo>
                <a:lnTo>
                  <a:pt x="5274694" y="975282"/>
                </a:lnTo>
                <a:lnTo>
                  <a:pt x="5264784" y="975282"/>
                </a:lnTo>
                <a:lnTo>
                  <a:pt x="5260765" y="971244"/>
                </a:lnTo>
                <a:lnTo>
                  <a:pt x="5260765" y="961373"/>
                </a:lnTo>
                <a:close/>
                <a:moveTo>
                  <a:pt x="5025470" y="957335"/>
                </a:moveTo>
                <a:lnTo>
                  <a:pt x="5035381" y="957335"/>
                </a:lnTo>
                <a:lnTo>
                  <a:pt x="5039400" y="961373"/>
                </a:lnTo>
                <a:lnTo>
                  <a:pt x="5039400" y="971244"/>
                </a:lnTo>
                <a:lnTo>
                  <a:pt x="5035381" y="975283"/>
                </a:lnTo>
                <a:lnTo>
                  <a:pt x="5025470" y="975283"/>
                </a:lnTo>
                <a:lnTo>
                  <a:pt x="5021451" y="971244"/>
                </a:lnTo>
                <a:lnTo>
                  <a:pt x="5021451" y="961373"/>
                </a:lnTo>
                <a:close/>
                <a:moveTo>
                  <a:pt x="4786241" y="957335"/>
                </a:moveTo>
                <a:lnTo>
                  <a:pt x="4796152" y="957335"/>
                </a:lnTo>
                <a:lnTo>
                  <a:pt x="4800171" y="961374"/>
                </a:lnTo>
                <a:lnTo>
                  <a:pt x="4800171" y="971244"/>
                </a:lnTo>
                <a:lnTo>
                  <a:pt x="4796152" y="975283"/>
                </a:lnTo>
                <a:lnTo>
                  <a:pt x="4786241" y="975283"/>
                </a:lnTo>
                <a:lnTo>
                  <a:pt x="4782224" y="971244"/>
                </a:lnTo>
                <a:lnTo>
                  <a:pt x="4782224" y="961374"/>
                </a:lnTo>
                <a:close/>
                <a:moveTo>
                  <a:pt x="6939983" y="957324"/>
                </a:moveTo>
                <a:lnTo>
                  <a:pt x="6949894" y="957324"/>
                </a:lnTo>
                <a:lnTo>
                  <a:pt x="6953913" y="961363"/>
                </a:lnTo>
                <a:lnTo>
                  <a:pt x="6953913" y="971232"/>
                </a:lnTo>
                <a:lnTo>
                  <a:pt x="6949894" y="975271"/>
                </a:lnTo>
                <a:lnTo>
                  <a:pt x="6939983" y="975271"/>
                </a:lnTo>
                <a:lnTo>
                  <a:pt x="6935964" y="971232"/>
                </a:lnTo>
                <a:lnTo>
                  <a:pt x="6935964" y="961363"/>
                </a:lnTo>
                <a:close/>
                <a:moveTo>
                  <a:pt x="6700670" y="957324"/>
                </a:moveTo>
                <a:lnTo>
                  <a:pt x="6710581" y="957324"/>
                </a:lnTo>
                <a:lnTo>
                  <a:pt x="6714600" y="961363"/>
                </a:lnTo>
                <a:lnTo>
                  <a:pt x="6714600" y="971232"/>
                </a:lnTo>
                <a:lnTo>
                  <a:pt x="6710581" y="975271"/>
                </a:lnTo>
                <a:lnTo>
                  <a:pt x="6700670" y="975271"/>
                </a:lnTo>
                <a:lnTo>
                  <a:pt x="6696651" y="971232"/>
                </a:lnTo>
                <a:lnTo>
                  <a:pt x="6696651" y="961363"/>
                </a:lnTo>
                <a:close/>
                <a:moveTo>
                  <a:pt x="6461356" y="957324"/>
                </a:moveTo>
                <a:lnTo>
                  <a:pt x="6471266" y="957324"/>
                </a:lnTo>
                <a:lnTo>
                  <a:pt x="6475285" y="961363"/>
                </a:lnTo>
                <a:lnTo>
                  <a:pt x="6475285" y="971232"/>
                </a:lnTo>
                <a:lnTo>
                  <a:pt x="6471266" y="975271"/>
                </a:lnTo>
                <a:lnTo>
                  <a:pt x="6461356" y="975271"/>
                </a:lnTo>
                <a:lnTo>
                  <a:pt x="6457337" y="971232"/>
                </a:lnTo>
                <a:lnTo>
                  <a:pt x="6457337" y="961363"/>
                </a:lnTo>
                <a:close/>
                <a:moveTo>
                  <a:pt x="6222042" y="957324"/>
                </a:moveTo>
                <a:lnTo>
                  <a:pt x="6231952" y="957324"/>
                </a:lnTo>
                <a:lnTo>
                  <a:pt x="6235971" y="961363"/>
                </a:lnTo>
                <a:lnTo>
                  <a:pt x="6235971" y="971232"/>
                </a:lnTo>
                <a:lnTo>
                  <a:pt x="6231952" y="975271"/>
                </a:lnTo>
                <a:lnTo>
                  <a:pt x="6222042" y="975271"/>
                </a:lnTo>
                <a:lnTo>
                  <a:pt x="6218023" y="971232"/>
                </a:lnTo>
                <a:lnTo>
                  <a:pt x="6218023" y="961363"/>
                </a:lnTo>
                <a:close/>
                <a:moveTo>
                  <a:pt x="5982729" y="957324"/>
                </a:moveTo>
                <a:lnTo>
                  <a:pt x="5992639" y="957324"/>
                </a:lnTo>
                <a:lnTo>
                  <a:pt x="5996658" y="961363"/>
                </a:lnTo>
                <a:lnTo>
                  <a:pt x="5996658" y="971232"/>
                </a:lnTo>
                <a:lnTo>
                  <a:pt x="5992639" y="975271"/>
                </a:lnTo>
                <a:lnTo>
                  <a:pt x="5982729" y="975271"/>
                </a:lnTo>
                <a:lnTo>
                  <a:pt x="5978710" y="971232"/>
                </a:lnTo>
                <a:lnTo>
                  <a:pt x="5978710" y="961363"/>
                </a:lnTo>
                <a:close/>
                <a:moveTo>
                  <a:pt x="8136553" y="957313"/>
                </a:moveTo>
                <a:lnTo>
                  <a:pt x="8146464" y="957313"/>
                </a:lnTo>
                <a:lnTo>
                  <a:pt x="8150483" y="961351"/>
                </a:lnTo>
                <a:lnTo>
                  <a:pt x="8150483" y="971222"/>
                </a:lnTo>
                <a:lnTo>
                  <a:pt x="8146464" y="975260"/>
                </a:lnTo>
                <a:lnTo>
                  <a:pt x="8136553" y="975260"/>
                </a:lnTo>
                <a:lnTo>
                  <a:pt x="8132534" y="971222"/>
                </a:lnTo>
                <a:lnTo>
                  <a:pt x="8132534" y="961351"/>
                </a:lnTo>
                <a:close/>
                <a:moveTo>
                  <a:pt x="7897241" y="957313"/>
                </a:moveTo>
                <a:lnTo>
                  <a:pt x="7907151" y="957313"/>
                </a:lnTo>
                <a:lnTo>
                  <a:pt x="7911170" y="961351"/>
                </a:lnTo>
                <a:lnTo>
                  <a:pt x="7911170" y="971222"/>
                </a:lnTo>
                <a:lnTo>
                  <a:pt x="7907151" y="975260"/>
                </a:lnTo>
                <a:lnTo>
                  <a:pt x="7897241" y="975260"/>
                </a:lnTo>
                <a:lnTo>
                  <a:pt x="7893222" y="971222"/>
                </a:lnTo>
                <a:lnTo>
                  <a:pt x="7893222" y="961351"/>
                </a:lnTo>
                <a:close/>
                <a:moveTo>
                  <a:pt x="7657926" y="957313"/>
                </a:moveTo>
                <a:lnTo>
                  <a:pt x="7667836" y="957313"/>
                </a:lnTo>
                <a:lnTo>
                  <a:pt x="7671855" y="961351"/>
                </a:lnTo>
                <a:lnTo>
                  <a:pt x="7671855" y="971222"/>
                </a:lnTo>
                <a:lnTo>
                  <a:pt x="7667836" y="975260"/>
                </a:lnTo>
                <a:lnTo>
                  <a:pt x="7657926" y="975260"/>
                </a:lnTo>
                <a:lnTo>
                  <a:pt x="7653906" y="971222"/>
                </a:lnTo>
                <a:lnTo>
                  <a:pt x="7653906" y="961351"/>
                </a:lnTo>
                <a:close/>
                <a:moveTo>
                  <a:pt x="7418611" y="957313"/>
                </a:moveTo>
                <a:lnTo>
                  <a:pt x="7428521" y="957313"/>
                </a:lnTo>
                <a:lnTo>
                  <a:pt x="7432540" y="961351"/>
                </a:lnTo>
                <a:lnTo>
                  <a:pt x="7432540" y="971222"/>
                </a:lnTo>
                <a:lnTo>
                  <a:pt x="7428521" y="975260"/>
                </a:lnTo>
                <a:lnTo>
                  <a:pt x="7418611" y="975260"/>
                </a:lnTo>
                <a:lnTo>
                  <a:pt x="7414592" y="971222"/>
                </a:lnTo>
                <a:lnTo>
                  <a:pt x="7414592" y="961351"/>
                </a:lnTo>
                <a:close/>
                <a:moveTo>
                  <a:pt x="7179298" y="957313"/>
                </a:moveTo>
                <a:lnTo>
                  <a:pt x="7189209" y="957313"/>
                </a:lnTo>
                <a:lnTo>
                  <a:pt x="7193228" y="961351"/>
                </a:lnTo>
                <a:lnTo>
                  <a:pt x="7193228" y="971222"/>
                </a:lnTo>
                <a:lnTo>
                  <a:pt x="7189209" y="975260"/>
                </a:lnTo>
                <a:lnTo>
                  <a:pt x="7179298" y="975260"/>
                </a:lnTo>
                <a:lnTo>
                  <a:pt x="7175279" y="971222"/>
                </a:lnTo>
                <a:lnTo>
                  <a:pt x="7175279" y="961351"/>
                </a:lnTo>
                <a:close/>
                <a:moveTo>
                  <a:pt x="1679217" y="957309"/>
                </a:moveTo>
                <a:lnTo>
                  <a:pt x="1689128" y="957309"/>
                </a:lnTo>
                <a:lnTo>
                  <a:pt x="1693147" y="961347"/>
                </a:lnTo>
                <a:lnTo>
                  <a:pt x="1693147" y="971217"/>
                </a:lnTo>
                <a:lnTo>
                  <a:pt x="1689128" y="975256"/>
                </a:lnTo>
                <a:lnTo>
                  <a:pt x="1679217" y="975256"/>
                </a:lnTo>
                <a:lnTo>
                  <a:pt x="1675199" y="971217"/>
                </a:lnTo>
                <a:lnTo>
                  <a:pt x="1675199" y="961347"/>
                </a:lnTo>
                <a:close/>
                <a:moveTo>
                  <a:pt x="1439901" y="957309"/>
                </a:moveTo>
                <a:lnTo>
                  <a:pt x="1449811" y="957309"/>
                </a:lnTo>
                <a:lnTo>
                  <a:pt x="1453829" y="961347"/>
                </a:lnTo>
                <a:lnTo>
                  <a:pt x="1453829" y="971217"/>
                </a:lnTo>
                <a:lnTo>
                  <a:pt x="1449811" y="975256"/>
                </a:lnTo>
                <a:lnTo>
                  <a:pt x="1439901" y="975256"/>
                </a:lnTo>
                <a:lnTo>
                  <a:pt x="1435881" y="971217"/>
                </a:lnTo>
                <a:lnTo>
                  <a:pt x="1435881" y="961347"/>
                </a:lnTo>
                <a:close/>
                <a:moveTo>
                  <a:pt x="1200584" y="957309"/>
                </a:moveTo>
                <a:lnTo>
                  <a:pt x="1210495" y="957309"/>
                </a:lnTo>
                <a:lnTo>
                  <a:pt x="1214513" y="961347"/>
                </a:lnTo>
                <a:lnTo>
                  <a:pt x="1214513" y="971217"/>
                </a:lnTo>
                <a:lnTo>
                  <a:pt x="1210495" y="975256"/>
                </a:lnTo>
                <a:lnTo>
                  <a:pt x="1200584" y="975256"/>
                </a:lnTo>
                <a:lnTo>
                  <a:pt x="1196566" y="971217"/>
                </a:lnTo>
                <a:lnTo>
                  <a:pt x="1196566" y="961347"/>
                </a:lnTo>
                <a:close/>
                <a:moveTo>
                  <a:pt x="961271" y="957309"/>
                </a:moveTo>
                <a:lnTo>
                  <a:pt x="971182" y="957309"/>
                </a:lnTo>
                <a:lnTo>
                  <a:pt x="975201" y="961347"/>
                </a:lnTo>
                <a:lnTo>
                  <a:pt x="975201" y="971218"/>
                </a:lnTo>
                <a:lnTo>
                  <a:pt x="971182" y="975256"/>
                </a:lnTo>
                <a:lnTo>
                  <a:pt x="961271" y="975256"/>
                </a:lnTo>
                <a:lnTo>
                  <a:pt x="957253" y="971218"/>
                </a:lnTo>
                <a:lnTo>
                  <a:pt x="957253" y="961347"/>
                </a:lnTo>
                <a:close/>
                <a:moveTo>
                  <a:pt x="9333125" y="957302"/>
                </a:moveTo>
                <a:lnTo>
                  <a:pt x="9343036" y="957302"/>
                </a:lnTo>
                <a:lnTo>
                  <a:pt x="9347055" y="961340"/>
                </a:lnTo>
                <a:lnTo>
                  <a:pt x="9347055" y="971210"/>
                </a:lnTo>
                <a:lnTo>
                  <a:pt x="9343036" y="975249"/>
                </a:lnTo>
                <a:lnTo>
                  <a:pt x="9333125" y="975249"/>
                </a:lnTo>
                <a:lnTo>
                  <a:pt x="9329106" y="971210"/>
                </a:lnTo>
                <a:lnTo>
                  <a:pt x="9329106" y="961340"/>
                </a:lnTo>
                <a:close/>
                <a:moveTo>
                  <a:pt x="9093811" y="957302"/>
                </a:moveTo>
                <a:lnTo>
                  <a:pt x="9103722" y="957302"/>
                </a:lnTo>
                <a:lnTo>
                  <a:pt x="9107741" y="961340"/>
                </a:lnTo>
                <a:lnTo>
                  <a:pt x="9107741" y="971210"/>
                </a:lnTo>
                <a:lnTo>
                  <a:pt x="9103722" y="975249"/>
                </a:lnTo>
                <a:lnTo>
                  <a:pt x="9093811" y="975249"/>
                </a:lnTo>
                <a:lnTo>
                  <a:pt x="9089792" y="971210"/>
                </a:lnTo>
                <a:lnTo>
                  <a:pt x="9089792" y="961340"/>
                </a:lnTo>
                <a:close/>
                <a:moveTo>
                  <a:pt x="8854496" y="957302"/>
                </a:moveTo>
                <a:lnTo>
                  <a:pt x="8864407" y="957302"/>
                </a:lnTo>
                <a:lnTo>
                  <a:pt x="8868426" y="961340"/>
                </a:lnTo>
                <a:lnTo>
                  <a:pt x="8868426" y="971210"/>
                </a:lnTo>
                <a:lnTo>
                  <a:pt x="8864407" y="975249"/>
                </a:lnTo>
                <a:lnTo>
                  <a:pt x="8854496" y="975249"/>
                </a:lnTo>
                <a:lnTo>
                  <a:pt x="8850477" y="971210"/>
                </a:lnTo>
                <a:lnTo>
                  <a:pt x="8850477" y="961340"/>
                </a:lnTo>
                <a:close/>
                <a:moveTo>
                  <a:pt x="8615184" y="957302"/>
                </a:moveTo>
                <a:lnTo>
                  <a:pt x="8625095" y="957302"/>
                </a:lnTo>
                <a:lnTo>
                  <a:pt x="8629114" y="961340"/>
                </a:lnTo>
                <a:lnTo>
                  <a:pt x="8629114" y="971210"/>
                </a:lnTo>
                <a:lnTo>
                  <a:pt x="8625095" y="975249"/>
                </a:lnTo>
                <a:lnTo>
                  <a:pt x="8615184" y="975249"/>
                </a:lnTo>
                <a:lnTo>
                  <a:pt x="8611165" y="971210"/>
                </a:lnTo>
                <a:lnTo>
                  <a:pt x="8611165" y="961340"/>
                </a:lnTo>
                <a:close/>
                <a:moveTo>
                  <a:pt x="8375869" y="957302"/>
                </a:moveTo>
                <a:lnTo>
                  <a:pt x="8385779" y="957302"/>
                </a:lnTo>
                <a:lnTo>
                  <a:pt x="8389799" y="961340"/>
                </a:lnTo>
                <a:lnTo>
                  <a:pt x="8389799" y="971210"/>
                </a:lnTo>
                <a:lnTo>
                  <a:pt x="8385779" y="975249"/>
                </a:lnTo>
                <a:lnTo>
                  <a:pt x="8375869" y="975249"/>
                </a:lnTo>
                <a:lnTo>
                  <a:pt x="8371850" y="971210"/>
                </a:lnTo>
                <a:lnTo>
                  <a:pt x="8371850" y="961340"/>
                </a:lnTo>
                <a:close/>
                <a:moveTo>
                  <a:pt x="1918514" y="957301"/>
                </a:moveTo>
                <a:lnTo>
                  <a:pt x="1928424" y="957301"/>
                </a:lnTo>
                <a:lnTo>
                  <a:pt x="1932444" y="961339"/>
                </a:lnTo>
                <a:lnTo>
                  <a:pt x="1932444" y="971210"/>
                </a:lnTo>
                <a:lnTo>
                  <a:pt x="1928424" y="975249"/>
                </a:lnTo>
                <a:lnTo>
                  <a:pt x="1918514" y="975249"/>
                </a:lnTo>
                <a:lnTo>
                  <a:pt x="1914495" y="971210"/>
                </a:lnTo>
                <a:lnTo>
                  <a:pt x="1914495" y="961339"/>
                </a:lnTo>
                <a:close/>
                <a:moveTo>
                  <a:pt x="2157823" y="957299"/>
                </a:moveTo>
                <a:lnTo>
                  <a:pt x="2167733" y="957299"/>
                </a:lnTo>
                <a:lnTo>
                  <a:pt x="2171751" y="961337"/>
                </a:lnTo>
                <a:lnTo>
                  <a:pt x="2171751" y="971207"/>
                </a:lnTo>
                <a:lnTo>
                  <a:pt x="2167733" y="975246"/>
                </a:lnTo>
                <a:lnTo>
                  <a:pt x="2157823" y="975246"/>
                </a:lnTo>
                <a:lnTo>
                  <a:pt x="2153804" y="971207"/>
                </a:lnTo>
                <a:lnTo>
                  <a:pt x="2153804" y="961337"/>
                </a:lnTo>
                <a:close/>
                <a:moveTo>
                  <a:pt x="9572438" y="957291"/>
                </a:moveTo>
                <a:lnTo>
                  <a:pt x="9582349" y="957291"/>
                </a:lnTo>
                <a:lnTo>
                  <a:pt x="9586368" y="961329"/>
                </a:lnTo>
                <a:lnTo>
                  <a:pt x="9586368" y="971199"/>
                </a:lnTo>
                <a:lnTo>
                  <a:pt x="9582349" y="975238"/>
                </a:lnTo>
                <a:lnTo>
                  <a:pt x="9572438" y="975238"/>
                </a:lnTo>
                <a:lnTo>
                  <a:pt x="9568419" y="971199"/>
                </a:lnTo>
                <a:lnTo>
                  <a:pt x="9568419" y="961329"/>
                </a:lnTo>
                <a:close/>
                <a:moveTo>
                  <a:pt x="721974" y="957266"/>
                </a:moveTo>
                <a:lnTo>
                  <a:pt x="731884" y="957266"/>
                </a:lnTo>
                <a:lnTo>
                  <a:pt x="735903" y="961305"/>
                </a:lnTo>
                <a:lnTo>
                  <a:pt x="735903" y="971175"/>
                </a:lnTo>
                <a:lnTo>
                  <a:pt x="731884" y="975214"/>
                </a:lnTo>
                <a:lnTo>
                  <a:pt x="721974" y="975214"/>
                </a:lnTo>
                <a:lnTo>
                  <a:pt x="717956" y="971175"/>
                </a:lnTo>
                <a:lnTo>
                  <a:pt x="717956" y="961305"/>
                </a:lnTo>
                <a:close/>
                <a:moveTo>
                  <a:pt x="482662" y="957266"/>
                </a:moveTo>
                <a:lnTo>
                  <a:pt x="492572" y="957266"/>
                </a:lnTo>
                <a:lnTo>
                  <a:pt x="496591" y="961305"/>
                </a:lnTo>
                <a:lnTo>
                  <a:pt x="496591" y="971175"/>
                </a:lnTo>
                <a:lnTo>
                  <a:pt x="492572" y="975214"/>
                </a:lnTo>
                <a:lnTo>
                  <a:pt x="482662" y="975214"/>
                </a:lnTo>
                <a:lnTo>
                  <a:pt x="478643" y="971175"/>
                </a:lnTo>
                <a:lnTo>
                  <a:pt x="478643" y="961305"/>
                </a:lnTo>
                <a:close/>
                <a:moveTo>
                  <a:pt x="243349" y="957266"/>
                </a:moveTo>
                <a:lnTo>
                  <a:pt x="253259" y="957266"/>
                </a:lnTo>
                <a:lnTo>
                  <a:pt x="257278" y="961305"/>
                </a:lnTo>
                <a:lnTo>
                  <a:pt x="257278" y="971175"/>
                </a:lnTo>
                <a:lnTo>
                  <a:pt x="253259" y="975214"/>
                </a:lnTo>
                <a:lnTo>
                  <a:pt x="243349" y="975214"/>
                </a:lnTo>
                <a:lnTo>
                  <a:pt x="239330" y="971175"/>
                </a:lnTo>
                <a:lnTo>
                  <a:pt x="239330" y="961305"/>
                </a:lnTo>
                <a:close/>
                <a:moveTo>
                  <a:pt x="4036" y="957266"/>
                </a:moveTo>
                <a:lnTo>
                  <a:pt x="13946" y="957266"/>
                </a:lnTo>
                <a:lnTo>
                  <a:pt x="17965" y="961305"/>
                </a:lnTo>
                <a:lnTo>
                  <a:pt x="17965" y="971176"/>
                </a:lnTo>
                <a:lnTo>
                  <a:pt x="13946" y="975214"/>
                </a:lnTo>
                <a:lnTo>
                  <a:pt x="4036" y="975214"/>
                </a:lnTo>
                <a:lnTo>
                  <a:pt x="16" y="971176"/>
                </a:lnTo>
                <a:lnTo>
                  <a:pt x="16" y="961305"/>
                </a:lnTo>
                <a:close/>
                <a:moveTo>
                  <a:pt x="3350359" y="718040"/>
                </a:moveTo>
                <a:lnTo>
                  <a:pt x="3360268" y="718040"/>
                </a:lnTo>
                <a:lnTo>
                  <a:pt x="3364287" y="722078"/>
                </a:lnTo>
                <a:lnTo>
                  <a:pt x="3364287" y="731948"/>
                </a:lnTo>
                <a:lnTo>
                  <a:pt x="3360268" y="735987"/>
                </a:lnTo>
                <a:lnTo>
                  <a:pt x="3350359" y="735987"/>
                </a:lnTo>
                <a:lnTo>
                  <a:pt x="3346340" y="731948"/>
                </a:lnTo>
                <a:lnTo>
                  <a:pt x="3346340" y="722078"/>
                </a:lnTo>
                <a:close/>
                <a:moveTo>
                  <a:pt x="3111048" y="718040"/>
                </a:moveTo>
                <a:lnTo>
                  <a:pt x="3120959" y="718040"/>
                </a:lnTo>
                <a:lnTo>
                  <a:pt x="3124977" y="722078"/>
                </a:lnTo>
                <a:lnTo>
                  <a:pt x="3124977" y="731949"/>
                </a:lnTo>
                <a:lnTo>
                  <a:pt x="3120959" y="735987"/>
                </a:lnTo>
                <a:lnTo>
                  <a:pt x="3111048" y="735987"/>
                </a:lnTo>
                <a:lnTo>
                  <a:pt x="3107029" y="731949"/>
                </a:lnTo>
                <a:lnTo>
                  <a:pt x="3107029" y="722078"/>
                </a:lnTo>
                <a:close/>
                <a:moveTo>
                  <a:pt x="2871737" y="718040"/>
                </a:moveTo>
                <a:lnTo>
                  <a:pt x="2881646" y="718040"/>
                </a:lnTo>
                <a:lnTo>
                  <a:pt x="2885666" y="722078"/>
                </a:lnTo>
                <a:lnTo>
                  <a:pt x="2885666" y="731949"/>
                </a:lnTo>
                <a:lnTo>
                  <a:pt x="2881646" y="735987"/>
                </a:lnTo>
                <a:lnTo>
                  <a:pt x="2871737" y="735987"/>
                </a:lnTo>
                <a:lnTo>
                  <a:pt x="2867717" y="731949"/>
                </a:lnTo>
                <a:lnTo>
                  <a:pt x="2867717" y="722078"/>
                </a:lnTo>
                <a:close/>
                <a:moveTo>
                  <a:pt x="2632423" y="718040"/>
                </a:moveTo>
                <a:lnTo>
                  <a:pt x="2642334" y="718040"/>
                </a:lnTo>
                <a:lnTo>
                  <a:pt x="2646352" y="722078"/>
                </a:lnTo>
                <a:lnTo>
                  <a:pt x="2646352" y="731949"/>
                </a:lnTo>
                <a:lnTo>
                  <a:pt x="2642334" y="735988"/>
                </a:lnTo>
                <a:lnTo>
                  <a:pt x="2632423" y="735988"/>
                </a:lnTo>
                <a:lnTo>
                  <a:pt x="2628404" y="731949"/>
                </a:lnTo>
                <a:lnTo>
                  <a:pt x="2628404" y="722078"/>
                </a:lnTo>
                <a:close/>
                <a:moveTo>
                  <a:pt x="2393104" y="718040"/>
                </a:moveTo>
                <a:lnTo>
                  <a:pt x="2403015" y="718040"/>
                </a:lnTo>
                <a:lnTo>
                  <a:pt x="2407034" y="722078"/>
                </a:lnTo>
                <a:lnTo>
                  <a:pt x="2407034" y="731949"/>
                </a:lnTo>
                <a:lnTo>
                  <a:pt x="2403015" y="735988"/>
                </a:lnTo>
                <a:lnTo>
                  <a:pt x="2393104" y="735988"/>
                </a:lnTo>
                <a:lnTo>
                  <a:pt x="2389087" y="731949"/>
                </a:lnTo>
                <a:lnTo>
                  <a:pt x="2389087" y="722078"/>
                </a:lnTo>
                <a:close/>
                <a:moveTo>
                  <a:pt x="4546929" y="718028"/>
                </a:moveTo>
                <a:lnTo>
                  <a:pt x="4556840" y="718028"/>
                </a:lnTo>
                <a:lnTo>
                  <a:pt x="4560859" y="722066"/>
                </a:lnTo>
                <a:lnTo>
                  <a:pt x="4560859" y="731935"/>
                </a:lnTo>
                <a:lnTo>
                  <a:pt x="4556840" y="735975"/>
                </a:lnTo>
                <a:lnTo>
                  <a:pt x="4546929" y="735975"/>
                </a:lnTo>
                <a:lnTo>
                  <a:pt x="4542910" y="731935"/>
                </a:lnTo>
                <a:lnTo>
                  <a:pt x="4542910" y="722066"/>
                </a:lnTo>
                <a:close/>
                <a:moveTo>
                  <a:pt x="4307612" y="718028"/>
                </a:moveTo>
                <a:lnTo>
                  <a:pt x="4317523" y="718028"/>
                </a:lnTo>
                <a:lnTo>
                  <a:pt x="4321543" y="722066"/>
                </a:lnTo>
                <a:lnTo>
                  <a:pt x="4321543" y="731936"/>
                </a:lnTo>
                <a:lnTo>
                  <a:pt x="4317523" y="735975"/>
                </a:lnTo>
                <a:lnTo>
                  <a:pt x="4307612" y="735975"/>
                </a:lnTo>
                <a:lnTo>
                  <a:pt x="4303595" y="731936"/>
                </a:lnTo>
                <a:lnTo>
                  <a:pt x="4303595" y="722066"/>
                </a:lnTo>
                <a:close/>
                <a:moveTo>
                  <a:pt x="4068297" y="718028"/>
                </a:moveTo>
                <a:lnTo>
                  <a:pt x="4078210" y="718028"/>
                </a:lnTo>
                <a:lnTo>
                  <a:pt x="4082229" y="722066"/>
                </a:lnTo>
                <a:lnTo>
                  <a:pt x="4082229" y="731936"/>
                </a:lnTo>
                <a:lnTo>
                  <a:pt x="4078210" y="735975"/>
                </a:lnTo>
                <a:lnTo>
                  <a:pt x="4068297" y="735975"/>
                </a:lnTo>
                <a:lnTo>
                  <a:pt x="4064278" y="731936"/>
                </a:lnTo>
                <a:lnTo>
                  <a:pt x="4064278" y="722066"/>
                </a:lnTo>
                <a:close/>
                <a:moveTo>
                  <a:pt x="3828990" y="718028"/>
                </a:moveTo>
                <a:lnTo>
                  <a:pt x="3838899" y="718028"/>
                </a:lnTo>
                <a:lnTo>
                  <a:pt x="3842917" y="722066"/>
                </a:lnTo>
                <a:lnTo>
                  <a:pt x="3842917" y="731936"/>
                </a:lnTo>
                <a:lnTo>
                  <a:pt x="3838899" y="735975"/>
                </a:lnTo>
                <a:lnTo>
                  <a:pt x="3828990" y="735975"/>
                </a:lnTo>
                <a:lnTo>
                  <a:pt x="3824971" y="731936"/>
                </a:lnTo>
                <a:lnTo>
                  <a:pt x="3824971" y="722066"/>
                </a:lnTo>
                <a:close/>
                <a:moveTo>
                  <a:pt x="3589676" y="718028"/>
                </a:moveTo>
                <a:lnTo>
                  <a:pt x="3599585" y="718028"/>
                </a:lnTo>
                <a:lnTo>
                  <a:pt x="3603604" y="722066"/>
                </a:lnTo>
                <a:lnTo>
                  <a:pt x="3603604" y="731936"/>
                </a:lnTo>
                <a:lnTo>
                  <a:pt x="3599585" y="735975"/>
                </a:lnTo>
                <a:lnTo>
                  <a:pt x="3589676" y="735975"/>
                </a:lnTo>
                <a:lnTo>
                  <a:pt x="3585657" y="731936"/>
                </a:lnTo>
                <a:lnTo>
                  <a:pt x="3585657" y="722066"/>
                </a:lnTo>
                <a:close/>
                <a:moveTo>
                  <a:pt x="5743412" y="718015"/>
                </a:moveTo>
                <a:lnTo>
                  <a:pt x="5753323" y="718015"/>
                </a:lnTo>
                <a:lnTo>
                  <a:pt x="5757342" y="722053"/>
                </a:lnTo>
                <a:lnTo>
                  <a:pt x="5757342" y="731924"/>
                </a:lnTo>
                <a:lnTo>
                  <a:pt x="5753323" y="735963"/>
                </a:lnTo>
                <a:lnTo>
                  <a:pt x="5743412" y="735963"/>
                </a:lnTo>
                <a:lnTo>
                  <a:pt x="5739393" y="731924"/>
                </a:lnTo>
                <a:lnTo>
                  <a:pt x="5739393" y="722053"/>
                </a:lnTo>
                <a:close/>
                <a:moveTo>
                  <a:pt x="5504099" y="718015"/>
                </a:moveTo>
                <a:lnTo>
                  <a:pt x="5514010" y="718015"/>
                </a:lnTo>
                <a:lnTo>
                  <a:pt x="5518029" y="722053"/>
                </a:lnTo>
                <a:lnTo>
                  <a:pt x="5518029" y="731924"/>
                </a:lnTo>
                <a:lnTo>
                  <a:pt x="5514010" y="735963"/>
                </a:lnTo>
                <a:lnTo>
                  <a:pt x="5504099" y="735963"/>
                </a:lnTo>
                <a:lnTo>
                  <a:pt x="5500080" y="731924"/>
                </a:lnTo>
                <a:lnTo>
                  <a:pt x="5500080" y="722053"/>
                </a:lnTo>
                <a:close/>
                <a:moveTo>
                  <a:pt x="5264784" y="718015"/>
                </a:moveTo>
                <a:lnTo>
                  <a:pt x="5274694" y="718015"/>
                </a:lnTo>
                <a:lnTo>
                  <a:pt x="5278713" y="722053"/>
                </a:lnTo>
                <a:lnTo>
                  <a:pt x="5278713" y="731924"/>
                </a:lnTo>
                <a:lnTo>
                  <a:pt x="5274694" y="735963"/>
                </a:lnTo>
                <a:lnTo>
                  <a:pt x="5264784" y="735963"/>
                </a:lnTo>
                <a:lnTo>
                  <a:pt x="5260765" y="731924"/>
                </a:lnTo>
                <a:lnTo>
                  <a:pt x="5260765" y="722053"/>
                </a:lnTo>
                <a:close/>
                <a:moveTo>
                  <a:pt x="5025470" y="718015"/>
                </a:moveTo>
                <a:lnTo>
                  <a:pt x="5035381" y="718015"/>
                </a:lnTo>
                <a:lnTo>
                  <a:pt x="5039400" y="722053"/>
                </a:lnTo>
                <a:lnTo>
                  <a:pt x="5039400" y="731924"/>
                </a:lnTo>
                <a:lnTo>
                  <a:pt x="5035381" y="735963"/>
                </a:lnTo>
                <a:lnTo>
                  <a:pt x="5025470" y="735963"/>
                </a:lnTo>
                <a:lnTo>
                  <a:pt x="5021451" y="731924"/>
                </a:lnTo>
                <a:lnTo>
                  <a:pt x="5021451" y="722053"/>
                </a:lnTo>
                <a:close/>
                <a:moveTo>
                  <a:pt x="4786241" y="718015"/>
                </a:moveTo>
                <a:lnTo>
                  <a:pt x="4796152" y="718015"/>
                </a:lnTo>
                <a:lnTo>
                  <a:pt x="4800171" y="722053"/>
                </a:lnTo>
                <a:lnTo>
                  <a:pt x="4800171" y="731924"/>
                </a:lnTo>
                <a:lnTo>
                  <a:pt x="4796152" y="735963"/>
                </a:lnTo>
                <a:lnTo>
                  <a:pt x="4786241" y="735963"/>
                </a:lnTo>
                <a:lnTo>
                  <a:pt x="4782224" y="731924"/>
                </a:lnTo>
                <a:lnTo>
                  <a:pt x="4782224" y="722053"/>
                </a:lnTo>
                <a:close/>
                <a:moveTo>
                  <a:pt x="6939983" y="718003"/>
                </a:moveTo>
                <a:lnTo>
                  <a:pt x="6949894" y="718003"/>
                </a:lnTo>
                <a:lnTo>
                  <a:pt x="6953913" y="722041"/>
                </a:lnTo>
                <a:lnTo>
                  <a:pt x="6953913" y="731911"/>
                </a:lnTo>
                <a:lnTo>
                  <a:pt x="6949894" y="735950"/>
                </a:lnTo>
                <a:lnTo>
                  <a:pt x="6939983" y="735950"/>
                </a:lnTo>
                <a:lnTo>
                  <a:pt x="6935964" y="731911"/>
                </a:lnTo>
                <a:lnTo>
                  <a:pt x="6935964" y="722041"/>
                </a:lnTo>
                <a:close/>
                <a:moveTo>
                  <a:pt x="6700670" y="718003"/>
                </a:moveTo>
                <a:lnTo>
                  <a:pt x="6710581" y="718003"/>
                </a:lnTo>
                <a:lnTo>
                  <a:pt x="6714600" y="722041"/>
                </a:lnTo>
                <a:lnTo>
                  <a:pt x="6714600" y="731912"/>
                </a:lnTo>
                <a:lnTo>
                  <a:pt x="6710581" y="735950"/>
                </a:lnTo>
                <a:lnTo>
                  <a:pt x="6700670" y="735950"/>
                </a:lnTo>
                <a:lnTo>
                  <a:pt x="6696651" y="731912"/>
                </a:lnTo>
                <a:lnTo>
                  <a:pt x="6696651" y="722041"/>
                </a:lnTo>
                <a:close/>
                <a:moveTo>
                  <a:pt x="6461356" y="718003"/>
                </a:moveTo>
                <a:lnTo>
                  <a:pt x="6471266" y="718003"/>
                </a:lnTo>
                <a:lnTo>
                  <a:pt x="6475285" y="722041"/>
                </a:lnTo>
                <a:lnTo>
                  <a:pt x="6475285" y="731912"/>
                </a:lnTo>
                <a:lnTo>
                  <a:pt x="6471266" y="735950"/>
                </a:lnTo>
                <a:lnTo>
                  <a:pt x="6461356" y="735950"/>
                </a:lnTo>
                <a:lnTo>
                  <a:pt x="6457337" y="731912"/>
                </a:lnTo>
                <a:lnTo>
                  <a:pt x="6457337" y="722041"/>
                </a:lnTo>
                <a:close/>
                <a:moveTo>
                  <a:pt x="6222042" y="718003"/>
                </a:moveTo>
                <a:lnTo>
                  <a:pt x="6231952" y="718003"/>
                </a:lnTo>
                <a:lnTo>
                  <a:pt x="6235971" y="722041"/>
                </a:lnTo>
                <a:lnTo>
                  <a:pt x="6235971" y="731912"/>
                </a:lnTo>
                <a:lnTo>
                  <a:pt x="6231952" y="735951"/>
                </a:lnTo>
                <a:lnTo>
                  <a:pt x="6222042" y="735951"/>
                </a:lnTo>
                <a:lnTo>
                  <a:pt x="6218023" y="731912"/>
                </a:lnTo>
                <a:lnTo>
                  <a:pt x="6218023" y="722041"/>
                </a:lnTo>
                <a:close/>
                <a:moveTo>
                  <a:pt x="5982729" y="718003"/>
                </a:moveTo>
                <a:lnTo>
                  <a:pt x="5992639" y="718003"/>
                </a:lnTo>
                <a:lnTo>
                  <a:pt x="5996658" y="722041"/>
                </a:lnTo>
                <a:lnTo>
                  <a:pt x="5996658" y="731912"/>
                </a:lnTo>
                <a:lnTo>
                  <a:pt x="5992639" y="735951"/>
                </a:lnTo>
                <a:lnTo>
                  <a:pt x="5982729" y="735951"/>
                </a:lnTo>
                <a:lnTo>
                  <a:pt x="5978710" y="731912"/>
                </a:lnTo>
                <a:lnTo>
                  <a:pt x="5978710" y="722041"/>
                </a:lnTo>
                <a:close/>
                <a:moveTo>
                  <a:pt x="8136553" y="717990"/>
                </a:moveTo>
                <a:lnTo>
                  <a:pt x="8146464" y="717990"/>
                </a:lnTo>
                <a:lnTo>
                  <a:pt x="8150483" y="722028"/>
                </a:lnTo>
                <a:lnTo>
                  <a:pt x="8150483" y="731899"/>
                </a:lnTo>
                <a:lnTo>
                  <a:pt x="8146464" y="735938"/>
                </a:lnTo>
                <a:lnTo>
                  <a:pt x="8136553" y="735938"/>
                </a:lnTo>
                <a:lnTo>
                  <a:pt x="8132534" y="731899"/>
                </a:lnTo>
                <a:lnTo>
                  <a:pt x="8132534" y="722028"/>
                </a:lnTo>
                <a:close/>
                <a:moveTo>
                  <a:pt x="7897241" y="717990"/>
                </a:moveTo>
                <a:lnTo>
                  <a:pt x="7907151" y="717990"/>
                </a:lnTo>
                <a:lnTo>
                  <a:pt x="7911170" y="722029"/>
                </a:lnTo>
                <a:lnTo>
                  <a:pt x="7911170" y="731899"/>
                </a:lnTo>
                <a:lnTo>
                  <a:pt x="7907151" y="735938"/>
                </a:lnTo>
                <a:lnTo>
                  <a:pt x="7897241" y="735938"/>
                </a:lnTo>
                <a:lnTo>
                  <a:pt x="7893222" y="731899"/>
                </a:lnTo>
                <a:lnTo>
                  <a:pt x="7893222" y="722029"/>
                </a:lnTo>
                <a:close/>
                <a:moveTo>
                  <a:pt x="7657926" y="717990"/>
                </a:moveTo>
                <a:lnTo>
                  <a:pt x="7667836" y="717990"/>
                </a:lnTo>
                <a:lnTo>
                  <a:pt x="7671855" y="722029"/>
                </a:lnTo>
                <a:lnTo>
                  <a:pt x="7671855" y="731899"/>
                </a:lnTo>
                <a:lnTo>
                  <a:pt x="7667836" y="735938"/>
                </a:lnTo>
                <a:lnTo>
                  <a:pt x="7657926" y="735938"/>
                </a:lnTo>
                <a:lnTo>
                  <a:pt x="7653906" y="731899"/>
                </a:lnTo>
                <a:lnTo>
                  <a:pt x="7653906" y="722029"/>
                </a:lnTo>
                <a:close/>
                <a:moveTo>
                  <a:pt x="7418611" y="717990"/>
                </a:moveTo>
                <a:lnTo>
                  <a:pt x="7428521" y="717990"/>
                </a:lnTo>
                <a:lnTo>
                  <a:pt x="7432540" y="722029"/>
                </a:lnTo>
                <a:lnTo>
                  <a:pt x="7432540" y="731899"/>
                </a:lnTo>
                <a:lnTo>
                  <a:pt x="7428521" y="735938"/>
                </a:lnTo>
                <a:lnTo>
                  <a:pt x="7418611" y="735938"/>
                </a:lnTo>
                <a:lnTo>
                  <a:pt x="7414592" y="731899"/>
                </a:lnTo>
                <a:lnTo>
                  <a:pt x="7414592" y="722029"/>
                </a:lnTo>
                <a:close/>
                <a:moveTo>
                  <a:pt x="7179298" y="717990"/>
                </a:moveTo>
                <a:lnTo>
                  <a:pt x="7189209" y="717990"/>
                </a:lnTo>
                <a:lnTo>
                  <a:pt x="7193228" y="722029"/>
                </a:lnTo>
                <a:lnTo>
                  <a:pt x="7193228" y="731899"/>
                </a:lnTo>
                <a:lnTo>
                  <a:pt x="7189209" y="735938"/>
                </a:lnTo>
                <a:lnTo>
                  <a:pt x="7179298" y="735938"/>
                </a:lnTo>
                <a:lnTo>
                  <a:pt x="7175279" y="731899"/>
                </a:lnTo>
                <a:lnTo>
                  <a:pt x="7175279" y="722029"/>
                </a:lnTo>
                <a:close/>
                <a:moveTo>
                  <a:pt x="961272" y="717980"/>
                </a:moveTo>
                <a:lnTo>
                  <a:pt x="971182" y="717980"/>
                </a:lnTo>
                <a:lnTo>
                  <a:pt x="975202" y="722018"/>
                </a:lnTo>
                <a:lnTo>
                  <a:pt x="975202" y="731889"/>
                </a:lnTo>
                <a:lnTo>
                  <a:pt x="971182" y="735928"/>
                </a:lnTo>
                <a:lnTo>
                  <a:pt x="961272" y="735928"/>
                </a:lnTo>
                <a:lnTo>
                  <a:pt x="957254" y="731889"/>
                </a:lnTo>
                <a:lnTo>
                  <a:pt x="957254" y="722018"/>
                </a:lnTo>
                <a:close/>
                <a:moveTo>
                  <a:pt x="1679219" y="717979"/>
                </a:moveTo>
                <a:lnTo>
                  <a:pt x="1689128" y="717979"/>
                </a:lnTo>
                <a:lnTo>
                  <a:pt x="1693149" y="722018"/>
                </a:lnTo>
                <a:lnTo>
                  <a:pt x="1693149" y="731889"/>
                </a:lnTo>
                <a:lnTo>
                  <a:pt x="1689128" y="735927"/>
                </a:lnTo>
                <a:lnTo>
                  <a:pt x="1679219" y="735927"/>
                </a:lnTo>
                <a:lnTo>
                  <a:pt x="1675200" y="731889"/>
                </a:lnTo>
                <a:lnTo>
                  <a:pt x="1675200" y="722018"/>
                </a:lnTo>
                <a:close/>
                <a:moveTo>
                  <a:pt x="1439901" y="717979"/>
                </a:moveTo>
                <a:lnTo>
                  <a:pt x="1449811" y="717979"/>
                </a:lnTo>
                <a:lnTo>
                  <a:pt x="1453831" y="722018"/>
                </a:lnTo>
                <a:lnTo>
                  <a:pt x="1453831" y="731889"/>
                </a:lnTo>
                <a:lnTo>
                  <a:pt x="1449811" y="735927"/>
                </a:lnTo>
                <a:lnTo>
                  <a:pt x="1439901" y="735927"/>
                </a:lnTo>
                <a:lnTo>
                  <a:pt x="1435883" y="731889"/>
                </a:lnTo>
                <a:lnTo>
                  <a:pt x="1435883" y="722018"/>
                </a:lnTo>
                <a:close/>
                <a:moveTo>
                  <a:pt x="1200585" y="717979"/>
                </a:moveTo>
                <a:lnTo>
                  <a:pt x="1210495" y="717979"/>
                </a:lnTo>
                <a:lnTo>
                  <a:pt x="1214513" y="722018"/>
                </a:lnTo>
                <a:lnTo>
                  <a:pt x="1214513" y="731889"/>
                </a:lnTo>
                <a:lnTo>
                  <a:pt x="1210495" y="735927"/>
                </a:lnTo>
                <a:lnTo>
                  <a:pt x="1200585" y="735927"/>
                </a:lnTo>
                <a:lnTo>
                  <a:pt x="1196566" y="731889"/>
                </a:lnTo>
                <a:lnTo>
                  <a:pt x="1196566" y="722018"/>
                </a:lnTo>
                <a:close/>
                <a:moveTo>
                  <a:pt x="9333125" y="717978"/>
                </a:moveTo>
                <a:lnTo>
                  <a:pt x="9343036" y="717978"/>
                </a:lnTo>
                <a:lnTo>
                  <a:pt x="9347055" y="722016"/>
                </a:lnTo>
                <a:lnTo>
                  <a:pt x="9347055" y="731887"/>
                </a:lnTo>
                <a:lnTo>
                  <a:pt x="9343036" y="735926"/>
                </a:lnTo>
                <a:lnTo>
                  <a:pt x="9333125" y="735926"/>
                </a:lnTo>
                <a:lnTo>
                  <a:pt x="9329106" y="731887"/>
                </a:lnTo>
                <a:lnTo>
                  <a:pt x="9329106" y="722016"/>
                </a:lnTo>
                <a:close/>
                <a:moveTo>
                  <a:pt x="9093811" y="717978"/>
                </a:moveTo>
                <a:lnTo>
                  <a:pt x="9103722" y="717978"/>
                </a:lnTo>
                <a:lnTo>
                  <a:pt x="9107741" y="722016"/>
                </a:lnTo>
                <a:lnTo>
                  <a:pt x="9107741" y="731887"/>
                </a:lnTo>
                <a:lnTo>
                  <a:pt x="9103722" y="735926"/>
                </a:lnTo>
                <a:lnTo>
                  <a:pt x="9093811" y="735926"/>
                </a:lnTo>
                <a:lnTo>
                  <a:pt x="9089792" y="731887"/>
                </a:lnTo>
                <a:lnTo>
                  <a:pt x="9089792" y="722016"/>
                </a:lnTo>
                <a:close/>
                <a:moveTo>
                  <a:pt x="8854496" y="717978"/>
                </a:moveTo>
                <a:lnTo>
                  <a:pt x="8864407" y="717978"/>
                </a:lnTo>
                <a:lnTo>
                  <a:pt x="8868426" y="722016"/>
                </a:lnTo>
                <a:lnTo>
                  <a:pt x="8868426" y="731887"/>
                </a:lnTo>
                <a:lnTo>
                  <a:pt x="8864407" y="735926"/>
                </a:lnTo>
                <a:lnTo>
                  <a:pt x="8854496" y="735926"/>
                </a:lnTo>
                <a:lnTo>
                  <a:pt x="8850477" y="731887"/>
                </a:lnTo>
                <a:lnTo>
                  <a:pt x="8850477" y="722016"/>
                </a:lnTo>
                <a:close/>
                <a:moveTo>
                  <a:pt x="8615184" y="717978"/>
                </a:moveTo>
                <a:lnTo>
                  <a:pt x="8625095" y="717978"/>
                </a:lnTo>
                <a:lnTo>
                  <a:pt x="8629114" y="722016"/>
                </a:lnTo>
                <a:lnTo>
                  <a:pt x="8629114" y="731887"/>
                </a:lnTo>
                <a:lnTo>
                  <a:pt x="8625095" y="735926"/>
                </a:lnTo>
                <a:lnTo>
                  <a:pt x="8615184" y="735926"/>
                </a:lnTo>
                <a:lnTo>
                  <a:pt x="8611165" y="731887"/>
                </a:lnTo>
                <a:lnTo>
                  <a:pt x="8611165" y="722016"/>
                </a:lnTo>
                <a:close/>
                <a:moveTo>
                  <a:pt x="8375869" y="717978"/>
                </a:moveTo>
                <a:lnTo>
                  <a:pt x="8385779" y="717978"/>
                </a:lnTo>
                <a:lnTo>
                  <a:pt x="8389799" y="722016"/>
                </a:lnTo>
                <a:lnTo>
                  <a:pt x="8389799" y="731887"/>
                </a:lnTo>
                <a:lnTo>
                  <a:pt x="8385779" y="735926"/>
                </a:lnTo>
                <a:lnTo>
                  <a:pt x="8375869" y="735926"/>
                </a:lnTo>
                <a:lnTo>
                  <a:pt x="8371850" y="731887"/>
                </a:lnTo>
                <a:lnTo>
                  <a:pt x="8371850" y="722016"/>
                </a:lnTo>
                <a:close/>
                <a:moveTo>
                  <a:pt x="1918514" y="717970"/>
                </a:moveTo>
                <a:lnTo>
                  <a:pt x="1928424" y="717970"/>
                </a:lnTo>
                <a:lnTo>
                  <a:pt x="1932444" y="722009"/>
                </a:lnTo>
                <a:lnTo>
                  <a:pt x="1932444" y="731879"/>
                </a:lnTo>
                <a:lnTo>
                  <a:pt x="1928424" y="735918"/>
                </a:lnTo>
                <a:lnTo>
                  <a:pt x="1918514" y="735918"/>
                </a:lnTo>
                <a:lnTo>
                  <a:pt x="1914495" y="731879"/>
                </a:lnTo>
                <a:lnTo>
                  <a:pt x="1914495" y="722009"/>
                </a:lnTo>
                <a:close/>
                <a:moveTo>
                  <a:pt x="2157823" y="717968"/>
                </a:moveTo>
                <a:lnTo>
                  <a:pt x="2167733" y="717968"/>
                </a:lnTo>
                <a:lnTo>
                  <a:pt x="2171753" y="722006"/>
                </a:lnTo>
                <a:lnTo>
                  <a:pt x="2171753" y="731877"/>
                </a:lnTo>
                <a:lnTo>
                  <a:pt x="2167733" y="735916"/>
                </a:lnTo>
                <a:lnTo>
                  <a:pt x="2157823" y="735916"/>
                </a:lnTo>
                <a:lnTo>
                  <a:pt x="2153804" y="731877"/>
                </a:lnTo>
                <a:lnTo>
                  <a:pt x="2153804" y="722006"/>
                </a:lnTo>
                <a:close/>
                <a:moveTo>
                  <a:pt x="9572438" y="717966"/>
                </a:moveTo>
                <a:lnTo>
                  <a:pt x="9582349" y="717966"/>
                </a:lnTo>
                <a:lnTo>
                  <a:pt x="9586368" y="722004"/>
                </a:lnTo>
                <a:lnTo>
                  <a:pt x="9586368" y="731875"/>
                </a:lnTo>
                <a:lnTo>
                  <a:pt x="9582349" y="735914"/>
                </a:lnTo>
                <a:lnTo>
                  <a:pt x="9572438" y="735914"/>
                </a:lnTo>
                <a:lnTo>
                  <a:pt x="9568419" y="731875"/>
                </a:lnTo>
                <a:lnTo>
                  <a:pt x="9568419" y="722004"/>
                </a:lnTo>
                <a:close/>
                <a:moveTo>
                  <a:pt x="243349" y="717939"/>
                </a:moveTo>
                <a:lnTo>
                  <a:pt x="253260" y="717939"/>
                </a:lnTo>
                <a:lnTo>
                  <a:pt x="257279" y="721977"/>
                </a:lnTo>
                <a:lnTo>
                  <a:pt x="257279" y="731847"/>
                </a:lnTo>
                <a:lnTo>
                  <a:pt x="253260" y="735886"/>
                </a:lnTo>
                <a:lnTo>
                  <a:pt x="243349" y="735886"/>
                </a:lnTo>
                <a:lnTo>
                  <a:pt x="239330" y="731847"/>
                </a:lnTo>
                <a:lnTo>
                  <a:pt x="239330" y="721977"/>
                </a:lnTo>
                <a:close/>
                <a:moveTo>
                  <a:pt x="4036" y="717939"/>
                </a:moveTo>
                <a:lnTo>
                  <a:pt x="13947" y="717939"/>
                </a:lnTo>
                <a:lnTo>
                  <a:pt x="17965" y="721978"/>
                </a:lnTo>
                <a:lnTo>
                  <a:pt x="17965" y="731848"/>
                </a:lnTo>
                <a:lnTo>
                  <a:pt x="13947" y="735886"/>
                </a:lnTo>
                <a:lnTo>
                  <a:pt x="4036" y="735886"/>
                </a:lnTo>
                <a:lnTo>
                  <a:pt x="17" y="731848"/>
                </a:lnTo>
                <a:lnTo>
                  <a:pt x="17" y="721978"/>
                </a:lnTo>
                <a:close/>
                <a:moveTo>
                  <a:pt x="721975" y="717939"/>
                </a:moveTo>
                <a:lnTo>
                  <a:pt x="731885" y="717939"/>
                </a:lnTo>
                <a:lnTo>
                  <a:pt x="735904" y="721977"/>
                </a:lnTo>
                <a:lnTo>
                  <a:pt x="735904" y="731847"/>
                </a:lnTo>
                <a:lnTo>
                  <a:pt x="731885" y="735886"/>
                </a:lnTo>
                <a:lnTo>
                  <a:pt x="721975" y="735886"/>
                </a:lnTo>
                <a:lnTo>
                  <a:pt x="717956" y="731847"/>
                </a:lnTo>
                <a:lnTo>
                  <a:pt x="717956" y="721977"/>
                </a:lnTo>
                <a:close/>
                <a:moveTo>
                  <a:pt x="482663" y="717939"/>
                </a:moveTo>
                <a:lnTo>
                  <a:pt x="492573" y="717939"/>
                </a:lnTo>
                <a:lnTo>
                  <a:pt x="496593" y="721977"/>
                </a:lnTo>
                <a:lnTo>
                  <a:pt x="496593" y="731847"/>
                </a:lnTo>
                <a:lnTo>
                  <a:pt x="492573" y="735886"/>
                </a:lnTo>
                <a:lnTo>
                  <a:pt x="482663" y="735886"/>
                </a:lnTo>
                <a:lnTo>
                  <a:pt x="478643" y="731847"/>
                </a:lnTo>
                <a:lnTo>
                  <a:pt x="478643" y="721977"/>
                </a:lnTo>
                <a:close/>
                <a:moveTo>
                  <a:pt x="3350359" y="478760"/>
                </a:moveTo>
                <a:lnTo>
                  <a:pt x="3360268" y="478760"/>
                </a:lnTo>
                <a:lnTo>
                  <a:pt x="3364287" y="482801"/>
                </a:lnTo>
                <a:lnTo>
                  <a:pt x="3364287" y="492670"/>
                </a:lnTo>
                <a:lnTo>
                  <a:pt x="3360268" y="496707"/>
                </a:lnTo>
                <a:lnTo>
                  <a:pt x="3350359" y="496707"/>
                </a:lnTo>
                <a:lnTo>
                  <a:pt x="3346340" y="492670"/>
                </a:lnTo>
                <a:lnTo>
                  <a:pt x="3346340" y="482801"/>
                </a:lnTo>
                <a:close/>
                <a:moveTo>
                  <a:pt x="3111048" y="478760"/>
                </a:moveTo>
                <a:lnTo>
                  <a:pt x="3120959" y="478760"/>
                </a:lnTo>
                <a:lnTo>
                  <a:pt x="3124977" y="482801"/>
                </a:lnTo>
                <a:lnTo>
                  <a:pt x="3124977" y="492670"/>
                </a:lnTo>
                <a:lnTo>
                  <a:pt x="3120959" y="496707"/>
                </a:lnTo>
                <a:lnTo>
                  <a:pt x="3111048" y="496707"/>
                </a:lnTo>
                <a:lnTo>
                  <a:pt x="3107029" y="492670"/>
                </a:lnTo>
                <a:lnTo>
                  <a:pt x="3107029" y="482801"/>
                </a:lnTo>
                <a:close/>
                <a:moveTo>
                  <a:pt x="2871737" y="478760"/>
                </a:moveTo>
                <a:lnTo>
                  <a:pt x="2881646" y="478760"/>
                </a:lnTo>
                <a:lnTo>
                  <a:pt x="2885666" y="482801"/>
                </a:lnTo>
                <a:lnTo>
                  <a:pt x="2885666" y="492670"/>
                </a:lnTo>
                <a:lnTo>
                  <a:pt x="2881646" y="496707"/>
                </a:lnTo>
                <a:lnTo>
                  <a:pt x="2871737" y="496707"/>
                </a:lnTo>
                <a:lnTo>
                  <a:pt x="2867717" y="492670"/>
                </a:lnTo>
                <a:lnTo>
                  <a:pt x="2867717" y="482801"/>
                </a:lnTo>
                <a:close/>
                <a:moveTo>
                  <a:pt x="2632423" y="478760"/>
                </a:moveTo>
                <a:lnTo>
                  <a:pt x="2642334" y="478760"/>
                </a:lnTo>
                <a:lnTo>
                  <a:pt x="2646352" y="482801"/>
                </a:lnTo>
                <a:lnTo>
                  <a:pt x="2646352" y="492670"/>
                </a:lnTo>
                <a:lnTo>
                  <a:pt x="2642334" y="496707"/>
                </a:lnTo>
                <a:lnTo>
                  <a:pt x="2632423" y="496707"/>
                </a:lnTo>
                <a:lnTo>
                  <a:pt x="2628404" y="492670"/>
                </a:lnTo>
                <a:lnTo>
                  <a:pt x="2628404" y="482801"/>
                </a:lnTo>
                <a:close/>
                <a:moveTo>
                  <a:pt x="2393104" y="478760"/>
                </a:moveTo>
                <a:lnTo>
                  <a:pt x="2403015" y="478760"/>
                </a:lnTo>
                <a:lnTo>
                  <a:pt x="2407034" y="482801"/>
                </a:lnTo>
                <a:lnTo>
                  <a:pt x="2407034" y="492670"/>
                </a:lnTo>
                <a:lnTo>
                  <a:pt x="2403015" y="496707"/>
                </a:lnTo>
                <a:lnTo>
                  <a:pt x="2393104" y="496707"/>
                </a:lnTo>
                <a:lnTo>
                  <a:pt x="2389087" y="492670"/>
                </a:lnTo>
                <a:lnTo>
                  <a:pt x="2389087" y="482801"/>
                </a:lnTo>
                <a:close/>
                <a:moveTo>
                  <a:pt x="4546929" y="478748"/>
                </a:moveTo>
                <a:lnTo>
                  <a:pt x="4556840" y="478748"/>
                </a:lnTo>
                <a:lnTo>
                  <a:pt x="4560859" y="482789"/>
                </a:lnTo>
                <a:lnTo>
                  <a:pt x="4560859" y="492657"/>
                </a:lnTo>
                <a:lnTo>
                  <a:pt x="4556840" y="496695"/>
                </a:lnTo>
                <a:lnTo>
                  <a:pt x="4546929" y="496695"/>
                </a:lnTo>
                <a:lnTo>
                  <a:pt x="4542910" y="492657"/>
                </a:lnTo>
                <a:lnTo>
                  <a:pt x="4542910" y="482789"/>
                </a:lnTo>
                <a:close/>
                <a:moveTo>
                  <a:pt x="4307612" y="478748"/>
                </a:moveTo>
                <a:lnTo>
                  <a:pt x="4317523" y="478748"/>
                </a:lnTo>
                <a:lnTo>
                  <a:pt x="4321543" y="482789"/>
                </a:lnTo>
                <a:lnTo>
                  <a:pt x="4321543" y="492657"/>
                </a:lnTo>
                <a:lnTo>
                  <a:pt x="4317523" y="496695"/>
                </a:lnTo>
                <a:lnTo>
                  <a:pt x="4307612" y="496695"/>
                </a:lnTo>
                <a:lnTo>
                  <a:pt x="4303595" y="492657"/>
                </a:lnTo>
                <a:lnTo>
                  <a:pt x="4303595" y="482789"/>
                </a:lnTo>
                <a:close/>
                <a:moveTo>
                  <a:pt x="4068297" y="478748"/>
                </a:moveTo>
                <a:lnTo>
                  <a:pt x="4078210" y="478748"/>
                </a:lnTo>
                <a:lnTo>
                  <a:pt x="4082229" y="482789"/>
                </a:lnTo>
                <a:lnTo>
                  <a:pt x="4082229" y="492657"/>
                </a:lnTo>
                <a:lnTo>
                  <a:pt x="4078210" y="496695"/>
                </a:lnTo>
                <a:lnTo>
                  <a:pt x="4068297" y="496695"/>
                </a:lnTo>
                <a:lnTo>
                  <a:pt x="4064278" y="492657"/>
                </a:lnTo>
                <a:lnTo>
                  <a:pt x="4064278" y="482789"/>
                </a:lnTo>
                <a:close/>
                <a:moveTo>
                  <a:pt x="3828990" y="478748"/>
                </a:moveTo>
                <a:lnTo>
                  <a:pt x="3838899" y="478748"/>
                </a:lnTo>
                <a:lnTo>
                  <a:pt x="3842917" y="482789"/>
                </a:lnTo>
                <a:lnTo>
                  <a:pt x="3842917" y="492657"/>
                </a:lnTo>
                <a:lnTo>
                  <a:pt x="3838899" y="496695"/>
                </a:lnTo>
                <a:lnTo>
                  <a:pt x="3828990" y="496695"/>
                </a:lnTo>
                <a:lnTo>
                  <a:pt x="3824971" y="492657"/>
                </a:lnTo>
                <a:lnTo>
                  <a:pt x="3824971" y="482789"/>
                </a:lnTo>
                <a:close/>
                <a:moveTo>
                  <a:pt x="3589676" y="478748"/>
                </a:moveTo>
                <a:lnTo>
                  <a:pt x="3599585" y="478748"/>
                </a:lnTo>
                <a:lnTo>
                  <a:pt x="3603604" y="482789"/>
                </a:lnTo>
                <a:lnTo>
                  <a:pt x="3603604" y="492657"/>
                </a:lnTo>
                <a:lnTo>
                  <a:pt x="3599585" y="496695"/>
                </a:lnTo>
                <a:lnTo>
                  <a:pt x="3589676" y="496695"/>
                </a:lnTo>
                <a:lnTo>
                  <a:pt x="3585657" y="492657"/>
                </a:lnTo>
                <a:lnTo>
                  <a:pt x="3585657" y="482789"/>
                </a:lnTo>
                <a:close/>
                <a:moveTo>
                  <a:pt x="5743412" y="478736"/>
                </a:moveTo>
                <a:lnTo>
                  <a:pt x="5753323" y="478736"/>
                </a:lnTo>
                <a:lnTo>
                  <a:pt x="5757342" y="482776"/>
                </a:lnTo>
                <a:lnTo>
                  <a:pt x="5757342" y="492645"/>
                </a:lnTo>
                <a:lnTo>
                  <a:pt x="5753323" y="496683"/>
                </a:lnTo>
                <a:lnTo>
                  <a:pt x="5743412" y="496683"/>
                </a:lnTo>
                <a:lnTo>
                  <a:pt x="5739393" y="492645"/>
                </a:lnTo>
                <a:lnTo>
                  <a:pt x="5739393" y="482776"/>
                </a:lnTo>
                <a:close/>
                <a:moveTo>
                  <a:pt x="5504099" y="478736"/>
                </a:moveTo>
                <a:lnTo>
                  <a:pt x="5514010" y="478736"/>
                </a:lnTo>
                <a:lnTo>
                  <a:pt x="5518029" y="482776"/>
                </a:lnTo>
                <a:lnTo>
                  <a:pt x="5518029" y="492645"/>
                </a:lnTo>
                <a:lnTo>
                  <a:pt x="5514010" y="496683"/>
                </a:lnTo>
                <a:lnTo>
                  <a:pt x="5504099" y="496683"/>
                </a:lnTo>
                <a:lnTo>
                  <a:pt x="5500080" y="492645"/>
                </a:lnTo>
                <a:lnTo>
                  <a:pt x="5500080" y="482776"/>
                </a:lnTo>
                <a:close/>
                <a:moveTo>
                  <a:pt x="5264784" y="478736"/>
                </a:moveTo>
                <a:lnTo>
                  <a:pt x="5274694" y="478736"/>
                </a:lnTo>
                <a:lnTo>
                  <a:pt x="5278713" y="482776"/>
                </a:lnTo>
                <a:lnTo>
                  <a:pt x="5278713" y="492645"/>
                </a:lnTo>
                <a:lnTo>
                  <a:pt x="5274694" y="496683"/>
                </a:lnTo>
                <a:lnTo>
                  <a:pt x="5264784" y="496683"/>
                </a:lnTo>
                <a:lnTo>
                  <a:pt x="5260765" y="492645"/>
                </a:lnTo>
                <a:lnTo>
                  <a:pt x="5260765" y="482776"/>
                </a:lnTo>
                <a:close/>
                <a:moveTo>
                  <a:pt x="5025470" y="478736"/>
                </a:moveTo>
                <a:lnTo>
                  <a:pt x="5035381" y="478736"/>
                </a:lnTo>
                <a:lnTo>
                  <a:pt x="5039400" y="482776"/>
                </a:lnTo>
                <a:lnTo>
                  <a:pt x="5039400" y="492645"/>
                </a:lnTo>
                <a:lnTo>
                  <a:pt x="5035381" y="496683"/>
                </a:lnTo>
                <a:lnTo>
                  <a:pt x="5025470" y="496683"/>
                </a:lnTo>
                <a:lnTo>
                  <a:pt x="5021451" y="492645"/>
                </a:lnTo>
                <a:lnTo>
                  <a:pt x="5021451" y="482776"/>
                </a:lnTo>
                <a:close/>
                <a:moveTo>
                  <a:pt x="4786241" y="478736"/>
                </a:moveTo>
                <a:lnTo>
                  <a:pt x="4796152" y="478736"/>
                </a:lnTo>
                <a:lnTo>
                  <a:pt x="4800171" y="482776"/>
                </a:lnTo>
                <a:lnTo>
                  <a:pt x="4800171" y="492645"/>
                </a:lnTo>
                <a:lnTo>
                  <a:pt x="4796152" y="496683"/>
                </a:lnTo>
                <a:lnTo>
                  <a:pt x="4786241" y="496683"/>
                </a:lnTo>
                <a:lnTo>
                  <a:pt x="4782224" y="492645"/>
                </a:lnTo>
                <a:lnTo>
                  <a:pt x="4782224" y="482776"/>
                </a:lnTo>
                <a:close/>
                <a:moveTo>
                  <a:pt x="6939983" y="478724"/>
                </a:moveTo>
                <a:lnTo>
                  <a:pt x="6949894" y="478724"/>
                </a:lnTo>
                <a:lnTo>
                  <a:pt x="6953913" y="482764"/>
                </a:lnTo>
                <a:lnTo>
                  <a:pt x="6953913" y="492633"/>
                </a:lnTo>
                <a:lnTo>
                  <a:pt x="6949894" y="496671"/>
                </a:lnTo>
                <a:lnTo>
                  <a:pt x="6939983" y="496671"/>
                </a:lnTo>
                <a:lnTo>
                  <a:pt x="6935964" y="492633"/>
                </a:lnTo>
                <a:lnTo>
                  <a:pt x="6935964" y="482764"/>
                </a:lnTo>
                <a:close/>
                <a:moveTo>
                  <a:pt x="6700670" y="478724"/>
                </a:moveTo>
                <a:lnTo>
                  <a:pt x="6710581" y="478724"/>
                </a:lnTo>
                <a:lnTo>
                  <a:pt x="6714600" y="482764"/>
                </a:lnTo>
                <a:lnTo>
                  <a:pt x="6714600" y="492633"/>
                </a:lnTo>
                <a:lnTo>
                  <a:pt x="6710581" y="496671"/>
                </a:lnTo>
                <a:lnTo>
                  <a:pt x="6700670" y="496671"/>
                </a:lnTo>
                <a:lnTo>
                  <a:pt x="6696651" y="492633"/>
                </a:lnTo>
                <a:lnTo>
                  <a:pt x="6696651" y="482764"/>
                </a:lnTo>
                <a:close/>
                <a:moveTo>
                  <a:pt x="6461356" y="478724"/>
                </a:moveTo>
                <a:lnTo>
                  <a:pt x="6471266" y="478724"/>
                </a:lnTo>
                <a:lnTo>
                  <a:pt x="6475285" y="482764"/>
                </a:lnTo>
                <a:lnTo>
                  <a:pt x="6475285" y="492633"/>
                </a:lnTo>
                <a:lnTo>
                  <a:pt x="6471266" y="496671"/>
                </a:lnTo>
                <a:lnTo>
                  <a:pt x="6461356" y="496671"/>
                </a:lnTo>
                <a:lnTo>
                  <a:pt x="6457337" y="492633"/>
                </a:lnTo>
                <a:lnTo>
                  <a:pt x="6457337" y="482764"/>
                </a:lnTo>
                <a:close/>
                <a:moveTo>
                  <a:pt x="6222042" y="478724"/>
                </a:moveTo>
                <a:lnTo>
                  <a:pt x="6231952" y="478724"/>
                </a:lnTo>
                <a:lnTo>
                  <a:pt x="6235971" y="482764"/>
                </a:lnTo>
                <a:lnTo>
                  <a:pt x="6235971" y="492633"/>
                </a:lnTo>
                <a:lnTo>
                  <a:pt x="6231952" y="496671"/>
                </a:lnTo>
                <a:lnTo>
                  <a:pt x="6222042" y="496671"/>
                </a:lnTo>
                <a:lnTo>
                  <a:pt x="6218023" y="492633"/>
                </a:lnTo>
                <a:lnTo>
                  <a:pt x="6218023" y="482764"/>
                </a:lnTo>
                <a:close/>
                <a:moveTo>
                  <a:pt x="5982729" y="478724"/>
                </a:moveTo>
                <a:lnTo>
                  <a:pt x="5992639" y="478724"/>
                </a:lnTo>
                <a:lnTo>
                  <a:pt x="5996658" y="482764"/>
                </a:lnTo>
                <a:lnTo>
                  <a:pt x="5996658" y="492633"/>
                </a:lnTo>
                <a:lnTo>
                  <a:pt x="5992639" y="496671"/>
                </a:lnTo>
                <a:lnTo>
                  <a:pt x="5982729" y="496671"/>
                </a:lnTo>
                <a:lnTo>
                  <a:pt x="5978710" y="492633"/>
                </a:lnTo>
                <a:lnTo>
                  <a:pt x="5978710" y="482764"/>
                </a:lnTo>
                <a:close/>
                <a:moveTo>
                  <a:pt x="7897241" y="478712"/>
                </a:moveTo>
                <a:lnTo>
                  <a:pt x="7907151" y="478712"/>
                </a:lnTo>
                <a:lnTo>
                  <a:pt x="7911170" y="482751"/>
                </a:lnTo>
                <a:lnTo>
                  <a:pt x="7911170" y="492620"/>
                </a:lnTo>
                <a:lnTo>
                  <a:pt x="7907151" y="496658"/>
                </a:lnTo>
                <a:lnTo>
                  <a:pt x="7897241" y="496658"/>
                </a:lnTo>
                <a:lnTo>
                  <a:pt x="7893222" y="492620"/>
                </a:lnTo>
                <a:lnTo>
                  <a:pt x="7893222" y="482751"/>
                </a:lnTo>
                <a:close/>
                <a:moveTo>
                  <a:pt x="7657926" y="478712"/>
                </a:moveTo>
                <a:lnTo>
                  <a:pt x="7667836" y="478712"/>
                </a:lnTo>
                <a:lnTo>
                  <a:pt x="7671855" y="482751"/>
                </a:lnTo>
                <a:lnTo>
                  <a:pt x="7671855" y="492620"/>
                </a:lnTo>
                <a:lnTo>
                  <a:pt x="7667836" y="496659"/>
                </a:lnTo>
                <a:lnTo>
                  <a:pt x="7657926" y="496659"/>
                </a:lnTo>
                <a:lnTo>
                  <a:pt x="7653906" y="492620"/>
                </a:lnTo>
                <a:lnTo>
                  <a:pt x="7653906" y="482751"/>
                </a:lnTo>
                <a:close/>
                <a:moveTo>
                  <a:pt x="7418611" y="478712"/>
                </a:moveTo>
                <a:lnTo>
                  <a:pt x="7428521" y="478712"/>
                </a:lnTo>
                <a:lnTo>
                  <a:pt x="7432540" y="482751"/>
                </a:lnTo>
                <a:lnTo>
                  <a:pt x="7432540" y="492620"/>
                </a:lnTo>
                <a:lnTo>
                  <a:pt x="7428521" y="496659"/>
                </a:lnTo>
                <a:lnTo>
                  <a:pt x="7418611" y="496659"/>
                </a:lnTo>
                <a:lnTo>
                  <a:pt x="7414592" y="492620"/>
                </a:lnTo>
                <a:lnTo>
                  <a:pt x="7414592" y="482751"/>
                </a:lnTo>
                <a:close/>
                <a:moveTo>
                  <a:pt x="7179298" y="478712"/>
                </a:moveTo>
                <a:lnTo>
                  <a:pt x="7189209" y="478712"/>
                </a:lnTo>
                <a:lnTo>
                  <a:pt x="7193228" y="482751"/>
                </a:lnTo>
                <a:lnTo>
                  <a:pt x="7193228" y="492620"/>
                </a:lnTo>
                <a:lnTo>
                  <a:pt x="7189209" y="496659"/>
                </a:lnTo>
                <a:lnTo>
                  <a:pt x="7179298" y="496659"/>
                </a:lnTo>
                <a:lnTo>
                  <a:pt x="7175279" y="492620"/>
                </a:lnTo>
                <a:lnTo>
                  <a:pt x="7175279" y="482751"/>
                </a:lnTo>
                <a:close/>
                <a:moveTo>
                  <a:pt x="8136553" y="478711"/>
                </a:moveTo>
                <a:lnTo>
                  <a:pt x="8146464" y="478711"/>
                </a:lnTo>
                <a:lnTo>
                  <a:pt x="8150483" y="482751"/>
                </a:lnTo>
                <a:lnTo>
                  <a:pt x="8150483" y="492620"/>
                </a:lnTo>
                <a:lnTo>
                  <a:pt x="8146464" y="496658"/>
                </a:lnTo>
                <a:lnTo>
                  <a:pt x="8136553" y="496658"/>
                </a:lnTo>
                <a:lnTo>
                  <a:pt x="8132534" y="492620"/>
                </a:lnTo>
                <a:lnTo>
                  <a:pt x="8132534" y="482751"/>
                </a:lnTo>
                <a:close/>
                <a:moveTo>
                  <a:pt x="9093811" y="478699"/>
                </a:moveTo>
                <a:lnTo>
                  <a:pt x="9103722" y="478699"/>
                </a:lnTo>
                <a:lnTo>
                  <a:pt x="9107741" y="482738"/>
                </a:lnTo>
                <a:lnTo>
                  <a:pt x="9107741" y="492608"/>
                </a:lnTo>
                <a:lnTo>
                  <a:pt x="9103722" y="496646"/>
                </a:lnTo>
                <a:lnTo>
                  <a:pt x="9093811" y="496646"/>
                </a:lnTo>
                <a:lnTo>
                  <a:pt x="9089792" y="492608"/>
                </a:lnTo>
                <a:lnTo>
                  <a:pt x="9089792" y="482738"/>
                </a:lnTo>
                <a:close/>
                <a:moveTo>
                  <a:pt x="8854496" y="478699"/>
                </a:moveTo>
                <a:lnTo>
                  <a:pt x="8864407" y="478699"/>
                </a:lnTo>
                <a:lnTo>
                  <a:pt x="8868426" y="482738"/>
                </a:lnTo>
                <a:lnTo>
                  <a:pt x="8868426" y="492608"/>
                </a:lnTo>
                <a:lnTo>
                  <a:pt x="8864407" y="496647"/>
                </a:lnTo>
                <a:lnTo>
                  <a:pt x="8854496" y="496647"/>
                </a:lnTo>
                <a:lnTo>
                  <a:pt x="8850477" y="492608"/>
                </a:lnTo>
                <a:lnTo>
                  <a:pt x="8850477" y="482738"/>
                </a:lnTo>
                <a:close/>
                <a:moveTo>
                  <a:pt x="8615184" y="478699"/>
                </a:moveTo>
                <a:lnTo>
                  <a:pt x="8625095" y="478699"/>
                </a:lnTo>
                <a:lnTo>
                  <a:pt x="8629114" y="482739"/>
                </a:lnTo>
                <a:lnTo>
                  <a:pt x="8629114" y="492608"/>
                </a:lnTo>
                <a:lnTo>
                  <a:pt x="8625095" y="496647"/>
                </a:lnTo>
                <a:lnTo>
                  <a:pt x="8615184" y="496647"/>
                </a:lnTo>
                <a:lnTo>
                  <a:pt x="8611165" y="492608"/>
                </a:lnTo>
                <a:lnTo>
                  <a:pt x="8611165" y="482739"/>
                </a:lnTo>
                <a:close/>
                <a:moveTo>
                  <a:pt x="8375869" y="478699"/>
                </a:moveTo>
                <a:lnTo>
                  <a:pt x="8385779" y="478699"/>
                </a:lnTo>
                <a:lnTo>
                  <a:pt x="8389799" y="482739"/>
                </a:lnTo>
                <a:lnTo>
                  <a:pt x="8389799" y="492608"/>
                </a:lnTo>
                <a:lnTo>
                  <a:pt x="8385779" y="496647"/>
                </a:lnTo>
                <a:lnTo>
                  <a:pt x="8375869" y="496647"/>
                </a:lnTo>
                <a:lnTo>
                  <a:pt x="8371850" y="492608"/>
                </a:lnTo>
                <a:lnTo>
                  <a:pt x="8371850" y="482739"/>
                </a:lnTo>
                <a:close/>
                <a:moveTo>
                  <a:pt x="9333125" y="478698"/>
                </a:moveTo>
                <a:lnTo>
                  <a:pt x="9343036" y="478698"/>
                </a:lnTo>
                <a:lnTo>
                  <a:pt x="9347055" y="482738"/>
                </a:lnTo>
                <a:lnTo>
                  <a:pt x="9347055" y="492608"/>
                </a:lnTo>
                <a:lnTo>
                  <a:pt x="9343036" y="496646"/>
                </a:lnTo>
                <a:lnTo>
                  <a:pt x="9333125" y="496646"/>
                </a:lnTo>
                <a:lnTo>
                  <a:pt x="9329106" y="492608"/>
                </a:lnTo>
                <a:lnTo>
                  <a:pt x="9329106" y="482738"/>
                </a:lnTo>
                <a:close/>
                <a:moveTo>
                  <a:pt x="9572438" y="478687"/>
                </a:moveTo>
                <a:lnTo>
                  <a:pt x="9582349" y="478687"/>
                </a:lnTo>
                <a:lnTo>
                  <a:pt x="9586368" y="482726"/>
                </a:lnTo>
                <a:lnTo>
                  <a:pt x="9586368" y="492596"/>
                </a:lnTo>
                <a:lnTo>
                  <a:pt x="9582349" y="496634"/>
                </a:lnTo>
                <a:lnTo>
                  <a:pt x="9572438" y="496634"/>
                </a:lnTo>
                <a:lnTo>
                  <a:pt x="9568419" y="492596"/>
                </a:lnTo>
                <a:lnTo>
                  <a:pt x="9568419" y="482726"/>
                </a:lnTo>
                <a:close/>
                <a:moveTo>
                  <a:pt x="721976" y="478660"/>
                </a:moveTo>
                <a:lnTo>
                  <a:pt x="731886" y="478660"/>
                </a:lnTo>
                <a:lnTo>
                  <a:pt x="735905" y="482698"/>
                </a:lnTo>
                <a:lnTo>
                  <a:pt x="735905" y="492569"/>
                </a:lnTo>
                <a:lnTo>
                  <a:pt x="731886" y="496608"/>
                </a:lnTo>
                <a:lnTo>
                  <a:pt x="721976" y="496608"/>
                </a:lnTo>
                <a:lnTo>
                  <a:pt x="717957" y="492569"/>
                </a:lnTo>
                <a:lnTo>
                  <a:pt x="717957" y="482698"/>
                </a:lnTo>
                <a:close/>
                <a:moveTo>
                  <a:pt x="482664" y="478660"/>
                </a:moveTo>
                <a:lnTo>
                  <a:pt x="492574" y="478660"/>
                </a:lnTo>
                <a:lnTo>
                  <a:pt x="496593" y="482698"/>
                </a:lnTo>
                <a:lnTo>
                  <a:pt x="496593" y="492569"/>
                </a:lnTo>
                <a:lnTo>
                  <a:pt x="492574" y="496608"/>
                </a:lnTo>
                <a:lnTo>
                  <a:pt x="482664" y="496608"/>
                </a:lnTo>
                <a:lnTo>
                  <a:pt x="478645" y="492569"/>
                </a:lnTo>
                <a:lnTo>
                  <a:pt x="478645" y="482698"/>
                </a:lnTo>
                <a:close/>
                <a:moveTo>
                  <a:pt x="243350" y="478660"/>
                </a:moveTo>
                <a:lnTo>
                  <a:pt x="253260" y="478660"/>
                </a:lnTo>
                <a:lnTo>
                  <a:pt x="257279" y="482698"/>
                </a:lnTo>
                <a:lnTo>
                  <a:pt x="257279" y="492569"/>
                </a:lnTo>
                <a:lnTo>
                  <a:pt x="253260" y="496608"/>
                </a:lnTo>
                <a:lnTo>
                  <a:pt x="243350" y="496608"/>
                </a:lnTo>
                <a:lnTo>
                  <a:pt x="239331" y="492569"/>
                </a:lnTo>
                <a:lnTo>
                  <a:pt x="239331" y="482698"/>
                </a:lnTo>
                <a:close/>
                <a:moveTo>
                  <a:pt x="4037" y="478660"/>
                </a:moveTo>
                <a:lnTo>
                  <a:pt x="13947" y="478660"/>
                </a:lnTo>
                <a:lnTo>
                  <a:pt x="17966" y="482698"/>
                </a:lnTo>
                <a:lnTo>
                  <a:pt x="17966" y="492569"/>
                </a:lnTo>
                <a:lnTo>
                  <a:pt x="13947" y="496608"/>
                </a:lnTo>
                <a:lnTo>
                  <a:pt x="4037" y="496608"/>
                </a:lnTo>
                <a:lnTo>
                  <a:pt x="18" y="492569"/>
                </a:lnTo>
                <a:lnTo>
                  <a:pt x="18" y="482698"/>
                </a:lnTo>
                <a:close/>
                <a:moveTo>
                  <a:pt x="1679220" y="478650"/>
                </a:moveTo>
                <a:lnTo>
                  <a:pt x="1689130" y="478650"/>
                </a:lnTo>
                <a:lnTo>
                  <a:pt x="1693149" y="482688"/>
                </a:lnTo>
                <a:lnTo>
                  <a:pt x="1693149" y="492559"/>
                </a:lnTo>
                <a:lnTo>
                  <a:pt x="1689130" y="496598"/>
                </a:lnTo>
                <a:lnTo>
                  <a:pt x="1679220" y="496598"/>
                </a:lnTo>
                <a:lnTo>
                  <a:pt x="1675200" y="492559"/>
                </a:lnTo>
                <a:lnTo>
                  <a:pt x="1675200" y="482688"/>
                </a:lnTo>
                <a:close/>
                <a:moveTo>
                  <a:pt x="1439902" y="478650"/>
                </a:moveTo>
                <a:lnTo>
                  <a:pt x="1449812" y="478650"/>
                </a:lnTo>
                <a:lnTo>
                  <a:pt x="1453831" y="482688"/>
                </a:lnTo>
                <a:lnTo>
                  <a:pt x="1453831" y="492559"/>
                </a:lnTo>
                <a:lnTo>
                  <a:pt x="1449812" y="496598"/>
                </a:lnTo>
                <a:lnTo>
                  <a:pt x="1439902" y="496598"/>
                </a:lnTo>
                <a:lnTo>
                  <a:pt x="1435883" y="492559"/>
                </a:lnTo>
                <a:lnTo>
                  <a:pt x="1435883" y="482688"/>
                </a:lnTo>
                <a:close/>
                <a:moveTo>
                  <a:pt x="1200585" y="478650"/>
                </a:moveTo>
                <a:lnTo>
                  <a:pt x="1210496" y="478650"/>
                </a:lnTo>
                <a:lnTo>
                  <a:pt x="1214515" y="482689"/>
                </a:lnTo>
                <a:lnTo>
                  <a:pt x="1214515" y="492559"/>
                </a:lnTo>
                <a:lnTo>
                  <a:pt x="1210496" y="496598"/>
                </a:lnTo>
                <a:lnTo>
                  <a:pt x="1200585" y="496598"/>
                </a:lnTo>
                <a:lnTo>
                  <a:pt x="1196567" y="492559"/>
                </a:lnTo>
                <a:lnTo>
                  <a:pt x="1196567" y="482689"/>
                </a:lnTo>
                <a:close/>
                <a:moveTo>
                  <a:pt x="961273" y="478650"/>
                </a:moveTo>
                <a:lnTo>
                  <a:pt x="971183" y="478650"/>
                </a:lnTo>
                <a:lnTo>
                  <a:pt x="975202" y="482689"/>
                </a:lnTo>
                <a:lnTo>
                  <a:pt x="975202" y="492559"/>
                </a:lnTo>
                <a:lnTo>
                  <a:pt x="971183" y="496598"/>
                </a:lnTo>
                <a:lnTo>
                  <a:pt x="961273" y="496598"/>
                </a:lnTo>
                <a:lnTo>
                  <a:pt x="957254" y="492559"/>
                </a:lnTo>
                <a:lnTo>
                  <a:pt x="957254" y="482689"/>
                </a:lnTo>
                <a:close/>
                <a:moveTo>
                  <a:pt x="1918515" y="478641"/>
                </a:moveTo>
                <a:lnTo>
                  <a:pt x="1928425" y="478641"/>
                </a:lnTo>
                <a:lnTo>
                  <a:pt x="1932444" y="482679"/>
                </a:lnTo>
                <a:lnTo>
                  <a:pt x="1932444" y="492550"/>
                </a:lnTo>
                <a:lnTo>
                  <a:pt x="1928425" y="496589"/>
                </a:lnTo>
                <a:lnTo>
                  <a:pt x="1918515" y="496589"/>
                </a:lnTo>
                <a:lnTo>
                  <a:pt x="1914495" y="492550"/>
                </a:lnTo>
                <a:lnTo>
                  <a:pt x="1914495" y="482679"/>
                </a:lnTo>
                <a:close/>
                <a:moveTo>
                  <a:pt x="2157823" y="478638"/>
                </a:moveTo>
                <a:lnTo>
                  <a:pt x="2167734" y="478638"/>
                </a:lnTo>
                <a:lnTo>
                  <a:pt x="2171753" y="482677"/>
                </a:lnTo>
                <a:lnTo>
                  <a:pt x="2171753" y="492548"/>
                </a:lnTo>
                <a:lnTo>
                  <a:pt x="2167734" y="496587"/>
                </a:lnTo>
                <a:lnTo>
                  <a:pt x="2157823" y="496587"/>
                </a:lnTo>
                <a:lnTo>
                  <a:pt x="2153804" y="492548"/>
                </a:lnTo>
                <a:lnTo>
                  <a:pt x="2153804" y="482677"/>
                </a:lnTo>
                <a:close/>
                <a:moveTo>
                  <a:pt x="2632423" y="239432"/>
                </a:moveTo>
                <a:lnTo>
                  <a:pt x="2642334" y="239432"/>
                </a:lnTo>
                <a:lnTo>
                  <a:pt x="2646352" y="243470"/>
                </a:lnTo>
                <a:lnTo>
                  <a:pt x="2646352" y="253341"/>
                </a:lnTo>
                <a:lnTo>
                  <a:pt x="2642334" y="257380"/>
                </a:lnTo>
                <a:lnTo>
                  <a:pt x="2632423" y="257380"/>
                </a:lnTo>
                <a:lnTo>
                  <a:pt x="2628404" y="253341"/>
                </a:lnTo>
                <a:lnTo>
                  <a:pt x="2628404" y="243470"/>
                </a:lnTo>
                <a:close/>
                <a:moveTo>
                  <a:pt x="2393104" y="239432"/>
                </a:moveTo>
                <a:lnTo>
                  <a:pt x="2403015" y="239432"/>
                </a:lnTo>
                <a:lnTo>
                  <a:pt x="2407034" y="243470"/>
                </a:lnTo>
                <a:lnTo>
                  <a:pt x="2407034" y="253341"/>
                </a:lnTo>
                <a:lnTo>
                  <a:pt x="2403015" y="257380"/>
                </a:lnTo>
                <a:lnTo>
                  <a:pt x="2393104" y="257380"/>
                </a:lnTo>
                <a:lnTo>
                  <a:pt x="2389087" y="253341"/>
                </a:lnTo>
                <a:lnTo>
                  <a:pt x="2389087" y="243470"/>
                </a:lnTo>
                <a:close/>
                <a:moveTo>
                  <a:pt x="3350359" y="239432"/>
                </a:moveTo>
                <a:lnTo>
                  <a:pt x="3360268" y="239432"/>
                </a:lnTo>
                <a:lnTo>
                  <a:pt x="3364287" y="243470"/>
                </a:lnTo>
                <a:lnTo>
                  <a:pt x="3364287" y="253341"/>
                </a:lnTo>
                <a:lnTo>
                  <a:pt x="3360268" y="257380"/>
                </a:lnTo>
                <a:lnTo>
                  <a:pt x="3350359" y="257380"/>
                </a:lnTo>
                <a:lnTo>
                  <a:pt x="3346340" y="253341"/>
                </a:lnTo>
                <a:lnTo>
                  <a:pt x="3346340" y="243470"/>
                </a:lnTo>
                <a:close/>
                <a:moveTo>
                  <a:pt x="3111048" y="239432"/>
                </a:moveTo>
                <a:lnTo>
                  <a:pt x="3120959" y="239432"/>
                </a:lnTo>
                <a:lnTo>
                  <a:pt x="3124977" y="243470"/>
                </a:lnTo>
                <a:lnTo>
                  <a:pt x="3124977" y="253341"/>
                </a:lnTo>
                <a:lnTo>
                  <a:pt x="3120959" y="257380"/>
                </a:lnTo>
                <a:lnTo>
                  <a:pt x="3111048" y="257380"/>
                </a:lnTo>
                <a:lnTo>
                  <a:pt x="3107029" y="253341"/>
                </a:lnTo>
                <a:lnTo>
                  <a:pt x="3107029" y="243470"/>
                </a:lnTo>
                <a:close/>
                <a:moveTo>
                  <a:pt x="2871737" y="239432"/>
                </a:moveTo>
                <a:lnTo>
                  <a:pt x="2881646" y="239432"/>
                </a:lnTo>
                <a:lnTo>
                  <a:pt x="2885666" y="243470"/>
                </a:lnTo>
                <a:lnTo>
                  <a:pt x="2885666" y="253341"/>
                </a:lnTo>
                <a:lnTo>
                  <a:pt x="2881646" y="257380"/>
                </a:lnTo>
                <a:lnTo>
                  <a:pt x="2871737" y="257380"/>
                </a:lnTo>
                <a:lnTo>
                  <a:pt x="2867717" y="253341"/>
                </a:lnTo>
                <a:lnTo>
                  <a:pt x="2867717" y="243470"/>
                </a:lnTo>
                <a:close/>
                <a:moveTo>
                  <a:pt x="3828990" y="239420"/>
                </a:moveTo>
                <a:lnTo>
                  <a:pt x="3838899" y="239420"/>
                </a:lnTo>
                <a:lnTo>
                  <a:pt x="3842917" y="243457"/>
                </a:lnTo>
                <a:lnTo>
                  <a:pt x="3842917" y="253328"/>
                </a:lnTo>
                <a:lnTo>
                  <a:pt x="3838899" y="257367"/>
                </a:lnTo>
                <a:lnTo>
                  <a:pt x="3828990" y="257367"/>
                </a:lnTo>
                <a:lnTo>
                  <a:pt x="3824971" y="253328"/>
                </a:lnTo>
                <a:lnTo>
                  <a:pt x="3824971" y="243457"/>
                </a:lnTo>
                <a:close/>
                <a:moveTo>
                  <a:pt x="3589676" y="239420"/>
                </a:moveTo>
                <a:lnTo>
                  <a:pt x="3599585" y="239420"/>
                </a:lnTo>
                <a:lnTo>
                  <a:pt x="3603604" y="243457"/>
                </a:lnTo>
                <a:lnTo>
                  <a:pt x="3603604" y="253328"/>
                </a:lnTo>
                <a:lnTo>
                  <a:pt x="3599585" y="257367"/>
                </a:lnTo>
                <a:lnTo>
                  <a:pt x="3589676" y="257367"/>
                </a:lnTo>
                <a:lnTo>
                  <a:pt x="3585657" y="253328"/>
                </a:lnTo>
                <a:lnTo>
                  <a:pt x="3585657" y="243457"/>
                </a:lnTo>
                <a:close/>
                <a:moveTo>
                  <a:pt x="4546929" y="239419"/>
                </a:moveTo>
                <a:lnTo>
                  <a:pt x="4556840" y="239419"/>
                </a:lnTo>
                <a:lnTo>
                  <a:pt x="4560859" y="243457"/>
                </a:lnTo>
                <a:lnTo>
                  <a:pt x="4560859" y="253328"/>
                </a:lnTo>
                <a:lnTo>
                  <a:pt x="4556840" y="257367"/>
                </a:lnTo>
                <a:lnTo>
                  <a:pt x="4546929" y="257367"/>
                </a:lnTo>
                <a:lnTo>
                  <a:pt x="4542910" y="253328"/>
                </a:lnTo>
                <a:lnTo>
                  <a:pt x="4542910" y="243457"/>
                </a:lnTo>
                <a:close/>
                <a:moveTo>
                  <a:pt x="4307612" y="239419"/>
                </a:moveTo>
                <a:lnTo>
                  <a:pt x="4317523" y="239419"/>
                </a:lnTo>
                <a:lnTo>
                  <a:pt x="4321543" y="243457"/>
                </a:lnTo>
                <a:lnTo>
                  <a:pt x="4321543" y="253328"/>
                </a:lnTo>
                <a:lnTo>
                  <a:pt x="4317523" y="257367"/>
                </a:lnTo>
                <a:lnTo>
                  <a:pt x="4307612" y="257367"/>
                </a:lnTo>
                <a:lnTo>
                  <a:pt x="4303595" y="253328"/>
                </a:lnTo>
                <a:lnTo>
                  <a:pt x="4303595" y="243457"/>
                </a:lnTo>
                <a:close/>
                <a:moveTo>
                  <a:pt x="4068297" y="239419"/>
                </a:moveTo>
                <a:lnTo>
                  <a:pt x="4078210" y="239419"/>
                </a:lnTo>
                <a:lnTo>
                  <a:pt x="4082229" y="243457"/>
                </a:lnTo>
                <a:lnTo>
                  <a:pt x="4082229" y="253328"/>
                </a:lnTo>
                <a:lnTo>
                  <a:pt x="4078210" y="257367"/>
                </a:lnTo>
                <a:lnTo>
                  <a:pt x="4068297" y="257367"/>
                </a:lnTo>
                <a:lnTo>
                  <a:pt x="4064278" y="253328"/>
                </a:lnTo>
                <a:lnTo>
                  <a:pt x="4064278" y="243457"/>
                </a:lnTo>
                <a:close/>
                <a:moveTo>
                  <a:pt x="5025470" y="239407"/>
                </a:moveTo>
                <a:lnTo>
                  <a:pt x="5035381" y="239407"/>
                </a:lnTo>
                <a:lnTo>
                  <a:pt x="5039400" y="243445"/>
                </a:lnTo>
                <a:lnTo>
                  <a:pt x="5039400" y="253316"/>
                </a:lnTo>
                <a:lnTo>
                  <a:pt x="5035381" y="257355"/>
                </a:lnTo>
                <a:lnTo>
                  <a:pt x="5025470" y="257355"/>
                </a:lnTo>
                <a:lnTo>
                  <a:pt x="5021451" y="253316"/>
                </a:lnTo>
                <a:lnTo>
                  <a:pt x="5021451" y="243445"/>
                </a:lnTo>
                <a:close/>
                <a:moveTo>
                  <a:pt x="4786241" y="239407"/>
                </a:moveTo>
                <a:lnTo>
                  <a:pt x="4796152" y="239407"/>
                </a:lnTo>
                <a:lnTo>
                  <a:pt x="4800171" y="243445"/>
                </a:lnTo>
                <a:lnTo>
                  <a:pt x="4800171" y="253316"/>
                </a:lnTo>
                <a:lnTo>
                  <a:pt x="4796152" y="257355"/>
                </a:lnTo>
                <a:lnTo>
                  <a:pt x="4786241" y="257355"/>
                </a:lnTo>
                <a:lnTo>
                  <a:pt x="4782224" y="253316"/>
                </a:lnTo>
                <a:lnTo>
                  <a:pt x="4782224" y="243445"/>
                </a:lnTo>
                <a:close/>
                <a:moveTo>
                  <a:pt x="5743412" y="239407"/>
                </a:moveTo>
                <a:lnTo>
                  <a:pt x="5753323" y="239407"/>
                </a:lnTo>
                <a:lnTo>
                  <a:pt x="5757342" y="243445"/>
                </a:lnTo>
                <a:lnTo>
                  <a:pt x="5757342" y="253316"/>
                </a:lnTo>
                <a:lnTo>
                  <a:pt x="5753323" y="257355"/>
                </a:lnTo>
                <a:lnTo>
                  <a:pt x="5743412" y="257355"/>
                </a:lnTo>
                <a:lnTo>
                  <a:pt x="5739393" y="253316"/>
                </a:lnTo>
                <a:lnTo>
                  <a:pt x="5739393" y="243445"/>
                </a:lnTo>
                <a:close/>
                <a:moveTo>
                  <a:pt x="5504099" y="239407"/>
                </a:moveTo>
                <a:lnTo>
                  <a:pt x="5514010" y="239407"/>
                </a:lnTo>
                <a:lnTo>
                  <a:pt x="5518029" y="243445"/>
                </a:lnTo>
                <a:lnTo>
                  <a:pt x="5518029" y="253316"/>
                </a:lnTo>
                <a:lnTo>
                  <a:pt x="5514010" y="257355"/>
                </a:lnTo>
                <a:lnTo>
                  <a:pt x="5504099" y="257355"/>
                </a:lnTo>
                <a:lnTo>
                  <a:pt x="5500080" y="253316"/>
                </a:lnTo>
                <a:lnTo>
                  <a:pt x="5500080" y="243445"/>
                </a:lnTo>
                <a:close/>
                <a:moveTo>
                  <a:pt x="5264784" y="239407"/>
                </a:moveTo>
                <a:lnTo>
                  <a:pt x="5274694" y="239407"/>
                </a:lnTo>
                <a:lnTo>
                  <a:pt x="5278713" y="243445"/>
                </a:lnTo>
                <a:lnTo>
                  <a:pt x="5278713" y="253316"/>
                </a:lnTo>
                <a:lnTo>
                  <a:pt x="5274694" y="257355"/>
                </a:lnTo>
                <a:lnTo>
                  <a:pt x="5264784" y="257355"/>
                </a:lnTo>
                <a:lnTo>
                  <a:pt x="5260765" y="253316"/>
                </a:lnTo>
                <a:lnTo>
                  <a:pt x="5260765" y="243445"/>
                </a:lnTo>
                <a:close/>
                <a:moveTo>
                  <a:pt x="6222042" y="239395"/>
                </a:moveTo>
                <a:lnTo>
                  <a:pt x="6231952" y="239395"/>
                </a:lnTo>
                <a:lnTo>
                  <a:pt x="6235971" y="243432"/>
                </a:lnTo>
                <a:lnTo>
                  <a:pt x="6235971" y="253303"/>
                </a:lnTo>
                <a:lnTo>
                  <a:pt x="6231952" y="257342"/>
                </a:lnTo>
                <a:lnTo>
                  <a:pt x="6222042" y="257342"/>
                </a:lnTo>
                <a:lnTo>
                  <a:pt x="6218023" y="253303"/>
                </a:lnTo>
                <a:lnTo>
                  <a:pt x="6218023" y="243432"/>
                </a:lnTo>
                <a:close/>
                <a:moveTo>
                  <a:pt x="5982729" y="239395"/>
                </a:moveTo>
                <a:lnTo>
                  <a:pt x="5992639" y="239395"/>
                </a:lnTo>
                <a:lnTo>
                  <a:pt x="5996658" y="243433"/>
                </a:lnTo>
                <a:lnTo>
                  <a:pt x="5996658" y="253303"/>
                </a:lnTo>
                <a:lnTo>
                  <a:pt x="5992639" y="257342"/>
                </a:lnTo>
                <a:lnTo>
                  <a:pt x="5982729" y="257342"/>
                </a:lnTo>
                <a:lnTo>
                  <a:pt x="5978710" y="253303"/>
                </a:lnTo>
                <a:lnTo>
                  <a:pt x="5978710" y="243433"/>
                </a:lnTo>
                <a:close/>
                <a:moveTo>
                  <a:pt x="6939983" y="239394"/>
                </a:moveTo>
                <a:lnTo>
                  <a:pt x="6949894" y="239394"/>
                </a:lnTo>
                <a:lnTo>
                  <a:pt x="6953913" y="243432"/>
                </a:lnTo>
                <a:lnTo>
                  <a:pt x="6953913" y="253303"/>
                </a:lnTo>
                <a:lnTo>
                  <a:pt x="6949894" y="257342"/>
                </a:lnTo>
                <a:lnTo>
                  <a:pt x="6939983" y="257342"/>
                </a:lnTo>
                <a:lnTo>
                  <a:pt x="6935964" y="253303"/>
                </a:lnTo>
                <a:lnTo>
                  <a:pt x="6935964" y="243432"/>
                </a:lnTo>
                <a:close/>
                <a:moveTo>
                  <a:pt x="6700670" y="239394"/>
                </a:moveTo>
                <a:lnTo>
                  <a:pt x="6710581" y="239394"/>
                </a:lnTo>
                <a:lnTo>
                  <a:pt x="6714600" y="243432"/>
                </a:lnTo>
                <a:lnTo>
                  <a:pt x="6714600" y="253303"/>
                </a:lnTo>
                <a:lnTo>
                  <a:pt x="6710581" y="257342"/>
                </a:lnTo>
                <a:lnTo>
                  <a:pt x="6700670" y="257342"/>
                </a:lnTo>
                <a:lnTo>
                  <a:pt x="6696651" y="253303"/>
                </a:lnTo>
                <a:lnTo>
                  <a:pt x="6696651" y="243432"/>
                </a:lnTo>
                <a:close/>
                <a:moveTo>
                  <a:pt x="6461356" y="239394"/>
                </a:moveTo>
                <a:lnTo>
                  <a:pt x="6471266" y="239394"/>
                </a:lnTo>
                <a:lnTo>
                  <a:pt x="6475285" y="243432"/>
                </a:lnTo>
                <a:lnTo>
                  <a:pt x="6475285" y="253303"/>
                </a:lnTo>
                <a:lnTo>
                  <a:pt x="6471266" y="257342"/>
                </a:lnTo>
                <a:lnTo>
                  <a:pt x="6461356" y="257342"/>
                </a:lnTo>
                <a:lnTo>
                  <a:pt x="6457337" y="253303"/>
                </a:lnTo>
                <a:lnTo>
                  <a:pt x="6457337" y="243432"/>
                </a:lnTo>
                <a:close/>
                <a:moveTo>
                  <a:pt x="7418611" y="239382"/>
                </a:moveTo>
                <a:lnTo>
                  <a:pt x="7428521" y="239382"/>
                </a:lnTo>
                <a:lnTo>
                  <a:pt x="7432540" y="243420"/>
                </a:lnTo>
                <a:lnTo>
                  <a:pt x="7432540" y="253291"/>
                </a:lnTo>
                <a:lnTo>
                  <a:pt x="7428521" y="257330"/>
                </a:lnTo>
                <a:lnTo>
                  <a:pt x="7418611" y="257330"/>
                </a:lnTo>
                <a:lnTo>
                  <a:pt x="7414592" y="253291"/>
                </a:lnTo>
                <a:lnTo>
                  <a:pt x="7414592" y="243420"/>
                </a:lnTo>
                <a:close/>
                <a:moveTo>
                  <a:pt x="7179298" y="239382"/>
                </a:moveTo>
                <a:lnTo>
                  <a:pt x="7189209" y="239382"/>
                </a:lnTo>
                <a:lnTo>
                  <a:pt x="7193228" y="243421"/>
                </a:lnTo>
                <a:lnTo>
                  <a:pt x="7193228" y="253292"/>
                </a:lnTo>
                <a:lnTo>
                  <a:pt x="7189209" y="257330"/>
                </a:lnTo>
                <a:lnTo>
                  <a:pt x="7179298" y="257330"/>
                </a:lnTo>
                <a:lnTo>
                  <a:pt x="7175279" y="253292"/>
                </a:lnTo>
                <a:lnTo>
                  <a:pt x="7175279" y="243421"/>
                </a:lnTo>
                <a:close/>
                <a:moveTo>
                  <a:pt x="8136553" y="239382"/>
                </a:moveTo>
                <a:lnTo>
                  <a:pt x="8146464" y="239382"/>
                </a:lnTo>
                <a:lnTo>
                  <a:pt x="8150483" y="243420"/>
                </a:lnTo>
                <a:lnTo>
                  <a:pt x="8150483" y="253291"/>
                </a:lnTo>
                <a:lnTo>
                  <a:pt x="8146464" y="257330"/>
                </a:lnTo>
                <a:lnTo>
                  <a:pt x="8136553" y="257330"/>
                </a:lnTo>
                <a:lnTo>
                  <a:pt x="8132534" y="253291"/>
                </a:lnTo>
                <a:lnTo>
                  <a:pt x="8132534" y="243420"/>
                </a:lnTo>
                <a:close/>
                <a:moveTo>
                  <a:pt x="7897241" y="239382"/>
                </a:moveTo>
                <a:lnTo>
                  <a:pt x="7907151" y="239382"/>
                </a:lnTo>
                <a:lnTo>
                  <a:pt x="7911170" y="243420"/>
                </a:lnTo>
                <a:lnTo>
                  <a:pt x="7911170" y="253291"/>
                </a:lnTo>
                <a:lnTo>
                  <a:pt x="7907151" y="257330"/>
                </a:lnTo>
                <a:lnTo>
                  <a:pt x="7897241" y="257330"/>
                </a:lnTo>
                <a:lnTo>
                  <a:pt x="7893222" y="253291"/>
                </a:lnTo>
                <a:lnTo>
                  <a:pt x="7893222" y="243420"/>
                </a:lnTo>
                <a:close/>
                <a:moveTo>
                  <a:pt x="7657926" y="239382"/>
                </a:moveTo>
                <a:lnTo>
                  <a:pt x="7667836" y="239382"/>
                </a:lnTo>
                <a:lnTo>
                  <a:pt x="7671855" y="243420"/>
                </a:lnTo>
                <a:lnTo>
                  <a:pt x="7671855" y="253291"/>
                </a:lnTo>
                <a:lnTo>
                  <a:pt x="7667836" y="257330"/>
                </a:lnTo>
                <a:lnTo>
                  <a:pt x="7657926" y="257330"/>
                </a:lnTo>
                <a:lnTo>
                  <a:pt x="7653906" y="253291"/>
                </a:lnTo>
                <a:lnTo>
                  <a:pt x="7653906" y="243420"/>
                </a:lnTo>
                <a:close/>
                <a:moveTo>
                  <a:pt x="1679220" y="239371"/>
                </a:moveTo>
                <a:lnTo>
                  <a:pt x="1689131" y="239371"/>
                </a:lnTo>
                <a:lnTo>
                  <a:pt x="1693150" y="243409"/>
                </a:lnTo>
                <a:lnTo>
                  <a:pt x="1693150" y="253280"/>
                </a:lnTo>
                <a:lnTo>
                  <a:pt x="1689131" y="257319"/>
                </a:lnTo>
                <a:lnTo>
                  <a:pt x="1679220" y="257319"/>
                </a:lnTo>
                <a:lnTo>
                  <a:pt x="1675202" y="253280"/>
                </a:lnTo>
                <a:lnTo>
                  <a:pt x="1675202" y="243409"/>
                </a:lnTo>
                <a:close/>
                <a:moveTo>
                  <a:pt x="1439902" y="239371"/>
                </a:moveTo>
                <a:lnTo>
                  <a:pt x="1449813" y="239371"/>
                </a:lnTo>
                <a:lnTo>
                  <a:pt x="1453832" y="243409"/>
                </a:lnTo>
                <a:lnTo>
                  <a:pt x="1453832" y="253280"/>
                </a:lnTo>
                <a:lnTo>
                  <a:pt x="1449813" y="257319"/>
                </a:lnTo>
                <a:lnTo>
                  <a:pt x="1439902" y="257319"/>
                </a:lnTo>
                <a:lnTo>
                  <a:pt x="1435884" y="253280"/>
                </a:lnTo>
                <a:lnTo>
                  <a:pt x="1435884" y="243409"/>
                </a:lnTo>
                <a:close/>
                <a:moveTo>
                  <a:pt x="1200587" y="239371"/>
                </a:moveTo>
                <a:lnTo>
                  <a:pt x="1210496" y="239371"/>
                </a:lnTo>
                <a:lnTo>
                  <a:pt x="1214515" y="243409"/>
                </a:lnTo>
                <a:lnTo>
                  <a:pt x="1214515" y="253280"/>
                </a:lnTo>
                <a:lnTo>
                  <a:pt x="1210496" y="257319"/>
                </a:lnTo>
                <a:lnTo>
                  <a:pt x="1200587" y="257319"/>
                </a:lnTo>
                <a:lnTo>
                  <a:pt x="1196567" y="253280"/>
                </a:lnTo>
                <a:lnTo>
                  <a:pt x="1196567" y="243409"/>
                </a:lnTo>
                <a:close/>
                <a:moveTo>
                  <a:pt x="961273" y="239371"/>
                </a:moveTo>
                <a:lnTo>
                  <a:pt x="971184" y="239371"/>
                </a:lnTo>
                <a:lnTo>
                  <a:pt x="975203" y="243409"/>
                </a:lnTo>
                <a:lnTo>
                  <a:pt x="975203" y="253280"/>
                </a:lnTo>
                <a:lnTo>
                  <a:pt x="971184" y="257319"/>
                </a:lnTo>
                <a:lnTo>
                  <a:pt x="961273" y="257319"/>
                </a:lnTo>
                <a:lnTo>
                  <a:pt x="957255" y="253280"/>
                </a:lnTo>
                <a:lnTo>
                  <a:pt x="957255" y="243409"/>
                </a:lnTo>
                <a:close/>
                <a:moveTo>
                  <a:pt x="8615184" y="239370"/>
                </a:moveTo>
                <a:lnTo>
                  <a:pt x="8625095" y="239370"/>
                </a:lnTo>
                <a:lnTo>
                  <a:pt x="8629114" y="243408"/>
                </a:lnTo>
                <a:lnTo>
                  <a:pt x="8629114" y="253278"/>
                </a:lnTo>
                <a:lnTo>
                  <a:pt x="8625095" y="257317"/>
                </a:lnTo>
                <a:lnTo>
                  <a:pt x="8615184" y="257317"/>
                </a:lnTo>
                <a:lnTo>
                  <a:pt x="8611165" y="253278"/>
                </a:lnTo>
                <a:lnTo>
                  <a:pt x="8611165" y="243408"/>
                </a:lnTo>
                <a:close/>
                <a:moveTo>
                  <a:pt x="8375869" y="239370"/>
                </a:moveTo>
                <a:lnTo>
                  <a:pt x="8385779" y="239370"/>
                </a:lnTo>
                <a:lnTo>
                  <a:pt x="8389799" y="243408"/>
                </a:lnTo>
                <a:lnTo>
                  <a:pt x="8389799" y="253279"/>
                </a:lnTo>
                <a:lnTo>
                  <a:pt x="8385779" y="257318"/>
                </a:lnTo>
                <a:lnTo>
                  <a:pt x="8375869" y="257318"/>
                </a:lnTo>
                <a:lnTo>
                  <a:pt x="8371850" y="253279"/>
                </a:lnTo>
                <a:lnTo>
                  <a:pt x="8371850" y="243408"/>
                </a:lnTo>
                <a:close/>
                <a:moveTo>
                  <a:pt x="9333125" y="239369"/>
                </a:moveTo>
                <a:lnTo>
                  <a:pt x="9343036" y="239369"/>
                </a:lnTo>
                <a:lnTo>
                  <a:pt x="9347055" y="243407"/>
                </a:lnTo>
                <a:lnTo>
                  <a:pt x="9347055" y="253278"/>
                </a:lnTo>
                <a:lnTo>
                  <a:pt x="9343036" y="257317"/>
                </a:lnTo>
                <a:lnTo>
                  <a:pt x="9333125" y="257317"/>
                </a:lnTo>
                <a:lnTo>
                  <a:pt x="9329106" y="253278"/>
                </a:lnTo>
                <a:lnTo>
                  <a:pt x="9329106" y="243407"/>
                </a:lnTo>
                <a:close/>
                <a:moveTo>
                  <a:pt x="9093811" y="239369"/>
                </a:moveTo>
                <a:lnTo>
                  <a:pt x="9103722" y="239369"/>
                </a:lnTo>
                <a:lnTo>
                  <a:pt x="9107741" y="243407"/>
                </a:lnTo>
                <a:lnTo>
                  <a:pt x="9107741" y="253278"/>
                </a:lnTo>
                <a:lnTo>
                  <a:pt x="9103722" y="257317"/>
                </a:lnTo>
                <a:lnTo>
                  <a:pt x="9093811" y="257317"/>
                </a:lnTo>
                <a:lnTo>
                  <a:pt x="9089792" y="253278"/>
                </a:lnTo>
                <a:lnTo>
                  <a:pt x="9089792" y="243407"/>
                </a:lnTo>
                <a:close/>
                <a:moveTo>
                  <a:pt x="8854496" y="239369"/>
                </a:moveTo>
                <a:lnTo>
                  <a:pt x="8864407" y="239369"/>
                </a:lnTo>
                <a:lnTo>
                  <a:pt x="8868426" y="243407"/>
                </a:lnTo>
                <a:lnTo>
                  <a:pt x="8868426" y="253278"/>
                </a:lnTo>
                <a:lnTo>
                  <a:pt x="8864407" y="257317"/>
                </a:lnTo>
                <a:lnTo>
                  <a:pt x="8854496" y="257317"/>
                </a:lnTo>
                <a:lnTo>
                  <a:pt x="8850477" y="253278"/>
                </a:lnTo>
                <a:lnTo>
                  <a:pt x="8850477" y="243407"/>
                </a:lnTo>
                <a:close/>
                <a:moveTo>
                  <a:pt x="1918515" y="239361"/>
                </a:moveTo>
                <a:lnTo>
                  <a:pt x="1928425" y="239361"/>
                </a:lnTo>
                <a:lnTo>
                  <a:pt x="1932444" y="243400"/>
                </a:lnTo>
                <a:lnTo>
                  <a:pt x="1932444" y="253271"/>
                </a:lnTo>
                <a:lnTo>
                  <a:pt x="1928425" y="257310"/>
                </a:lnTo>
                <a:lnTo>
                  <a:pt x="1918515" y="257310"/>
                </a:lnTo>
                <a:lnTo>
                  <a:pt x="1914495" y="253271"/>
                </a:lnTo>
                <a:lnTo>
                  <a:pt x="1914495" y="243400"/>
                </a:lnTo>
                <a:close/>
                <a:moveTo>
                  <a:pt x="2157824" y="239359"/>
                </a:moveTo>
                <a:lnTo>
                  <a:pt x="2167734" y="239359"/>
                </a:lnTo>
                <a:lnTo>
                  <a:pt x="2171753" y="243397"/>
                </a:lnTo>
                <a:lnTo>
                  <a:pt x="2171753" y="253268"/>
                </a:lnTo>
                <a:lnTo>
                  <a:pt x="2167734" y="257307"/>
                </a:lnTo>
                <a:lnTo>
                  <a:pt x="2157824" y="257307"/>
                </a:lnTo>
                <a:lnTo>
                  <a:pt x="2153804" y="253268"/>
                </a:lnTo>
                <a:lnTo>
                  <a:pt x="2153804" y="243397"/>
                </a:lnTo>
                <a:close/>
                <a:moveTo>
                  <a:pt x="9572438" y="239357"/>
                </a:moveTo>
                <a:lnTo>
                  <a:pt x="9582349" y="239357"/>
                </a:lnTo>
                <a:lnTo>
                  <a:pt x="9586368" y="243395"/>
                </a:lnTo>
                <a:lnTo>
                  <a:pt x="9586368" y="253267"/>
                </a:lnTo>
                <a:lnTo>
                  <a:pt x="9582349" y="257306"/>
                </a:lnTo>
                <a:lnTo>
                  <a:pt x="9572438" y="257306"/>
                </a:lnTo>
                <a:lnTo>
                  <a:pt x="9568419" y="253267"/>
                </a:lnTo>
                <a:lnTo>
                  <a:pt x="9568419" y="243395"/>
                </a:lnTo>
                <a:close/>
                <a:moveTo>
                  <a:pt x="721976" y="239330"/>
                </a:moveTo>
                <a:lnTo>
                  <a:pt x="731887" y="239330"/>
                </a:lnTo>
                <a:lnTo>
                  <a:pt x="735906" y="243368"/>
                </a:lnTo>
                <a:lnTo>
                  <a:pt x="735906" y="253239"/>
                </a:lnTo>
                <a:lnTo>
                  <a:pt x="731887" y="257278"/>
                </a:lnTo>
                <a:lnTo>
                  <a:pt x="721976" y="257278"/>
                </a:lnTo>
                <a:lnTo>
                  <a:pt x="717958" y="253239"/>
                </a:lnTo>
                <a:lnTo>
                  <a:pt x="717958" y="243368"/>
                </a:lnTo>
                <a:close/>
                <a:moveTo>
                  <a:pt x="482664" y="239330"/>
                </a:moveTo>
                <a:lnTo>
                  <a:pt x="492575" y="239330"/>
                </a:lnTo>
                <a:lnTo>
                  <a:pt x="496594" y="243368"/>
                </a:lnTo>
                <a:lnTo>
                  <a:pt x="496594" y="253239"/>
                </a:lnTo>
                <a:lnTo>
                  <a:pt x="492575" y="257278"/>
                </a:lnTo>
                <a:lnTo>
                  <a:pt x="482664" y="257278"/>
                </a:lnTo>
                <a:lnTo>
                  <a:pt x="478645" y="253239"/>
                </a:lnTo>
                <a:lnTo>
                  <a:pt x="478645" y="243368"/>
                </a:lnTo>
                <a:close/>
                <a:moveTo>
                  <a:pt x="243350" y="239330"/>
                </a:moveTo>
                <a:lnTo>
                  <a:pt x="253261" y="239330"/>
                </a:lnTo>
                <a:lnTo>
                  <a:pt x="257280" y="243368"/>
                </a:lnTo>
                <a:lnTo>
                  <a:pt x="257280" y="253239"/>
                </a:lnTo>
                <a:lnTo>
                  <a:pt x="253261" y="257278"/>
                </a:lnTo>
                <a:lnTo>
                  <a:pt x="243350" y="257278"/>
                </a:lnTo>
                <a:lnTo>
                  <a:pt x="239332" y="253239"/>
                </a:lnTo>
                <a:lnTo>
                  <a:pt x="239332" y="243368"/>
                </a:lnTo>
                <a:close/>
                <a:moveTo>
                  <a:pt x="4037" y="239330"/>
                </a:moveTo>
                <a:lnTo>
                  <a:pt x="13948" y="239330"/>
                </a:lnTo>
                <a:lnTo>
                  <a:pt x="17967" y="243368"/>
                </a:lnTo>
                <a:lnTo>
                  <a:pt x="17967" y="253239"/>
                </a:lnTo>
                <a:lnTo>
                  <a:pt x="13948" y="257278"/>
                </a:lnTo>
                <a:lnTo>
                  <a:pt x="4037" y="257278"/>
                </a:lnTo>
                <a:lnTo>
                  <a:pt x="18" y="253239"/>
                </a:lnTo>
                <a:lnTo>
                  <a:pt x="18" y="243368"/>
                </a:lnTo>
                <a:close/>
                <a:moveTo>
                  <a:pt x="3111048" y="106"/>
                </a:moveTo>
                <a:lnTo>
                  <a:pt x="3120959" y="106"/>
                </a:lnTo>
                <a:lnTo>
                  <a:pt x="3124977" y="4144"/>
                </a:lnTo>
                <a:lnTo>
                  <a:pt x="3124977" y="14015"/>
                </a:lnTo>
                <a:lnTo>
                  <a:pt x="3120959" y="18054"/>
                </a:lnTo>
                <a:lnTo>
                  <a:pt x="3111048" y="18054"/>
                </a:lnTo>
                <a:lnTo>
                  <a:pt x="3107029" y="14015"/>
                </a:lnTo>
                <a:lnTo>
                  <a:pt x="3107029" y="4144"/>
                </a:lnTo>
                <a:close/>
                <a:moveTo>
                  <a:pt x="2871737" y="106"/>
                </a:moveTo>
                <a:lnTo>
                  <a:pt x="2881646" y="106"/>
                </a:lnTo>
                <a:lnTo>
                  <a:pt x="2885666" y="4145"/>
                </a:lnTo>
                <a:lnTo>
                  <a:pt x="2885666" y="14015"/>
                </a:lnTo>
                <a:lnTo>
                  <a:pt x="2881646" y="18054"/>
                </a:lnTo>
                <a:lnTo>
                  <a:pt x="2871737" y="18054"/>
                </a:lnTo>
                <a:lnTo>
                  <a:pt x="2867717" y="14015"/>
                </a:lnTo>
                <a:lnTo>
                  <a:pt x="2867717" y="4145"/>
                </a:lnTo>
                <a:close/>
                <a:moveTo>
                  <a:pt x="2632423" y="106"/>
                </a:moveTo>
                <a:lnTo>
                  <a:pt x="2642334" y="106"/>
                </a:lnTo>
                <a:lnTo>
                  <a:pt x="2646352" y="4145"/>
                </a:lnTo>
                <a:lnTo>
                  <a:pt x="2646352" y="14016"/>
                </a:lnTo>
                <a:lnTo>
                  <a:pt x="2642334" y="18055"/>
                </a:lnTo>
                <a:lnTo>
                  <a:pt x="2632423" y="18055"/>
                </a:lnTo>
                <a:lnTo>
                  <a:pt x="2628404" y="14016"/>
                </a:lnTo>
                <a:lnTo>
                  <a:pt x="2628404" y="4145"/>
                </a:lnTo>
                <a:close/>
                <a:moveTo>
                  <a:pt x="2393104" y="106"/>
                </a:moveTo>
                <a:lnTo>
                  <a:pt x="2403015" y="106"/>
                </a:lnTo>
                <a:lnTo>
                  <a:pt x="2407034" y="4145"/>
                </a:lnTo>
                <a:lnTo>
                  <a:pt x="2407034" y="14016"/>
                </a:lnTo>
                <a:lnTo>
                  <a:pt x="2403015" y="18055"/>
                </a:lnTo>
                <a:lnTo>
                  <a:pt x="2393104" y="18055"/>
                </a:lnTo>
                <a:lnTo>
                  <a:pt x="2389087" y="14016"/>
                </a:lnTo>
                <a:lnTo>
                  <a:pt x="2389087" y="4145"/>
                </a:lnTo>
                <a:close/>
                <a:moveTo>
                  <a:pt x="3350359" y="106"/>
                </a:moveTo>
                <a:lnTo>
                  <a:pt x="3360268" y="106"/>
                </a:lnTo>
                <a:lnTo>
                  <a:pt x="3364287" y="4144"/>
                </a:lnTo>
                <a:lnTo>
                  <a:pt x="3364287" y="14015"/>
                </a:lnTo>
                <a:lnTo>
                  <a:pt x="3360268" y="18054"/>
                </a:lnTo>
                <a:lnTo>
                  <a:pt x="3350359" y="18054"/>
                </a:lnTo>
                <a:lnTo>
                  <a:pt x="3346340" y="14015"/>
                </a:lnTo>
                <a:lnTo>
                  <a:pt x="3346340" y="4144"/>
                </a:lnTo>
                <a:close/>
                <a:moveTo>
                  <a:pt x="4546929" y="93"/>
                </a:moveTo>
                <a:lnTo>
                  <a:pt x="4556840" y="93"/>
                </a:lnTo>
                <a:lnTo>
                  <a:pt x="4560859" y="4132"/>
                </a:lnTo>
                <a:lnTo>
                  <a:pt x="4560859" y="14002"/>
                </a:lnTo>
                <a:lnTo>
                  <a:pt x="4556840" y="18041"/>
                </a:lnTo>
                <a:lnTo>
                  <a:pt x="4546929" y="18041"/>
                </a:lnTo>
                <a:lnTo>
                  <a:pt x="4542910" y="14002"/>
                </a:lnTo>
                <a:lnTo>
                  <a:pt x="4542910" y="4132"/>
                </a:lnTo>
                <a:close/>
                <a:moveTo>
                  <a:pt x="4307612" y="93"/>
                </a:moveTo>
                <a:lnTo>
                  <a:pt x="4317523" y="93"/>
                </a:lnTo>
                <a:lnTo>
                  <a:pt x="4321543" y="4132"/>
                </a:lnTo>
                <a:lnTo>
                  <a:pt x="4321543" y="14003"/>
                </a:lnTo>
                <a:lnTo>
                  <a:pt x="4317523" y="18042"/>
                </a:lnTo>
                <a:lnTo>
                  <a:pt x="4307612" y="18042"/>
                </a:lnTo>
                <a:lnTo>
                  <a:pt x="4303595" y="14003"/>
                </a:lnTo>
                <a:lnTo>
                  <a:pt x="4303595" y="4132"/>
                </a:lnTo>
                <a:close/>
                <a:moveTo>
                  <a:pt x="4068297" y="93"/>
                </a:moveTo>
                <a:lnTo>
                  <a:pt x="4078210" y="93"/>
                </a:lnTo>
                <a:lnTo>
                  <a:pt x="4082229" y="4132"/>
                </a:lnTo>
                <a:lnTo>
                  <a:pt x="4082229" y="14003"/>
                </a:lnTo>
                <a:lnTo>
                  <a:pt x="4078210" y="18042"/>
                </a:lnTo>
                <a:lnTo>
                  <a:pt x="4068297" y="18042"/>
                </a:lnTo>
                <a:lnTo>
                  <a:pt x="4064278" y="14003"/>
                </a:lnTo>
                <a:lnTo>
                  <a:pt x="4064278" y="4132"/>
                </a:lnTo>
                <a:close/>
                <a:moveTo>
                  <a:pt x="3828990" y="93"/>
                </a:moveTo>
                <a:lnTo>
                  <a:pt x="3838899" y="93"/>
                </a:lnTo>
                <a:lnTo>
                  <a:pt x="3842917" y="4132"/>
                </a:lnTo>
                <a:lnTo>
                  <a:pt x="3842917" y="14003"/>
                </a:lnTo>
                <a:lnTo>
                  <a:pt x="3838899" y="18042"/>
                </a:lnTo>
                <a:lnTo>
                  <a:pt x="3828990" y="18042"/>
                </a:lnTo>
                <a:lnTo>
                  <a:pt x="3824971" y="14003"/>
                </a:lnTo>
                <a:lnTo>
                  <a:pt x="3824971" y="4132"/>
                </a:lnTo>
                <a:close/>
                <a:moveTo>
                  <a:pt x="3589676" y="93"/>
                </a:moveTo>
                <a:lnTo>
                  <a:pt x="3599585" y="93"/>
                </a:lnTo>
                <a:lnTo>
                  <a:pt x="3603604" y="4132"/>
                </a:lnTo>
                <a:lnTo>
                  <a:pt x="3603604" y="14003"/>
                </a:lnTo>
                <a:lnTo>
                  <a:pt x="3599585" y="18042"/>
                </a:lnTo>
                <a:lnTo>
                  <a:pt x="3589676" y="18042"/>
                </a:lnTo>
                <a:lnTo>
                  <a:pt x="3585657" y="14003"/>
                </a:lnTo>
                <a:lnTo>
                  <a:pt x="3585657" y="4132"/>
                </a:lnTo>
                <a:close/>
                <a:moveTo>
                  <a:pt x="4786241" y="81"/>
                </a:moveTo>
                <a:lnTo>
                  <a:pt x="4796152" y="81"/>
                </a:lnTo>
                <a:lnTo>
                  <a:pt x="4800171" y="4119"/>
                </a:lnTo>
                <a:lnTo>
                  <a:pt x="4800171" y="13990"/>
                </a:lnTo>
                <a:lnTo>
                  <a:pt x="4796152" y="18029"/>
                </a:lnTo>
                <a:lnTo>
                  <a:pt x="4786241" y="18029"/>
                </a:lnTo>
                <a:lnTo>
                  <a:pt x="4782224" y="13990"/>
                </a:lnTo>
                <a:lnTo>
                  <a:pt x="4782224" y="4119"/>
                </a:lnTo>
                <a:close/>
                <a:moveTo>
                  <a:pt x="5743412" y="80"/>
                </a:moveTo>
                <a:lnTo>
                  <a:pt x="5753323" y="80"/>
                </a:lnTo>
                <a:lnTo>
                  <a:pt x="5757342" y="4119"/>
                </a:lnTo>
                <a:lnTo>
                  <a:pt x="5757342" y="13990"/>
                </a:lnTo>
                <a:lnTo>
                  <a:pt x="5753323" y="18029"/>
                </a:lnTo>
                <a:lnTo>
                  <a:pt x="5743412" y="18029"/>
                </a:lnTo>
                <a:lnTo>
                  <a:pt x="5739393" y="13990"/>
                </a:lnTo>
                <a:lnTo>
                  <a:pt x="5739393" y="4119"/>
                </a:lnTo>
                <a:close/>
                <a:moveTo>
                  <a:pt x="5504099" y="80"/>
                </a:moveTo>
                <a:lnTo>
                  <a:pt x="5514010" y="80"/>
                </a:lnTo>
                <a:lnTo>
                  <a:pt x="5518029" y="4119"/>
                </a:lnTo>
                <a:lnTo>
                  <a:pt x="5518029" y="13990"/>
                </a:lnTo>
                <a:lnTo>
                  <a:pt x="5514010" y="18029"/>
                </a:lnTo>
                <a:lnTo>
                  <a:pt x="5504099" y="18029"/>
                </a:lnTo>
                <a:lnTo>
                  <a:pt x="5500080" y="13990"/>
                </a:lnTo>
                <a:lnTo>
                  <a:pt x="5500080" y="4119"/>
                </a:lnTo>
                <a:close/>
                <a:moveTo>
                  <a:pt x="5264784" y="80"/>
                </a:moveTo>
                <a:lnTo>
                  <a:pt x="5274694" y="80"/>
                </a:lnTo>
                <a:lnTo>
                  <a:pt x="5278713" y="4119"/>
                </a:lnTo>
                <a:lnTo>
                  <a:pt x="5278713" y="13990"/>
                </a:lnTo>
                <a:lnTo>
                  <a:pt x="5274694" y="18029"/>
                </a:lnTo>
                <a:lnTo>
                  <a:pt x="5264784" y="18029"/>
                </a:lnTo>
                <a:lnTo>
                  <a:pt x="5260765" y="13990"/>
                </a:lnTo>
                <a:lnTo>
                  <a:pt x="5260765" y="4119"/>
                </a:lnTo>
                <a:close/>
                <a:moveTo>
                  <a:pt x="5025470" y="80"/>
                </a:moveTo>
                <a:lnTo>
                  <a:pt x="5035381" y="80"/>
                </a:lnTo>
                <a:lnTo>
                  <a:pt x="5039400" y="4119"/>
                </a:lnTo>
                <a:lnTo>
                  <a:pt x="5039400" y="13990"/>
                </a:lnTo>
                <a:lnTo>
                  <a:pt x="5035381" y="18029"/>
                </a:lnTo>
                <a:lnTo>
                  <a:pt x="5025470" y="18029"/>
                </a:lnTo>
                <a:lnTo>
                  <a:pt x="5021451" y="13990"/>
                </a:lnTo>
                <a:lnTo>
                  <a:pt x="5021451" y="4119"/>
                </a:lnTo>
                <a:close/>
                <a:moveTo>
                  <a:pt x="6461356" y="68"/>
                </a:moveTo>
                <a:lnTo>
                  <a:pt x="6471266" y="68"/>
                </a:lnTo>
                <a:lnTo>
                  <a:pt x="6475285" y="4106"/>
                </a:lnTo>
                <a:lnTo>
                  <a:pt x="6475285" y="13976"/>
                </a:lnTo>
                <a:lnTo>
                  <a:pt x="6471266" y="18015"/>
                </a:lnTo>
                <a:lnTo>
                  <a:pt x="6461356" y="18015"/>
                </a:lnTo>
                <a:lnTo>
                  <a:pt x="6457337" y="13976"/>
                </a:lnTo>
                <a:lnTo>
                  <a:pt x="6457337" y="4106"/>
                </a:lnTo>
                <a:close/>
                <a:moveTo>
                  <a:pt x="6222042" y="68"/>
                </a:moveTo>
                <a:lnTo>
                  <a:pt x="6231952" y="68"/>
                </a:lnTo>
                <a:lnTo>
                  <a:pt x="6235971" y="4106"/>
                </a:lnTo>
                <a:lnTo>
                  <a:pt x="6235971" y="13977"/>
                </a:lnTo>
                <a:lnTo>
                  <a:pt x="6231952" y="18016"/>
                </a:lnTo>
                <a:lnTo>
                  <a:pt x="6222042" y="18016"/>
                </a:lnTo>
                <a:lnTo>
                  <a:pt x="6218023" y="13977"/>
                </a:lnTo>
                <a:lnTo>
                  <a:pt x="6218023" y="4106"/>
                </a:lnTo>
                <a:close/>
                <a:moveTo>
                  <a:pt x="5982729" y="68"/>
                </a:moveTo>
                <a:lnTo>
                  <a:pt x="5992639" y="68"/>
                </a:lnTo>
                <a:lnTo>
                  <a:pt x="5996658" y="4106"/>
                </a:lnTo>
                <a:lnTo>
                  <a:pt x="5996658" y="13977"/>
                </a:lnTo>
                <a:lnTo>
                  <a:pt x="5992639" y="18016"/>
                </a:lnTo>
                <a:lnTo>
                  <a:pt x="5982729" y="18016"/>
                </a:lnTo>
                <a:lnTo>
                  <a:pt x="5978710" y="13977"/>
                </a:lnTo>
                <a:lnTo>
                  <a:pt x="5978710" y="4106"/>
                </a:lnTo>
                <a:close/>
                <a:moveTo>
                  <a:pt x="6939983" y="67"/>
                </a:moveTo>
                <a:lnTo>
                  <a:pt x="6949894" y="67"/>
                </a:lnTo>
                <a:lnTo>
                  <a:pt x="6953913" y="4105"/>
                </a:lnTo>
                <a:lnTo>
                  <a:pt x="6953913" y="13976"/>
                </a:lnTo>
                <a:lnTo>
                  <a:pt x="6949894" y="18015"/>
                </a:lnTo>
                <a:lnTo>
                  <a:pt x="6939983" y="18015"/>
                </a:lnTo>
                <a:lnTo>
                  <a:pt x="6935964" y="13976"/>
                </a:lnTo>
                <a:lnTo>
                  <a:pt x="6935964" y="4105"/>
                </a:lnTo>
                <a:close/>
                <a:moveTo>
                  <a:pt x="6700670" y="67"/>
                </a:moveTo>
                <a:lnTo>
                  <a:pt x="6710581" y="67"/>
                </a:lnTo>
                <a:lnTo>
                  <a:pt x="6714600" y="4105"/>
                </a:lnTo>
                <a:lnTo>
                  <a:pt x="6714600" y="13976"/>
                </a:lnTo>
                <a:lnTo>
                  <a:pt x="6710581" y="18015"/>
                </a:lnTo>
                <a:lnTo>
                  <a:pt x="6700670" y="18015"/>
                </a:lnTo>
                <a:lnTo>
                  <a:pt x="6696651" y="13976"/>
                </a:lnTo>
                <a:lnTo>
                  <a:pt x="6696651" y="4105"/>
                </a:lnTo>
                <a:close/>
                <a:moveTo>
                  <a:pt x="8136553" y="54"/>
                </a:moveTo>
                <a:lnTo>
                  <a:pt x="8146464" y="54"/>
                </a:lnTo>
                <a:lnTo>
                  <a:pt x="8150483" y="4093"/>
                </a:lnTo>
                <a:lnTo>
                  <a:pt x="8150483" y="13963"/>
                </a:lnTo>
                <a:lnTo>
                  <a:pt x="8146464" y="18002"/>
                </a:lnTo>
                <a:lnTo>
                  <a:pt x="8136553" y="18002"/>
                </a:lnTo>
                <a:lnTo>
                  <a:pt x="8132534" y="13963"/>
                </a:lnTo>
                <a:lnTo>
                  <a:pt x="8132534" y="4093"/>
                </a:lnTo>
                <a:close/>
                <a:moveTo>
                  <a:pt x="7897241" y="54"/>
                </a:moveTo>
                <a:lnTo>
                  <a:pt x="7907151" y="54"/>
                </a:lnTo>
                <a:lnTo>
                  <a:pt x="7911170" y="4093"/>
                </a:lnTo>
                <a:lnTo>
                  <a:pt x="7911170" y="13964"/>
                </a:lnTo>
                <a:lnTo>
                  <a:pt x="7907151" y="18003"/>
                </a:lnTo>
                <a:lnTo>
                  <a:pt x="7897241" y="18003"/>
                </a:lnTo>
                <a:lnTo>
                  <a:pt x="7893222" y="13964"/>
                </a:lnTo>
                <a:lnTo>
                  <a:pt x="7893222" y="4093"/>
                </a:lnTo>
                <a:close/>
                <a:moveTo>
                  <a:pt x="7657926" y="54"/>
                </a:moveTo>
                <a:lnTo>
                  <a:pt x="7667836" y="54"/>
                </a:lnTo>
                <a:lnTo>
                  <a:pt x="7671855" y="4093"/>
                </a:lnTo>
                <a:lnTo>
                  <a:pt x="7671855" y="13964"/>
                </a:lnTo>
                <a:lnTo>
                  <a:pt x="7667836" y="18003"/>
                </a:lnTo>
                <a:lnTo>
                  <a:pt x="7657926" y="18003"/>
                </a:lnTo>
                <a:lnTo>
                  <a:pt x="7653906" y="13964"/>
                </a:lnTo>
                <a:lnTo>
                  <a:pt x="7653906" y="4093"/>
                </a:lnTo>
                <a:close/>
                <a:moveTo>
                  <a:pt x="7418611" y="54"/>
                </a:moveTo>
                <a:lnTo>
                  <a:pt x="7428521" y="54"/>
                </a:lnTo>
                <a:lnTo>
                  <a:pt x="7432540" y="4093"/>
                </a:lnTo>
                <a:lnTo>
                  <a:pt x="7432540" y="13964"/>
                </a:lnTo>
                <a:lnTo>
                  <a:pt x="7428521" y="18003"/>
                </a:lnTo>
                <a:lnTo>
                  <a:pt x="7418611" y="18003"/>
                </a:lnTo>
                <a:lnTo>
                  <a:pt x="7414592" y="13964"/>
                </a:lnTo>
                <a:lnTo>
                  <a:pt x="7414592" y="4093"/>
                </a:lnTo>
                <a:close/>
                <a:moveTo>
                  <a:pt x="7179298" y="54"/>
                </a:moveTo>
                <a:lnTo>
                  <a:pt x="7189209" y="54"/>
                </a:lnTo>
                <a:lnTo>
                  <a:pt x="7193228" y="4093"/>
                </a:lnTo>
                <a:lnTo>
                  <a:pt x="7193228" y="13964"/>
                </a:lnTo>
                <a:lnTo>
                  <a:pt x="7189209" y="18003"/>
                </a:lnTo>
                <a:lnTo>
                  <a:pt x="7179298" y="18003"/>
                </a:lnTo>
                <a:lnTo>
                  <a:pt x="7175279" y="13964"/>
                </a:lnTo>
                <a:lnTo>
                  <a:pt x="7175279" y="4093"/>
                </a:lnTo>
                <a:close/>
                <a:moveTo>
                  <a:pt x="8375869" y="42"/>
                </a:moveTo>
                <a:lnTo>
                  <a:pt x="8385779" y="42"/>
                </a:lnTo>
                <a:lnTo>
                  <a:pt x="8389799" y="4080"/>
                </a:lnTo>
                <a:lnTo>
                  <a:pt x="8389799" y="13951"/>
                </a:lnTo>
                <a:lnTo>
                  <a:pt x="8385779" y="17990"/>
                </a:lnTo>
                <a:lnTo>
                  <a:pt x="8375869" y="17990"/>
                </a:lnTo>
                <a:lnTo>
                  <a:pt x="8371850" y="13951"/>
                </a:lnTo>
                <a:lnTo>
                  <a:pt x="8371850" y="4080"/>
                </a:lnTo>
                <a:close/>
                <a:moveTo>
                  <a:pt x="9333125" y="41"/>
                </a:moveTo>
                <a:lnTo>
                  <a:pt x="9343036" y="41"/>
                </a:lnTo>
                <a:lnTo>
                  <a:pt x="9347055" y="4080"/>
                </a:lnTo>
                <a:lnTo>
                  <a:pt x="9347055" y="13951"/>
                </a:lnTo>
                <a:lnTo>
                  <a:pt x="9343036" y="17990"/>
                </a:lnTo>
                <a:lnTo>
                  <a:pt x="9333125" y="17990"/>
                </a:lnTo>
                <a:lnTo>
                  <a:pt x="9329106" y="13951"/>
                </a:lnTo>
                <a:lnTo>
                  <a:pt x="9329106" y="4080"/>
                </a:lnTo>
                <a:close/>
                <a:moveTo>
                  <a:pt x="9093811" y="41"/>
                </a:moveTo>
                <a:lnTo>
                  <a:pt x="9103722" y="41"/>
                </a:lnTo>
                <a:lnTo>
                  <a:pt x="9107741" y="4080"/>
                </a:lnTo>
                <a:lnTo>
                  <a:pt x="9107741" y="13951"/>
                </a:lnTo>
                <a:lnTo>
                  <a:pt x="9103722" y="17990"/>
                </a:lnTo>
                <a:lnTo>
                  <a:pt x="9093811" y="17990"/>
                </a:lnTo>
                <a:lnTo>
                  <a:pt x="9089792" y="13951"/>
                </a:lnTo>
                <a:lnTo>
                  <a:pt x="9089792" y="4080"/>
                </a:lnTo>
                <a:close/>
                <a:moveTo>
                  <a:pt x="8854496" y="41"/>
                </a:moveTo>
                <a:lnTo>
                  <a:pt x="8864407" y="41"/>
                </a:lnTo>
                <a:lnTo>
                  <a:pt x="8868426" y="4080"/>
                </a:lnTo>
                <a:lnTo>
                  <a:pt x="8868426" y="13951"/>
                </a:lnTo>
                <a:lnTo>
                  <a:pt x="8864407" y="17990"/>
                </a:lnTo>
                <a:lnTo>
                  <a:pt x="8854496" y="17990"/>
                </a:lnTo>
                <a:lnTo>
                  <a:pt x="8850477" y="13951"/>
                </a:lnTo>
                <a:lnTo>
                  <a:pt x="8850477" y="4080"/>
                </a:lnTo>
                <a:close/>
                <a:moveTo>
                  <a:pt x="8615184" y="41"/>
                </a:moveTo>
                <a:lnTo>
                  <a:pt x="8625095" y="41"/>
                </a:lnTo>
                <a:lnTo>
                  <a:pt x="8629114" y="4080"/>
                </a:lnTo>
                <a:lnTo>
                  <a:pt x="8629114" y="13951"/>
                </a:lnTo>
                <a:lnTo>
                  <a:pt x="8625095" y="17990"/>
                </a:lnTo>
                <a:lnTo>
                  <a:pt x="8615184" y="17990"/>
                </a:lnTo>
                <a:lnTo>
                  <a:pt x="8611165" y="13951"/>
                </a:lnTo>
                <a:lnTo>
                  <a:pt x="8611165" y="4080"/>
                </a:lnTo>
                <a:close/>
                <a:moveTo>
                  <a:pt x="961275" y="41"/>
                </a:moveTo>
                <a:lnTo>
                  <a:pt x="971184" y="41"/>
                </a:lnTo>
                <a:lnTo>
                  <a:pt x="975204" y="4080"/>
                </a:lnTo>
                <a:lnTo>
                  <a:pt x="975204" y="13951"/>
                </a:lnTo>
                <a:lnTo>
                  <a:pt x="971184" y="17990"/>
                </a:lnTo>
                <a:lnTo>
                  <a:pt x="961275" y="17990"/>
                </a:lnTo>
                <a:lnTo>
                  <a:pt x="957256" y="13951"/>
                </a:lnTo>
                <a:lnTo>
                  <a:pt x="957256" y="4080"/>
                </a:lnTo>
                <a:close/>
                <a:moveTo>
                  <a:pt x="1679221" y="41"/>
                </a:moveTo>
                <a:lnTo>
                  <a:pt x="1689131" y="41"/>
                </a:lnTo>
                <a:lnTo>
                  <a:pt x="1693151" y="4079"/>
                </a:lnTo>
                <a:lnTo>
                  <a:pt x="1693151" y="13950"/>
                </a:lnTo>
                <a:lnTo>
                  <a:pt x="1689131" y="17989"/>
                </a:lnTo>
                <a:lnTo>
                  <a:pt x="1679221" y="17989"/>
                </a:lnTo>
                <a:lnTo>
                  <a:pt x="1675203" y="13950"/>
                </a:lnTo>
                <a:lnTo>
                  <a:pt x="1675203" y="4079"/>
                </a:lnTo>
                <a:close/>
                <a:moveTo>
                  <a:pt x="1439904" y="41"/>
                </a:moveTo>
                <a:lnTo>
                  <a:pt x="1449813" y="41"/>
                </a:lnTo>
                <a:lnTo>
                  <a:pt x="1453833" y="4079"/>
                </a:lnTo>
                <a:lnTo>
                  <a:pt x="1453833" y="13950"/>
                </a:lnTo>
                <a:lnTo>
                  <a:pt x="1449813" y="17989"/>
                </a:lnTo>
                <a:lnTo>
                  <a:pt x="1439904" y="17989"/>
                </a:lnTo>
                <a:lnTo>
                  <a:pt x="1435885" y="13950"/>
                </a:lnTo>
                <a:lnTo>
                  <a:pt x="1435885" y="4079"/>
                </a:lnTo>
                <a:close/>
                <a:moveTo>
                  <a:pt x="1200587" y="41"/>
                </a:moveTo>
                <a:lnTo>
                  <a:pt x="1210497" y="41"/>
                </a:lnTo>
                <a:lnTo>
                  <a:pt x="1214516" y="4080"/>
                </a:lnTo>
                <a:lnTo>
                  <a:pt x="1214516" y="13951"/>
                </a:lnTo>
                <a:lnTo>
                  <a:pt x="1210497" y="17989"/>
                </a:lnTo>
                <a:lnTo>
                  <a:pt x="1200587" y="17989"/>
                </a:lnTo>
                <a:lnTo>
                  <a:pt x="1196568" y="13951"/>
                </a:lnTo>
                <a:lnTo>
                  <a:pt x="1196568" y="4080"/>
                </a:lnTo>
                <a:close/>
                <a:moveTo>
                  <a:pt x="1918515" y="31"/>
                </a:moveTo>
                <a:lnTo>
                  <a:pt x="1928425" y="31"/>
                </a:lnTo>
                <a:lnTo>
                  <a:pt x="1932444" y="4069"/>
                </a:lnTo>
                <a:lnTo>
                  <a:pt x="1932444" y="13940"/>
                </a:lnTo>
                <a:lnTo>
                  <a:pt x="1928425" y="17979"/>
                </a:lnTo>
                <a:lnTo>
                  <a:pt x="1918515" y="17979"/>
                </a:lnTo>
                <a:lnTo>
                  <a:pt x="1914497" y="13940"/>
                </a:lnTo>
                <a:lnTo>
                  <a:pt x="1914497" y="4069"/>
                </a:lnTo>
                <a:close/>
                <a:moveTo>
                  <a:pt x="9572438" y="29"/>
                </a:moveTo>
                <a:lnTo>
                  <a:pt x="9582349" y="29"/>
                </a:lnTo>
                <a:lnTo>
                  <a:pt x="9586368" y="4067"/>
                </a:lnTo>
                <a:lnTo>
                  <a:pt x="9586368" y="13938"/>
                </a:lnTo>
                <a:lnTo>
                  <a:pt x="9582349" y="17977"/>
                </a:lnTo>
                <a:lnTo>
                  <a:pt x="9572438" y="17977"/>
                </a:lnTo>
                <a:lnTo>
                  <a:pt x="9568419" y="13938"/>
                </a:lnTo>
                <a:lnTo>
                  <a:pt x="9568419" y="4067"/>
                </a:lnTo>
                <a:close/>
                <a:moveTo>
                  <a:pt x="2157824" y="28"/>
                </a:moveTo>
                <a:lnTo>
                  <a:pt x="2167734" y="28"/>
                </a:lnTo>
                <a:lnTo>
                  <a:pt x="2171753" y="4067"/>
                </a:lnTo>
                <a:lnTo>
                  <a:pt x="2171753" y="13938"/>
                </a:lnTo>
                <a:lnTo>
                  <a:pt x="2167734" y="17977"/>
                </a:lnTo>
                <a:lnTo>
                  <a:pt x="2157824" y="17977"/>
                </a:lnTo>
                <a:lnTo>
                  <a:pt x="2153804" y="13938"/>
                </a:lnTo>
                <a:lnTo>
                  <a:pt x="2153804" y="4067"/>
                </a:lnTo>
                <a:close/>
                <a:moveTo>
                  <a:pt x="721977" y="0"/>
                </a:moveTo>
                <a:lnTo>
                  <a:pt x="731887" y="0"/>
                </a:lnTo>
                <a:lnTo>
                  <a:pt x="735906" y="4039"/>
                </a:lnTo>
                <a:lnTo>
                  <a:pt x="735906" y="13910"/>
                </a:lnTo>
                <a:lnTo>
                  <a:pt x="731887" y="17949"/>
                </a:lnTo>
                <a:lnTo>
                  <a:pt x="721977" y="17949"/>
                </a:lnTo>
                <a:lnTo>
                  <a:pt x="717959" y="13910"/>
                </a:lnTo>
                <a:lnTo>
                  <a:pt x="717959" y="4039"/>
                </a:lnTo>
                <a:close/>
                <a:moveTo>
                  <a:pt x="482665" y="0"/>
                </a:moveTo>
                <a:lnTo>
                  <a:pt x="492575" y="0"/>
                </a:lnTo>
                <a:lnTo>
                  <a:pt x="496594" y="4039"/>
                </a:lnTo>
                <a:lnTo>
                  <a:pt x="496594" y="13910"/>
                </a:lnTo>
                <a:lnTo>
                  <a:pt x="492575" y="17949"/>
                </a:lnTo>
                <a:lnTo>
                  <a:pt x="482665" y="17949"/>
                </a:lnTo>
                <a:lnTo>
                  <a:pt x="478646" y="13910"/>
                </a:lnTo>
                <a:lnTo>
                  <a:pt x="478646" y="4039"/>
                </a:lnTo>
                <a:close/>
                <a:moveTo>
                  <a:pt x="243351" y="0"/>
                </a:moveTo>
                <a:lnTo>
                  <a:pt x="253261" y="0"/>
                </a:lnTo>
                <a:lnTo>
                  <a:pt x="257281" y="4039"/>
                </a:lnTo>
                <a:lnTo>
                  <a:pt x="257281" y="13910"/>
                </a:lnTo>
                <a:lnTo>
                  <a:pt x="253261" y="17949"/>
                </a:lnTo>
                <a:lnTo>
                  <a:pt x="243351" y="17949"/>
                </a:lnTo>
                <a:lnTo>
                  <a:pt x="239332" y="13910"/>
                </a:lnTo>
                <a:lnTo>
                  <a:pt x="239332" y="4039"/>
                </a:lnTo>
                <a:close/>
                <a:moveTo>
                  <a:pt x="4039" y="0"/>
                </a:moveTo>
                <a:lnTo>
                  <a:pt x="13948" y="0"/>
                </a:lnTo>
                <a:lnTo>
                  <a:pt x="17967" y="4039"/>
                </a:lnTo>
                <a:lnTo>
                  <a:pt x="17967" y="13910"/>
                </a:lnTo>
                <a:lnTo>
                  <a:pt x="13948" y="17949"/>
                </a:lnTo>
                <a:lnTo>
                  <a:pt x="4039" y="17949"/>
                </a:lnTo>
                <a:lnTo>
                  <a:pt x="19" y="13910"/>
                </a:lnTo>
                <a:lnTo>
                  <a:pt x="19" y="4039"/>
                </a:lnTo>
                <a:close/>
              </a:path>
            </a:pathLst>
          </a:custGeom>
          <a:solidFill>
            <a:schemeClr val="tx1">
              <a:lumMod val="40000"/>
              <a:lumOff val="60000"/>
              <a:alpha val="29998"/>
            </a:schemeClr>
          </a:solidFill>
        </p:spPr>
        <p:txBody>
          <a:bodyPr wrap="square" lIns="0" tIns="0" rIns="0" bIns="0" rtlCol="0">
            <a:noAutofit/>
          </a:bodyPr>
          <a:lstStyle/>
          <a:p>
            <a:endParaRPr lang="en-GB" dirty="0">
              <a:solidFill>
                <a:srgbClr val="1F2023"/>
              </a:solidFill>
            </a:endParaRPr>
          </a:p>
        </p:txBody>
      </p:sp>
      <p:sp>
        <p:nvSpPr>
          <p:cNvPr id="10" name="Date_GeneralDate" hidden="1">
            <a:extLst>
              <a:ext uri="{FF2B5EF4-FFF2-40B4-BE49-F238E27FC236}">
                <a16:creationId xmlns:a16="http://schemas.microsoft.com/office/drawing/2014/main" id="{23350E22-3120-4C9B-920B-CE4162372EA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BBFB4DBE-D07C-489B-8B4D-FD1318588B3E}" type="datetime1">
              <a:rPr lang="en-US" smtClean="0"/>
              <a:t>2/25/2022</a:t>
            </a:fld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50986CB7-056C-4078-AA30-E257B98473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9876" y="269876"/>
            <a:ext cx="8240140" cy="692336"/>
          </a:xfrm>
        </p:spPr>
        <p:txBody>
          <a:bodyPr/>
          <a:lstStyle>
            <a:lvl1pPr>
              <a:defRPr>
                <a:solidFill>
                  <a:srgbClr val="1F2023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A03F66CC-3EA1-46EC-B7C3-3CFF80CE5B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4" y="6502395"/>
            <a:ext cx="6744111" cy="106116"/>
          </a:xfrm>
        </p:spPr>
        <p:txBody>
          <a:bodyPr rIns="0" anchor="t" anchorCtr="0"/>
          <a:lstStyle>
            <a:lvl1pPr marL="0" indent="0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39303" indent="-139303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lphaU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742950" rtl="0" eaLnBrk="1" latinLnBrk="0" hangingPunct="1">
              <a:defRPr lang="en-GB" sz="894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Notes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346FEE7-F58C-4653-875F-20F2C6EEB8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9383" y="6504110"/>
            <a:ext cx="1978862" cy="106116"/>
          </a:xfrm>
        </p:spPr>
        <p:txBody>
          <a:bodyPr rIns="0"/>
          <a:lstStyle>
            <a:lvl1pPr algn="r">
              <a:defRPr sz="650">
                <a:solidFill>
                  <a:srgbClr val="1F2023"/>
                </a:solidFill>
              </a:defRPr>
            </a:lvl1pPr>
            <a:lvl2pPr>
              <a:defRPr sz="650"/>
            </a:lvl2pPr>
            <a:lvl3pPr>
              <a:defRPr sz="650"/>
            </a:lvl3pPr>
            <a:lvl4pPr>
              <a:defRPr sz="650"/>
            </a:lvl4pPr>
            <a:lvl5pPr>
              <a:defRPr sz="650"/>
            </a:lvl5pPr>
          </a:lstStyle>
          <a:p>
            <a:pPr lvl="0"/>
            <a:r>
              <a:rPr lang="en-GB" dirty="0"/>
              <a:t>Tracker</a:t>
            </a:r>
          </a:p>
        </p:txBody>
      </p:sp>
    </p:spTree>
    <p:extLst>
      <p:ext uri="{BB962C8B-B14F-4D97-AF65-F5344CB8AC3E}">
        <p14:creationId xmlns:p14="http://schemas.microsoft.com/office/powerpoint/2010/main" val="101138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Logo Image Dark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996C8E-1737-4481-AFDB-863143A654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4459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408" imgH="408" progId="TCLayout.ActiveDocument.1">
                  <p:embed/>
                </p:oleObj>
              </mc:Choice>
              <mc:Fallback>
                <p:oleObj name="think-cell Slide" r:id="rId5" imgW="408" imgH="40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996C8E-1737-4481-AFDB-863143A654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>
            <a:extLst>
              <a:ext uri="{FF2B5EF4-FFF2-40B4-BE49-F238E27FC236}">
                <a16:creationId xmlns:a16="http://schemas.microsoft.com/office/drawing/2014/main" id="{468EEBBF-213D-4D68-A9CE-7CE68854BF37}"/>
              </a:ext>
            </a:extLst>
          </p:cNvPr>
          <p:cNvSpPr/>
          <p:nvPr userDrawn="1"/>
        </p:nvSpPr>
        <p:spPr>
          <a:xfrm>
            <a:off x="2767292" y="0"/>
            <a:ext cx="7138708" cy="6858000"/>
          </a:xfrm>
          <a:prstGeom prst="rect">
            <a:avLst/>
          </a:prstGeom>
          <a:solidFill>
            <a:srgbClr val="E2DED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05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87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8929087-DD0C-46A9-A049-79CBB8A516FF}"/>
              </a:ext>
            </a:extLst>
          </p:cNvPr>
          <p:cNvSpPr/>
          <p:nvPr userDrawn="1"/>
        </p:nvSpPr>
        <p:spPr>
          <a:xfrm>
            <a:off x="0" y="1192710"/>
            <a:ext cx="8554911" cy="5665290"/>
          </a:xfrm>
          <a:prstGeom prst="rect">
            <a:avLst/>
          </a:prstGeom>
          <a:solidFill>
            <a:srgbClr val="30373B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 algn="l"/>
            <a:endParaRPr lang="en-GB" sz="1000" noProof="0" dirty="0">
              <a:solidFill>
                <a:srgbClr val="2F363B"/>
              </a:solidFill>
            </a:endParaRPr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32CBD7CE-0C91-4290-9606-0942684C465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583518" y="2114551"/>
            <a:ext cx="3493808" cy="4743450"/>
          </a:xfrm>
          <a:solidFill>
            <a:srgbClr val="F3F2F0"/>
          </a:solidFill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da-DK" dirty="0"/>
            </a:lvl1pPr>
          </a:lstStyle>
          <a:p>
            <a:pPr lvl="0" algn="ctr">
              <a:buNone/>
            </a:pPr>
            <a:r>
              <a:rPr lang="en-GB" dirty="0"/>
              <a:t>Click icon to add picture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28390A0B-0148-4E4A-997F-3FF133263F3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69875" y="5359204"/>
            <a:ext cx="2816225" cy="970159"/>
          </a:xfrm>
        </p:spPr>
        <p:txBody>
          <a:bodyPr rIns="36000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975">
                <a:solidFill>
                  <a:srgbClr val="F8F5E7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894">
                <a:solidFill>
                  <a:srgbClr val="2F363B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F7B5D086-4293-476B-B8D0-257542C6E7E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5" y="6329363"/>
            <a:ext cx="2816226" cy="268287"/>
          </a:xfrm>
        </p:spPr>
        <p:txBody>
          <a:bodyPr rIns="0" anchor="b" anchorCtr="0"/>
          <a:lstStyle>
            <a:lvl1pPr>
              <a:defRPr sz="900">
                <a:solidFill>
                  <a:srgbClr val="F8F5E7"/>
                </a:solidFill>
              </a:defRPr>
            </a:lvl1pPr>
            <a:lvl5pPr>
              <a:defRPr/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38211AF6-4BE0-4A99-8CF3-C8D588F5D8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2256" y="2114551"/>
            <a:ext cx="4818063" cy="2976366"/>
          </a:xfrm>
        </p:spPr>
        <p:txBody>
          <a:bodyPr vert="horz" anchor="t" anchorCtr="0">
            <a:noAutofit/>
          </a:bodyPr>
          <a:lstStyle>
            <a:lvl1pPr algn="l">
              <a:lnSpc>
                <a:spcPct val="83000"/>
              </a:lnSpc>
              <a:defRPr sz="6000" cap="all" baseline="0">
                <a:solidFill>
                  <a:srgbClr val="F8F5E7"/>
                </a:solidFill>
                <a:latin typeface="Impact" panose="020B080603090205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C4CB8047-8AE5-4556-9F42-1F69C5AB3EC2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 rot="5400000">
            <a:off x="8861146" y="788544"/>
            <a:ext cx="1258889" cy="287891"/>
          </a:xfrm>
          <a:custGeom>
            <a:avLst/>
            <a:gdLst>
              <a:gd name="connsiteX0" fmla="*/ 6778122 w 9905999"/>
              <a:gd name="connsiteY0" fmla="*/ 2222531 h 2265361"/>
              <a:gd name="connsiteX1" fmla="*/ 7135812 w 9905999"/>
              <a:gd name="connsiteY1" fmla="*/ 2222531 h 2265361"/>
              <a:gd name="connsiteX2" fmla="*/ 7135812 w 9905999"/>
              <a:gd name="connsiteY2" fmla="*/ 2265361 h 2265361"/>
              <a:gd name="connsiteX3" fmla="*/ 6778122 w 9905999"/>
              <a:gd name="connsiteY3" fmla="*/ 2265361 h 2265361"/>
              <a:gd name="connsiteX4" fmla="*/ 6778122 w 9905999"/>
              <a:gd name="connsiteY4" fmla="*/ 2222531 h 2265361"/>
              <a:gd name="connsiteX5" fmla="*/ 6449676 w 9905999"/>
              <a:gd name="connsiteY5" fmla="*/ 1769427 h 2265361"/>
              <a:gd name="connsiteX6" fmla="*/ 6449676 w 9905999"/>
              <a:gd name="connsiteY6" fmla="*/ 1965546 h 2265361"/>
              <a:gd name="connsiteX7" fmla="*/ 6575655 w 9905999"/>
              <a:gd name="connsiteY7" fmla="*/ 1965546 h 2265361"/>
              <a:gd name="connsiteX8" fmla="*/ 6679138 w 9905999"/>
              <a:gd name="connsiteY8" fmla="*/ 1864105 h 2265361"/>
              <a:gd name="connsiteX9" fmla="*/ 6575655 w 9905999"/>
              <a:gd name="connsiteY9" fmla="*/ 1769427 h 2265361"/>
              <a:gd name="connsiteX10" fmla="*/ 6449676 w 9905999"/>
              <a:gd name="connsiteY10" fmla="*/ 1769427 h 2265361"/>
              <a:gd name="connsiteX11" fmla="*/ 5021164 w 9905999"/>
              <a:gd name="connsiteY11" fmla="*/ 1769427 h 2265361"/>
              <a:gd name="connsiteX12" fmla="*/ 5021164 w 9905999"/>
              <a:gd name="connsiteY12" fmla="*/ 1949767 h 2265361"/>
              <a:gd name="connsiteX13" fmla="*/ 5158391 w 9905999"/>
              <a:gd name="connsiteY13" fmla="*/ 1949767 h 2265361"/>
              <a:gd name="connsiteX14" fmla="*/ 5261874 w 9905999"/>
              <a:gd name="connsiteY14" fmla="*/ 1859597 h 2265361"/>
              <a:gd name="connsiteX15" fmla="*/ 5158391 w 9905999"/>
              <a:gd name="connsiteY15" fmla="*/ 1769427 h 2265361"/>
              <a:gd name="connsiteX16" fmla="*/ 5021164 w 9905999"/>
              <a:gd name="connsiteY16" fmla="*/ 1769427 h 2265361"/>
              <a:gd name="connsiteX17" fmla="*/ 5597068 w 9905999"/>
              <a:gd name="connsiteY17" fmla="*/ 1762664 h 2265361"/>
              <a:gd name="connsiteX18" fmla="*/ 5504834 w 9905999"/>
              <a:gd name="connsiteY18" fmla="*/ 1800986 h 2265361"/>
              <a:gd name="connsiteX19" fmla="*/ 5459841 w 9905999"/>
              <a:gd name="connsiteY19" fmla="*/ 1967800 h 2265361"/>
              <a:gd name="connsiteX20" fmla="*/ 5504834 w 9905999"/>
              <a:gd name="connsiteY20" fmla="*/ 2132361 h 2265361"/>
              <a:gd name="connsiteX21" fmla="*/ 5597068 w 9905999"/>
              <a:gd name="connsiteY21" fmla="*/ 2170683 h 2265361"/>
              <a:gd name="connsiteX22" fmla="*/ 5691552 w 9905999"/>
              <a:gd name="connsiteY22" fmla="*/ 2132361 h 2265361"/>
              <a:gd name="connsiteX23" fmla="*/ 5734295 w 9905999"/>
              <a:gd name="connsiteY23" fmla="*/ 1967800 h 2265361"/>
              <a:gd name="connsiteX24" fmla="*/ 5691552 w 9905999"/>
              <a:gd name="connsiteY24" fmla="*/ 1800986 h 2265361"/>
              <a:gd name="connsiteX25" fmla="*/ 5597068 w 9905999"/>
              <a:gd name="connsiteY25" fmla="*/ 1762664 h 2265361"/>
              <a:gd name="connsiteX26" fmla="*/ 654642 w 9905999"/>
              <a:gd name="connsiteY26" fmla="*/ 1762664 h 2265361"/>
              <a:gd name="connsiteX27" fmla="*/ 560157 w 9905999"/>
              <a:gd name="connsiteY27" fmla="*/ 1800986 h 2265361"/>
              <a:gd name="connsiteX28" fmla="*/ 517414 w 9905999"/>
              <a:gd name="connsiteY28" fmla="*/ 1967800 h 2265361"/>
              <a:gd name="connsiteX29" fmla="*/ 560157 w 9905999"/>
              <a:gd name="connsiteY29" fmla="*/ 2132361 h 2265361"/>
              <a:gd name="connsiteX30" fmla="*/ 654642 w 9905999"/>
              <a:gd name="connsiteY30" fmla="*/ 2170683 h 2265361"/>
              <a:gd name="connsiteX31" fmla="*/ 746876 w 9905999"/>
              <a:gd name="connsiteY31" fmla="*/ 2132361 h 2265361"/>
              <a:gd name="connsiteX32" fmla="*/ 791868 w 9905999"/>
              <a:gd name="connsiteY32" fmla="*/ 1967800 h 2265361"/>
              <a:gd name="connsiteX33" fmla="*/ 746876 w 9905999"/>
              <a:gd name="connsiteY33" fmla="*/ 1800986 h 2265361"/>
              <a:gd name="connsiteX34" fmla="*/ 654642 w 9905999"/>
              <a:gd name="connsiteY34" fmla="*/ 1762664 h 2265361"/>
              <a:gd name="connsiteX35" fmla="*/ 6386687 w 9905999"/>
              <a:gd name="connsiteY35" fmla="*/ 1710816 h 2265361"/>
              <a:gd name="connsiteX36" fmla="*/ 6575655 w 9905999"/>
              <a:gd name="connsiteY36" fmla="*/ 1710816 h 2265361"/>
              <a:gd name="connsiteX37" fmla="*/ 6706134 w 9905999"/>
              <a:gd name="connsiteY37" fmla="*/ 1755901 h 2265361"/>
              <a:gd name="connsiteX38" fmla="*/ 6744377 w 9905999"/>
              <a:gd name="connsiteY38" fmla="*/ 1864105 h 2265361"/>
              <a:gd name="connsiteX39" fmla="*/ 6701634 w 9905999"/>
              <a:gd name="connsiteY39" fmla="*/ 1981326 h 2265361"/>
              <a:gd name="connsiteX40" fmla="*/ 6577905 w 9905999"/>
              <a:gd name="connsiteY40" fmla="*/ 2024157 h 2265361"/>
              <a:gd name="connsiteX41" fmla="*/ 6449676 w 9905999"/>
              <a:gd name="connsiteY41" fmla="*/ 2024157 h 2265361"/>
              <a:gd name="connsiteX42" fmla="*/ 6449676 w 9905999"/>
              <a:gd name="connsiteY42" fmla="*/ 2222531 h 2265361"/>
              <a:gd name="connsiteX43" fmla="*/ 6386687 w 9905999"/>
              <a:gd name="connsiteY43" fmla="*/ 2222531 h 2265361"/>
              <a:gd name="connsiteX44" fmla="*/ 6386687 w 9905999"/>
              <a:gd name="connsiteY44" fmla="*/ 1710816 h 2265361"/>
              <a:gd name="connsiteX45" fmla="*/ 5889520 w 9905999"/>
              <a:gd name="connsiteY45" fmla="*/ 1710816 h 2265361"/>
              <a:gd name="connsiteX46" fmla="*/ 5954759 w 9905999"/>
              <a:gd name="connsiteY46" fmla="*/ 1710816 h 2265361"/>
              <a:gd name="connsiteX47" fmla="*/ 5954759 w 9905999"/>
              <a:gd name="connsiteY47" fmla="*/ 2035428 h 2265361"/>
              <a:gd name="connsiteX48" fmla="*/ 6076239 w 9905999"/>
              <a:gd name="connsiteY48" fmla="*/ 2172937 h 2265361"/>
              <a:gd name="connsiteX49" fmla="*/ 6199968 w 9905999"/>
              <a:gd name="connsiteY49" fmla="*/ 2035428 h 2265361"/>
              <a:gd name="connsiteX50" fmla="*/ 6199968 w 9905999"/>
              <a:gd name="connsiteY50" fmla="*/ 1710816 h 2265361"/>
              <a:gd name="connsiteX51" fmla="*/ 6262957 w 9905999"/>
              <a:gd name="connsiteY51" fmla="*/ 1710816 h 2265361"/>
              <a:gd name="connsiteX52" fmla="*/ 6262957 w 9905999"/>
              <a:gd name="connsiteY52" fmla="*/ 2035428 h 2265361"/>
              <a:gd name="connsiteX53" fmla="*/ 6076239 w 9905999"/>
              <a:gd name="connsiteY53" fmla="*/ 2231547 h 2265361"/>
              <a:gd name="connsiteX54" fmla="*/ 5889520 w 9905999"/>
              <a:gd name="connsiteY54" fmla="*/ 2035428 h 2265361"/>
              <a:gd name="connsiteX55" fmla="*/ 5889520 w 9905999"/>
              <a:gd name="connsiteY55" fmla="*/ 1710816 h 2265361"/>
              <a:gd name="connsiteX56" fmla="*/ 4958174 w 9905999"/>
              <a:gd name="connsiteY56" fmla="*/ 1710816 h 2265361"/>
              <a:gd name="connsiteX57" fmla="*/ 5158391 w 9905999"/>
              <a:gd name="connsiteY57" fmla="*/ 1710816 h 2265361"/>
              <a:gd name="connsiteX58" fmla="*/ 5288869 w 9905999"/>
              <a:gd name="connsiteY58" fmla="*/ 1755901 h 2265361"/>
              <a:gd name="connsiteX59" fmla="*/ 5329363 w 9905999"/>
              <a:gd name="connsiteY59" fmla="*/ 1859597 h 2265361"/>
              <a:gd name="connsiteX60" fmla="*/ 5288869 w 9905999"/>
              <a:gd name="connsiteY60" fmla="*/ 1961038 h 2265361"/>
              <a:gd name="connsiteX61" fmla="*/ 5228130 w 9905999"/>
              <a:gd name="connsiteY61" fmla="*/ 1997106 h 2265361"/>
              <a:gd name="connsiteX62" fmla="*/ 5331612 w 9905999"/>
              <a:gd name="connsiteY62" fmla="*/ 2222531 h 2265361"/>
              <a:gd name="connsiteX63" fmla="*/ 5259624 w 9905999"/>
              <a:gd name="connsiteY63" fmla="*/ 2222531 h 2265361"/>
              <a:gd name="connsiteX64" fmla="*/ 5162890 w 9905999"/>
              <a:gd name="connsiteY64" fmla="*/ 2010631 h 2265361"/>
              <a:gd name="connsiteX65" fmla="*/ 5021164 w 9905999"/>
              <a:gd name="connsiteY65" fmla="*/ 2010631 h 2265361"/>
              <a:gd name="connsiteX66" fmla="*/ 5021164 w 9905999"/>
              <a:gd name="connsiteY66" fmla="*/ 2222531 h 2265361"/>
              <a:gd name="connsiteX67" fmla="*/ 4958174 w 9905999"/>
              <a:gd name="connsiteY67" fmla="*/ 2222531 h 2265361"/>
              <a:gd name="connsiteX68" fmla="*/ 4958174 w 9905999"/>
              <a:gd name="connsiteY68" fmla="*/ 1710816 h 2265361"/>
              <a:gd name="connsiteX69" fmla="*/ 3309199 w 9905999"/>
              <a:gd name="connsiteY69" fmla="*/ 1710816 h 2265361"/>
              <a:gd name="connsiteX70" fmla="*/ 3381187 w 9905999"/>
              <a:gd name="connsiteY70" fmla="*/ 1710816 h 2265361"/>
              <a:gd name="connsiteX71" fmla="*/ 3633145 w 9905999"/>
              <a:gd name="connsiteY71" fmla="*/ 2123344 h 2265361"/>
              <a:gd name="connsiteX72" fmla="*/ 3633145 w 9905999"/>
              <a:gd name="connsiteY72" fmla="*/ 1710816 h 2265361"/>
              <a:gd name="connsiteX73" fmla="*/ 3693885 w 9905999"/>
              <a:gd name="connsiteY73" fmla="*/ 1710816 h 2265361"/>
              <a:gd name="connsiteX74" fmla="*/ 3693885 w 9905999"/>
              <a:gd name="connsiteY74" fmla="*/ 2222531 h 2265361"/>
              <a:gd name="connsiteX75" fmla="*/ 3621897 w 9905999"/>
              <a:gd name="connsiteY75" fmla="*/ 2222531 h 2265361"/>
              <a:gd name="connsiteX76" fmla="*/ 3372188 w 9905999"/>
              <a:gd name="connsiteY76" fmla="*/ 1810003 h 2265361"/>
              <a:gd name="connsiteX77" fmla="*/ 3372188 w 9905999"/>
              <a:gd name="connsiteY77" fmla="*/ 2222531 h 2265361"/>
              <a:gd name="connsiteX78" fmla="*/ 3309199 w 9905999"/>
              <a:gd name="connsiteY78" fmla="*/ 2222531 h 2265361"/>
              <a:gd name="connsiteX79" fmla="*/ 3309199 w 9905999"/>
              <a:gd name="connsiteY79" fmla="*/ 1710816 h 2265361"/>
              <a:gd name="connsiteX80" fmla="*/ 3106732 w 9905999"/>
              <a:gd name="connsiteY80" fmla="*/ 1710816 h 2265361"/>
              <a:gd name="connsiteX81" fmla="*/ 3171971 w 9905999"/>
              <a:gd name="connsiteY81" fmla="*/ 1710816 h 2265361"/>
              <a:gd name="connsiteX82" fmla="*/ 3171971 w 9905999"/>
              <a:gd name="connsiteY82" fmla="*/ 2222531 h 2265361"/>
              <a:gd name="connsiteX83" fmla="*/ 3106732 w 9905999"/>
              <a:gd name="connsiteY83" fmla="*/ 2222531 h 2265361"/>
              <a:gd name="connsiteX84" fmla="*/ 3106732 w 9905999"/>
              <a:gd name="connsiteY84" fmla="*/ 1710816 h 2265361"/>
              <a:gd name="connsiteX85" fmla="*/ 2663557 w 9905999"/>
              <a:gd name="connsiteY85" fmla="*/ 1710816 h 2265361"/>
              <a:gd name="connsiteX86" fmla="*/ 3032495 w 9905999"/>
              <a:gd name="connsiteY86" fmla="*/ 1710816 h 2265361"/>
              <a:gd name="connsiteX87" fmla="*/ 3032495 w 9905999"/>
              <a:gd name="connsiteY87" fmla="*/ 1769427 h 2265361"/>
              <a:gd name="connsiteX88" fmla="*/ 2879521 w 9905999"/>
              <a:gd name="connsiteY88" fmla="*/ 1769427 h 2265361"/>
              <a:gd name="connsiteX89" fmla="*/ 2879521 w 9905999"/>
              <a:gd name="connsiteY89" fmla="*/ 2222531 h 2265361"/>
              <a:gd name="connsiteX90" fmla="*/ 2814282 w 9905999"/>
              <a:gd name="connsiteY90" fmla="*/ 2222531 h 2265361"/>
              <a:gd name="connsiteX91" fmla="*/ 2814282 w 9905999"/>
              <a:gd name="connsiteY91" fmla="*/ 1769427 h 2265361"/>
              <a:gd name="connsiteX92" fmla="*/ 2663557 w 9905999"/>
              <a:gd name="connsiteY92" fmla="*/ 1769427 h 2265361"/>
              <a:gd name="connsiteX93" fmla="*/ 2663557 w 9905999"/>
              <a:gd name="connsiteY93" fmla="*/ 1710816 h 2265361"/>
              <a:gd name="connsiteX94" fmla="*/ 2416099 w 9905999"/>
              <a:gd name="connsiteY94" fmla="*/ 1710816 h 2265361"/>
              <a:gd name="connsiteX95" fmla="*/ 2481338 w 9905999"/>
              <a:gd name="connsiteY95" fmla="*/ 1710816 h 2265361"/>
              <a:gd name="connsiteX96" fmla="*/ 2481338 w 9905999"/>
              <a:gd name="connsiteY96" fmla="*/ 2163920 h 2265361"/>
              <a:gd name="connsiteX97" fmla="*/ 2726547 w 9905999"/>
              <a:gd name="connsiteY97" fmla="*/ 2163920 h 2265361"/>
              <a:gd name="connsiteX98" fmla="*/ 2726547 w 9905999"/>
              <a:gd name="connsiteY98" fmla="*/ 2222531 h 2265361"/>
              <a:gd name="connsiteX99" fmla="*/ 2416099 w 9905999"/>
              <a:gd name="connsiteY99" fmla="*/ 2222531 h 2265361"/>
              <a:gd name="connsiteX100" fmla="*/ 2416099 w 9905999"/>
              <a:gd name="connsiteY100" fmla="*/ 1710816 h 2265361"/>
              <a:gd name="connsiteX101" fmla="*/ 1918931 w 9905999"/>
              <a:gd name="connsiteY101" fmla="*/ 1710816 h 2265361"/>
              <a:gd name="connsiteX102" fmla="*/ 1984171 w 9905999"/>
              <a:gd name="connsiteY102" fmla="*/ 1710816 h 2265361"/>
              <a:gd name="connsiteX103" fmla="*/ 1984171 w 9905999"/>
              <a:gd name="connsiteY103" fmla="*/ 2035428 h 2265361"/>
              <a:gd name="connsiteX104" fmla="*/ 2105651 w 9905999"/>
              <a:gd name="connsiteY104" fmla="*/ 2172937 h 2265361"/>
              <a:gd name="connsiteX105" fmla="*/ 2229380 w 9905999"/>
              <a:gd name="connsiteY105" fmla="*/ 2035428 h 2265361"/>
              <a:gd name="connsiteX106" fmla="*/ 2229380 w 9905999"/>
              <a:gd name="connsiteY106" fmla="*/ 1710816 h 2265361"/>
              <a:gd name="connsiteX107" fmla="*/ 2292369 w 9905999"/>
              <a:gd name="connsiteY107" fmla="*/ 1710816 h 2265361"/>
              <a:gd name="connsiteX108" fmla="*/ 2292369 w 9905999"/>
              <a:gd name="connsiteY108" fmla="*/ 2035428 h 2265361"/>
              <a:gd name="connsiteX109" fmla="*/ 2105651 w 9905999"/>
              <a:gd name="connsiteY109" fmla="*/ 2231547 h 2265361"/>
              <a:gd name="connsiteX110" fmla="*/ 1918931 w 9905999"/>
              <a:gd name="connsiteY110" fmla="*/ 2035428 h 2265361"/>
              <a:gd name="connsiteX111" fmla="*/ 1918931 w 9905999"/>
              <a:gd name="connsiteY111" fmla="*/ 1710816 h 2265361"/>
              <a:gd name="connsiteX112" fmla="*/ 960591 w 9905999"/>
              <a:gd name="connsiteY112" fmla="*/ 1710816 h 2265361"/>
              <a:gd name="connsiteX113" fmla="*/ 1032578 w 9905999"/>
              <a:gd name="connsiteY113" fmla="*/ 1710816 h 2265361"/>
              <a:gd name="connsiteX114" fmla="*/ 1284537 w 9905999"/>
              <a:gd name="connsiteY114" fmla="*/ 2123344 h 2265361"/>
              <a:gd name="connsiteX115" fmla="*/ 1284537 w 9905999"/>
              <a:gd name="connsiteY115" fmla="*/ 1710816 h 2265361"/>
              <a:gd name="connsiteX116" fmla="*/ 1345276 w 9905999"/>
              <a:gd name="connsiteY116" fmla="*/ 1710816 h 2265361"/>
              <a:gd name="connsiteX117" fmla="*/ 1345276 w 9905999"/>
              <a:gd name="connsiteY117" fmla="*/ 2222531 h 2265361"/>
              <a:gd name="connsiteX118" fmla="*/ 1273289 w 9905999"/>
              <a:gd name="connsiteY118" fmla="*/ 2222531 h 2265361"/>
              <a:gd name="connsiteX119" fmla="*/ 1023580 w 9905999"/>
              <a:gd name="connsiteY119" fmla="*/ 1810003 h 2265361"/>
              <a:gd name="connsiteX120" fmla="*/ 1023580 w 9905999"/>
              <a:gd name="connsiteY120" fmla="*/ 2222531 h 2265361"/>
              <a:gd name="connsiteX121" fmla="*/ 960591 w 9905999"/>
              <a:gd name="connsiteY121" fmla="*/ 2222531 h 2265361"/>
              <a:gd name="connsiteX122" fmla="*/ 960591 w 9905999"/>
              <a:gd name="connsiteY122" fmla="*/ 1710816 h 2265361"/>
              <a:gd name="connsiteX123" fmla="*/ 5597068 w 9905999"/>
              <a:gd name="connsiteY123" fmla="*/ 1701799 h 2265361"/>
              <a:gd name="connsiteX124" fmla="*/ 5736545 w 9905999"/>
              <a:gd name="connsiteY124" fmla="*/ 1755901 h 2265361"/>
              <a:gd name="connsiteX125" fmla="*/ 5801784 w 9905999"/>
              <a:gd name="connsiteY125" fmla="*/ 1967800 h 2265361"/>
              <a:gd name="connsiteX126" fmla="*/ 5736545 w 9905999"/>
              <a:gd name="connsiteY126" fmla="*/ 2177446 h 2265361"/>
              <a:gd name="connsiteX127" fmla="*/ 5597068 w 9905999"/>
              <a:gd name="connsiteY127" fmla="*/ 2233802 h 2265361"/>
              <a:gd name="connsiteX128" fmla="*/ 5459841 w 9905999"/>
              <a:gd name="connsiteY128" fmla="*/ 2177446 h 2265361"/>
              <a:gd name="connsiteX129" fmla="*/ 5394602 w 9905999"/>
              <a:gd name="connsiteY129" fmla="*/ 1967800 h 2265361"/>
              <a:gd name="connsiteX130" fmla="*/ 5459841 w 9905999"/>
              <a:gd name="connsiteY130" fmla="*/ 1755901 h 2265361"/>
              <a:gd name="connsiteX131" fmla="*/ 5597068 w 9905999"/>
              <a:gd name="connsiteY131" fmla="*/ 1701799 h 2265361"/>
              <a:gd name="connsiteX132" fmla="*/ 4645477 w 9905999"/>
              <a:gd name="connsiteY132" fmla="*/ 1701799 h 2265361"/>
              <a:gd name="connsiteX133" fmla="*/ 4791702 w 9905999"/>
              <a:gd name="connsiteY133" fmla="*/ 1758155 h 2265361"/>
              <a:gd name="connsiteX134" fmla="*/ 4834445 w 9905999"/>
              <a:gd name="connsiteY134" fmla="*/ 1859597 h 2265361"/>
              <a:gd name="connsiteX135" fmla="*/ 4766956 w 9905999"/>
              <a:gd name="connsiteY135" fmla="*/ 1859597 h 2265361"/>
              <a:gd name="connsiteX136" fmla="*/ 4744460 w 9905999"/>
              <a:gd name="connsiteY136" fmla="*/ 1803240 h 2265361"/>
              <a:gd name="connsiteX137" fmla="*/ 4645477 w 9905999"/>
              <a:gd name="connsiteY137" fmla="*/ 1762664 h 2265361"/>
              <a:gd name="connsiteX138" fmla="*/ 4550992 w 9905999"/>
              <a:gd name="connsiteY138" fmla="*/ 1800986 h 2265361"/>
              <a:gd name="connsiteX139" fmla="*/ 4506000 w 9905999"/>
              <a:gd name="connsiteY139" fmla="*/ 1967800 h 2265361"/>
              <a:gd name="connsiteX140" fmla="*/ 4553242 w 9905999"/>
              <a:gd name="connsiteY140" fmla="*/ 2134615 h 2265361"/>
              <a:gd name="connsiteX141" fmla="*/ 4645477 w 9905999"/>
              <a:gd name="connsiteY141" fmla="*/ 2172937 h 2265361"/>
              <a:gd name="connsiteX142" fmla="*/ 4737711 w 9905999"/>
              <a:gd name="connsiteY142" fmla="*/ 2136869 h 2265361"/>
              <a:gd name="connsiteX143" fmla="*/ 4780454 w 9905999"/>
              <a:gd name="connsiteY143" fmla="*/ 2006123 h 2265361"/>
              <a:gd name="connsiteX144" fmla="*/ 4645477 w 9905999"/>
              <a:gd name="connsiteY144" fmla="*/ 2006123 h 2265361"/>
              <a:gd name="connsiteX145" fmla="*/ 4645477 w 9905999"/>
              <a:gd name="connsiteY145" fmla="*/ 1947512 h 2265361"/>
              <a:gd name="connsiteX146" fmla="*/ 4838944 w 9905999"/>
              <a:gd name="connsiteY146" fmla="*/ 1947512 h 2265361"/>
              <a:gd name="connsiteX147" fmla="*/ 4838944 w 9905999"/>
              <a:gd name="connsiteY147" fmla="*/ 2222531 h 2265361"/>
              <a:gd name="connsiteX148" fmla="*/ 4793952 w 9905999"/>
              <a:gd name="connsiteY148" fmla="*/ 2222531 h 2265361"/>
              <a:gd name="connsiteX149" fmla="*/ 4782704 w 9905999"/>
              <a:gd name="connsiteY149" fmla="*/ 2161666 h 2265361"/>
              <a:gd name="connsiteX150" fmla="*/ 4645477 w 9905999"/>
              <a:gd name="connsiteY150" fmla="*/ 2233802 h 2265361"/>
              <a:gd name="connsiteX151" fmla="*/ 4506000 w 9905999"/>
              <a:gd name="connsiteY151" fmla="*/ 2179700 h 2265361"/>
              <a:gd name="connsiteX152" fmla="*/ 4440761 w 9905999"/>
              <a:gd name="connsiteY152" fmla="*/ 1967800 h 2265361"/>
              <a:gd name="connsiteX153" fmla="*/ 4506000 w 9905999"/>
              <a:gd name="connsiteY153" fmla="*/ 1755901 h 2265361"/>
              <a:gd name="connsiteX154" fmla="*/ 4645477 w 9905999"/>
              <a:gd name="connsiteY154" fmla="*/ 1701799 h 2265361"/>
              <a:gd name="connsiteX155" fmla="*/ 4002083 w 9905999"/>
              <a:gd name="connsiteY155" fmla="*/ 1701799 h 2265361"/>
              <a:gd name="connsiteX156" fmla="*/ 4148309 w 9905999"/>
              <a:gd name="connsiteY156" fmla="*/ 1758155 h 2265361"/>
              <a:gd name="connsiteX157" fmla="*/ 4193302 w 9905999"/>
              <a:gd name="connsiteY157" fmla="*/ 1859597 h 2265361"/>
              <a:gd name="connsiteX158" fmla="*/ 4125813 w 9905999"/>
              <a:gd name="connsiteY158" fmla="*/ 1859597 h 2265361"/>
              <a:gd name="connsiteX159" fmla="*/ 4103317 w 9905999"/>
              <a:gd name="connsiteY159" fmla="*/ 1803240 h 2265361"/>
              <a:gd name="connsiteX160" fmla="*/ 4002083 w 9905999"/>
              <a:gd name="connsiteY160" fmla="*/ 1762664 h 2265361"/>
              <a:gd name="connsiteX161" fmla="*/ 3909849 w 9905999"/>
              <a:gd name="connsiteY161" fmla="*/ 1800986 h 2265361"/>
              <a:gd name="connsiteX162" fmla="*/ 3864856 w 9905999"/>
              <a:gd name="connsiteY162" fmla="*/ 1967800 h 2265361"/>
              <a:gd name="connsiteX163" fmla="*/ 3909849 w 9905999"/>
              <a:gd name="connsiteY163" fmla="*/ 2134615 h 2265361"/>
              <a:gd name="connsiteX164" fmla="*/ 4002083 w 9905999"/>
              <a:gd name="connsiteY164" fmla="*/ 2172937 h 2265361"/>
              <a:gd name="connsiteX165" fmla="*/ 4094318 w 9905999"/>
              <a:gd name="connsiteY165" fmla="*/ 2136869 h 2265361"/>
              <a:gd name="connsiteX166" fmla="*/ 4139311 w 9905999"/>
              <a:gd name="connsiteY166" fmla="*/ 2006123 h 2265361"/>
              <a:gd name="connsiteX167" fmla="*/ 4002083 w 9905999"/>
              <a:gd name="connsiteY167" fmla="*/ 2006123 h 2265361"/>
              <a:gd name="connsiteX168" fmla="*/ 4002083 w 9905999"/>
              <a:gd name="connsiteY168" fmla="*/ 1947512 h 2265361"/>
              <a:gd name="connsiteX169" fmla="*/ 4197801 w 9905999"/>
              <a:gd name="connsiteY169" fmla="*/ 1947512 h 2265361"/>
              <a:gd name="connsiteX170" fmla="*/ 4197801 w 9905999"/>
              <a:gd name="connsiteY170" fmla="*/ 2222531 h 2265361"/>
              <a:gd name="connsiteX171" fmla="*/ 4152808 w 9905999"/>
              <a:gd name="connsiteY171" fmla="*/ 2222531 h 2265361"/>
              <a:gd name="connsiteX172" fmla="*/ 4141560 w 9905999"/>
              <a:gd name="connsiteY172" fmla="*/ 2161666 h 2265361"/>
              <a:gd name="connsiteX173" fmla="*/ 4002083 w 9905999"/>
              <a:gd name="connsiteY173" fmla="*/ 2233802 h 2265361"/>
              <a:gd name="connsiteX174" fmla="*/ 3864856 w 9905999"/>
              <a:gd name="connsiteY174" fmla="*/ 2179700 h 2265361"/>
              <a:gd name="connsiteX175" fmla="*/ 3797367 w 9905999"/>
              <a:gd name="connsiteY175" fmla="*/ 1967800 h 2265361"/>
              <a:gd name="connsiteX176" fmla="*/ 3864856 w 9905999"/>
              <a:gd name="connsiteY176" fmla="*/ 1755901 h 2265361"/>
              <a:gd name="connsiteX177" fmla="*/ 4002083 w 9905999"/>
              <a:gd name="connsiteY177" fmla="*/ 1701799 h 2265361"/>
              <a:gd name="connsiteX178" fmla="*/ 1642228 w 9905999"/>
              <a:gd name="connsiteY178" fmla="*/ 1701799 h 2265361"/>
              <a:gd name="connsiteX179" fmla="*/ 1774955 w 9905999"/>
              <a:gd name="connsiteY179" fmla="*/ 1749138 h 2265361"/>
              <a:gd name="connsiteX180" fmla="*/ 1824447 w 9905999"/>
              <a:gd name="connsiteY180" fmla="*/ 1859597 h 2265361"/>
              <a:gd name="connsiteX181" fmla="*/ 1756958 w 9905999"/>
              <a:gd name="connsiteY181" fmla="*/ 1859597 h 2265361"/>
              <a:gd name="connsiteX182" fmla="*/ 1732212 w 9905999"/>
              <a:gd name="connsiteY182" fmla="*/ 1796478 h 2265361"/>
              <a:gd name="connsiteX183" fmla="*/ 1639978 w 9905999"/>
              <a:gd name="connsiteY183" fmla="*/ 1760410 h 2265361"/>
              <a:gd name="connsiteX184" fmla="*/ 1549993 w 9905999"/>
              <a:gd name="connsiteY184" fmla="*/ 1796478 h 2265361"/>
              <a:gd name="connsiteX185" fmla="*/ 1529746 w 9905999"/>
              <a:gd name="connsiteY185" fmla="*/ 1850580 h 2265361"/>
              <a:gd name="connsiteX186" fmla="*/ 1606234 w 9905999"/>
              <a:gd name="connsiteY186" fmla="*/ 1922716 h 2265361"/>
              <a:gd name="connsiteX187" fmla="*/ 1691719 w 9905999"/>
              <a:gd name="connsiteY187" fmla="*/ 1936241 h 2265361"/>
              <a:gd name="connsiteX188" fmla="*/ 1833445 w 9905999"/>
              <a:gd name="connsiteY188" fmla="*/ 2082767 h 2265361"/>
              <a:gd name="connsiteX189" fmla="*/ 1790703 w 9905999"/>
              <a:gd name="connsiteY189" fmla="*/ 2181954 h 2265361"/>
              <a:gd name="connsiteX190" fmla="*/ 1644477 w 9905999"/>
              <a:gd name="connsiteY190" fmla="*/ 2231547 h 2265361"/>
              <a:gd name="connsiteX191" fmla="*/ 1498251 w 9905999"/>
              <a:gd name="connsiteY191" fmla="*/ 2184208 h 2265361"/>
              <a:gd name="connsiteX192" fmla="*/ 1444260 w 9905999"/>
              <a:gd name="connsiteY192" fmla="*/ 2060225 h 2265361"/>
              <a:gd name="connsiteX193" fmla="*/ 1509499 w 9905999"/>
              <a:gd name="connsiteY193" fmla="*/ 2060225 h 2265361"/>
              <a:gd name="connsiteX194" fmla="*/ 1545494 w 9905999"/>
              <a:gd name="connsiteY194" fmla="*/ 2141378 h 2265361"/>
              <a:gd name="connsiteX195" fmla="*/ 1644477 w 9905999"/>
              <a:gd name="connsiteY195" fmla="*/ 2172937 h 2265361"/>
              <a:gd name="connsiteX196" fmla="*/ 1738962 w 9905999"/>
              <a:gd name="connsiteY196" fmla="*/ 2143632 h 2265361"/>
              <a:gd name="connsiteX197" fmla="*/ 1765956 w 9905999"/>
              <a:gd name="connsiteY197" fmla="*/ 2082767 h 2265361"/>
              <a:gd name="connsiteX198" fmla="*/ 1680471 w 9905999"/>
              <a:gd name="connsiteY198" fmla="*/ 2001614 h 2265361"/>
              <a:gd name="connsiteX199" fmla="*/ 1599484 w 9905999"/>
              <a:gd name="connsiteY199" fmla="*/ 1988089 h 2265361"/>
              <a:gd name="connsiteX200" fmla="*/ 1462257 w 9905999"/>
              <a:gd name="connsiteY200" fmla="*/ 1852834 h 2265361"/>
              <a:gd name="connsiteX201" fmla="*/ 1507249 w 9905999"/>
              <a:gd name="connsiteY201" fmla="*/ 1751393 h 2265361"/>
              <a:gd name="connsiteX202" fmla="*/ 1642228 w 9905999"/>
              <a:gd name="connsiteY202" fmla="*/ 1701799 h 2265361"/>
              <a:gd name="connsiteX203" fmla="*/ 654642 w 9905999"/>
              <a:gd name="connsiteY203" fmla="*/ 1701799 h 2265361"/>
              <a:gd name="connsiteX204" fmla="*/ 791868 w 9905999"/>
              <a:gd name="connsiteY204" fmla="*/ 1755901 h 2265361"/>
              <a:gd name="connsiteX205" fmla="*/ 857108 w 9905999"/>
              <a:gd name="connsiteY205" fmla="*/ 1967800 h 2265361"/>
              <a:gd name="connsiteX206" fmla="*/ 791868 w 9905999"/>
              <a:gd name="connsiteY206" fmla="*/ 2177446 h 2265361"/>
              <a:gd name="connsiteX207" fmla="*/ 654642 w 9905999"/>
              <a:gd name="connsiteY207" fmla="*/ 2233802 h 2265361"/>
              <a:gd name="connsiteX208" fmla="*/ 515164 w 9905999"/>
              <a:gd name="connsiteY208" fmla="*/ 2177446 h 2265361"/>
              <a:gd name="connsiteX209" fmla="*/ 449925 w 9905999"/>
              <a:gd name="connsiteY209" fmla="*/ 1967800 h 2265361"/>
              <a:gd name="connsiteX210" fmla="*/ 515164 w 9905999"/>
              <a:gd name="connsiteY210" fmla="*/ 1755901 h 2265361"/>
              <a:gd name="connsiteX211" fmla="*/ 654642 w 9905999"/>
              <a:gd name="connsiteY211" fmla="*/ 1701799 h 2265361"/>
              <a:gd name="connsiteX212" fmla="*/ 202466 w 9905999"/>
              <a:gd name="connsiteY212" fmla="*/ 1701799 h 2265361"/>
              <a:gd name="connsiteX213" fmla="*/ 339693 w 9905999"/>
              <a:gd name="connsiteY213" fmla="*/ 1753647 h 2265361"/>
              <a:gd name="connsiteX214" fmla="*/ 389185 w 9905999"/>
              <a:gd name="connsiteY214" fmla="*/ 1870868 h 2265361"/>
              <a:gd name="connsiteX215" fmla="*/ 323946 w 9905999"/>
              <a:gd name="connsiteY215" fmla="*/ 1870868 h 2265361"/>
              <a:gd name="connsiteX216" fmla="*/ 294701 w 9905999"/>
              <a:gd name="connsiteY216" fmla="*/ 1798732 h 2265361"/>
              <a:gd name="connsiteX217" fmla="*/ 202466 w 9905999"/>
              <a:gd name="connsiteY217" fmla="*/ 1762664 h 2265361"/>
              <a:gd name="connsiteX218" fmla="*/ 110232 w 9905999"/>
              <a:gd name="connsiteY218" fmla="*/ 1800986 h 2265361"/>
              <a:gd name="connsiteX219" fmla="*/ 67489 w 9905999"/>
              <a:gd name="connsiteY219" fmla="*/ 1967800 h 2265361"/>
              <a:gd name="connsiteX220" fmla="*/ 110232 w 9905999"/>
              <a:gd name="connsiteY220" fmla="*/ 2132361 h 2265361"/>
              <a:gd name="connsiteX221" fmla="*/ 202466 w 9905999"/>
              <a:gd name="connsiteY221" fmla="*/ 2172937 h 2265361"/>
              <a:gd name="connsiteX222" fmla="*/ 296951 w 9905999"/>
              <a:gd name="connsiteY222" fmla="*/ 2132361 h 2265361"/>
              <a:gd name="connsiteX223" fmla="*/ 323946 w 9905999"/>
              <a:gd name="connsiteY223" fmla="*/ 2060225 h 2265361"/>
              <a:gd name="connsiteX224" fmla="*/ 391435 w 9905999"/>
              <a:gd name="connsiteY224" fmla="*/ 2060225 h 2265361"/>
              <a:gd name="connsiteX225" fmla="*/ 339693 w 9905999"/>
              <a:gd name="connsiteY225" fmla="*/ 2177446 h 2265361"/>
              <a:gd name="connsiteX226" fmla="*/ 202466 w 9905999"/>
              <a:gd name="connsiteY226" fmla="*/ 2233802 h 2265361"/>
              <a:gd name="connsiteX227" fmla="*/ 65239 w 9905999"/>
              <a:gd name="connsiteY227" fmla="*/ 2177446 h 2265361"/>
              <a:gd name="connsiteX228" fmla="*/ 0 w 9905999"/>
              <a:gd name="connsiteY228" fmla="*/ 1967800 h 2265361"/>
              <a:gd name="connsiteX229" fmla="*/ 65239 w 9905999"/>
              <a:gd name="connsiteY229" fmla="*/ 1755901 h 2265361"/>
              <a:gd name="connsiteX230" fmla="*/ 202466 w 9905999"/>
              <a:gd name="connsiteY230" fmla="*/ 1701799 h 2265361"/>
              <a:gd name="connsiteX231" fmla="*/ 2227389 w 9905999"/>
              <a:gd name="connsiteY231" fmla="*/ 214047 h 2265361"/>
              <a:gd name="connsiteX232" fmla="*/ 2227389 w 9905999"/>
              <a:gd name="connsiteY232" fmla="*/ 574548 h 2265361"/>
              <a:gd name="connsiteX233" fmla="*/ 2456649 w 9905999"/>
              <a:gd name="connsiteY233" fmla="*/ 574548 h 2265361"/>
              <a:gd name="connsiteX234" fmla="*/ 2654442 w 9905999"/>
              <a:gd name="connsiteY234" fmla="*/ 394298 h 2265361"/>
              <a:gd name="connsiteX235" fmla="*/ 2456649 w 9905999"/>
              <a:gd name="connsiteY235" fmla="*/ 214047 h 2265361"/>
              <a:gd name="connsiteX236" fmla="*/ 2227389 w 9905999"/>
              <a:gd name="connsiteY236" fmla="*/ 214047 h 2265361"/>
              <a:gd name="connsiteX237" fmla="*/ 8961436 w 9905999"/>
              <a:gd name="connsiteY237" fmla="*/ 0 h 2265361"/>
              <a:gd name="connsiteX238" fmla="*/ 9905999 w 9905999"/>
              <a:gd name="connsiteY238" fmla="*/ 0 h 2265361"/>
              <a:gd name="connsiteX239" fmla="*/ 9905999 w 9905999"/>
              <a:gd name="connsiteY239" fmla="*/ 225425 h 2265361"/>
              <a:gd name="connsiteX240" fmla="*/ 9555161 w 9905999"/>
              <a:gd name="connsiteY240" fmla="*/ 225425 h 2265361"/>
              <a:gd name="connsiteX241" fmla="*/ 9555161 w 9905999"/>
              <a:gd name="connsiteY241" fmla="*/ 1214437 h 2265361"/>
              <a:gd name="connsiteX242" fmla="*/ 9315449 w 9905999"/>
              <a:gd name="connsiteY242" fmla="*/ 1214437 h 2265361"/>
              <a:gd name="connsiteX243" fmla="*/ 9315449 w 9905999"/>
              <a:gd name="connsiteY243" fmla="*/ 225425 h 2265361"/>
              <a:gd name="connsiteX244" fmla="*/ 8961436 w 9905999"/>
              <a:gd name="connsiteY244" fmla="*/ 225425 h 2265361"/>
              <a:gd name="connsiteX245" fmla="*/ 7785099 w 9905999"/>
              <a:gd name="connsiteY245" fmla="*/ 0 h 2265361"/>
              <a:gd name="connsiteX246" fmla="*/ 8035924 w 9905999"/>
              <a:gd name="connsiteY246" fmla="*/ 0 h 2265361"/>
              <a:gd name="connsiteX247" fmla="*/ 8037512 w 9905999"/>
              <a:gd name="connsiteY247" fmla="*/ 3175 h 2265361"/>
              <a:gd name="connsiteX248" fmla="*/ 8523286 w 9905999"/>
              <a:gd name="connsiteY248" fmla="*/ 774700 h 2265361"/>
              <a:gd name="connsiteX249" fmla="*/ 8523286 w 9905999"/>
              <a:gd name="connsiteY249" fmla="*/ 0 h 2265361"/>
              <a:gd name="connsiteX250" fmla="*/ 8759824 w 9905999"/>
              <a:gd name="connsiteY250" fmla="*/ 0 h 2265361"/>
              <a:gd name="connsiteX251" fmla="*/ 8759824 w 9905999"/>
              <a:gd name="connsiteY251" fmla="*/ 1214437 h 2265361"/>
              <a:gd name="connsiteX252" fmla="*/ 8518524 w 9905999"/>
              <a:gd name="connsiteY252" fmla="*/ 1214437 h 2265361"/>
              <a:gd name="connsiteX253" fmla="*/ 8024812 w 9905999"/>
              <a:gd name="connsiteY253" fmla="*/ 425450 h 2265361"/>
              <a:gd name="connsiteX254" fmla="*/ 8024812 w 9905999"/>
              <a:gd name="connsiteY254" fmla="*/ 1214437 h 2265361"/>
              <a:gd name="connsiteX255" fmla="*/ 7785099 w 9905999"/>
              <a:gd name="connsiteY255" fmla="*/ 1214437 h 2265361"/>
              <a:gd name="connsiteX256" fmla="*/ 6665911 w 9905999"/>
              <a:gd name="connsiteY256" fmla="*/ 0 h 2265361"/>
              <a:gd name="connsiteX257" fmla="*/ 7535861 w 9905999"/>
              <a:gd name="connsiteY257" fmla="*/ 0 h 2265361"/>
              <a:gd name="connsiteX258" fmla="*/ 7535861 w 9905999"/>
              <a:gd name="connsiteY258" fmla="*/ 220663 h 2265361"/>
              <a:gd name="connsiteX259" fmla="*/ 6905624 w 9905999"/>
              <a:gd name="connsiteY259" fmla="*/ 220663 h 2265361"/>
              <a:gd name="connsiteX260" fmla="*/ 6905624 w 9905999"/>
              <a:gd name="connsiteY260" fmla="*/ 473075 h 2265361"/>
              <a:gd name="connsiteX261" fmla="*/ 7459661 w 9905999"/>
              <a:gd name="connsiteY261" fmla="*/ 473075 h 2265361"/>
              <a:gd name="connsiteX262" fmla="*/ 7459661 w 9905999"/>
              <a:gd name="connsiteY262" fmla="*/ 690562 h 2265361"/>
              <a:gd name="connsiteX263" fmla="*/ 6905624 w 9905999"/>
              <a:gd name="connsiteY263" fmla="*/ 690562 h 2265361"/>
              <a:gd name="connsiteX264" fmla="*/ 6905624 w 9905999"/>
              <a:gd name="connsiteY264" fmla="*/ 993775 h 2265361"/>
              <a:gd name="connsiteX265" fmla="*/ 7535861 w 9905999"/>
              <a:gd name="connsiteY265" fmla="*/ 993775 h 2265361"/>
              <a:gd name="connsiteX266" fmla="*/ 7535861 w 9905999"/>
              <a:gd name="connsiteY266" fmla="*/ 1214437 h 2265361"/>
              <a:gd name="connsiteX267" fmla="*/ 6665911 w 9905999"/>
              <a:gd name="connsiteY267" fmla="*/ 1214437 h 2265361"/>
              <a:gd name="connsiteX268" fmla="*/ 5221286 w 9905999"/>
              <a:gd name="connsiteY268" fmla="*/ 0 h 2265361"/>
              <a:gd name="connsiteX269" fmla="*/ 5534024 w 9905999"/>
              <a:gd name="connsiteY269" fmla="*/ 0 h 2265361"/>
              <a:gd name="connsiteX270" fmla="*/ 5835649 w 9905999"/>
              <a:gd name="connsiteY270" fmla="*/ 823912 h 2265361"/>
              <a:gd name="connsiteX271" fmla="*/ 6142037 w 9905999"/>
              <a:gd name="connsiteY271" fmla="*/ 0 h 2265361"/>
              <a:gd name="connsiteX272" fmla="*/ 6438899 w 9905999"/>
              <a:gd name="connsiteY272" fmla="*/ 0 h 2265361"/>
              <a:gd name="connsiteX273" fmla="*/ 6438899 w 9905999"/>
              <a:gd name="connsiteY273" fmla="*/ 1214437 h 2265361"/>
              <a:gd name="connsiteX274" fmla="*/ 6203949 w 9905999"/>
              <a:gd name="connsiteY274" fmla="*/ 1214437 h 2265361"/>
              <a:gd name="connsiteX275" fmla="*/ 6203949 w 9905999"/>
              <a:gd name="connsiteY275" fmla="*/ 419100 h 2265361"/>
              <a:gd name="connsiteX276" fmla="*/ 5916612 w 9905999"/>
              <a:gd name="connsiteY276" fmla="*/ 1196975 h 2265361"/>
              <a:gd name="connsiteX277" fmla="*/ 5740399 w 9905999"/>
              <a:gd name="connsiteY277" fmla="*/ 1196975 h 2265361"/>
              <a:gd name="connsiteX278" fmla="*/ 5454649 w 9905999"/>
              <a:gd name="connsiteY278" fmla="*/ 409575 h 2265361"/>
              <a:gd name="connsiteX279" fmla="*/ 5454649 w 9905999"/>
              <a:gd name="connsiteY279" fmla="*/ 1214437 h 2265361"/>
              <a:gd name="connsiteX280" fmla="*/ 5221286 w 9905999"/>
              <a:gd name="connsiteY280" fmla="*/ 1214437 h 2265361"/>
              <a:gd name="connsiteX281" fmla="*/ 4098924 w 9905999"/>
              <a:gd name="connsiteY281" fmla="*/ 0 h 2265361"/>
              <a:gd name="connsiteX282" fmla="*/ 4968874 w 9905999"/>
              <a:gd name="connsiteY282" fmla="*/ 0 h 2265361"/>
              <a:gd name="connsiteX283" fmla="*/ 4968874 w 9905999"/>
              <a:gd name="connsiteY283" fmla="*/ 220663 h 2265361"/>
              <a:gd name="connsiteX284" fmla="*/ 4340224 w 9905999"/>
              <a:gd name="connsiteY284" fmla="*/ 220663 h 2265361"/>
              <a:gd name="connsiteX285" fmla="*/ 4340224 w 9905999"/>
              <a:gd name="connsiteY285" fmla="*/ 473075 h 2265361"/>
              <a:gd name="connsiteX286" fmla="*/ 4895849 w 9905999"/>
              <a:gd name="connsiteY286" fmla="*/ 473075 h 2265361"/>
              <a:gd name="connsiteX287" fmla="*/ 4895849 w 9905999"/>
              <a:gd name="connsiteY287" fmla="*/ 690562 h 2265361"/>
              <a:gd name="connsiteX288" fmla="*/ 4340224 w 9905999"/>
              <a:gd name="connsiteY288" fmla="*/ 690562 h 2265361"/>
              <a:gd name="connsiteX289" fmla="*/ 4340224 w 9905999"/>
              <a:gd name="connsiteY289" fmla="*/ 993775 h 2265361"/>
              <a:gd name="connsiteX290" fmla="*/ 4968874 w 9905999"/>
              <a:gd name="connsiteY290" fmla="*/ 993775 h 2265361"/>
              <a:gd name="connsiteX291" fmla="*/ 4968874 w 9905999"/>
              <a:gd name="connsiteY291" fmla="*/ 1214437 h 2265361"/>
              <a:gd name="connsiteX292" fmla="*/ 4098924 w 9905999"/>
              <a:gd name="connsiteY292" fmla="*/ 1214437 h 2265361"/>
              <a:gd name="connsiteX293" fmla="*/ 3079749 w 9905999"/>
              <a:gd name="connsiteY293" fmla="*/ 0 h 2265361"/>
              <a:gd name="connsiteX294" fmla="*/ 3321049 w 9905999"/>
              <a:gd name="connsiteY294" fmla="*/ 0 h 2265361"/>
              <a:gd name="connsiteX295" fmla="*/ 3321049 w 9905999"/>
              <a:gd name="connsiteY295" fmla="*/ 984250 h 2265361"/>
              <a:gd name="connsiteX296" fmla="*/ 3871912 w 9905999"/>
              <a:gd name="connsiteY296" fmla="*/ 984250 h 2265361"/>
              <a:gd name="connsiteX297" fmla="*/ 3871912 w 9905999"/>
              <a:gd name="connsiteY297" fmla="*/ 1214437 h 2265361"/>
              <a:gd name="connsiteX298" fmla="*/ 3079749 w 9905999"/>
              <a:gd name="connsiteY298" fmla="*/ 1214437 h 2265361"/>
              <a:gd name="connsiteX299" fmla="*/ 1989138 w 9905999"/>
              <a:gd name="connsiteY299" fmla="*/ 0 h 2265361"/>
              <a:gd name="connsiteX300" fmla="*/ 2465639 w 9905999"/>
              <a:gd name="connsiteY300" fmla="*/ 0 h 2265361"/>
              <a:gd name="connsiteX301" fmla="*/ 2897188 w 9905999"/>
              <a:gd name="connsiteY301" fmla="*/ 392045 h 2265361"/>
              <a:gd name="connsiteX302" fmla="*/ 2465639 w 9905999"/>
              <a:gd name="connsiteY302" fmla="*/ 786342 h 2265361"/>
              <a:gd name="connsiteX303" fmla="*/ 2227389 w 9905999"/>
              <a:gd name="connsiteY303" fmla="*/ 786342 h 2265361"/>
              <a:gd name="connsiteX304" fmla="*/ 2227389 w 9905999"/>
              <a:gd name="connsiteY304" fmla="*/ 1214437 h 2265361"/>
              <a:gd name="connsiteX305" fmla="*/ 1989138 w 9905999"/>
              <a:gd name="connsiteY305" fmla="*/ 1214437 h 2265361"/>
              <a:gd name="connsiteX306" fmla="*/ 1989138 w 9905999"/>
              <a:gd name="connsiteY306" fmla="*/ 0 h 2265361"/>
              <a:gd name="connsiteX307" fmla="*/ 520699 w 9905999"/>
              <a:gd name="connsiteY307" fmla="*/ 0 h 2265361"/>
              <a:gd name="connsiteX308" fmla="*/ 833436 w 9905999"/>
              <a:gd name="connsiteY308" fmla="*/ 0 h 2265361"/>
              <a:gd name="connsiteX309" fmla="*/ 1135061 w 9905999"/>
              <a:gd name="connsiteY309" fmla="*/ 823912 h 2265361"/>
              <a:gd name="connsiteX310" fmla="*/ 1439862 w 9905999"/>
              <a:gd name="connsiteY310" fmla="*/ 0 h 2265361"/>
              <a:gd name="connsiteX311" fmla="*/ 1736724 w 9905999"/>
              <a:gd name="connsiteY311" fmla="*/ 0 h 2265361"/>
              <a:gd name="connsiteX312" fmla="*/ 1736724 w 9905999"/>
              <a:gd name="connsiteY312" fmla="*/ 1214437 h 2265361"/>
              <a:gd name="connsiteX313" fmla="*/ 1503362 w 9905999"/>
              <a:gd name="connsiteY313" fmla="*/ 1214437 h 2265361"/>
              <a:gd name="connsiteX314" fmla="*/ 1503362 w 9905999"/>
              <a:gd name="connsiteY314" fmla="*/ 419100 h 2265361"/>
              <a:gd name="connsiteX315" fmla="*/ 1216024 w 9905999"/>
              <a:gd name="connsiteY315" fmla="*/ 1196975 h 2265361"/>
              <a:gd name="connsiteX316" fmla="*/ 1039812 w 9905999"/>
              <a:gd name="connsiteY316" fmla="*/ 1196975 h 2265361"/>
              <a:gd name="connsiteX317" fmla="*/ 754062 w 9905999"/>
              <a:gd name="connsiteY317" fmla="*/ 409575 h 2265361"/>
              <a:gd name="connsiteX318" fmla="*/ 754062 w 9905999"/>
              <a:gd name="connsiteY318" fmla="*/ 1214437 h 2265361"/>
              <a:gd name="connsiteX319" fmla="*/ 520699 w 9905999"/>
              <a:gd name="connsiteY319" fmla="*/ 1214437 h 2265361"/>
              <a:gd name="connsiteX320" fmla="*/ 25400 w 9905999"/>
              <a:gd name="connsiteY320" fmla="*/ 0 h 2265361"/>
              <a:gd name="connsiteX321" fmla="*/ 268288 w 9905999"/>
              <a:gd name="connsiteY321" fmla="*/ 0 h 2265361"/>
              <a:gd name="connsiteX322" fmla="*/ 268288 w 9905999"/>
              <a:gd name="connsiteY322" fmla="*/ 1214437 h 2265361"/>
              <a:gd name="connsiteX323" fmla="*/ 25400 w 9905999"/>
              <a:gd name="connsiteY323" fmla="*/ 1214437 h 22653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</a:cxnLst>
            <a:rect l="l" t="t" r="r" b="b"/>
            <a:pathLst>
              <a:path w="9905999" h="2265361">
                <a:moveTo>
                  <a:pt x="6778122" y="2222531"/>
                </a:moveTo>
                <a:cubicBezTo>
                  <a:pt x="6778122" y="2222531"/>
                  <a:pt x="6778122" y="2222531"/>
                  <a:pt x="7135812" y="2222531"/>
                </a:cubicBezTo>
                <a:lnTo>
                  <a:pt x="7135812" y="2265361"/>
                </a:lnTo>
                <a:cubicBezTo>
                  <a:pt x="7135812" y="2265361"/>
                  <a:pt x="7135812" y="2265361"/>
                  <a:pt x="6778122" y="2265361"/>
                </a:cubicBezTo>
                <a:cubicBezTo>
                  <a:pt x="6778122" y="2265361"/>
                  <a:pt x="6778122" y="2265361"/>
                  <a:pt x="6778122" y="2222531"/>
                </a:cubicBezTo>
                <a:close/>
                <a:moveTo>
                  <a:pt x="6449676" y="1769427"/>
                </a:moveTo>
                <a:cubicBezTo>
                  <a:pt x="6449676" y="1769427"/>
                  <a:pt x="6449676" y="1769427"/>
                  <a:pt x="6449676" y="1965546"/>
                </a:cubicBezTo>
                <a:cubicBezTo>
                  <a:pt x="6449676" y="1965546"/>
                  <a:pt x="6449676" y="1965546"/>
                  <a:pt x="6575655" y="1965546"/>
                </a:cubicBezTo>
                <a:cubicBezTo>
                  <a:pt x="6643144" y="1965546"/>
                  <a:pt x="6679138" y="1933987"/>
                  <a:pt x="6679138" y="1864105"/>
                </a:cubicBezTo>
                <a:cubicBezTo>
                  <a:pt x="6679138" y="1800986"/>
                  <a:pt x="6638645" y="1769427"/>
                  <a:pt x="6575655" y="1769427"/>
                </a:cubicBezTo>
                <a:cubicBezTo>
                  <a:pt x="6575655" y="1769427"/>
                  <a:pt x="6575655" y="1769427"/>
                  <a:pt x="6449676" y="1769427"/>
                </a:cubicBezTo>
                <a:close/>
                <a:moveTo>
                  <a:pt x="5021164" y="1769427"/>
                </a:moveTo>
                <a:cubicBezTo>
                  <a:pt x="5021164" y="1769427"/>
                  <a:pt x="5021164" y="1769427"/>
                  <a:pt x="5021164" y="1949767"/>
                </a:cubicBezTo>
                <a:cubicBezTo>
                  <a:pt x="5021164" y="1949767"/>
                  <a:pt x="5021164" y="1949767"/>
                  <a:pt x="5158391" y="1949767"/>
                </a:cubicBezTo>
                <a:cubicBezTo>
                  <a:pt x="5219131" y="1949767"/>
                  <a:pt x="5261874" y="1924970"/>
                  <a:pt x="5261874" y="1859597"/>
                </a:cubicBezTo>
                <a:cubicBezTo>
                  <a:pt x="5261874" y="1794223"/>
                  <a:pt x="5219131" y="1769427"/>
                  <a:pt x="5158391" y="1769427"/>
                </a:cubicBezTo>
                <a:cubicBezTo>
                  <a:pt x="5158391" y="1769427"/>
                  <a:pt x="5158391" y="1769427"/>
                  <a:pt x="5021164" y="1769427"/>
                </a:cubicBezTo>
                <a:close/>
                <a:moveTo>
                  <a:pt x="5597068" y="1762664"/>
                </a:moveTo>
                <a:cubicBezTo>
                  <a:pt x="5563324" y="1762664"/>
                  <a:pt x="5529579" y="1776189"/>
                  <a:pt x="5504834" y="1800986"/>
                </a:cubicBezTo>
                <a:cubicBezTo>
                  <a:pt x="5462091" y="1843817"/>
                  <a:pt x="5459841" y="1913699"/>
                  <a:pt x="5459841" y="1967800"/>
                </a:cubicBezTo>
                <a:cubicBezTo>
                  <a:pt x="5459841" y="2019648"/>
                  <a:pt x="5462091" y="2089530"/>
                  <a:pt x="5504834" y="2132361"/>
                </a:cubicBezTo>
                <a:cubicBezTo>
                  <a:pt x="5529579" y="2159412"/>
                  <a:pt x="5563324" y="2170683"/>
                  <a:pt x="5597068" y="2170683"/>
                </a:cubicBezTo>
                <a:cubicBezTo>
                  <a:pt x="5633062" y="2170683"/>
                  <a:pt x="5666807" y="2159412"/>
                  <a:pt x="5691552" y="2132361"/>
                </a:cubicBezTo>
                <a:cubicBezTo>
                  <a:pt x="5732046" y="2089530"/>
                  <a:pt x="5734295" y="2019648"/>
                  <a:pt x="5734295" y="1967800"/>
                </a:cubicBezTo>
                <a:cubicBezTo>
                  <a:pt x="5734295" y="1913699"/>
                  <a:pt x="5732046" y="1843817"/>
                  <a:pt x="5691552" y="1800986"/>
                </a:cubicBezTo>
                <a:cubicBezTo>
                  <a:pt x="5666807" y="1776189"/>
                  <a:pt x="5633062" y="1762664"/>
                  <a:pt x="5597068" y="1762664"/>
                </a:cubicBezTo>
                <a:close/>
                <a:moveTo>
                  <a:pt x="654642" y="1762664"/>
                </a:moveTo>
                <a:cubicBezTo>
                  <a:pt x="618647" y="1762664"/>
                  <a:pt x="584903" y="1776189"/>
                  <a:pt x="560157" y="1800986"/>
                </a:cubicBezTo>
                <a:cubicBezTo>
                  <a:pt x="519664" y="1843817"/>
                  <a:pt x="517414" y="1913699"/>
                  <a:pt x="517414" y="1967800"/>
                </a:cubicBezTo>
                <a:cubicBezTo>
                  <a:pt x="517414" y="2019648"/>
                  <a:pt x="519664" y="2089530"/>
                  <a:pt x="560157" y="2132361"/>
                </a:cubicBezTo>
                <a:cubicBezTo>
                  <a:pt x="584903" y="2159412"/>
                  <a:pt x="618647" y="2170683"/>
                  <a:pt x="654642" y="2170683"/>
                </a:cubicBezTo>
                <a:cubicBezTo>
                  <a:pt x="688386" y="2170683"/>
                  <a:pt x="722130" y="2159412"/>
                  <a:pt x="746876" y="2132361"/>
                </a:cubicBezTo>
                <a:cubicBezTo>
                  <a:pt x="789619" y="2089530"/>
                  <a:pt x="791868" y="2019648"/>
                  <a:pt x="791868" y="1967800"/>
                </a:cubicBezTo>
                <a:cubicBezTo>
                  <a:pt x="791868" y="1913699"/>
                  <a:pt x="789619" y="1843817"/>
                  <a:pt x="746876" y="1800986"/>
                </a:cubicBezTo>
                <a:cubicBezTo>
                  <a:pt x="722130" y="1776189"/>
                  <a:pt x="688386" y="1762664"/>
                  <a:pt x="654642" y="1762664"/>
                </a:cubicBezTo>
                <a:close/>
                <a:moveTo>
                  <a:pt x="6386687" y="1710816"/>
                </a:moveTo>
                <a:cubicBezTo>
                  <a:pt x="6386687" y="1710816"/>
                  <a:pt x="6386687" y="1710816"/>
                  <a:pt x="6575655" y="1710816"/>
                </a:cubicBezTo>
                <a:cubicBezTo>
                  <a:pt x="6636395" y="1710816"/>
                  <a:pt x="6679138" y="1726596"/>
                  <a:pt x="6706134" y="1755901"/>
                </a:cubicBezTo>
                <a:cubicBezTo>
                  <a:pt x="6730880" y="1782952"/>
                  <a:pt x="6744377" y="1821274"/>
                  <a:pt x="6744377" y="1864105"/>
                </a:cubicBezTo>
                <a:cubicBezTo>
                  <a:pt x="6744377" y="1915953"/>
                  <a:pt x="6730880" y="1954275"/>
                  <a:pt x="6701634" y="1981326"/>
                </a:cubicBezTo>
                <a:cubicBezTo>
                  <a:pt x="6674639" y="2008377"/>
                  <a:pt x="6634146" y="2024157"/>
                  <a:pt x="6577905" y="2024157"/>
                </a:cubicBezTo>
                <a:cubicBezTo>
                  <a:pt x="6577905" y="2024157"/>
                  <a:pt x="6577905" y="2024157"/>
                  <a:pt x="6449676" y="2024157"/>
                </a:cubicBezTo>
                <a:cubicBezTo>
                  <a:pt x="6449676" y="2024157"/>
                  <a:pt x="6449676" y="2024157"/>
                  <a:pt x="6449676" y="2222531"/>
                </a:cubicBezTo>
                <a:cubicBezTo>
                  <a:pt x="6449676" y="2222531"/>
                  <a:pt x="6449676" y="2222531"/>
                  <a:pt x="6386687" y="2222531"/>
                </a:cubicBezTo>
                <a:cubicBezTo>
                  <a:pt x="6386687" y="2222531"/>
                  <a:pt x="6386687" y="2222531"/>
                  <a:pt x="6386687" y="1710816"/>
                </a:cubicBezTo>
                <a:close/>
                <a:moveTo>
                  <a:pt x="5889520" y="1710816"/>
                </a:moveTo>
                <a:cubicBezTo>
                  <a:pt x="5889520" y="1710816"/>
                  <a:pt x="5889520" y="1710816"/>
                  <a:pt x="5954759" y="1710816"/>
                </a:cubicBezTo>
                <a:cubicBezTo>
                  <a:pt x="5954759" y="1710816"/>
                  <a:pt x="5954759" y="1710816"/>
                  <a:pt x="5954759" y="2035428"/>
                </a:cubicBezTo>
                <a:cubicBezTo>
                  <a:pt x="5954759" y="2118835"/>
                  <a:pt x="5988503" y="2172937"/>
                  <a:pt x="6076239" y="2172937"/>
                </a:cubicBezTo>
                <a:cubicBezTo>
                  <a:pt x="6166224" y="2172937"/>
                  <a:pt x="6199968" y="2118835"/>
                  <a:pt x="6199968" y="2035428"/>
                </a:cubicBezTo>
                <a:cubicBezTo>
                  <a:pt x="6199968" y="2035428"/>
                  <a:pt x="6199968" y="2035428"/>
                  <a:pt x="6199968" y="1710816"/>
                </a:cubicBezTo>
                <a:cubicBezTo>
                  <a:pt x="6199968" y="1710816"/>
                  <a:pt x="6199968" y="1710816"/>
                  <a:pt x="6262957" y="1710816"/>
                </a:cubicBezTo>
                <a:cubicBezTo>
                  <a:pt x="6262957" y="1710816"/>
                  <a:pt x="6262957" y="1710816"/>
                  <a:pt x="6262957" y="2035428"/>
                </a:cubicBezTo>
                <a:cubicBezTo>
                  <a:pt x="6262957" y="2163920"/>
                  <a:pt x="6190969" y="2231547"/>
                  <a:pt x="6076239" y="2231547"/>
                </a:cubicBezTo>
                <a:cubicBezTo>
                  <a:pt x="5961508" y="2231547"/>
                  <a:pt x="5889520" y="2163920"/>
                  <a:pt x="5889520" y="2035428"/>
                </a:cubicBezTo>
                <a:cubicBezTo>
                  <a:pt x="5889520" y="2035428"/>
                  <a:pt x="5889520" y="2035428"/>
                  <a:pt x="5889520" y="1710816"/>
                </a:cubicBezTo>
                <a:close/>
                <a:moveTo>
                  <a:pt x="4958174" y="1710816"/>
                </a:moveTo>
                <a:cubicBezTo>
                  <a:pt x="4958174" y="1710816"/>
                  <a:pt x="4958174" y="1710816"/>
                  <a:pt x="5158391" y="1710816"/>
                </a:cubicBezTo>
                <a:cubicBezTo>
                  <a:pt x="5219131" y="1710816"/>
                  <a:pt x="5259624" y="1726596"/>
                  <a:pt x="5288869" y="1755901"/>
                </a:cubicBezTo>
                <a:cubicBezTo>
                  <a:pt x="5313615" y="1782952"/>
                  <a:pt x="5329363" y="1814512"/>
                  <a:pt x="5329363" y="1859597"/>
                </a:cubicBezTo>
                <a:cubicBezTo>
                  <a:pt x="5329363" y="1904682"/>
                  <a:pt x="5313615" y="1936241"/>
                  <a:pt x="5288869" y="1961038"/>
                </a:cubicBezTo>
                <a:cubicBezTo>
                  <a:pt x="5275372" y="1976817"/>
                  <a:pt x="5252875" y="1990343"/>
                  <a:pt x="5228130" y="1997106"/>
                </a:cubicBezTo>
                <a:cubicBezTo>
                  <a:pt x="5228130" y="1997106"/>
                  <a:pt x="5228130" y="1997106"/>
                  <a:pt x="5331612" y="2222531"/>
                </a:cubicBezTo>
                <a:lnTo>
                  <a:pt x="5259624" y="2222531"/>
                </a:lnTo>
                <a:cubicBezTo>
                  <a:pt x="5259624" y="2222531"/>
                  <a:pt x="5259624" y="2222531"/>
                  <a:pt x="5162890" y="2010631"/>
                </a:cubicBezTo>
                <a:cubicBezTo>
                  <a:pt x="5162890" y="2010631"/>
                  <a:pt x="5162890" y="2010631"/>
                  <a:pt x="5021164" y="2010631"/>
                </a:cubicBezTo>
                <a:cubicBezTo>
                  <a:pt x="5021164" y="2010631"/>
                  <a:pt x="5021164" y="2010631"/>
                  <a:pt x="5021164" y="2222531"/>
                </a:cubicBezTo>
                <a:cubicBezTo>
                  <a:pt x="5021164" y="2222531"/>
                  <a:pt x="5021164" y="2222531"/>
                  <a:pt x="4958174" y="2222531"/>
                </a:cubicBezTo>
                <a:cubicBezTo>
                  <a:pt x="4958174" y="2222531"/>
                  <a:pt x="4958174" y="2222531"/>
                  <a:pt x="4958174" y="1710816"/>
                </a:cubicBezTo>
                <a:close/>
                <a:moveTo>
                  <a:pt x="3309199" y="1710816"/>
                </a:moveTo>
                <a:cubicBezTo>
                  <a:pt x="3309199" y="1710816"/>
                  <a:pt x="3309199" y="1710816"/>
                  <a:pt x="3381187" y="1710816"/>
                </a:cubicBezTo>
                <a:cubicBezTo>
                  <a:pt x="3381187" y="1710816"/>
                  <a:pt x="3381187" y="1710816"/>
                  <a:pt x="3633145" y="2123344"/>
                </a:cubicBezTo>
                <a:cubicBezTo>
                  <a:pt x="3633145" y="2123344"/>
                  <a:pt x="3633145" y="2123344"/>
                  <a:pt x="3633145" y="1710816"/>
                </a:cubicBezTo>
                <a:cubicBezTo>
                  <a:pt x="3633145" y="1710816"/>
                  <a:pt x="3633145" y="1710816"/>
                  <a:pt x="3693885" y="1710816"/>
                </a:cubicBezTo>
                <a:cubicBezTo>
                  <a:pt x="3693885" y="1710816"/>
                  <a:pt x="3693885" y="1710816"/>
                  <a:pt x="3693885" y="2222531"/>
                </a:cubicBezTo>
                <a:lnTo>
                  <a:pt x="3621897" y="2222531"/>
                </a:lnTo>
                <a:cubicBezTo>
                  <a:pt x="3621897" y="2222531"/>
                  <a:pt x="3621897" y="2222531"/>
                  <a:pt x="3372188" y="1810003"/>
                </a:cubicBezTo>
                <a:cubicBezTo>
                  <a:pt x="3372188" y="1810003"/>
                  <a:pt x="3372188" y="1810003"/>
                  <a:pt x="3372188" y="2222531"/>
                </a:cubicBezTo>
                <a:cubicBezTo>
                  <a:pt x="3372188" y="2222531"/>
                  <a:pt x="3372188" y="2222531"/>
                  <a:pt x="3309199" y="2222531"/>
                </a:cubicBezTo>
                <a:cubicBezTo>
                  <a:pt x="3309199" y="2222531"/>
                  <a:pt x="3309199" y="2222531"/>
                  <a:pt x="3309199" y="1710816"/>
                </a:cubicBezTo>
                <a:close/>
                <a:moveTo>
                  <a:pt x="3106732" y="1710816"/>
                </a:moveTo>
                <a:cubicBezTo>
                  <a:pt x="3106732" y="1710816"/>
                  <a:pt x="3106732" y="1710816"/>
                  <a:pt x="3171971" y="1710816"/>
                </a:cubicBezTo>
                <a:lnTo>
                  <a:pt x="3171971" y="2222531"/>
                </a:lnTo>
                <a:cubicBezTo>
                  <a:pt x="3171971" y="2222531"/>
                  <a:pt x="3171971" y="2222531"/>
                  <a:pt x="3106732" y="2222531"/>
                </a:cubicBezTo>
                <a:cubicBezTo>
                  <a:pt x="3106732" y="2222531"/>
                  <a:pt x="3106732" y="2222531"/>
                  <a:pt x="3106732" y="1710816"/>
                </a:cubicBezTo>
                <a:close/>
                <a:moveTo>
                  <a:pt x="2663557" y="1710816"/>
                </a:moveTo>
                <a:cubicBezTo>
                  <a:pt x="2663557" y="1710816"/>
                  <a:pt x="2663557" y="1710816"/>
                  <a:pt x="3032495" y="1710816"/>
                </a:cubicBezTo>
                <a:cubicBezTo>
                  <a:pt x="3032495" y="1710816"/>
                  <a:pt x="3032495" y="1710816"/>
                  <a:pt x="3032495" y="1769427"/>
                </a:cubicBezTo>
                <a:lnTo>
                  <a:pt x="2879521" y="1769427"/>
                </a:lnTo>
                <a:cubicBezTo>
                  <a:pt x="2879521" y="1769427"/>
                  <a:pt x="2879521" y="1769427"/>
                  <a:pt x="2879521" y="2222531"/>
                </a:cubicBezTo>
                <a:cubicBezTo>
                  <a:pt x="2879521" y="2222531"/>
                  <a:pt x="2879521" y="2222531"/>
                  <a:pt x="2814282" y="2222531"/>
                </a:cubicBezTo>
                <a:cubicBezTo>
                  <a:pt x="2814282" y="2222531"/>
                  <a:pt x="2814282" y="2222531"/>
                  <a:pt x="2814282" y="1769427"/>
                </a:cubicBezTo>
                <a:cubicBezTo>
                  <a:pt x="2814282" y="1769427"/>
                  <a:pt x="2814282" y="1769427"/>
                  <a:pt x="2663557" y="1769427"/>
                </a:cubicBezTo>
                <a:cubicBezTo>
                  <a:pt x="2663557" y="1769427"/>
                  <a:pt x="2663557" y="1769427"/>
                  <a:pt x="2663557" y="1710816"/>
                </a:cubicBezTo>
                <a:close/>
                <a:moveTo>
                  <a:pt x="2416099" y="1710816"/>
                </a:moveTo>
                <a:cubicBezTo>
                  <a:pt x="2416099" y="1710816"/>
                  <a:pt x="2416099" y="1710816"/>
                  <a:pt x="2481338" y="1710816"/>
                </a:cubicBezTo>
                <a:cubicBezTo>
                  <a:pt x="2481338" y="1710816"/>
                  <a:pt x="2481338" y="1710816"/>
                  <a:pt x="2481338" y="2163920"/>
                </a:cubicBezTo>
                <a:cubicBezTo>
                  <a:pt x="2481338" y="2163920"/>
                  <a:pt x="2481338" y="2163920"/>
                  <a:pt x="2726547" y="2163920"/>
                </a:cubicBezTo>
                <a:cubicBezTo>
                  <a:pt x="2726547" y="2163920"/>
                  <a:pt x="2726547" y="2163920"/>
                  <a:pt x="2726547" y="2222531"/>
                </a:cubicBezTo>
                <a:lnTo>
                  <a:pt x="2416099" y="2222531"/>
                </a:lnTo>
                <a:cubicBezTo>
                  <a:pt x="2416099" y="2222531"/>
                  <a:pt x="2416099" y="2222531"/>
                  <a:pt x="2416099" y="1710816"/>
                </a:cubicBezTo>
                <a:close/>
                <a:moveTo>
                  <a:pt x="1918931" y="1710816"/>
                </a:moveTo>
                <a:cubicBezTo>
                  <a:pt x="1918931" y="1710816"/>
                  <a:pt x="1918931" y="1710816"/>
                  <a:pt x="1984171" y="1710816"/>
                </a:cubicBezTo>
                <a:cubicBezTo>
                  <a:pt x="1984171" y="1710816"/>
                  <a:pt x="1984171" y="1710816"/>
                  <a:pt x="1984171" y="2035428"/>
                </a:cubicBezTo>
                <a:cubicBezTo>
                  <a:pt x="1984171" y="2118835"/>
                  <a:pt x="2017916" y="2172937"/>
                  <a:pt x="2105651" y="2172937"/>
                </a:cubicBezTo>
                <a:cubicBezTo>
                  <a:pt x="2195636" y="2172937"/>
                  <a:pt x="2229380" y="2118835"/>
                  <a:pt x="2229380" y="2035428"/>
                </a:cubicBezTo>
                <a:cubicBezTo>
                  <a:pt x="2229380" y="2035428"/>
                  <a:pt x="2229380" y="2035428"/>
                  <a:pt x="2229380" y="1710816"/>
                </a:cubicBezTo>
                <a:cubicBezTo>
                  <a:pt x="2229380" y="1710816"/>
                  <a:pt x="2229380" y="1710816"/>
                  <a:pt x="2292369" y="1710816"/>
                </a:cubicBezTo>
                <a:cubicBezTo>
                  <a:pt x="2292369" y="1710816"/>
                  <a:pt x="2292369" y="1710816"/>
                  <a:pt x="2292369" y="2035428"/>
                </a:cubicBezTo>
                <a:cubicBezTo>
                  <a:pt x="2292369" y="2163920"/>
                  <a:pt x="2220382" y="2231547"/>
                  <a:pt x="2105651" y="2231547"/>
                </a:cubicBezTo>
                <a:cubicBezTo>
                  <a:pt x="1990920" y="2231547"/>
                  <a:pt x="1918931" y="2163920"/>
                  <a:pt x="1918931" y="2035428"/>
                </a:cubicBezTo>
                <a:cubicBezTo>
                  <a:pt x="1918931" y="2035428"/>
                  <a:pt x="1918931" y="2035428"/>
                  <a:pt x="1918931" y="1710816"/>
                </a:cubicBezTo>
                <a:close/>
                <a:moveTo>
                  <a:pt x="960591" y="1710816"/>
                </a:moveTo>
                <a:cubicBezTo>
                  <a:pt x="960591" y="1710816"/>
                  <a:pt x="960591" y="1710816"/>
                  <a:pt x="1032578" y="1710816"/>
                </a:cubicBezTo>
                <a:cubicBezTo>
                  <a:pt x="1032578" y="1710816"/>
                  <a:pt x="1032578" y="1710816"/>
                  <a:pt x="1284537" y="2123344"/>
                </a:cubicBezTo>
                <a:cubicBezTo>
                  <a:pt x="1284537" y="2123344"/>
                  <a:pt x="1284537" y="2123344"/>
                  <a:pt x="1284537" y="1710816"/>
                </a:cubicBezTo>
                <a:cubicBezTo>
                  <a:pt x="1284537" y="1710816"/>
                  <a:pt x="1284537" y="1710816"/>
                  <a:pt x="1345276" y="1710816"/>
                </a:cubicBezTo>
                <a:cubicBezTo>
                  <a:pt x="1345276" y="1710816"/>
                  <a:pt x="1345276" y="1710816"/>
                  <a:pt x="1345276" y="2222531"/>
                </a:cubicBezTo>
                <a:lnTo>
                  <a:pt x="1273289" y="2222531"/>
                </a:lnTo>
                <a:cubicBezTo>
                  <a:pt x="1273289" y="2222531"/>
                  <a:pt x="1273289" y="2222531"/>
                  <a:pt x="1023580" y="1810003"/>
                </a:cubicBezTo>
                <a:cubicBezTo>
                  <a:pt x="1023580" y="1810003"/>
                  <a:pt x="1023580" y="1810003"/>
                  <a:pt x="1023580" y="2222531"/>
                </a:cubicBezTo>
                <a:cubicBezTo>
                  <a:pt x="1023580" y="2222531"/>
                  <a:pt x="1023580" y="2222531"/>
                  <a:pt x="960591" y="2222531"/>
                </a:cubicBezTo>
                <a:cubicBezTo>
                  <a:pt x="960591" y="2222531"/>
                  <a:pt x="960591" y="2222531"/>
                  <a:pt x="960591" y="1710816"/>
                </a:cubicBezTo>
                <a:close/>
                <a:moveTo>
                  <a:pt x="5597068" y="1701799"/>
                </a:moveTo>
                <a:cubicBezTo>
                  <a:pt x="5648810" y="1701799"/>
                  <a:pt x="5698301" y="1719833"/>
                  <a:pt x="5736545" y="1755901"/>
                </a:cubicBezTo>
                <a:cubicBezTo>
                  <a:pt x="5790536" y="1810003"/>
                  <a:pt x="5801784" y="1884393"/>
                  <a:pt x="5801784" y="1967800"/>
                </a:cubicBezTo>
                <a:cubicBezTo>
                  <a:pt x="5801784" y="2048953"/>
                  <a:pt x="5790536" y="2123344"/>
                  <a:pt x="5736545" y="2177446"/>
                </a:cubicBezTo>
                <a:cubicBezTo>
                  <a:pt x="5698301" y="2213514"/>
                  <a:pt x="5648810" y="2233802"/>
                  <a:pt x="5597068" y="2233802"/>
                </a:cubicBezTo>
                <a:cubicBezTo>
                  <a:pt x="5547576" y="2233802"/>
                  <a:pt x="5495835" y="2213514"/>
                  <a:pt x="5459841" y="2177446"/>
                </a:cubicBezTo>
                <a:cubicBezTo>
                  <a:pt x="5403600" y="2123344"/>
                  <a:pt x="5394602" y="2048953"/>
                  <a:pt x="5394602" y="1967800"/>
                </a:cubicBezTo>
                <a:cubicBezTo>
                  <a:pt x="5394602" y="1884393"/>
                  <a:pt x="5403600" y="1810003"/>
                  <a:pt x="5459841" y="1755901"/>
                </a:cubicBezTo>
                <a:cubicBezTo>
                  <a:pt x="5495835" y="1719833"/>
                  <a:pt x="5547576" y="1701799"/>
                  <a:pt x="5597068" y="1701799"/>
                </a:cubicBezTo>
                <a:close/>
                <a:moveTo>
                  <a:pt x="4645477" y="1701799"/>
                </a:moveTo>
                <a:cubicBezTo>
                  <a:pt x="4701717" y="1701799"/>
                  <a:pt x="4755708" y="1722087"/>
                  <a:pt x="4791702" y="1758155"/>
                </a:cubicBezTo>
                <a:cubicBezTo>
                  <a:pt x="4816448" y="1785206"/>
                  <a:pt x="4832195" y="1816766"/>
                  <a:pt x="4834445" y="1859597"/>
                </a:cubicBezTo>
                <a:cubicBezTo>
                  <a:pt x="4834445" y="1859597"/>
                  <a:pt x="4834445" y="1859597"/>
                  <a:pt x="4766956" y="1859597"/>
                </a:cubicBezTo>
                <a:cubicBezTo>
                  <a:pt x="4764707" y="1834800"/>
                  <a:pt x="4757958" y="1819020"/>
                  <a:pt x="4744460" y="1803240"/>
                </a:cubicBezTo>
                <a:cubicBezTo>
                  <a:pt x="4721964" y="1773935"/>
                  <a:pt x="4685970" y="1762664"/>
                  <a:pt x="4645477" y="1762664"/>
                </a:cubicBezTo>
                <a:cubicBezTo>
                  <a:pt x="4609482" y="1762664"/>
                  <a:pt x="4575738" y="1776189"/>
                  <a:pt x="4550992" y="1800986"/>
                </a:cubicBezTo>
                <a:cubicBezTo>
                  <a:pt x="4510499" y="1843817"/>
                  <a:pt x="4506000" y="1913699"/>
                  <a:pt x="4506000" y="1967800"/>
                </a:cubicBezTo>
                <a:cubicBezTo>
                  <a:pt x="4506000" y="2017394"/>
                  <a:pt x="4510499" y="2091784"/>
                  <a:pt x="4553242" y="2134615"/>
                </a:cubicBezTo>
                <a:cubicBezTo>
                  <a:pt x="4577988" y="2161666"/>
                  <a:pt x="4609482" y="2172937"/>
                  <a:pt x="4645477" y="2172937"/>
                </a:cubicBezTo>
                <a:cubicBezTo>
                  <a:pt x="4681471" y="2172937"/>
                  <a:pt x="4715215" y="2159412"/>
                  <a:pt x="4737711" y="2136869"/>
                </a:cubicBezTo>
                <a:cubicBezTo>
                  <a:pt x="4771456" y="2103055"/>
                  <a:pt x="4780454" y="2053462"/>
                  <a:pt x="4780454" y="2006123"/>
                </a:cubicBezTo>
                <a:cubicBezTo>
                  <a:pt x="4780454" y="2006123"/>
                  <a:pt x="4780454" y="2006123"/>
                  <a:pt x="4645477" y="2006123"/>
                </a:cubicBezTo>
                <a:cubicBezTo>
                  <a:pt x="4645477" y="2006123"/>
                  <a:pt x="4645477" y="2006123"/>
                  <a:pt x="4645477" y="1947512"/>
                </a:cubicBezTo>
                <a:cubicBezTo>
                  <a:pt x="4645477" y="1947512"/>
                  <a:pt x="4645477" y="1947512"/>
                  <a:pt x="4838944" y="1947512"/>
                </a:cubicBezTo>
                <a:cubicBezTo>
                  <a:pt x="4838944" y="1947512"/>
                  <a:pt x="4838944" y="1947512"/>
                  <a:pt x="4838944" y="2222531"/>
                </a:cubicBezTo>
                <a:lnTo>
                  <a:pt x="4793952" y="2222531"/>
                </a:lnTo>
                <a:cubicBezTo>
                  <a:pt x="4793952" y="2222531"/>
                  <a:pt x="4793952" y="2222531"/>
                  <a:pt x="4782704" y="2161666"/>
                </a:cubicBezTo>
                <a:cubicBezTo>
                  <a:pt x="4757958" y="2204497"/>
                  <a:pt x="4701717" y="2233802"/>
                  <a:pt x="4645477" y="2233802"/>
                </a:cubicBezTo>
                <a:cubicBezTo>
                  <a:pt x="4593735" y="2233802"/>
                  <a:pt x="4544243" y="2215768"/>
                  <a:pt x="4506000" y="2179700"/>
                </a:cubicBezTo>
                <a:cubicBezTo>
                  <a:pt x="4454258" y="2130106"/>
                  <a:pt x="4440761" y="2057970"/>
                  <a:pt x="4440761" y="1967800"/>
                </a:cubicBezTo>
                <a:cubicBezTo>
                  <a:pt x="4440761" y="1884393"/>
                  <a:pt x="4452009" y="1810003"/>
                  <a:pt x="4506000" y="1755901"/>
                </a:cubicBezTo>
                <a:cubicBezTo>
                  <a:pt x="4544243" y="1719833"/>
                  <a:pt x="4593735" y="1701799"/>
                  <a:pt x="4645477" y="1701799"/>
                </a:cubicBezTo>
                <a:close/>
                <a:moveTo>
                  <a:pt x="4002083" y="1701799"/>
                </a:moveTo>
                <a:cubicBezTo>
                  <a:pt x="4060574" y="1701799"/>
                  <a:pt x="4112315" y="1722087"/>
                  <a:pt x="4148309" y="1758155"/>
                </a:cubicBezTo>
                <a:cubicBezTo>
                  <a:pt x="4173055" y="1785206"/>
                  <a:pt x="4191052" y="1816766"/>
                  <a:pt x="4193302" y="1859597"/>
                </a:cubicBezTo>
                <a:cubicBezTo>
                  <a:pt x="4193302" y="1859597"/>
                  <a:pt x="4193302" y="1859597"/>
                  <a:pt x="4125813" y="1859597"/>
                </a:cubicBezTo>
                <a:cubicBezTo>
                  <a:pt x="4123563" y="1834800"/>
                  <a:pt x="4114565" y="1819020"/>
                  <a:pt x="4103317" y="1803240"/>
                </a:cubicBezTo>
                <a:cubicBezTo>
                  <a:pt x="4078571" y="1773935"/>
                  <a:pt x="4044826" y="1762664"/>
                  <a:pt x="4002083" y="1762664"/>
                </a:cubicBezTo>
                <a:cubicBezTo>
                  <a:pt x="3968339" y="1762664"/>
                  <a:pt x="3934595" y="1776189"/>
                  <a:pt x="3909849" y="1800986"/>
                </a:cubicBezTo>
                <a:cubicBezTo>
                  <a:pt x="3867106" y="1843817"/>
                  <a:pt x="3864856" y="1913699"/>
                  <a:pt x="3864856" y="1967800"/>
                </a:cubicBezTo>
                <a:cubicBezTo>
                  <a:pt x="3864856" y="2017394"/>
                  <a:pt x="3867106" y="2091784"/>
                  <a:pt x="3909849" y="2134615"/>
                </a:cubicBezTo>
                <a:cubicBezTo>
                  <a:pt x="3934595" y="2161666"/>
                  <a:pt x="3968339" y="2172937"/>
                  <a:pt x="4002083" y="2172937"/>
                </a:cubicBezTo>
                <a:cubicBezTo>
                  <a:pt x="4038077" y="2172937"/>
                  <a:pt x="4071822" y="2159412"/>
                  <a:pt x="4094318" y="2136869"/>
                </a:cubicBezTo>
                <a:cubicBezTo>
                  <a:pt x="4130312" y="2103055"/>
                  <a:pt x="4139311" y="2053462"/>
                  <a:pt x="4139311" y="2006123"/>
                </a:cubicBezTo>
                <a:cubicBezTo>
                  <a:pt x="4139311" y="2006123"/>
                  <a:pt x="4139311" y="2006123"/>
                  <a:pt x="4002083" y="2006123"/>
                </a:cubicBezTo>
                <a:cubicBezTo>
                  <a:pt x="4002083" y="2006123"/>
                  <a:pt x="4002083" y="2006123"/>
                  <a:pt x="4002083" y="1947512"/>
                </a:cubicBezTo>
                <a:cubicBezTo>
                  <a:pt x="4002083" y="1947512"/>
                  <a:pt x="4002083" y="1947512"/>
                  <a:pt x="4197801" y="1947512"/>
                </a:cubicBezTo>
                <a:cubicBezTo>
                  <a:pt x="4197801" y="1947512"/>
                  <a:pt x="4197801" y="1947512"/>
                  <a:pt x="4197801" y="2222531"/>
                </a:cubicBezTo>
                <a:lnTo>
                  <a:pt x="4152808" y="2222531"/>
                </a:lnTo>
                <a:cubicBezTo>
                  <a:pt x="4152808" y="2222531"/>
                  <a:pt x="4152808" y="2222531"/>
                  <a:pt x="4141560" y="2161666"/>
                </a:cubicBezTo>
                <a:cubicBezTo>
                  <a:pt x="4116814" y="2204497"/>
                  <a:pt x="4060574" y="2233802"/>
                  <a:pt x="4002083" y="2233802"/>
                </a:cubicBezTo>
                <a:cubicBezTo>
                  <a:pt x="3950342" y="2233802"/>
                  <a:pt x="3900850" y="2215768"/>
                  <a:pt x="3864856" y="2179700"/>
                </a:cubicBezTo>
                <a:cubicBezTo>
                  <a:pt x="3813115" y="2130106"/>
                  <a:pt x="3797367" y="2057970"/>
                  <a:pt x="3797367" y="1967800"/>
                </a:cubicBezTo>
                <a:cubicBezTo>
                  <a:pt x="3797367" y="1884393"/>
                  <a:pt x="3808616" y="1810003"/>
                  <a:pt x="3864856" y="1755901"/>
                </a:cubicBezTo>
                <a:cubicBezTo>
                  <a:pt x="3900850" y="1719833"/>
                  <a:pt x="3950342" y="1701799"/>
                  <a:pt x="4002083" y="1701799"/>
                </a:cubicBezTo>
                <a:close/>
                <a:moveTo>
                  <a:pt x="1642228" y="1701799"/>
                </a:moveTo>
                <a:cubicBezTo>
                  <a:pt x="1691719" y="1701799"/>
                  <a:pt x="1741211" y="1717579"/>
                  <a:pt x="1774955" y="1749138"/>
                </a:cubicBezTo>
                <a:cubicBezTo>
                  <a:pt x="1806450" y="1780698"/>
                  <a:pt x="1822198" y="1816766"/>
                  <a:pt x="1824447" y="1859597"/>
                </a:cubicBezTo>
                <a:cubicBezTo>
                  <a:pt x="1824447" y="1859597"/>
                  <a:pt x="1824447" y="1859597"/>
                  <a:pt x="1756958" y="1859597"/>
                </a:cubicBezTo>
                <a:cubicBezTo>
                  <a:pt x="1754708" y="1834800"/>
                  <a:pt x="1745710" y="1812257"/>
                  <a:pt x="1732212" y="1796478"/>
                </a:cubicBezTo>
                <a:cubicBezTo>
                  <a:pt x="1711966" y="1773935"/>
                  <a:pt x="1680471" y="1760410"/>
                  <a:pt x="1639978" y="1760410"/>
                </a:cubicBezTo>
                <a:cubicBezTo>
                  <a:pt x="1603983" y="1760410"/>
                  <a:pt x="1572489" y="1769427"/>
                  <a:pt x="1549993" y="1796478"/>
                </a:cubicBezTo>
                <a:cubicBezTo>
                  <a:pt x="1536494" y="1810003"/>
                  <a:pt x="1529746" y="1828037"/>
                  <a:pt x="1529746" y="1850580"/>
                </a:cubicBezTo>
                <a:cubicBezTo>
                  <a:pt x="1529746" y="1897919"/>
                  <a:pt x="1567989" y="1918207"/>
                  <a:pt x="1606234" y="1922716"/>
                </a:cubicBezTo>
                <a:cubicBezTo>
                  <a:pt x="1635478" y="1927224"/>
                  <a:pt x="1662474" y="1931733"/>
                  <a:pt x="1691719" y="1936241"/>
                </a:cubicBezTo>
                <a:cubicBezTo>
                  <a:pt x="1774955" y="1949767"/>
                  <a:pt x="1833445" y="2001614"/>
                  <a:pt x="1833445" y="2082767"/>
                </a:cubicBezTo>
                <a:cubicBezTo>
                  <a:pt x="1833445" y="2125598"/>
                  <a:pt x="1815448" y="2157157"/>
                  <a:pt x="1790703" y="2181954"/>
                </a:cubicBezTo>
                <a:cubicBezTo>
                  <a:pt x="1754708" y="2215768"/>
                  <a:pt x="1698468" y="2231547"/>
                  <a:pt x="1644477" y="2231547"/>
                </a:cubicBezTo>
                <a:cubicBezTo>
                  <a:pt x="1581488" y="2231547"/>
                  <a:pt x="1531996" y="2215768"/>
                  <a:pt x="1498251" y="2184208"/>
                </a:cubicBezTo>
                <a:cubicBezTo>
                  <a:pt x="1466757" y="2152649"/>
                  <a:pt x="1444260" y="2109818"/>
                  <a:pt x="1444260" y="2060225"/>
                </a:cubicBezTo>
                <a:cubicBezTo>
                  <a:pt x="1444260" y="2060225"/>
                  <a:pt x="1444260" y="2060225"/>
                  <a:pt x="1509499" y="2060225"/>
                </a:cubicBezTo>
                <a:cubicBezTo>
                  <a:pt x="1509499" y="2091784"/>
                  <a:pt x="1525247" y="2121089"/>
                  <a:pt x="1545494" y="2141378"/>
                </a:cubicBezTo>
                <a:cubicBezTo>
                  <a:pt x="1570239" y="2163920"/>
                  <a:pt x="1608483" y="2172937"/>
                  <a:pt x="1644477" y="2172937"/>
                </a:cubicBezTo>
                <a:cubicBezTo>
                  <a:pt x="1682720" y="2172937"/>
                  <a:pt x="1716465" y="2166174"/>
                  <a:pt x="1738962" y="2143632"/>
                </a:cubicBezTo>
                <a:cubicBezTo>
                  <a:pt x="1754708" y="2130106"/>
                  <a:pt x="1765956" y="2109818"/>
                  <a:pt x="1765956" y="2082767"/>
                </a:cubicBezTo>
                <a:cubicBezTo>
                  <a:pt x="1765956" y="2044445"/>
                  <a:pt x="1741211" y="2010631"/>
                  <a:pt x="1680471" y="2001614"/>
                </a:cubicBezTo>
                <a:cubicBezTo>
                  <a:pt x="1680471" y="2001614"/>
                  <a:pt x="1680471" y="2001614"/>
                  <a:pt x="1599484" y="1988089"/>
                </a:cubicBezTo>
                <a:cubicBezTo>
                  <a:pt x="1522997" y="1976817"/>
                  <a:pt x="1462257" y="1933987"/>
                  <a:pt x="1462257" y="1852834"/>
                </a:cubicBezTo>
                <a:cubicBezTo>
                  <a:pt x="1462257" y="1814512"/>
                  <a:pt x="1480254" y="1778444"/>
                  <a:pt x="1507249" y="1751393"/>
                </a:cubicBezTo>
                <a:cubicBezTo>
                  <a:pt x="1543244" y="1717579"/>
                  <a:pt x="1588236" y="1701799"/>
                  <a:pt x="1642228" y="1701799"/>
                </a:cubicBezTo>
                <a:close/>
                <a:moveTo>
                  <a:pt x="654642" y="1701799"/>
                </a:moveTo>
                <a:cubicBezTo>
                  <a:pt x="704133" y="1701799"/>
                  <a:pt x="755874" y="1719833"/>
                  <a:pt x="791868" y="1755901"/>
                </a:cubicBezTo>
                <a:cubicBezTo>
                  <a:pt x="848110" y="1810003"/>
                  <a:pt x="857108" y="1884393"/>
                  <a:pt x="857108" y="1967800"/>
                </a:cubicBezTo>
                <a:cubicBezTo>
                  <a:pt x="857108" y="2048953"/>
                  <a:pt x="848110" y="2123344"/>
                  <a:pt x="791868" y="2177446"/>
                </a:cubicBezTo>
                <a:cubicBezTo>
                  <a:pt x="755874" y="2213514"/>
                  <a:pt x="704133" y="2233802"/>
                  <a:pt x="654642" y="2233802"/>
                </a:cubicBezTo>
                <a:cubicBezTo>
                  <a:pt x="602900" y="2233802"/>
                  <a:pt x="553408" y="2213514"/>
                  <a:pt x="515164" y="2177446"/>
                </a:cubicBezTo>
                <a:cubicBezTo>
                  <a:pt x="461173" y="2123344"/>
                  <a:pt x="449925" y="2048953"/>
                  <a:pt x="449925" y="1967800"/>
                </a:cubicBezTo>
                <a:cubicBezTo>
                  <a:pt x="449925" y="1884393"/>
                  <a:pt x="461173" y="1810003"/>
                  <a:pt x="515164" y="1755901"/>
                </a:cubicBezTo>
                <a:cubicBezTo>
                  <a:pt x="553408" y="1719833"/>
                  <a:pt x="602900" y="1701799"/>
                  <a:pt x="654642" y="1701799"/>
                </a:cubicBezTo>
                <a:close/>
                <a:moveTo>
                  <a:pt x="202466" y="1701799"/>
                </a:moveTo>
                <a:cubicBezTo>
                  <a:pt x="258707" y="1701799"/>
                  <a:pt x="308199" y="1722087"/>
                  <a:pt x="339693" y="1753647"/>
                </a:cubicBezTo>
                <a:cubicBezTo>
                  <a:pt x="368939" y="1782952"/>
                  <a:pt x="386936" y="1823529"/>
                  <a:pt x="389185" y="1870868"/>
                </a:cubicBezTo>
                <a:cubicBezTo>
                  <a:pt x="389185" y="1870868"/>
                  <a:pt x="389185" y="1870868"/>
                  <a:pt x="323946" y="1870868"/>
                </a:cubicBezTo>
                <a:cubicBezTo>
                  <a:pt x="321697" y="1841563"/>
                  <a:pt x="312698" y="1819020"/>
                  <a:pt x="294701" y="1798732"/>
                </a:cubicBezTo>
                <a:cubicBezTo>
                  <a:pt x="274454" y="1776189"/>
                  <a:pt x="240710" y="1762664"/>
                  <a:pt x="202466" y="1762664"/>
                </a:cubicBezTo>
                <a:cubicBezTo>
                  <a:pt x="168722" y="1762664"/>
                  <a:pt x="134978" y="1776189"/>
                  <a:pt x="110232" y="1800986"/>
                </a:cubicBezTo>
                <a:cubicBezTo>
                  <a:pt x="67489" y="1843817"/>
                  <a:pt x="67489" y="1913699"/>
                  <a:pt x="67489" y="1967800"/>
                </a:cubicBezTo>
                <a:cubicBezTo>
                  <a:pt x="67489" y="2019648"/>
                  <a:pt x="67489" y="2089530"/>
                  <a:pt x="110232" y="2132361"/>
                </a:cubicBezTo>
                <a:cubicBezTo>
                  <a:pt x="134978" y="2159412"/>
                  <a:pt x="168722" y="2172937"/>
                  <a:pt x="202466" y="2172937"/>
                </a:cubicBezTo>
                <a:cubicBezTo>
                  <a:pt x="240710" y="2172937"/>
                  <a:pt x="276704" y="2154903"/>
                  <a:pt x="296951" y="2132361"/>
                </a:cubicBezTo>
                <a:cubicBezTo>
                  <a:pt x="312698" y="2114327"/>
                  <a:pt x="323946" y="2087276"/>
                  <a:pt x="323946" y="2060225"/>
                </a:cubicBezTo>
                <a:cubicBezTo>
                  <a:pt x="323946" y="2060225"/>
                  <a:pt x="323946" y="2060225"/>
                  <a:pt x="391435" y="2060225"/>
                </a:cubicBezTo>
                <a:cubicBezTo>
                  <a:pt x="389185" y="2107564"/>
                  <a:pt x="368939" y="2148140"/>
                  <a:pt x="339693" y="2177446"/>
                </a:cubicBezTo>
                <a:cubicBezTo>
                  <a:pt x="308199" y="2209005"/>
                  <a:pt x="258707" y="2233802"/>
                  <a:pt x="202466" y="2233802"/>
                </a:cubicBezTo>
                <a:cubicBezTo>
                  <a:pt x="150725" y="2233802"/>
                  <a:pt x="101233" y="2213514"/>
                  <a:pt x="65239" y="2177446"/>
                </a:cubicBezTo>
                <a:cubicBezTo>
                  <a:pt x="8999" y="2123344"/>
                  <a:pt x="0" y="2048953"/>
                  <a:pt x="0" y="1967800"/>
                </a:cubicBezTo>
                <a:cubicBezTo>
                  <a:pt x="0" y="1884393"/>
                  <a:pt x="8999" y="1810003"/>
                  <a:pt x="65239" y="1755901"/>
                </a:cubicBezTo>
                <a:cubicBezTo>
                  <a:pt x="101233" y="1719833"/>
                  <a:pt x="150725" y="1701799"/>
                  <a:pt x="202466" y="1701799"/>
                </a:cubicBezTo>
                <a:close/>
                <a:moveTo>
                  <a:pt x="2227389" y="214047"/>
                </a:moveTo>
                <a:cubicBezTo>
                  <a:pt x="2227389" y="214047"/>
                  <a:pt x="2227389" y="214047"/>
                  <a:pt x="2227389" y="574548"/>
                </a:cubicBezTo>
                <a:cubicBezTo>
                  <a:pt x="2227389" y="574548"/>
                  <a:pt x="2227389" y="574548"/>
                  <a:pt x="2456649" y="574548"/>
                </a:cubicBezTo>
                <a:cubicBezTo>
                  <a:pt x="2584765" y="574548"/>
                  <a:pt x="2654442" y="509207"/>
                  <a:pt x="2654442" y="394298"/>
                </a:cubicBezTo>
                <a:cubicBezTo>
                  <a:pt x="2654442" y="277135"/>
                  <a:pt x="2584765" y="214047"/>
                  <a:pt x="2456649" y="214047"/>
                </a:cubicBezTo>
                <a:cubicBezTo>
                  <a:pt x="2456649" y="214047"/>
                  <a:pt x="2456649" y="214047"/>
                  <a:pt x="2227389" y="214047"/>
                </a:cubicBezTo>
                <a:close/>
                <a:moveTo>
                  <a:pt x="8961436" y="0"/>
                </a:moveTo>
                <a:lnTo>
                  <a:pt x="9905999" y="0"/>
                </a:lnTo>
                <a:lnTo>
                  <a:pt x="9905999" y="225425"/>
                </a:lnTo>
                <a:lnTo>
                  <a:pt x="9555161" y="225425"/>
                </a:lnTo>
                <a:lnTo>
                  <a:pt x="9555161" y="1214437"/>
                </a:lnTo>
                <a:lnTo>
                  <a:pt x="9315449" y="1214437"/>
                </a:lnTo>
                <a:lnTo>
                  <a:pt x="9315449" y="225425"/>
                </a:lnTo>
                <a:lnTo>
                  <a:pt x="8961436" y="225425"/>
                </a:lnTo>
                <a:close/>
                <a:moveTo>
                  <a:pt x="7785099" y="0"/>
                </a:moveTo>
                <a:lnTo>
                  <a:pt x="8035924" y="0"/>
                </a:lnTo>
                <a:lnTo>
                  <a:pt x="8037512" y="3175"/>
                </a:lnTo>
                <a:lnTo>
                  <a:pt x="8523286" y="774700"/>
                </a:lnTo>
                <a:lnTo>
                  <a:pt x="8523286" y="0"/>
                </a:lnTo>
                <a:lnTo>
                  <a:pt x="8759824" y="0"/>
                </a:lnTo>
                <a:lnTo>
                  <a:pt x="8759824" y="1214437"/>
                </a:lnTo>
                <a:lnTo>
                  <a:pt x="8518524" y="1214437"/>
                </a:lnTo>
                <a:lnTo>
                  <a:pt x="8024812" y="425450"/>
                </a:lnTo>
                <a:lnTo>
                  <a:pt x="8024812" y="1214437"/>
                </a:lnTo>
                <a:lnTo>
                  <a:pt x="7785099" y="1214437"/>
                </a:lnTo>
                <a:close/>
                <a:moveTo>
                  <a:pt x="6665911" y="0"/>
                </a:moveTo>
                <a:lnTo>
                  <a:pt x="7535861" y="0"/>
                </a:lnTo>
                <a:lnTo>
                  <a:pt x="7535861" y="220663"/>
                </a:lnTo>
                <a:lnTo>
                  <a:pt x="6905624" y="220663"/>
                </a:lnTo>
                <a:lnTo>
                  <a:pt x="6905624" y="473075"/>
                </a:lnTo>
                <a:lnTo>
                  <a:pt x="7459661" y="473075"/>
                </a:lnTo>
                <a:lnTo>
                  <a:pt x="7459661" y="690562"/>
                </a:lnTo>
                <a:lnTo>
                  <a:pt x="6905624" y="690562"/>
                </a:lnTo>
                <a:lnTo>
                  <a:pt x="6905624" y="993775"/>
                </a:lnTo>
                <a:lnTo>
                  <a:pt x="7535861" y="993775"/>
                </a:lnTo>
                <a:lnTo>
                  <a:pt x="7535861" y="1214437"/>
                </a:lnTo>
                <a:lnTo>
                  <a:pt x="6665911" y="1214437"/>
                </a:lnTo>
                <a:close/>
                <a:moveTo>
                  <a:pt x="5221286" y="0"/>
                </a:moveTo>
                <a:lnTo>
                  <a:pt x="5534024" y="0"/>
                </a:lnTo>
                <a:lnTo>
                  <a:pt x="5835649" y="823912"/>
                </a:lnTo>
                <a:lnTo>
                  <a:pt x="6142037" y="0"/>
                </a:lnTo>
                <a:lnTo>
                  <a:pt x="6438899" y="0"/>
                </a:lnTo>
                <a:lnTo>
                  <a:pt x="6438899" y="1214437"/>
                </a:lnTo>
                <a:lnTo>
                  <a:pt x="6203949" y="1214437"/>
                </a:lnTo>
                <a:lnTo>
                  <a:pt x="6203949" y="419100"/>
                </a:lnTo>
                <a:lnTo>
                  <a:pt x="5916612" y="1196975"/>
                </a:lnTo>
                <a:lnTo>
                  <a:pt x="5740399" y="1196975"/>
                </a:lnTo>
                <a:lnTo>
                  <a:pt x="5454649" y="409575"/>
                </a:lnTo>
                <a:lnTo>
                  <a:pt x="5454649" y="1214437"/>
                </a:lnTo>
                <a:lnTo>
                  <a:pt x="5221286" y="1214437"/>
                </a:lnTo>
                <a:close/>
                <a:moveTo>
                  <a:pt x="4098924" y="0"/>
                </a:moveTo>
                <a:lnTo>
                  <a:pt x="4968874" y="0"/>
                </a:lnTo>
                <a:lnTo>
                  <a:pt x="4968874" y="220663"/>
                </a:lnTo>
                <a:lnTo>
                  <a:pt x="4340224" y="220663"/>
                </a:lnTo>
                <a:lnTo>
                  <a:pt x="4340224" y="473075"/>
                </a:lnTo>
                <a:lnTo>
                  <a:pt x="4895849" y="473075"/>
                </a:lnTo>
                <a:lnTo>
                  <a:pt x="4895849" y="690562"/>
                </a:lnTo>
                <a:lnTo>
                  <a:pt x="4340224" y="690562"/>
                </a:lnTo>
                <a:lnTo>
                  <a:pt x="4340224" y="993775"/>
                </a:lnTo>
                <a:lnTo>
                  <a:pt x="4968874" y="993775"/>
                </a:lnTo>
                <a:lnTo>
                  <a:pt x="4968874" y="1214437"/>
                </a:lnTo>
                <a:lnTo>
                  <a:pt x="4098924" y="1214437"/>
                </a:lnTo>
                <a:close/>
                <a:moveTo>
                  <a:pt x="3079749" y="0"/>
                </a:moveTo>
                <a:lnTo>
                  <a:pt x="3321049" y="0"/>
                </a:lnTo>
                <a:lnTo>
                  <a:pt x="3321049" y="984250"/>
                </a:lnTo>
                <a:lnTo>
                  <a:pt x="3871912" y="984250"/>
                </a:lnTo>
                <a:lnTo>
                  <a:pt x="3871912" y="1214437"/>
                </a:lnTo>
                <a:lnTo>
                  <a:pt x="3079749" y="1214437"/>
                </a:lnTo>
                <a:close/>
                <a:moveTo>
                  <a:pt x="1989138" y="0"/>
                </a:moveTo>
                <a:cubicBezTo>
                  <a:pt x="1989138" y="0"/>
                  <a:pt x="1989138" y="0"/>
                  <a:pt x="2465639" y="0"/>
                </a:cubicBezTo>
                <a:cubicBezTo>
                  <a:pt x="2735357" y="0"/>
                  <a:pt x="2897188" y="146454"/>
                  <a:pt x="2897188" y="392045"/>
                </a:cubicBezTo>
                <a:cubicBezTo>
                  <a:pt x="2897188" y="639889"/>
                  <a:pt x="2735357" y="786342"/>
                  <a:pt x="2465639" y="786342"/>
                </a:cubicBezTo>
                <a:cubicBezTo>
                  <a:pt x="2465639" y="786342"/>
                  <a:pt x="2465639" y="786342"/>
                  <a:pt x="2227389" y="786342"/>
                </a:cubicBezTo>
                <a:cubicBezTo>
                  <a:pt x="2227389" y="786342"/>
                  <a:pt x="2227389" y="786342"/>
                  <a:pt x="2227389" y="1214437"/>
                </a:cubicBezTo>
                <a:cubicBezTo>
                  <a:pt x="2227389" y="1214437"/>
                  <a:pt x="2227389" y="1214437"/>
                  <a:pt x="1989138" y="1214437"/>
                </a:cubicBezTo>
                <a:cubicBezTo>
                  <a:pt x="1989138" y="1214437"/>
                  <a:pt x="1989138" y="1214437"/>
                  <a:pt x="1989138" y="0"/>
                </a:cubicBezTo>
                <a:close/>
                <a:moveTo>
                  <a:pt x="520699" y="0"/>
                </a:moveTo>
                <a:lnTo>
                  <a:pt x="833436" y="0"/>
                </a:lnTo>
                <a:lnTo>
                  <a:pt x="1135061" y="823912"/>
                </a:lnTo>
                <a:lnTo>
                  <a:pt x="1439862" y="0"/>
                </a:lnTo>
                <a:lnTo>
                  <a:pt x="1736724" y="0"/>
                </a:lnTo>
                <a:lnTo>
                  <a:pt x="1736724" y="1214437"/>
                </a:lnTo>
                <a:lnTo>
                  <a:pt x="1503362" y="1214437"/>
                </a:lnTo>
                <a:lnTo>
                  <a:pt x="1503362" y="419100"/>
                </a:lnTo>
                <a:lnTo>
                  <a:pt x="1216024" y="1196975"/>
                </a:lnTo>
                <a:lnTo>
                  <a:pt x="1039812" y="1196975"/>
                </a:lnTo>
                <a:lnTo>
                  <a:pt x="754062" y="409575"/>
                </a:lnTo>
                <a:lnTo>
                  <a:pt x="754062" y="1214437"/>
                </a:lnTo>
                <a:lnTo>
                  <a:pt x="520699" y="1214437"/>
                </a:lnTo>
                <a:close/>
                <a:moveTo>
                  <a:pt x="25400" y="0"/>
                </a:moveTo>
                <a:lnTo>
                  <a:pt x="268288" y="0"/>
                </a:lnTo>
                <a:lnTo>
                  <a:pt x="268288" y="1214437"/>
                </a:lnTo>
                <a:lnTo>
                  <a:pt x="25400" y="121443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GB" dirty="0"/>
              <a:t> </a:t>
            </a:r>
          </a:p>
        </p:txBody>
      </p:sp>
      <p:sp>
        <p:nvSpPr>
          <p:cNvPr id="14" name="Date_GeneralDate" hidden="1">
            <a:extLst>
              <a:ext uri="{FF2B5EF4-FFF2-40B4-BE49-F238E27FC236}">
                <a16:creationId xmlns:a16="http://schemas.microsoft.com/office/drawing/2014/main" id="{55525B1C-6481-4457-B735-0C98074326A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4438EF80-A956-4E54-A62F-2B235644D3EB}" type="datetime1">
              <a:rPr lang="en-US" smtClean="0"/>
              <a:t>2/25/2022</a:t>
            </a:fld>
            <a:endParaRPr lang="en-GB" dirty="0"/>
          </a:p>
        </p:txBody>
      </p:sp>
      <p:sp>
        <p:nvSpPr>
          <p:cNvPr id="15" name="FLD_PresentationTitle" hidden="1">
            <a:extLst>
              <a:ext uri="{FF2B5EF4-FFF2-40B4-BE49-F238E27FC236}">
                <a16:creationId xmlns:a16="http://schemas.microsoft.com/office/drawing/2014/main" id="{E36D8C65-C021-4FD2-B069-8166D08EEA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 anchor="t" anchorCtr="0"/>
          <a:lstStyle>
            <a:lvl1pPr algn="l">
              <a:defRPr sz="100">
                <a:noFill/>
              </a:defRPr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20" name="Slide Number Placeholder 5" hidden="1">
            <a:extLst>
              <a:ext uri="{FF2B5EF4-FFF2-40B4-BE49-F238E27FC236}">
                <a16:creationId xmlns:a16="http://schemas.microsoft.com/office/drawing/2014/main" id="{C7761D58-7419-42EE-B8DE-E33E494380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anchor="t" anchorCtr="0"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678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_GeneralDate" hidden="1">
            <a:extLst>
              <a:ext uri="{FF2B5EF4-FFF2-40B4-BE49-F238E27FC236}">
                <a16:creationId xmlns:a16="http://schemas.microsoft.com/office/drawing/2014/main" id="{23350E22-3120-4C9B-920B-CE4162372EA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BBFB4DBE-D07C-489B-8B4D-FD1318588B3E}" type="datetime1">
              <a:rPr lang="en-US" smtClean="0"/>
              <a:t>2/25/2022</a:t>
            </a:fld>
            <a:endParaRPr lang="en-GB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F746A38-ADBE-4B99-A0FF-A026AF761359}"/>
              </a:ext>
            </a:extLst>
          </p:cNvPr>
          <p:cNvSpPr/>
          <p:nvPr userDrawn="1"/>
        </p:nvSpPr>
        <p:spPr>
          <a:xfrm>
            <a:off x="0" y="0"/>
            <a:ext cx="3276600" cy="6858000"/>
          </a:xfrm>
          <a:prstGeom prst="rect">
            <a:avLst/>
          </a:prstGeom>
          <a:solidFill>
            <a:srgbClr val="8AA29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endParaRPr lang="en-GB" sz="1100" noProof="0" dirty="0" err="1">
              <a:solidFill>
                <a:srgbClr val="2F363B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DD6108D-EB2B-49D1-BF3F-6212EF679FC6}"/>
              </a:ext>
            </a:extLst>
          </p:cNvPr>
          <p:cNvSpPr/>
          <p:nvPr userDrawn="1"/>
        </p:nvSpPr>
        <p:spPr>
          <a:xfrm>
            <a:off x="0" y="1397000"/>
            <a:ext cx="8510016" cy="5461000"/>
          </a:xfrm>
          <a:prstGeom prst="rect">
            <a:avLst/>
          </a:prstGeom>
          <a:solidFill>
            <a:srgbClr val="F3F2F0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1000" noProof="0" dirty="0">
              <a:solidFill>
                <a:srgbClr val="1F2023"/>
              </a:solidFill>
            </a:endParaRPr>
          </a:p>
        </p:txBody>
      </p:sp>
      <p:sp>
        <p:nvSpPr>
          <p:cNvPr id="16" name="object 5">
            <a:extLst>
              <a:ext uri="{FF2B5EF4-FFF2-40B4-BE49-F238E27FC236}">
                <a16:creationId xmlns:a16="http://schemas.microsoft.com/office/drawing/2014/main" id="{51ABF881-B85C-4C84-B59E-DABB5EF2BB04}"/>
              </a:ext>
            </a:extLst>
          </p:cNvPr>
          <p:cNvSpPr txBox="1">
            <a:spLocks/>
          </p:cNvSpPr>
          <p:nvPr userDrawn="1"/>
        </p:nvSpPr>
        <p:spPr>
          <a:xfrm>
            <a:off x="843921" y="1963932"/>
            <a:ext cx="4178177" cy="1016327"/>
          </a:xfrm>
          <a:prstGeom prst="rect">
            <a:avLst/>
          </a:prstGeom>
        </p:spPr>
        <p:txBody>
          <a:bodyPr vert="horz" wrap="square" lIns="0" tIns="11516" rIns="0" bIns="0" rtlCol="0">
            <a:spAutoFit/>
          </a:bodyPr>
          <a:lstStyle>
            <a:lvl1pPr>
              <a:defRPr sz="9000" b="0" i="0">
                <a:solidFill>
                  <a:srgbClr val="231E21"/>
                </a:solidFill>
                <a:latin typeface="Arial Regular"/>
                <a:ea typeface="+mj-ea"/>
                <a:cs typeface="Arial Regular"/>
              </a:defRPr>
            </a:lvl1pPr>
          </a:lstStyle>
          <a:p>
            <a:pPr marL="11516">
              <a:spcBef>
                <a:spcPts val="91"/>
              </a:spcBef>
            </a:pPr>
            <a:endParaRPr lang="en-GB" sz="7254" kern="0" dirty="0">
              <a:latin typeface="Impact" panose="020B0806030902050204" pitchFamily="34" charset="0"/>
              <a:ea typeface="Grotzec More Condensed" charset="0"/>
              <a:cs typeface="Grotzec More Condensed" charset="0"/>
            </a:endParaRPr>
          </a:p>
        </p:txBody>
      </p:sp>
      <p:sp>
        <p:nvSpPr>
          <p:cNvPr id="19" name="object 9">
            <a:extLst>
              <a:ext uri="{FF2B5EF4-FFF2-40B4-BE49-F238E27FC236}">
                <a16:creationId xmlns:a16="http://schemas.microsoft.com/office/drawing/2014/main" id="{EB533D22-278D-4D48-8B21-DB708D705C81}"/>
              </a:ext>
            </a:extLst>
          </p:cNvPr>
          <p:cNvSpPr txBox="1"/>
          <p:nvPr/>
        </p:nvSpPr>
        <p:spPr>
          <a:xfrm>
            <a:off x="948280" y="3265354"/>
            <a:ext cx="977258" cy="23984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GB" sz="1632" b="1" spc="41" dirty="0">
                <a:solidFill>
                  <a:srgbClr val="30373B"/>
                </a:solidFill>
                <a:latin typeface="+mj-lt"/>
                <a:cs typeface="Trebuchet MS"/>
              </a:rPr>
              <a:t>Conta</a:t>
            </a:r>
            <a:r>
              <a:rPr lang="en-GB" sz="1632" b="1" spc="27" dirty="0">
                <a:solidFill>
                  <a:srgbClr val="30373B"/>
                </a:solidFill>
                <a:latin typeface="+mj-lt"/>
                <a:cs typeface="Trebuchet MS"/>
              </a:rPr>
              <a:t>c</a:t>
            </a:r>
            <a:r>
              <a:rPr lang="en-GB" sz="1632" b="1" spc="-23" dirty="0">
                <a:solidFill>
                  <a:srgbClr val="30373B"/>
                </a:solidFill>
                <a:latin typeface="+mj-lt"/>
                <a:cs typeface="Trebuchet MS"/>
              </a:rPr>
              <a:t>t</a:t>
            </a:r>
            <a:endParaRPr lang="en-GB" sz="1632" b="1" dirty="0">
              <a:solidFill>
                <a:srgbClr val="30373B"/>
              </a:solidFill>
              <a:latin typeface="+mj-lt"/>
              <a:cs typeface="Trebuchet MS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C18D7EB-A920-491A-A8EB-D7FAD4435608}"/>
              </a:ext>
            </a:extLst>
          </p:cNvPr>
          <p:cNvCxnSpPr>
            <a:cxnSpLocks/>
          </p:cNvCxnSpPr>
          <p:nvPr/>
        </p:nvCxnSpPr>
        <p:spPr>
          <a:xfrm>
            <a:off x="2143448" y="3284404"/>
            <a:ext cx="0" cy="668732"/>
          </a:xfrm>
          <a:prstGeom prst="line">
            <a:avLst/>
          </a:prstGeom>
          <a:ln w="6350">
            <a:solidFill>
              <a:schemeClr val="bg1">
                <a:lumMod val="8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itle 1">
            <a:extLst>
              <a:ext uri="{FF2B5EF4-FFF2-40B4-BE49-F238E27FC236}">
                <a16:creationId xmlns:a16="http://schemas.microsoft.com/office/drawing/2014/main" id="{753CC225-3E09-4B00-B858-336FCB07C3F3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916856" y="2125769"/>
            <a:ext cx="4818062" cy="867598"/>
          </a:xfrm>
          <a:noFill/>
        </p:spPr>
        <p:txBody>
          <a:bodyPr lIns="0" tIns="0" rIns="0"/>
          <a:lstStyle>
            <a:lvl1pPr>
              <a:defRPr sz="7200" cap="all" baseline="0">
                <a:solidFill>
                  <a:srgbClr val="30373B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Thank you</a:t>
            </a:r>
          </a:p>
        </p:txBody>
      </p:sp>
      <p:sp>
        <p:nvSpPr>
          <p:cNvPr id="25" name="Text Placeholder 13">
            <a:extLst>
              <a:ext uri="{FF2B5EF4-FFF2-40B4-BE49-F238E27FC236}">
                <a16:creationId xmlns:a16="http://schemas.microsoft.com/office/drawing/2014/main" id="{AD493141-6163-4B9F-BB64-266DC978A3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76475" y="3350048"/>
            <a:ext cx="4551577" cy="555412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100">
                <a:solidFill>
                  <a:srgbClr val="30373B"/>
                </a:solidFill>
              </a:defRPr>
            </a:lvl1pPr>
          </a:lstStyle>
          <a:p>
            <a:pPr lvl="0"/>
            <a:r>
              <a:rPr lang="en-GB" dirty="0"/>
              <a:t>Name</a:t>
            </a:r>
          </a:p>
          <a:p>
            <a:pPr lvl="0"/>
            <a:r>
              <a:rPr lang="en-GB" dirty="0"/>
              <a:t>Phone</a:t>
            </a:r>
          </a:p>
          <a:p>
            <a:pPr lvl="0"/>
            <a:r>
              <a:rPr lang="en-GB" dirty="0"/>
              <a:t>Email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D627D054-E733-4AF4-96A8-BC1F94E35A96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auto">
          <a:xfrm rot="5400000">
            <a:off x="8861146" y="788544"/>
            <a:ext cx="1258889" cy="287891"/>
          </a:xfrm>
          <a:custGeom>
            <a:avLst/>
            <a:gdLst>
              <a:gd name="connsiteX0" fmla="*/ 6778122 w 9905999"/>
              <a:gd name="connsiteY0" fmla="*/ 2222531 h 2265361"/>
              <a:gd name="connsiteX1" fmla="*/ 7135812 w 9905999"/>
              <a:gd name="connsiteY1" fmla="*/ 2222531 h 2265361"/>
              <a:gd name="connsiteX2" fmla="*/ 7135812 w 9905999"/>
              <a:gd name="connsiteY2" fmla="*/ 2265361 h 2265361"/>
              <a:gd name="connsiteX3" fmla="*/ 6778122 w 9905999"/>
              <a:gd name="connsiteY3" fmla="*/ 2265361 h 2265361"/>
              <a:gd name="connsiteX4" fmla="*/ 6778122 w 9905999"/>
              <a:gd name="connsiteY4" fmla="*/ 2222531 h 2265361"/>
              <a:gd name="connsiteX5" fmla="*/ 6449676 w 9905999"/>
              <a:gd name="connsiteY5" fmla="*/ 1769427 h 2265361"/>
              <a:gd name="connsiteX6" fmla="*/ 6449676 w 9905999"/>
              <a:gd name="connsiteY6" fmla="*/ 1965546 h 2265361"/>
              <a:gd name="connsiteX7" fmla="*/ 6575655 w 9905999"/>
              <a:gd name="connsiteY7" fmla="*/ 1965546 h 2265361"/>
              <a:gd name="connsiteX8" fmla="*/ 6679138 w 9905999"/>
              <a:gd name="connsiteY8" fmla="*/ 1864105 h 2265361"/>
              <a:gd name="connsiteX9" fmla="*/ 6575655 w 9905999"/>
              <a:gd name="connsiteY9" fmla="*/ 1769427 h 2265361"/>
              <a:gd name="connsiteX10" fmla="*/ 6449676 w 9905999"/>
              <a:gd name="connsiteY10" fmla="*/ 1769427 h 2265361"/>
              <a:gd name="connsiteX11" fmla="*/ 5021164 w 9905999"/>
              <a:gd name="connsiteY11" fmla="*/ 1769427 h 2265361"/>
              <a:gd name="connsiteX12" fmla="*/ 5021164 w 9905999"/>
              <a:gd name="connsiteY12" fmla="*/ 1949767 h 2265361"/>
              <a:gd name="connsiteX13" fmla="*/ 5158391 w 9905999"/>
              <a:gd name="connsiteY13" fmla="*/ 1949767 h 2265361"/>
              <a:gd name="connsiteX14" fmla="*/ 5261874 w 9905999"/>
              <a:gd name="connsiteY14" fmla="*/ 1859597 h 2265361"/>
              <a:gd name="connsiteX15" fmla="*/ 5158391 w 9905999"/>
              <a:gd name="connsiteY15" fmla="*/ 1769427 h 2265361"/>
              <a:gd name="connsiteX16" fmla="*/ 5021164 w 9905999"/>
              <a:gd name="connsiteY16" fmla="*/ 1769427 h 2265361"/>
              <a:gd name="connsiteX17" fmla="*/ 5597068 w 9905999"/>
              <a:gd name="connsiteY17" fmla="*/ 1762664 h 2265361"/>
              <a:gd name="connsiteX18" fmla="*/ 5504834 w 9905999"/>
              <a:gd name="connsiteY18" fmla="*/ 1800986 h 2265361"/>
              <a:gd name="connsiteX19" fmla="*/ 5459841 w 9905999"/>
              <a:gd name="connsiteY19" fmla="*/ 1967800 h 2265361"/>
              <a:gd name="connsiteX20" fmla="*/ 5504834 w 9905999"/>
              <a:gd name="connsiteY20" fmla="*/ 2132361 h 2265361"/>
              <a:gd name="connsiteX21" fmla="*/ 5597068 w 9905999"/>
              <a:gd name="connsiteY21" fmla="*/ 2170683 h 2265361"/>
              <a:gd name="connsiteX22" fmla="*/ 5691552 w 9905999"/>
              <a:gd name="connsiteY22" fmla="*/ 2132361 h 2265361"/>
              <a:gd name="connsiteX23" fmla="*/ 5734295 w 9905999"/>
              <a:gd name="connsiteY23" fmla="*/ 1967800 h 2265361"/>
              <a:gd name="connsiteX24" fmla="*/ 5691552 w 9905999"/>
              <a:gd name="connsiteY24" fmla="*/ 1800986 h 2265361"/>
              <a:gd name="connsiteX25" fmla="*/ 5597068 w 9905999"/>
              <a:gd name="connsiteY25" fmla="*/ 1762664 h 2265361"/>
              <a:gd name="connsiteX26" fmla="*/ 654642 w 9905999"/>
              <a:gd name="connsiteY26" fmla="*/ 1762664 h 2265361"/>
              <a:gd name="connsiteX27" fmla="*/ 560157 w 9905999"/>
              <a:gd name="connsiteY27" fmla="*/ 1800986 h 2265361"/>
              <a:gd name="connsiteX28" fmla="*/ 517414 w 9905999"/>
              <a:gd name="connsiteY28" fmla="*/ 1967800 h 2265361"/>
              <a:gd name="connsiteX29" fmla="*/ 560157 w 9905999"/>
              <a:gd name="connsiteY29" fmla="*/ 2132361 h 2265361"/>
              <a:gd name="connsiteX30" fmla="*/ 654642 w 9905999"/>
              <a:gd name="connsiteY30" fmla="*/ 2170683 h 2265361"/>
              <a:gd name="connsiteX31" fmla="*/ 746876 w 9905999"/>
              <a:gd name="connsiteY31" fmla="*/ 2132361 h 2265361"/>
              <a:gd name="connsiteX32" fmla="*/ 791868 w 9905999"/>
              <a:gd name="connsiteY32" fmla="*/ 1967800 h 2265361"/>
              <a:gd name="connsiteX33" fmla="*/ 746876 w 9905999"/>
              <a:gd name="connsiteY33" fmla="*/ 1800986 h 2265361"/>
              <a:gd name="connsiteX34" fmla="*/ 654642 w 9905999"/>
              <a:gd name="connsiteY34" fmla="*/ 1762664 h 2265361"/>
              <a:gd name="connsiteX35" fmla="*/ 6386687 w 9905999"/>
              <a:gd name="connsiteY35" fmla="*/ 1710816 h 2265361"/>
              <a:gd name="connsiteX36" fmla="*/ 6575655 w 9905999"/>
              <a:gd name="connsiteY36" fmla="*/ 1710816 h 2265361"/>
              <a:gd name="connsiteX37" fmla="*/ 6706134 w 9905999"/>
              <a:gd name="connsiteY37" fmla="*/ 1755901 h 2265361"/>
              <a:gd name="connsiteX38" fmla="*/ 6744377 w 9905999"/>
              <a:gd name="connsiteY38" fmla="*/ 1864105 h 2265361"/>
              <a:gd name="connsiteX39" fmla="*/ 6701634 w 9905999"/>
              <a:gd name="connsiteY39" fmla="*/ 1981326 h 2265361"/>
              <a:gd name="connsiteX40" fmla="*/ 6577905 w 9905999"/>
              <a:gd name="connsiteY40" fmla="*/ 2024157 h 2265361"/>
              <a:gd name="connsiteX41" fmla="*/ 6449676 w 9905999"/>
              <a:gd name="connsiteY41" fmla="*/ 2024157 h 2265361"/>
              <a:gd name="connsiteX42" fmla="*/ 6449676 w 9905999"/>
              <a:gd name="connsiteY42" fmla="*/ 2222531 h 2265361"/>
              <a:gd name="connsiteX43" fmla="*/ 6386687 w 9905999"/>
              <a:gd name="connsiteY43" fmla="*/ 2222531 h 2265361"/>
              <a:gd name="connsiteX44" fmla="*/ 6386687 w 9905999"/>
              <a:gd name="connsiteY44" fmla="*/ 1710816 h 2265361"/>
              <a:gd name="connsiteX45" fmla="*/ 5889520 w 9905999"/>
              <a:gd name="connsiteY45" fmla="*/ 1710816 h 2265361"/>
              <a:gd name="connsiteX46" fmla="*/ 5954759 w 9905999"/>
              <a:gd name="connsiteY46" fmla="*/ 1710816 h 2265361"/>
              <a:gd name="connsiteX47" fmla="*/ 5954759 w 9905999"/>
              <a:gd name="connsiteY47" fmla="*/ 2035428 h 2265361"/>
              <a:gd name="connsiteX48" fmla="*/ 6076239 w 9905999"/>
              <a:gd name="connsiteY48" fmla="*/ 2172937 h 2265361"/>
              <a:gd name="connsiteX49" fmla="*/ 6199968 w 9905999"/>
              <a:gd name="connsiteY49" fmla="*/ 2035428 h 2265361"/>
              <a:gd name="connsiteX50" fmla="*/ 6199968 w 9905999"/>
              <a:gd name="connsiteY50" fmla="*/ 1710816 h 2265361"/>
              <a:gd name="connsiteX51" fmla="*/ 6262957 w 9905999"/>
              <a:gd name="connsiteY51" fmla="*/ 1710816 h 2265361"/>
              <a:gd name="connsiteX52" fmla="*/ 6262957 w 9905999"/>
              <a:gd name="connsiteY52" fmla="*/ 2035428 h 2265361"/>
              <a:gd name="connsiteX53" fmla="*/ 6076239 w 9905999"/>
              <a:gd name="connsiteY53" fmla="*/ 2231547 h 2265361"/>
              <a:gd name="connsiteX54" fmla="*/ 5889520 w 9905999"/>
              <a:gd name="connsiteY54" fmla="*/ 2035428 h 2265361"/>
              <a:gd name="connsiteX55" fmla="*/ 5889520 w 9905999"/>
              <a:gd name="connsiteY55" fmla="*/ 1710816 h 2265361"/>
              <a:gd name="connsiteX56" fmla="*/ 4958174 w 9905999"/>
              <a:gd name="connsiteY56" fmla="*/ 1710816 h 2265361"/>
              <a:gd name="connsiteX57" fmla="*/ 5158391 w 9905999"/>
              <a:gd name="connsiteY57" fmla="*/ 1710816 h 2265361"/>
              <a:gd name="connsiteX58" fmla="*/ 5288869 w 9905999"/>
              <a:gd name="connsiteY58" fmla="*/ 1755901 h 2265361"/>
              <a:gd name="connsiteX59" fmla="*/ 5329363 w 9905999"/>
              <a:gd name="connsiteY59" fmla="*/ 1859597 h 2265361"/>
              <a:gd name="connsiteX60" fmla="*/ 5288869 w 9905999"/>
              <a:gd name="connsiteY60" fmla="*/ 1961038 h 2265361"/>
              <a:gd name="connsiteX61" fmla="*/ 5228130 w 9905999"/>
              <a:gd name="connsiteY61" fmla="*/ 1997106 h 2265361"/>
              <a:gd name="connsiteX62" fmla="*/ 5331612 w 9905999"/>
              <a:gd name="connsiteY62" fmla="*/ 2222531 h 2265361"/>
              <a:gd name="connsiteX63" fmla="*/ 5259624 w 9905999"/>
              <a:gd name="connsiteY63" fmla="*/ 2222531 h 2265361"/>
              <a:gd name="connsiteX64" fmla="*/ 5162890 w 9905999"/>
              <a:gd name="connsiteY64" fmla="*/ 2010631 h 2265361"/>
              <a:gd name="connsiteX65" fmla="*/ 5021164 w 9905999"/>
              <a:gd name="connsiteY65" fmla="*/ 2010631 h 2265361"/>
              <a:gd name="connsiteX66" fmla="*/ 5021164 w 9905999"/>
              <a:gd name="connsiteY66" fmla="*/ 2222531 h 2265361"/>
              <a:gd name="connsiteX67" fmla="*/ 4958174 w 9905999"/>
              <a:gd name="connsiteY67" fmla="*/ 2222531 h 2265361"/>
              <a:gd name="connsiteX68" fmla="*/ 4958174 w 9905999"/>
              <a:gd name="connsiteY68" fmla="*/ 1710816 h 2265361"/>
              <a:gd name="connsiteX69" fmla="*/ 3309199 w 9905999"/>
              <a:gd name="connsiteY69" fmla="*/ 1710816 h 2265361"/>
              <a:gd name="connsiteX70" fmla="*/ 3381187 w 9905999"/>
              <a:gd name="connsiteY70" fmla="*/ 1710816 h 2265361"/>
              <a:gd name="connsiteX71" fmla="*/ 3633145 w 9905999"/>
              <a:gd name="connsiteY71" fmla="*/ 2123344 h 2265361"/>
              <a:gd name="connsiteX72" fmla="*/ 3633145 w 9905999"/>
              <a:gd name="connsiteY72" fmla="*/ 1710816 h 2265361"/>
              <a:gd name="connsiteX73" fmla="*/ 3693885 w 9905999"/>
              <a:gd name="connsiteY73" fmla="*/ 1710816 h 2265361"/>
              <a:gd name="connsiteX74" fmla="*/ 3693885 w 9905999"/>
              <a:gd name="connsiteY74" fmla="*/ 2222531 h 2265361"/>
              <a:gd name="connsiteX75" fmla="*/ 3621897 w 9905999"/>
              <a:gd name="connsiteY75" fmla="*/ 2222531 h 2265361"/>
              <a:gd name="connsiteX76" fmla="*/ 3372188 w 9905999"/>
              <a:gd name="connsiteY76" fmla="*/ 1810003 h 2265361"/>
              <a:gd name="connsiteX77" fmla="*/ 3372188 w 9905999"/>
              <a:gd name="connsiteY77" fmla="*/ 2222531 h 2265361"/>
              <a:gd name="connsiteX78" fmla="*/ 3309199 w 9905999"/>
              <a:gd name="connsiteY78" fmla="*/ 2222531 h 2265361"/>
              <a:gd name="connsiteX79" fmla="*/ 3309199 w 9905999"/>
              <a:gd name="connsiteY79" fmla="*/ 1710816 h 2265361"/>
              <a:gd name="connsiteX80" fmla="*/ 3106732 w 9905999"/>
              <a:gd name="connsiteY80" fmla="*/ 1710816 h 2265361"/>
              <a:gd name="connsiteX81" fmla="*/ 3171971 w 9905999"/>
              <a:gd name="connsiteY81" fmla="*/ 1710816 h 2265361"/>
              <a:gd name="connsiteX82" fmla="*/ 3171971 w 9905999"/>
              <a:gd name="connsiteY82" fmla="*/ 2222531 h 2265361"/>
              <a:gd name="connsiteX83" fmla="*/ 3106732 w 9905999"/>
              <a:gd name="connsiteY83" fmla="*/ 2222531 h 2265361"/>
              <a:gd name="connsiteX84" fmla="*/ 3106732 w 9905999"/>
              <a:gd name="connsiteY84" fmla="*/ 1710816 h 2265361"/>
              <a:gd name="connsiteX85" fmla="*/ 2663557 w 9905999"/>
              <a:gd name="connsiteY85" fmla="*/ 1710816 h 2265361"/>
              <a:gd name="connsiteX86" fmla="*/ 3032495 w 9905999"/>
              <a:gd name="connsiteY86" fmla="*/ 1710816 h 2265361"/>
              <a:gd name="connsiteX87" fmla="*/ 3032495 w 9905999"/>
              <a:gd name="connsiteY87" fmla="*/ 1769427 h 2265361"/>
              <a:gd name="connsiteX88" fmla="*/ 2879521 w 9905999"/>
              <a:gd name="connsiteY88" fmla="*/ 1769427 h 2265361"/>
              <a:gd name="connsiteX89" fmla="*/ 2879521 w 9905999"/>
              <a:gd name="connsiteY89" fmla="*/ 2222531 h 2265361"/>
              <a:gd name="connsiteX90" fmla="*/ 2814282 w 9905999"/>
              <a:gd name="connsiteY90" fmla="*/ 2222531 h 2265361"/>
              <a:gd name="connsiteX91" fmla="*/ 2814282 w 9905999"/>
              <a:gd name="connsiteY91" fmla="*/ 1769427 h 2265361"/>
              <a:gd name="connsiteX92" fmla="*/ 2663557 w 9905999"/>
              <a:gd name="connsiteY92" fmla="*/ 1769427 h 2265361"/>
              <a:gd name="connsiteX93" fmla="*/ 2663557 w 9905999"/>
              <a:gd name="connsiteY93" fmla="*/ 1710816 h 2265361"/>
              <a:gd name="connsiteX94" fmla="*/ 2416099 w 9905999"/>
              <a:gd name="connsiteY94" fmla="*/ 1710816 h 2265361"/>
              <a:gd name="connsiteX95" fmla="*/ 2481338 w 9905999"/>
              <a:gd name="connsiteY95" fmla="*/ 1710816 h 2265361"/>
              <a:gd name="connsiteX96" fmla="*/ 2481338 w 9905999"/>
              <a:gd name="connsiteY96" fmla="*/ 2163920 h 2265361"/>
              <a:gd name="connsiteX97" fmla="*/ 2726547 w 9905999"/>
              <a:gd name="connsiteY97" fmla="*/ 2163920 h 2265361"/>
              <a:gd name="connsiteX98" fmla="*/ 2726547 w 9905999"/>
              <a:gd name="connsiteY98" fmla="*/ 2222531 h 2265361"/>
              <a:gd name="connsiteX99" fmla="*/ 2416099 w 9905999"/>
              <a:gd name="connsiteY99" fmla="*/ 2222531 h 2265361"/>
              <a:gd name="connsiteX100" fmla="*/ 2416099 w 9905999"/>
              <a:gd name="connsiteY100" fmla="*/ 1710816 h 2265361"/>
              <a:gd name="connsiteX101" fmla="*/ 1918931 w 9905999"/>
              <a:gd name="connsiteY101" fmla="*/ 1710816 h 2265361"/>
              <a:gd name="connsiteX102" fmla="*/ 1984171 w 9905999"/>
              <a:gd name="connsiteY102" fmla="*/ 1710816 h 2265361"/>
              <a:gd name="connsiteX103" fmla="*/ 1984171 w 9905999"/>
              <a:gd name="connsiteY103" fmla="*/ 2035428 h 2265361"/>
              <a:gd name="connsiteX104" fmla="*/ 2105651 w 9905999"/>
              <a:gd name="connsiteY104" fmla="*/ 2172937 h 2265361"/>
              <a:gd name="connsiteX105" fmla="*/ 2229380 w 9905999"/>
              <a:gd name="connsiteY105" fmla="*/ 2035428 h 2265361"/>
              <a:gd name="connsiteX106" fmla="*/ 2229380 w 9905999"/>
              <a:gd name="connsiteY106" fmla="*/ 1710816 h 2265361"/>
              <a:gd name="connsiteX107" fmla="*/ 2292369 w 9905999"/>
              <a:gd name="connsiteY107" fmla="*/ 1710816 h 2265361"/>
              <a:gd name="connsiteX108" fmla="*/ 2292369 w 9905999"/>
              <a:gd name="connsiteY108" fmla="*/ 2035428 h 2265361"/>
              <a:gd name="connsiteX109" fmla="*/ 2105651 w 9905999"/>
              <a:gd name="connsiteY109" fmla="*/ 2231547 h 2265361"/>
              <a:gd name="connsiteX110" fmla="*/ 1918931 w 9905999"/>
              <a:gd name="connsiteY110" fmla="*/ 2035428 h 2265361"/>
              <a:gd name="connsiteX111" fmla="*/ 1918931 w 9905999"/>
              <a:gd name="connsiteY111" fmla="*/ 1710816 h 2265361"/>
              <a:gd name="connsiteX112" fmla="*/ 960591 w 9905999"/>
              <a:gd name="connsiteY112" fmla="*/ 1710816 h 2265361"/>
              <a:gd name="connsiteX113" fmla="*/ 1032578 w 9905999"/>
              <a:gd name="connsiteY113" fmla="*/ 1710816 h 2265361"/>
              <a:gd name="connsiteX114" fmla="*/ 1284537 w 9905999"/>
              <a:gd name="connsiteY114" fmla="*/ 2123344 h 2265361"/>
              <a:gd name="connsiteX115" fmla="*/ 1284537 w 9905999"/>
              <a:gd name="connsiteY115" fmla="*/ 1710816 h 2265361"/>
              <a:gd name="connsiteX116" fmla="*/ 1345276 w 9905999"/>
              <a:gd name="connsiteY116" fmla="*/ 1710816 h 2265361"/>
              <a:gd name="connsiteX117" fmla="*/ 1345276 w 9905999"/>
              <a:gd name="connsiteY117" fmla="*/ 2222531 h 2265361"/>
              <a:gd name="connsiteX118" fmla="*/ 1273289 w 9905999"/>
              <a:gd name="connsiteY118" fmla="*/ 2222531 h 2265361"/>
              <a:gd name="connsiteX119" fmla="*/ 1023580 w 9905999"/>
              <a:gd name="connsiteY119" fmla="*/ 1810003 h 2265361"/>
              <a:gd name="connsiteX120" fmla="*/ 1023580 w 9905999"/>
              <a:gd name="connsiteY120" fmla="*/ 2222531 h 2265361"/>
              <a:gd name="connsiteX121" fmla="*/ 960591 w 9905999"/>
              <a:gd name="connsiteY121" fmla="*/ 2222531 h 2265361"/>
              <a:gd name="connsiteX122" fmla="*/ 960591 w 9905999"/>
              <a:gd name="connsiteY122" fmla="*/ 1710816 h 2265361"/>
              <a:gd name="connsiteX123" fmla="*/ 5597068 w 9905999"/>
              <a:gd name="connsiteY123" fmla="*/ 1701799 h 2265361"/>
              <a:gd name="connsiteX124" fmla="*/ 5736545 w 9905999"/>
              <a:gd name="connsiteY124" fmla="*/ 1755901 h 2265361"/>
              <a:gd name="connsiteX125" fmla="*/ 5801784 w 9905999"/>
              <a:gd name="connsiteY125" fmla="*/ 1967800 h 2265361"/>
              <a:gd name="connsiteX126" fmla="*/ 5736545 w 9905999"/>
              <a:gd name="connsiteY126" fmla="*/ 2177446 h 2265361"/>
              <a:gd name="connsiteX127" fmla="*/ 5597068 w 9905999"/>
              <a:gd name="connsiteY127" fmla="*/ 2233802 h 2265361"/>
              <a:gd name="connsiteX128" fmla="*/ 5459841 w 9905999"/>
              <a:gd name="connsiteY128" fmla="*/ 2177446 h 2265361"/>
              <a:gd name="connsiteX129" fmla="*/ 5394602 w 9905999"/>
              <a:gd name="connsiteY129" fmla="*/ 1967800 h 2265361"/>
              <a:gd name="connsiteX130" fmla="*/ 5459841 w 9905999"/>
              <a:gd name="connsiteY130" fmla="*/ 1755901 h 2265361"/>
              <a:gd name="connsiteX131" fmla="*/ 5597068 w 9905999"/>
              <a:gd name="connsiteY131" fmla="*/ 1701799 h 2265361"/>
              <a:gd name="connsiteX132" fmla="*/ 4645477 w 9905999"/>
              <a:gd name="connsiteY132" fmla="*/ 1701799 h 2265361"/>
              <a:gd name="connsiteX133" fmla="*/ 4791702 w 9905999"/>
              <a:gd name="connsiteY133" fmla="*/ 1758155 h 2265361"/>
              <a:gd name="connsiteX134" fmla="*/ 4834445 w 9905999"/>
              <a:gd name="connsiteY134" fmla="*/ 1859597 h 2265361"/>
              <a:gd name="connsiteX135" fmla="*/ 4766956 w 9905999"/>
              <a:gd name="connsiteY135" fmla="*/ 1859597 h 2265361"/>
              <a:gd name="connsiteX136" fmla="*/ 4744460 w 9905999"/>
              <a:gd name="connsiteY136" fmla="*/ 1803240 h 2265361"/>
              <a:gd name="connsiteX137" fmla="*/ 4645477 w 9905999"/>
              <a:gd name="connsiteY137" fmla="*/ 1762664 h 2265361"/>
              <a:gd name="connsiteX138" fmla="*/ 4550992 w 9905999"/>
              <a:gd name="connsiteY138" fmla="*/ 1800986 h 2265361"/>
              <a:gd name="connsiteX139" fmla="*/ 4506000 w 9905999"/>
              <a:gd name="connsiteY139" fmla="*/ 1967800 h 2265361"/>
              <a:gd name="connsiteX140" fmla="*/ 4553242 w 9905999"/>
              <a:gd name="connsiteY140" fmla="*/ 2134615 h 2265361"/>
              <a:gd name="connsiteX141" fmla="*/ 4645477 w 9905999"/>
              <a:gd name="connsiteY141" fmla="*/ 2172937 h 2265361"/>
              <a:gd name="connsiteX142" fmla="*/ 4737711 w 9905999"/>
              <a:gd name="connsiteY142" fmla="*/ 2136869 h 2265361"/>
              <a:gd name="connsiteX143" fmla="*/ 4780454 w 9905999"/>
              <a:gd name="connsiteY143" fmla="*/ 2006123 h 2265361"/>
              <a:gd name="connsiteX144" fmla="*/ 4645477 w 9905999"/>
              <a:gd name="connsiteY144" fmla="*/ 2006123 h 2265361"/>
              <a:gd name="connsiteX145" fmla="*/ 4645477 w 9905999"/>
              <a:gd name="connsiteY145" fmla="*/ 1947512 h 2265361"/>
              <a:gd name="connsiteX146" fmla="*/ 4838944 w 9905999"/>
              <a:gd name="connsiteY146" fmla="*/ 1947512 h 2265361"/>
              <a:gd name="connsiteX147" fmla="*/ 4838944 w 9905999"/>
              <a:gd name="connsiteY147" fmla="*/ 2222531 h 2265361"/>
              <a:gd name="connsiteX148" fmla="*/ 4793952 w 9905999"/>
              <a:gd name="connsiteY148" fmla="*/ 2222531 h 2265361"/>
              <a:gd name="connsiteX149" fmla="*/ 4782704 w 9905999"/>
              <a:gd name="connsiteY149" fmla="*/ 2161666 h 2265361"/>
              <a:gd name="connsiteX150" fmla="*/ 4645477 w 9905999"/>
              <a:gd name="connsiteY150" fmla="*/ 2233802 h 2265361"/>
              <a:gd name="connsiteX151" fmla="*/ 4506000 w 9905999"/>
              <a:gd name="connsiteY151" fmla="*/ 2179700 h 2265361"/>
              <a:gd name="connsiteX152" fmla="*/ 4440761 w 9905999"/>
              <a:gd name="connsiteY152" fmla="*/ 1967800 h 2265361"/>
              <a:gd name="connsiteX153" fmla="*/ 4506000 w 9905999"/>
              <a:gd name="connsiteY153" fmla="*/ 1755901 h 2265361"/>
              <a:gd name="connsiteX154" fmla="*/ 4645477 w 9905999"/>
              <a:gd name="connsiteY154" fmla="*/ 1701799 h 2265361"/>
              <a:gd name="connsiteX155" fmla="*/ 4002083 w 9905999"/>
              <a:gd name="connsiteY155" fmla="*/ 1701799 h 2265361"/>
              <a:gd name="connsiteX156" fmla="*/ 4148309 w 9905999"/>
              <a:gd name="connsiteY156" fmla="*/ 1758155 h 2265361"/>
              <a:gd name="connsiteX157" fmla="*/ 4193302 w 9905999"/>
              <a:gd name="connsiteY157" fmla="*/ 1859597 h 2265361"/>
              <a:gd name="connsiteX158" fmla="*/ 4125813 w 9905999"/>
              <a:gd name="connsiteY158" fmla="*/ 1859597 h 2265361"/>
              <a:gd name="connsiteX159" fmla="*/ 4103317 w 9905999"/>
              <a:gd name="connsiteY159" fmla="*/ 1803240 h 2265361"/>
              <a:gd name="connsiteX160" fmla="*/ 4002083 w 9905999"/>
              <a:gd name="connsiteY160" fmla="*/ 1762664 h 2265361"/>
              <a:gd name="connsiteX161" fmla="*/ 3909849 w 9905999"/>
              <a:gd name="connsiteY161" fmla="*/ 1800986 h 2265361"/>
              <a:gd name="connsiteX162" fmla="*/ 3864856 w 9905999"/>
              <a:gd name="connsiteY162" fmla="*/ 1967800 h 2265361"/>
              <a:gd name="connsiteX163" fmla="*/ 3909849 w 9905999"/>
              <a:gd name="connsiteY163" fmla="*/ 2134615 h 2265361"/>
              <a:gd name="connsiteX164" fmla="*/ 4002083 w 9905999"/>
              <a:gd name="connsiteY164" fmla="*/ 2172937 h 2265361"/>
              <a:gd name="connsiteX165" fmla="*/ 4094318 w 9905999"/>
              <a:gd name="connsiteY165" fmla="*/ 2136869 h 2265361"/>
              <a:gd name="connsiteX166" fmla="*/ 4139311 w 9905999"/>
              <a:gd name="connsiteY166" fmla="*/ 2006123 h 2265361"/>
              <a:gd name="connsiteX167" fmla="*/ 4002083 w 9905999"/>
              <a:gd name="connsiteY167" fmla="*/ 2006123 h 2265361"/>
              <a:gd name="connsiteX168" fmla="*/ 4002083 w 9905999"/>
              <a:gd name="connsiteY168" fmla="*/ 1947512 h 2265361"/>
              <a:gd name="connsiteX169" fmla="*/ 4197801 w 9905999"/>
              <a:gd name="connsiteY169" fmla="*/ 1947512 h 2265361"/>
              <a:gd name="connsiteX170" fmla="*/ 4197801 w 9905999"/>
              <a:gd name="connsiteY170" fmla="*/ 2222531 h 2265361"/>
              <a:gd name="connsiteX171" fmla="*/ 4152808 w 9905999"/>
              <a:gd name="connsiteY171" fmla="*/ 2222531 h 2265361"/>
              <a:gd name="connsiteX172" fmla="*/ 4141560 w 9905999"/>
              <a:gd name="connsiteY172" fmla="*/ 2161666 h 2265361"/>
              <a:gd name="connsiteX173" fmla="*/ 4002083 w 9905999"/>
              <a:gd name="connsiteY173" fmla="*/ 2233802 h 2265361"/>
              <a:gd name="connsiteX174" fmla="*/ 3864856 w 9905999"/>
              <a:gd name="connsiteY174" fmla="*/ 2179700 h 2265361"/>
              <a:gd name="connsiteX175" fmla="*/ 3797367 w 9905999"/>
              <a:gd name="connsiteY175" fmla="*/ 1967800 h 2265361"/>
              <a:gd name="connsiteX176" fmla="*/ 3864856 w 9905999"/>
              <a:gd name="connsiteY176" fmla="*/ 1755901 h 2265361"/>
              <a:gd name="connsiteX177" fmla="*/ 4002083 w 9905999"/>
              <a:gd name="connsiteY177" fmla="*/ 1701799 h 2265361"/>
              <a:gd name="connsiteX178" fmla="*/ 1642228 w 9905999"/>
              <a:gd name="connsiteY178" fmla="*/ 1701799 h 2265361"/>
              <a:gd name="connsiteX179" fmla="*/ 1774955 w 9905999"/>
              <a:gd name="connsiteY179" fmla="*/ 1749138 h 2265361"/>
              <a:gd name="connsiteX180" fmla="*/ 1824447 w 9905999"/>
              <a:gd name="connsiteY180" fmla="*/ 1859597 h 2265361"/>
              <a:gd name="connsiteX181" fmla="*/ 1756958 w 9905999"/>
              <a:gd name="connsiteY181" fmla="*/ 1859597 h 2265361"/>
              <a:gd name="connsiteX182" fmla="*/ 1732212 w 9905999"/>
              <a:gd name="connsiteY182" fmla="*/ 1796478 h 2265361"/>
              <a:gd name="connsiteX183" fmla="*/ 1639978 w 9905999"/>
              <a:gd name="connsiteY183" fmla="*/ 1760410 h 2265361"/>
              <a:gd name="connsiteX184" fmla="*/ 1549993 w 9905999"/>
              <a:gd name="connsiteY184" fmla="*/ 1796478 h 2265361"/>
              <a:gd name="connsiteX185" fmla="*/ 1529746 w 9905999"/>
              <a:gd name="connsiteY185" fmla="*/ 1850580 h 2265361"/>
              <a:gd name="connsiteX186" fmla="*/ 1606234 w 9905999"/>
              <a:gd name="connsiteY186" fmla="*/ 1922716 h 2265361"/>
              <a:gd name="connsiteX187" fmla="*/ 1691719 w 9905999"/>
              <a:gd name="connsiteY187" fmla="*/ 1936241 h 2265361"/>
              <a:gd name="connsiteX188" fmla="*/ 1833445 w 9905999"/>
              <a:gd name="connsiteY188" fmla="*/ 2082767 h 2265361"/>
              <a:gd name="connsiteX189" fmla="*/ 1790703 w 9905999"/>
              <a:gd name="connsiteY189" fmla="*/ 2181954 h 2265361"/>
              <a:gd name="connsiteX190" fmla="*/ 1644477 w 9905999"/>
              <a:gd name="connsiteY190" fmla="*/ 2231547 h 2265361"/>
              <a:gd name="connsiteX191" fmla="*/ 1498251 w 9905999"/>
              <a:gd name="connsiteY191" fmla="*/ 2184208 h 2265361"/>
              <a:gd name="connsiteX192" fmla="*/ 1444260 w 9905999"/>
              <a:gd name="connsiteY192" fmla="*/ 2060225 h 2265361"/>
              <a:gd name="connsiteX193" fmla="*/ 1509499 w 9905999"/>
              <a:gd name="connsiteY193" fmla="*/ 2060225 h 2265361"/>
              <a:gd name="connsiteX194" fmla="*/ 1545494 w 9905999"/>
              <a:gd name="connsiteY194" fmla="*/ 2141378 h 2265361"/>
              <a:gd name="connsiteX195" fmla="*/ 1644477 w 9905999"/>
              <a:gd name="connsiteY195" fmla="*/ 2172937 h 2265361"/>
              <a:gd name="connsiteX196" fmla="*/ 1738962 w 9905999"/>
              <a:gd name="connsiteY196" fmla="*/ 2143632 h 2265361"/>
              <a:gd name="connsiteX197" fmla="*/ 1765956 w 9905999"/>
              <a:gd name="connsiteY197" fmla="*/ 2082767 h 2265361"/>
              <a:gd name="connsiteX198" fmla="*/ 1680471 w 9905999"/>
              <a:gd name="connsiteY198" fmla="*/ 2001614 h 2265361"/>
              <a:gd name="connsiteX199" fmla="*/ 1599484 w 9905999"/>
              <a:gd name="connsiteY199" fmla="*/ 1988089 h 2265361"/>
              <a:gd name="connsiteX200" fmla="*/ 1462257 w 9905999"/>
              <a:gd name="connsiteY200" fmla="*/ 1852834 h 2265361"/>
              <a:gd name="connsiteX201" fmla="*/ 1507249 w 9905999"/>
              <a:gd name="connsiteY201" fmla="*/ 1751393 h 2265361"/>
              <a:gd name="connsiteX202" fmla="*/ 1642228 w 9905999"/>
              <a:gd name="connsiteY202" fmla="*/ 1701799 h 2265361"/>
              <a:gd name="connsiteX203" fmla="*/ 654642 w 9905999"/>
              <a:gd name="connsiteY203" fmla="*/ 1701799 h 2265361"/>
              <a:gd name="connsiteX204" fmla="*/ 791868 w 9905999"/>
              <a:gd name="connsiteY204" fmla="*/ 1755901 h 2265361"/>
              <a:gd name="connsiteX205" fmla="*/ 857108 w 9905999"/>
              <a:gd name="connsiteY205" fmla="*/ 1967800 h 2265361"/>
              <a:gd name="connsiteX206" fmla="*/ 791868 w 9905999"/>
              <a:gd name="connsiteY206" fmla="*/ 2177446 h 2265361"/>
              <a:gd name="connsiteX207" fmla="*/ 654642 w 9905999"/>
              <a:gd name="connsiteY207" fmla="*/ 2233802 h 2265361"/>
              <a:gd name="connsiteX208" fmla="*/ 515164 w 9905999"/>
              <a:gd name="connsiteY208" fmla="*/ 2177446 h 2265361"/>
              <a:gd name="connsiteX209" fmla="*/ 449925 w 9905999"/>
              <a:gd name="connsiteY209" fmla="*/ 1967800 h 2265361"/>
              <a:gd name="connsiteX210" fmla="*/ 515164 w 9905999"/>
              <a:gd name="connsiteY210" fmla="*/ 1755901 h 2265361"/>
              <a:gd name="connsiteX211" fmla="*/ 654642 w 9905999"/>
              <a:gd name="connsiteY211" fmla="*/ 1701799 h 2265361"/>
              <a:gd name="connsiteX212" fmla="*/ 202466 w 9905999"/>
              <a:gd name="connsiteY212" fmla="*/ 1701799 h 2265361"/>
              <a:gd name="connsiteX213" fmla="*/ 339693 w 9905999"/>
              <a:gd name="connsiteY213" fmla="*/ 1753647 h 2265361"/>
              <a:gd name="connsiteX214" fmla="*/ 389185 w 9905999"/>
              <a:gd name="connsiteY214" fmla="*/ 1870868 h 2265361"/>
              <a:gd name="connsiteX215" fmla="*/ 323946 w 9905999"/>
              <a:gd name="connsiteY215" fmla="*/ 1870868 h 2265361"/>
              <a:gd name="connsiteX216" fmla="*/ 294701 w 9905999"/>
              <a:gd name="connsiteY216" fmla="*/ 1798732 h 2265361"/>
              <a:gd name="connsiteX217" fmla="*/ 202466 w 9905999"/>
              <a:gd name="connsiteY217" fmla="*/ 1762664 h 2265361"/>
              <a:gd name="connsiteX218" fmla="*/ 110232 w 9905999"/>
              <a:gd name="connsiteY218" fmla="*/ 1800986 h 2265361"/>
              <a:gd name="connsiteX219" fmla="*/ 67489 w 9905999"/>
              <a:gd name="connsiteY219" fmla="*/ 1967800 h 2265361"/>
              <a:gd name="connsiteX220" fmla="*/ 110232 w 9905999"/>
              <a:gd name="connsiteY220" fmla="*/ 2132361 h 2265361"/>
              <a:gd name="connsiteX221" fmla="*/ 202466 w 9905999"/>
              <a:gd name="connsiteY221" fmla="*/ 2172937 h 2265361"/>
              <a:gd name="connsiteX222" fmla="*/ 296951 w 9905999"/>
              <a:gd name="connsiteY222" fmla="*/ 2132361 h 2265361"/>
              <a:gd name="connsiteX223" fmla="*/ 323946 w 9905999"/>
              <a:gd name="connsiteY223" fmla="*/ 2060225 h 2265361"/>
              <a:gd name="connsiteX224" fmla="*/ 391435 w 9905999"/>
              <a:gd name="connsiteY224" fmla="*/ 2060225 h 2265361"/>
              <a:gd name="connsiteX225" fmla="*/ 339693 w 9905999"/>
              <a:gd name="connsiteY225" fmla="*/ 2177446 h 2265361"/>
              <a:gd name="connsiteX226" fmla="*/ 202466 w 9905999"/>
              <a:gd name="connsiteY226" fmla="*/ 2233802 h 2265361"/>
              <a:gd name="connsiteX227" fmla="*/ 65239 w 9905999"/>
              <a:gd name="connsiteY227" fmla="*/ 2177446 h 2265361"/>
              <a:gd name="connsiteX228" fmla="*/ 0 w 9905999"/>
              <a:gd name="connsiteY228" fmla="*/ 1967800 h 2265361"/>
              <a:gd name="connsiteX229" fmla="*/ 65239 w 9905999"/>
              <a:gd name="connsiteY229" fmla="*/ 1755901 h 2265361"/>
              <a:gd name="connsiteX230" fmla="*/ 202466 w 9905999"/>
              <a:gd name="connsiteY230" fmla="*/ 1701799 h 2265361"/>
              <a:gd name="connsiteX231" fmla="*/ 2227389 w 9905999"/>
              <a:gd name="connsiteY231" fmla="*/ 214047 h 2265361"/>
              <a:gd name="connsiteX232" fmla="*/ 2227389 w 9905999"/>
              <a:gd name="connsiteY232" fmla="*/ 574548 h 2265361"/>
              <a:gd name="connsiteX233" fmla="*/ 2456649 w 9905999"/>
              <a:gd name="connsiteY233" fmla="*/ 574548 h 2265361"/>
              <a:gd name="connsiteX234" fmla="*/ 2654442 w 9905999"/>
              <a:gd name="connsiteY234" fmla="*/ 394298 h 2265361"/>
              <a:gd name="connsiteX235" fmla="*/ 2456649 w 9905999"/>
              <a:gd name="connsiteY235" fmla="*/ 214047 h 2265361"/>
              <a:gd name="connsiteX236" fmla="*/ 2227389 w 9905999"/>
              <a:gd name="connsiteY236" fmla="*/ 214047 h 2265361"/>
              <a:gd name="connsiteX237" fmla="*/ 8961436 w 9905999"/>
              <a:gd name="connsiteY237" fmla="*/ 0 h 2265361"/>
              <a:gd name="connsiteX238" fmla="*/ 9905999 w 9905999"/>
              <a:gd name="connsiteY238" fmla="*/ 0 h 2265361"/>
              <a:gd name="connsiteX239" fmla="*/ 9905999 w 9905999"/>
              <a:gd name="connsiteY239" fmla="*/ 225425 h 2265361"/>
              <a:gd name="connsiteX240" fmla="*/ 9555161 w 9905999"/>
              <a:gd name="connsiteY240" fmla="*/ 225425 h 2265361"/>
              <a:gd name="connsiteX241" fmla="*/ 9555161 w 9905999"/>
              <a:gd name="connsiteY241" fmla="*/ 1214437 h 2265361"/>
              <a:gd name="connsiteX242" fmla="*/ 9315449 w 9905999"/>
              <a:gd name="connsiteY242" fmla="*/ 1214437 h 2265361"/>
              <a:gd name="connsiteX243" fmla="*/ 9315449 w 9905999"/>
              <a:gd name="connsiteY243" fmla="*/ 225425 h 2265361"/>
              <a:gd name="connsiteX244" fmla="*/ 8961436 w 9905999"/>
              <a:gd name="connsiteY244" fmla="*/ 225425 h 2265361"/>
              <a:gd name="connsiteX245" fmla="*/ 7785099 w 9905999"/>
              <a:gd name="connsiteY245" fmla="*/ 0 h 2265361"/>
              <a:gd name="connsiteX246" fmla="*/ 8035924 w 9905999"/>
              <a:gd name="connsiteY246" fmla="*/ 0 h 2265361"/>
              <a:gd name="connsiteX247" fmla="*/ 8037512 w 9905999"/>
              <a:gd name="connsiteY247" fmla="*/ 3175 h 2265361"/>
              <a:gd name="connsiteX248" fmla="*/ 8523286 w 9905999"/>
              <a:gd name="connsiteY248" fmla="*/ 774700 h 2265361"/>
              <a:gd name="connsiteX249" fmla="*/ 8523286 w 9905999"/>
              <a:gd name="connsiteY249" fmla="*/ 0 h 2265361"/>
              <a:gd name="connsiteX250" fmla="*/ 8759824 w 9905999"/>
              <a:gd name="connsiteY250" fmla="*/ 0 h 2265361"/>
              <a:gd name="connsiteX251" fmla="*/ 8759824 w 9905999"/>
              <a:gd name="connsiteY251" fmla="*/ 1214437 h 2265361"/>
              <a:gd name="connsiteX252" fmla="*/ 8518524 w 9905999"/>
              <a:gd name="connsiteY252" fmla="*/ 1214437 h 2265361"/>
              <a:gd name="connsiteX253" fmla="*/ 8024812 w 9905999"/>
              <a:gd name="connsiteY253" fmla="*/ 425450 h 2265361"/>
              <a:gd name="connsiteX254" fmla="*/ 8024812 w 9905999"/>
              <a:gd name="connsiteY254" fmla="*/ 1214437 h 2265361"/>
              <a:gd name="connsiteX255" fmla="*/ 7785099 w 9905999"/>
              <a:gd name="connsiteY255" fmla="*/ 1214437 h 2265361"/>
              <a:gd name="connsiteX256" fmla="*/ 6665911 w 9905999"/>
              <a:gd name="connsiteY256" fmla="*/ 0 h 2265361"/>
              <a:gd name="connsiteX257" fmla="*/ 7535861 w 9905999"/>
              <a:gd name="connsiteY257" fmla="*/ 0 h 2265361"/>
              <a:gd name="connsiteX258" fmla="*/ 7535861 w 9905999"/>
              <a:gd name="connsiteY258" fmla="*/ 220663 h 2265361"/>
              <a:gd name="connsiteX259" fmla="*/ 6905624 w 9905999"/>
              <a:gd name="connsiteY259" fmla="*/ 220663 h 2265361"/>
              <a:gd name="connsiteX260" fmla="*/ 6905624 w 9905999"/>
              <a:gd name="connsiteY260" fmla="*/ 473075 h 2265361"/>
              <a:gd name="connsiteX261" fmla="*/ 7459661 w 9905999"/>
              <a:gd name="connsiteY261" fmla="*/ 473075 h 2265361"/>
              <a:gd name="connsiteX262" fmla="*/ 7459661 w 9905999"/>
              <a:gd name="connsiteY262" fmla="*/ 690562 h 2265361"/>
              <a:gd name="connsiteX263" fmla="*/ 6905624 w 9905999"/>
              <a:gd name="connsiteY263" fmla="*/ 690562 h 2265361"/>
              <a:gd name="connsiteX264" fmla="*/ 6905624 w 9905999"/>
              <a:gd name="connsiteY264" fmla="*/ 993775 h 2265361"/>
              <a:gd name="connsiteX265" fmla="*/ 7535861 w 9905999"/>
              <a:gd name="connsiteY265" fmla="*/ 993775 h 2265361"/>
              <a:gd name="connsiteX266" fmla="*/ 7535861 w 9905999"/>
              <a:gd name="connsiteY266" fmla="*/ 1214437 h 2265361"/>
              <a:gd name="connsiteX267" fmla="*/ 6665911 w 9905999"/>
              <a:gd name="connsiteY267" fmla="*/ 1214437 h 2265361"/>
              <a:gd name="connsiteX268" fmla="*/ 5221286 w 9905999"/>
              <a:gd name="connsiteY268" fmla="*/ 0 h 2265361"/>
              <a:gd name="connsiteX269" fmla="*/ 5534024 w 9905999"/>
              <a:gd name="connsiteY269" fmla="*/ 0 h 2265361"/>
              <a:gd name="connsiteX270" fmla="*/ 5835649 w 9905999"/>
              <a:gd name="connsiteY270" fmla="*/ 823912 h 2265361"/>
              <a:gd name="connsiteX271" fmla="*/ 6142037 w 9905999"/>
              <a:gd name="connsiteY271" fmla="*/ 0 h 2265361"/>
              <a:gd name="connsiteX272" fmla="*/ 6438899 w 9905999"/>
              <a:gd name="connsiteY272" fmla="*/ 0 h 2265361"/>
              <a:gd name="connsiteX273" fmla="*/ 6438899 w 9905999"/>
              <a:gd name="connsiteY273" fmla="*/ 1214437 h 2265361"/>
              <a:gd name="connsiteX274" fmla="*/ 6203949 w 9905999"/>
              <a:gd name="connsiteY274" fmla="*/ 1214437 h 2265361"/>
              <a:gd name="connsiteX275" fmla="*/ 6203949 w 9905999"/>
              <a:gd name="connsiteY275" fmla="*/ 419100 h 2265361"/>
              <a:gd name="connsiteX276" fmla="*/ 5916612 w 9905999"/>
              <a:gd name="connsiteY276" fmla="*/ 1196975 h 2265361"/>
              <a:gd name="connsiteX277" fmla="*/ 5740399 w 9905999"/>
              <a:gd name="connsiteY277" fmla="*/ 1196975 h 2265361"/>
              <a:gd name="connsiteX278" fmla="*/ 5454649 w 9905999"/>
              <a:gd name="connsiteY278" fmla="*/ 409575 h 2265361"/>
              <a:gd name="connsiteX279" fmla="*/ 5454649 w 9905999"/>
              <a:gd name="connsiteY279" fmla="*/ 1214437 h 2265361"/>
              <a:gd name="connsiteX280" fmla="*/ 5221286 w 9905999"/>
              <a:gd name="connsiteY280" fmla="*/ 1214437 h 2265361"/>
              <a:gd name="connsiteX281" fmla="*/ 4098924 w 9905999"/>
              <a:gd name="connsiteY281" fmla="*/ 0 h 2265361"/>
              <a:gd name="connsiteX282" fmla="*/ 4968874 w 9905999"/>
              <a:gd name="connsiteY282" fmla="*/ 0 h 2265361"/>
              <a:gd name="connsiteX283" fmla="*/ 4968874 w 9905999"/>
              <a:gd name="connsiteY283" fmla="*/ 220663 h 2265361"/>
              <a:gd name="connsiteX284" fmla="*/ 4340224 w 9905999"/>
              <a:gd name="connsiteY284" fmla="*/ 220663 h 2265361"/>
              <a:gd name="connsiteX285" fmla="*/ 4340224 w 9905999"/>
              <a:gd name="connsiteY285" fmla="*/ 473075 h 2265361"/>
              <a:gd name="connsiteX286" fmla="*/ 4895849 w 9905999"/>
              <a:gd name="connsiteY286" fmla="*/ 473075 h 2265361"/>
              <a:gd name="connsiteX287" fmla="*/ 4895849 w 9905999"/>
              <a:gd name="connsiteY287" fmla="*/ 690562 h 2265361"/>
              <a:gd name="connsiteX288" fmla="*/ 4340224 w 9905999"/>
              <a:gd name="connsiteY288" fmla="*/ 690562 h 2265361"/>
              <a:gd name="connsiteX289" fmla="*/ 4340224 w 9905999"/>
              <a:gd name="connsiteY289" fmla="*/ 993775 h 2265361"/>
              <a:gd name="connsiteX290" fmla="*/ 4968874 w 9905999"/>
              <a:gd name="connsiteY290" fmla="*/ 993775 h 2265361"/>
              <a:gd name="connsiteX291" fmla="*/ 4968874 w 9905999"/>
              <a:gd name="connsiteY291" fmla="*/ 1214437 h 2265361"/>
              <a:gd name="connsiteX292" fmla="*/ 4098924 w 9905999"/>
              <a:gd name="connsiteY292" fmla="*/ 1214437 h 2265361"/>
              <a:gd name="connsiteX293" fmla="*/ 3079749 w 9905999"/>
              <a:gd name="connsiteY293" fmla="*/ 0 h 2265361"/>
              <a:gd name="connsiteX294" fmla="*/ 3321049 w 9905999"/>
              <a:gd name="connsiteY294" fmla="*/ 0 h 2265361"/>
              <a:gd name="connsiteX295" fmla="*/ 3321049 w 9905999"/>
              <a:gd name="connsiteY295" fmla="*/ 984250 h 2265361"/>
              <a:gd name="connsiteX296" fmla="*/ 3871912 w 9905999"/>
              <a:gd name="connsiteY296" fmla="*/ 984250 h 2265361"/>
              <a:gd name="connsiteX297" fmla="*/ 3871912 w 9905999"/>
              <a:gd name="connsiteY297" fmla="*/ 1214437 h 2265361"/>
              <a:gd name="connsiteX298" fmla="*/ 3079749 w 9905999"/>
              <a:gd name="connsiteY298" fmla="*/ 1214437 h 2265361"/>
              <a:gd name="connsiteX299" fmla="*/ 1989138 w 9905999"/>
              <a:gd name="connsiteY299" fmla="*/ 0 h 2265361"/>
              <a:gd name="connsiteX300" fmla="*/ 2465639 w 9905999"/>
              <a:gd name="connsiteY300" fmla="*/ 0 h 2265361"/>
              <a:gd name="connsiteX301" fmla="*/ 2897188 w 9905999"/>
              <a:gd name="connsiteY301" fmla="*/ 392045 h 2265361"/>
              <a:gd name="connsiteX302" fmla="*/ 2465639 w 9905999"/>
              <a:gd name="connsiteY302" fmla="*/ 786342 h 2265361"/>
              <a:gd name="connsiteX303" fmla="*/ 2227389 w 9905999"/>
              <a:gd name="connsiteY303" fmla="*/ 786342 h 2265361"/>
              <a:gd name="connsiteX304" fmla="*/ 2227389 w 9905999"/>
              <a:gd name="connsiteY304" fmla="*/ 1214437 h 2265361"/>
              <a:gd name="connsiteX305" fmla="*/ 1989138 w 9905999"/>
              <a:gd name="connsiteY305" fmla="*/ 1214437 h 2265361"/>
              <a:gd name="connsiteX306" fmla="*/ 1989138 w 9905999"/>
              <a:gd name="connsiteY306" fmla="*/ 0 h 2265361"/>
              <a:gd name="connsiteX307" fmla="*/ 520699 w 9905999"/>
              <a:gd name="connsiteY307" fmla="*/ 0 h 2265361"/>
              <a:gd name="connsiteX308" fmla="*/ 833436 w 9905999"/>
              <a:gd name="connsiteY308" fmla="*/ 0 h 2265361"/>
              <a:gd name="connsiteX309" fmla="*/ 1135061 w 9905999"/>
              <a:gd name="connsiteY309" fmla="*/ 823912 h 2265361"/>
              <a:gd name="connsiteX310" fmla="*/ 1439862 w 9905999"/>
              <a:gd name="connsiteY310" fmla="*/ 0 h 2265361"/>
              <a:gd name="connsiteX311" fmla="*/ 1736724 w 9905999"/>
              <a:gd name="connsiteY311" fmla="*/ 0 h 2265361"/>
              <a:gd name="connsiteX312" fmla="*/ 1736724 w 9905999"/>
              <a:gd name="connsiteY312" fmla="*/ 1214437 h 2265361"/>
              <a:gd name="connsiteX313" fmla="*/ 1503362 w 9905999"/>
              <a:gd name="connsiteY313" fmla="*/ 1214437 h 2265361"/>
              <a:gd name="connsiteX314" fmla="*/ 1503362 w 9905999"/>
              <a:gd name="connsiteY314" fmla="*/ 419100 h 2265361"/>
              <a:gd name="connsiteX315" fmla="*/ 1216024 w 9905999"/>
              <a:gd name="connsiteY315" fmla="*/ 1196975 h 2265361"/>
              <a:gd name="connsiteX316" fmla="*/ 1039812 w 9905999"/>
              <a:gd name="connsiteY316" fmla="*/ 1196975 h 2265361"/>
              <a:gd name="connsiteX317" fmla="*/ 754062 w 9905999"/>
              <a:gd name="connsiteY317" fmla="*/ 409575 h 2265361"/>
              <a:gd name="connsiteX318" fmla="*/ 754062 w 9905999"/>
              <a:gd name="connsiteY318" fmla="*/ 1214437 h 2265361"/>
              <a:gd name="connsiteX319" fmla="*/ 520699 w 9905999"/>
              <a:gd name="connsiteY319" fmla="*/ 1214437 h 2265361"/>
              <a:gd name="connsiteX320" fmla="*/ 25400 w 9905999"/>
              <a:gd name="connsiteY320" fmla="*/ 0 h 2265361"/>
              <a:gd name="connsiteX321" fmla="*/ 268288 w 9905999"/>
              <a:gd name="connsiteY321" fmla="*/ 0 h 2265361"/>
              <a:gd name="connsiteX322" fmla="*/ 268288 w 9905999"/>
              <a:gd name="connsiteY322" fmla="*/ 1214437 h 2265361"/>
              <a:gd name="connsiteX323" fmla="*/ 25400 w 9905999"/>
              <a:gd name="connsiteY323" fmla="*/ 1214437 h 22653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</a:cxnLst>
            <a:rect l="l" t="t" r="r" b="b"/>
            <a:pathLst>
              <a:path w="9905999" h="2265361">
                <a:moveTo>
                  <a:pt x="6778122" y="2222531"/>
                </a:moveTo>
                <a:cubicBezTo>
                  <a:pt x="6778122" y="2222531"/>
                  <a:pt x="6778122" y="2222531"/>
                  <a:pt x="7135812" y="2222531"/>
                </a:cubicBezTo>
                <a:lnTo>
                  <a:pt x="7135812" y="2265361"/>
                </a:lnTo>
                <a:cubicBezTo>
                  <a:pt x="7135812" y="2265361"/>
                  <a:pt x="7135812" y="2265361"/>
                  <a:pt x="6778122" y="2265361"/>
                </a:cubicBezTo>
                <a:cubicBezTo>
                  <a:pt x="6778122" y="2265361"/>
                  <a:pt x="6778122" y="2265361"/>
                  <a:pt x="6778122" y="2222531"/>
                </a:cubicBezTo>
                <a:close/>
                <a:moveTo>
                  <a:pt x="6449676" y="1769427"/>
                </a:moveTo>
                <a:cubicBezTo>
                  <a:pt x="6449676" y="1769427"/>
                  <a:pt x="6449676" y="1769427"/>
                  <a:pt x="6449676" y="1965546"/>
                </a:cubicBezTo>
                <a:cubicBezTo>
                  <a:pt x="6449676" y="1965546"/>
                  <a:pt x="6449676" y="1965546"/>
                  <a:pt x="6575655" y="1965546"/>
                </a:cubicBezTo>
                <a:cubicBezTo>
                  <a:pt x="6643144" y="1965546"/>
                  <a:pt x="6679138" y="1933987"/>
                  <a:pt x="6679138" y="1864105"/>
                </a:cubicBezTo>
                <a:cubicBezTo>
                  <a:pt x="6679138" y="1800986"/>
                  <a:pt x="6638645" y="1769427"/>
                  <a:pt x="6575655" y="1769427"/>
                </a:cubicBezTo>
                <a:cubicBezTo>
                  <a:pt x="6575655" y="1769427"/>
                  <a:pt x="6575655" y="1769427"/>
                  <a:pt x="6449676" y="1769427"/>
                </a:cubicBezTo>
                <a:close/>
                <a:moveTo>
                  <a:pt x="5021164" y="1769427"/>
                </a:moveTo>
                <a:cubicBezTo>
                  <a:pt x="5021164" y="1769427"/>
                  <a:pt x="5021164" y="1769427"/>
                  <a:pt x="5021164" y="1949767"/>
                </a:cubicBezTo>
                <a:cubicBezTo>
                  <a:pt x="5021164" y="1949767"/>
                  <a:pt x="5021164" y="1949767"/>
                  <a:pt x="5158391" y="1949767"/>
                </a:cubicBezTo>
                <a:cubicBezTo>
                  <a:pt x="5219131" y="1949767"/>
                  <a:pt x="5261874" y="1924970"/>
                  <a:pt x="5261874" y="1859597"/>
                </a:cubicBezTo>
                <a:cubicBezTo>
                  <a:pt x="5261874" y="1794223"/>
                  <a:pt x="5219131" y="1769427"/>
                  <a:pt x="5158391" y="1769427"/>
                </a:cubicBezTo>
                <a:cubicBezTo>
                  <a:pt x="5158391" y="1769427"/>
                  <a:pt x="5158391" y="1769427"/>
                  <a:pt x="5021164" y="1769427"/>
                </a:cubicBezTo>
                <a:close/>
                <a:moveTo>
                  <a:pt x="5597068" y="1762664"/>
                </a:moveTo>
                <a:cubicBezTo>
                  <a:pt x="5563324" y="1762664"/>
                  <a:pt x="5529579" y="1776189"/>
                  <a:pt x="5504834" y="1800986"/>
                </a:cubicBezTo>
                <a:cubicBezTo>
                  <a:pt x="5462091" y="1843817"/>
                  <a:pt x="5459841" y="1913699"/>
                  <a:pt x="5459841" y="1967800"/>
                </a:cubicBezTo>
                <a:cubicBezTo>
                  <a:pt x="5459841" y="2019648"/>
                  <a:pt x="5462091" y="2089530"/>
                  <a:pt x="5504834" y="2132361"/>
                </a:cubicBezTo>
                <a:cubicBezTo>
                  <a:pt x="5529579" y="2159412"/>
                  <a:pt x="5563324" y="2170683"/>
                  <a:pt x="5597068" y="2170683"/>
                </a:cubicBezTo>
                <a:cubicBezTo>
                  <a:pt x="5633062" y="2170683"/>
                  <a:pt x="5666807" y="2159412"/>
                  <a:pt x="5691552" y="2132361"/>
                </a:cubicBezTo>
                <a:cubicBezTo>
                  <a:pt x="5732046" y="2089530"/>
                  <a:pt x="5734295" y="2019648"/>
                  <a:pt x="5734295" y="1967800"/>
                </a:cubicBezTo>
                <a:cubicBezTo>
                  <a:pt x="5734295" y="1913699"/>
                  <a:pt x="5732046" y="1843817"/>
                  <a:pt x="5691552" y="1800986"/>
                </a:cubicBezTo>
                <a:cubicBezTo>
                  <a:pt x="5666807" y="1776189"/>
                  <a:pt x="5633062" y="1762664"/>
                  <a:pt x="5597068" y="1762664"/>
                </a:cubicBezTo>
                <a:close/>
                <a:moveTo>
                  <a:pt x="654642" y="1762664"/>
                </a:moveTo>
                <a:cubicBezTo>
                  <a:pt x="618647" y="1762664"/>
                  <a:pt x="584903" y="1776189"/>
                  <a:pt x="560157" y="1800986"/>
                </a:cubicBezTo>
                <a:cubicBezTo>
                  <a:pt x="519664" y="1843817"/>
                  <a:pt x="517414" y="1913699"/>
                  <a:pt x="517414" y="1967800"/>
                </a:cubicBezTo>
                <a:cubicBezTo>
                  <a:pt x="517414" y="2019648"/>
                  <a:pt x="519664" y="2089530"/>
                  <a:pt x="560157" y="2132361"/>
                </a:cubicBezTo>
                <a:cubicBezTo>
                  <a:pt x="584903" y="2159412"/>
                  <a:pt x="618647" y="2170683"/>
                  <a:pt x="654642" y="2170683"/>
                </a:cubicBezTo>
                <a:cubicBezTo>
                  <a:pt x="688386" y="2170683"/>
                  <a:pt x="722130" y="2159412"/>
                  <a:pt x="746876" y="2132361"/>
                </a:cubicBezTo>
                <a:cubicBezTo>
                  <a:pt x="789619" y="2089530"/>
                  <a:pt x="791868" y="2019648"/>
                  <a:pt x="791868" y="1967800"/>
                </a:cubicBezTo>
                <a:cubicBezTo>
                  <a:pt x="791868" y="1913699"/>
                  <a:pt x="789619" y="1843817"/>
                  <a:pt x="746876" y="1800986"/>
                </a:cubicBezTo>
                <a:cubicBezTo>
                  <a:pt x="722130" y="1776189"/>
                  <a:pt x="688386" y="1762664"/>
                  <a:pt x="654642" y="1762664"/>
                </a:cubicBezTo>
                <a:close/>
                <a:moveTo>
                  <a:pt x="6386687" y="1710816"/>
                </a:moveTo>
                <a:cubicBezTo>
                  <a:pt x="6386687" y="1710816"/>
                  <a:pt x="6386687" y="1710816"/>
                  <a:pt x="6575655" y="1710816"/>
                </a:cubicBezTo>
                <a:cubicBezTo>
                  <a:pt x="6636395" y="1710816"/>
                  <a:pt x="6679138" y="1726596"/>
                  <a:pt x="6706134" y="1755901"/>
                </a:cubicBezTo>
                <a:cubicBezTo>
                  <a:pt x="6730880" y="1782952"/>
                  <a:pt x="6744377" y="1821274"/>
                  <a:pt x="6744377" y="1864105"/>
                </a:cubicBezTo>
                <a:cubicBezTo>
                  <a:pt x="6744377" y="1915953"/>
                  <a:pt x="6730880" y="1954275"/>
                  <a:pt x="6701634" y="1981326"/>
                </a:cubicBezTo>
                <a:cubicBezTo>
                  <a:pt x="6674639" y="2008377"/>
                  <a:pt x="6634146" y="2024157"/>
                  <a:pt x="6577905" y="2024157"/>
                </a:cubicBezTo>
                <a:cubicBezTo>
                  <a:pt x="6577905" y="2024157"/>
                  <a:pt x="6577905" y="2024157"/>
                  <a:pt x="6449676" y="2024157"/>
                </a:cubicBezTo>
                <a:cubicBezTo>
                  <a:pt x="6449676" y="2024157"/>
                  <a:pt x="6449676" y="2024157"/>
                  <a:pt x="6449676" y="2222531"/>
                </a:cubicBezTo>
                <a:cubicBezTo>
                  <a:pt x="6449676" y="2222531"/>
                  <a:pt x="6449676" y="2222531"/>
                  <a:pt x="6386687" y="2222531"/>
                </a:cubicBezTo>
                <a:cubicBezTo>
                  <a:pt x="6386687" y="2222531"/>
                  <a:pt x="6386687" y="2222531"/>
                  <a:pt x="6386687" y="1710816"/>
                </a:cubicBezTo>
                <a:close/>
                <a:moveTo>
                  <a:pt x="5889520" y="1710816"/>
                </a:moveTo>
                <a:cubicBezTo>
                  <a:pt x="5889520" y="1710816"/>
                  <a:pt x="5889520" y="1710816"/>
                  <a:pt x="5954759" y="1710816"/>
                </a:cubicBezTo>
                <a:cubicBezTo>
                  <a:pt x="5954759" y="1710816"/>
                  <a:pt x="5954759" y="1710816"/>
                  <a:pt x="5954759" y="2035428"/>
                </a:cubicBezTo>
                <a:cubicBezTo>
                  <a:pt x="5954759" y="2118835"/>
                  <a:pt x="5988503" y="2172937"/>
                  <a:pt x="6076239" y="2172937"/>
                </a:cubicBezTo>
                <a:cubicBezTo>
                  <a:pt x="6166224" y="2172937"/>
                  <a:pt x="6199968" y="2118835"/>
                  <a:pt x="6199968" y="2035428"/>
                </a:cubicBezTo>
                <a:cubicBezTo>
                  <a:pt x="6199968" y="2035428"/>
                  <a:pt x="6199968" y="2035428"/>
                  <a:pt x="6199968" y="1710816"/>
                </a:cubicBezTo>
                <a:cubicBezTo>
                  <a:pt x="6199968" y="1710816"/>
                  <a:pt x="6199968" y="1710816"/>
                  <a:pt x="6262957" y="1710816"/>
                </a:cubicBezTo>
                <a:cubicBezTo>
                  <a:pt x="6262957" y="1710816"/>
                  <a:pt x="6262957" y="1710816"/>
                  <a:pt x="6262957" y="2035428"/>
                </a:cubicBezTo>
                <a:cubicBezTo>
                  <a:pt x="6262957" y="2163920"/>
                  <a:pt x="6190969" y="2231547"/>
                  <a:pt x="6076239" y="2231547"/>
                </a:cubicBezTo>
                <a:cubicBezTo>
                  <a:pt x="5961508" y="2231547"/>
                  <a:pt x="5889520" y="2163920"/>
                  <a:pt x="5889520" y="2035428"/>
                </a:cubicBezTo>
                <a:cubicBezTo>
                  <a:pt x="5889520" y="2035428"/>
                  <a:pt x="5889520" y="2035428"/>
                  <a:pt x="5889520" y="1710816"/>
                </a:cubicBezTo>
                <a:close/>
                <a:moveTo>
                  <a:pt x="4958174" y="1710816"/>
                </a:moveTo>
                <a:cubicBezTo>
                  <a:pt x="4958174" y="1710816"/>
                  <a:pt x="4958174" y="1710816"/>
                  <a:pt x="5158391" y="1710816"/>
                </a:cubicBezTo>
                <a:cubicBezTo>
                  <a:pt x="5219131" y="1710816"/>
                  <a:pt x="5259624" y="1726596"/>
                  <a:pt x="5288869" y="1755901"/>
                </a:cubicBezTo>
                <a:cubicBezTo>
                  <a:pt x="5313615" y="1782952"/>
                  <a:pt x="5329363" y="1814512"/>
                  <a:pt x="5329363" y="1859597"/>
                </a:cubicBezTo>
                <a:cubicBezTo>
                  <a:pt x="5329363" y="1904682"/>
                  <a:pt x="5313615" y="1936241"/>
                  <a:pt x="5288869" y="1961038"/>
                </a:cubicBezTo>
                <a:cubicBezTo>
                  <a:pt x="5275372" y="1976817"/>
                  <a:pt x="5252875" y="1990343"/>
                  <a:pt x="5228130" y="1997106"/>
                </a:cubicBezTo>
                <a:cubicBezTo>
                  <a:pt x="5228130" y="1997106"/>
                  <a:pt x="5228130" y="1997106"/>
                  <a:pt x="5331612" y="2222531"/>
                </a:cubicBezTo>
                <a:lnTo>
                  <a:pt x="5259624" y="2222531"/>
                </a:lnTo>
                <a:cubicBezTo>
                  <a:pt x="5259624" y="2222531"/>
                  <a:pt x="5259624" y="2222531"/>
                  <a:pt x="5162890" y="2010631"/>
                </a:cubicBezTo>
                <a:cubicBezTo>
                  <a:pt x="5162890" y="2010631"/>
                  <a:pt x="5162890" y="2010631"/>
                  <a:pt x="5021164" y="2010631"/>
                </a:cubicBezTo>
                <a:cubicBezTo>
                  <a:pt x="5021164" y="2010631"/>
                  <a:pt x="5021164" y="2010631"/>
                  <a:pt x="5021164" y="2222531"/>
                </a:cubicBezTo>
                <a:cubicBezTo>
                  <a:pt x="5021164" y="2222531"/>
                  <a:pt x="5021164" y="2222531"/>
                  <a:pt x="4958174" y="2222531"/>
                </a:cubicBezTo>
                <a:cubicBezTo>
                  <a:pt x="4958174" y="2222531"/>
                  <a:pt x="4958174" y="2222531"/>
                  <a:pt x="4958174" y="1710816"/>
                </a:cubicBezTo>
                <a:close/>
                <a:moveTo>
                  <a:pt x="3309199" y="1710816"/>
                </a:moveTo>
                <a:cubicBezTo>
                  <a:pt x="3309199" y="1710816"/>
                  <a:pt x="3309199" y="1710816"/>
                  <a:pt x="3381187" y="1710816"/>
                </a:cubicBezTo>
                <a:cubicBezTo>
                  <a:pt x="3381187" y="1710816"/>
                  <a:pt x="3381187" y="1710816"/>
                  <a:pt x="3633145" y="2123344"/>
                </a:cubicBezTo>
                <a:cubicBezTo>
                  <a:pt x="3633145" y="2123344"/>
                  <a:pt x="3633145" y="2123344"/>
                  <a:pt x="3633145" y="1710816"/>
                </a:cubicBezTo>
                <a:cubicBezTo>
                  <a:pt x="3633145" y="1710816"/>
                  <a:pt x="3633145" y="1710816"/>
                  <a:pt x="3693885" y="1710816"/>
                </a:cubicBezTo>
                <a:cubicBezTo>
                  <a:pt x="3693885" y="1710816"/>
                  <a:pt x="3693885" y="1710816"/>
                  <a:pt x="3693885" y="2222531"/>
                </a:cubicBezTo>
                <a:lnTo>
                  <a:pt x="3621897" y="2222531"/>
                </a:lnTo>
                <a:cubicBezTo>
                  <a:pt x="3621897" y="2222531"/>
                  <a:pt x="3621897" y="2222531"/>
                  <a:pt x="3372188" y="1810003"/>
                </a:cubicBezTo>
                <a:cubicBezTo>
                  <a:pt x="3372188" y="1810003"/>
                  <a:pt x="3372188" y="1810003"/>
                  <a:pt x="3372188" y="2222531"/>
                </a:cubicBezTo>
                <a:cubicBezTo>
                  <a:pt x="3372188" y="2222531"/>
                  <a:pt x="3372188" y="2222531"/>
                  <a:pt x="3309199" y="2222531"/>
                </a:cubicBezTo>
                <a:cubicBezTo>
                  <a:pt x="3309199" y="2222531"/>
                  <a:pt x="3309199" y="2222531"/>
                  <a:pt x="3309199" y="1710816"/>
                </a:cubicBezTo>
                <a:close/>
                <a:moveTo>
                  <a:pt x="3106732" y="1710816"/>
                </a:moveTo>
                <a:cubicBezTo>
                  <a:pt x="3106732" y="1710816"/>
                  <a:pt x="3106732" y="1710816"/>
                  <a:pt x="3171971" y="1710816"/>
                </a:cubicBezTo>
                <a:lnTo>
                  <a:pt x="3171971" y="2222531"/>
                </a:lnTo>
                <a:cubicBezTo>
                  <a:pt x="3171971" y="2222531"/>
                  <a:pt x="3171971" y="2222531"/>
                  <a:pt x="3106732" y="2222531"/>
                </a:cubicBezTo>
                <a:cubicBezTo>
                  <a:pt x="3106732" y="2222531"/>
                  <a:pt x="3106732" y="2222531"/>
                  <a:pt x="3106732" y="1710816"/>
                </a:cubicBezTo>
                <a:close/>
                <a:moveTo>
                  <a:pt x="2663557" y="1710816"/>
                </a:moveTo>
                <a:cubicBezTo>
                  <a:pt x="2663557" y="1710816"/>
                  <a:pt x="2663557" y="1710816"/>
                  <a:pt x="3032495" y="1710816"/>
                </a:cubicBezTo>
                <a:cubicBezTo>
                  <a:pt x="3032495" y="1710816"/>
                  <a:pt x="3032495" y="1710816"/>
                  <a:pt x="3032495" y="1769427"/>
                </a:cubicBezTo>
                <a:lnTo>
                  <a:pt x="2879521" y="1769427"/>
                </a:lnTo>
                <a:cubicBezTo>
                  <a:pt x="2879521" y="1769427"/>
                  <a:pt x="2879521" y="1769427"/>
                  <a:pt x="2879521" y="2222531"/>
                </a:cubicBezTo>
                <a:cubicBezTo>
                  <a:pt x="2879521" y="2222531"/>
                  <a:pt x="2879521" y="2222531"/>
                  <a:pt x="2814282" y="2222531"/>
                </a:cubicBezTo>
                <a:cubicBezTo>
                  <a:pt x="2814282" y="2222531"/>
                  <a:pt x="2814282" y="2222531"/>
                  <a:pt x="2814282" y="1769427"/>
                </a:cubicBezTo>
                <a:cubicBezTo>
                  <a:pt x="2814282" y="1769427"/>
                  <a:pt x="2814282" y="1769427"/>
                  <a:pt x="2663557" y="1769427"/>
                </a:cubicBezTo>
                <a:cubicBezTo>
                  <a:pt x="2663557" y="1769427"/>
                  <a:pt x="2663557" y="1769427"/>
                  <a:pt x="2663557" y="1710816"/>
                </a:cubicBezTo>
                <a:close/>
                <a:moveTo>
                  <a:pt x="2416099" y="1710816"/>
                </a:moveTo>
                <a:cubicBezTo>
                  <a:pt x="2416099" y="1710816"/>
                  <a:pt x="2416099" y="1710816"/>
                  <a:pt x="2481338" y="1710816"/>
                </a:cubicBezTo>
                <a:cubicBezTo>
                  <a:pt x="2481338" y="1710816"/>
                  <a:pt x="2481338" y="1710816"/>
                  <a:pt x="2481338" y="2163920"/>
                </a:cubicBezTo>
                <a:cubicBezTo>
                  <a:pt x="2481338" y="2163920"/>
                  <a:pt x="2481338" y="2163920"/>
                  <a:pt x="2726547" y="2163920"/>
                </a:cubicBezTo>
                <a:cubicBezTo>
                  <a:pt x="2726547" y="2163920"/>
                  <a:pt x="2726547" y="2163920"/>
                  <a:pt x="2726547" y="2222531"/>
                </a:cubicBezTo>
                <a:lnTo>
                  <a:pt x="2416099" y="2222531"/>
                </a:lnTo>
                <a:cubicBezTo>
                  <a:pt x="2416099" y="2222531"/>
                  <a:pt x="2416099" y="2222531"/>
                  <a:pt x="2416099" y="1710816"/>
                </a:cubicBezTo>
                <a:close/>
                <a:moveTo>
                  <a:pt x="1918931" y="1710816"/>
                </a:moveTo>
                <a:cubicBezTo>
                  <a:pt x="1918931" y="1710816"/>
                  <a:pt x="1918931" y="1710816"/>
                  <a:pt x="1984171" y="1710816"/>
                </a:cubicBezTo>
                <a:cubicBezTo>
                  <a:pt x="1984171" y="1710816"/>
                  <a:pt x="1984171" y="1710816"/>
                  <a:pt x="1984171" y="2035428"/>
                </a:cubicBezTo>
                <a:cubicBezTo>
                  <a:pt x="1984171" y="2118835"/>
                  <a:pt x="2017916" y="2172937"/>
                  <a:pt x="2105651" y="2172937"/>
                </a:cubicBezTo>
                <a:cubicBezTo>
                  <a:pt x="2195636" y="2172937"/>
                  <a:pt x="2229380" y="2118835"/>
                  <a:pt x="2229380" y="2035428"/>
                </a:cubicBezTo>
                <a:cubicBezTo>
                  <a:pt x="2229380" y="2035428"/>
                  <a:pt x="2229380" y="2035428"/>
                  <a:pt x="2229380" y="1710816"/>
                </a:cubicBezTo>
                <a:cubicBezTo>
                  <a:pt x="2229380" y="1710816"/>
                  <a:pt x="2229380" y="1710816"/>
                  <a:pt x="2292369" y="1710816"/>
                </a:cubicBezTo>
                <a:cubicBezTo>
                  <a:pt x="2292369" y="1710816"/>
                  <a:pt x="2292369" y="1710816"/>
                  <a:pt x="2292369" y="2035428"/>
                </a:cubicBezTo>
                <a:cubicBezTo>
                  <a:pt x="2292369" y="2163920"/>
                  <a:pt x="2220382" y="2231547"/>
                  <a:pt x="2105651" y="2231547"/>
                </a:cubicBezTo>
                <a:cubicBezTo>
                  <a:pt x="1990920" y="2231547"/>
                  <a:pt x="1918931" y="2163920"/>
                  <a:pt x="1918931" y="2035428"/>
                </a:cubicBezTo>
                <a:cubicBezTo>
                  <a:pt x="1918931" y="2035428"/>
                  <a:pt x="1918931" y="2035428"/>
                  <a:pt x="1918931" y="1710816"/>
                </a:cubicBezTo>
                <a:close/>
                <a:moveTo>
                  <a:pt x="960591" y="1710816"/>
                </a:moveTo>
                <a:cubicBezTo>
                  <a:pt x="960591" y="1710816"/>
                  <a:pt x="960591" y="1710816"/>
                  <a:pt x="1032578" y="1710816"/>
                </a:cubicBezTo>
                <a:cubicBezTo>
                  <a:pt x="1032578" y="1710816"/>
                  <a:pt x="1032578" y="1710816"/>
                  <a:pt x="1284537" y="2123344"/>
                </a:cubicBezTo>
                <a:cubicBezTo>
                  <a:pt x="1284537" y="2123344"/>
                  <a:pt x="1284537" y="2123344"/>
                  <a:pt x="1284537" y="1710816"/>
                </a:cubicBezTo>
                <a:cubicBezTo>
                  <a:pt x="1284537" y="1710816"/>
                  <a:pt x="1284537" y="1710816"/>
                  <a:pt x="1345276" y="1710816"/>
                </a:cubicBezTo>
                <a:cubicBezTo>
                  <a:pt x="1345276" y="1710816"/>
                  <a:pt x="1345276" y="1710816"/>
                  <a:pt x="1345276" y="2222531"/>
                </a:cubicBezTo>
                <a:lnTo>
                  <a:pt x="1273289" y="2222531"/>
                </a:lnTo>
                <a:cubicBezTo>
                  <a:pt x="1273289" y="2222531"/>
                  <a:pt x="1273289" y="2222531"/>
                  <a:pt x="1023580" y="1810003"/>
                </a:cubicBezTo>
                <a:cubicBezTo>
                  <a:pt x="1023580" y="1810003"/>
                  <a:pt x="1023580" y="1810003"/>
                  <a:pt x="1023580" y="2222531"/>
                </a:cubicBezTo>
                <a:cubicBezTo>
                  <a:pt x="1023580" y="2222531"/>
                  <a:pt x="1023580" y="2222531"/>
                  <a:pt x="960591" y="2222531"/>
                </a:cubicBezTo>
                <a:cubicBezTo>
                  <a:pt x="960591" y="2222531"/>
                  <a:pt x="960591" y="2222531"/>
                  <a:pt x="960591" y="1710816"/>
                </a:cubicBezTo>
                <a:close/>
                <a:moveTo>
                  <a:pt x="5597068" y="1701799"/>
                </a:moveTo>
                <a:cubicBezTo>
                  <a:pt x="5648810" y="1701799"/>
                  <a:pt x="5698301" y="1719833"/>
                  <a:pt x="5736545" y="1755901"/>
                </a:cubicBezTo>
                <a:cubicBezTo>
                  <a:pt x="5790536" y="1810003"/>
                  <a:pt x="5801784" y="1884393"/>
                  <a:pt x="5801784" y="1967800"/>
                </a:cubicBezTo>
                <a:cubicBezTo>
                  <a:pt x="5801784" y="2048953"/>
                  <a:pt x="5790536" y="2123344"/>
                  <a:pt x="5736545" y="2177446"/>
                </a:cubicBezTo>
                <a:cubicBezTo>
                  <a:pt x="5698301" y="2213514"/>
                  <a:pt x="5648810" y="2233802"/>
                  <a:pt x="5597068" y="2233802"/>
                </a:cubicBezTo>
                <a:cubicBezTo>
                  <a:pt x="5547576" y="2233802"/>
                  <a:pt x="5495835" y="2213514"/>
                  <a:pt x="5459841" y="2177446"/>
                </a:cubicBezTo>
                <a:cubicBezTo>
                  <a:pt x="5403600" y="2123344"/>
                  <a:pt x="5394602" y="2048953"/>
                  <a:pt x="5394602" y="1967800"/>
                </a:cubicBezTo>
                <a:cubicBezTo>
                  <a:pt x="5394602" y="1884393"/>
                  <a:pt x="5403600" y="1810003"/>
                  <a:pt x="5459841" y="1755901"/>
                </a:cubicBezTo>
                <a:cubicBezTo>
                  <a:pt x="5495835" y="1719833"/>
                  <a:pt x="5547576" y="1701799"/>
                  <a:pt x="5597068" y="1701799"/>
                </a:cubicBezTo>
                <a:close/>
                <a:moveTo>
                  <a:pt x="4645477" y="1701799"/>
                </a:moveTo>
                <a:cubicBezTo>
                  <a:pt x="4701717" y="1701799"/>
                  <a:pt x="4755708" y="1722087"/>
                  <a:pt x="4791702" y="1758155"/>
                </a:cubicBezTo>
                <a:cubicBezTo>
                  <a:pt x="4816448" y="1785206"/>
                  <a:pt x="4832195" y="1816766"/>
                  <a:pt x="4834445" y="1859597"/>
                </a:cubicBezTo>
                <a:cubicBezTo>
                  <a:pt x="4834445" y="1859597"/>
                  <a:pt x="4834445" y="1859597"/>
                  <a:pt x="4766956" y="1859597"/>
                </a:cubicBezTo>
                <a:cubicBezTo>
                  <a:pt x="4764707" y="1834800"/>
                  <a:pt x="4757958" y="1819020"/>
                  <a:pt x="4744460" y="1803240"/>
                </a:cubicBezTo>
                <a:cubicBezTo>
                  <a:pt x="4721964" y="1773935"/>
                  <a:pt x="4685970" y="1762664"/>
                  <a:pt x="4645477" y="1762664"/>
                </a:cubicBezTo>
                <a:cubicBezTo>
                  <a:pt x="4609482" y="1762664"/>
                  <a:pt x="4575738" y="1776189"/>
                  <a:pt x="4550992" y="1800986"/>
                </a:cubicBezTo>
                <a:cubicBezTo>
                  <a:pt x="4510499" y="1843817"/>
                  <a:pt x="4506000" y="1913699"/>
                  <a:pt x="4506000" y="1967800"/>
                </a:cubicBezTo>
                <a:cubicBezTo>
                  <a:pt x="4506000" y="2017394"/>
                  <a:pt x="4510499" y="2091784"/>
                  <a:pt x="4553242" y="2134615"/>
                </a:cubicBezTo>
                <a:cubicBezTo>
                  <a:pt x="4577988" y="2161666"/>
                  <a:pt x="4609482" y="2172937"/>
                  <a:pt x="4645477" y="2172937"/>
                </a:cubicBezTo>
                <a:cubicBezTo>
                  <a:pt x="4681471" y="2172937"/>
                  <a:pt x="4715215" y="2159412"/>
                  <a:pt x="4737711" y="2136869"/>
                </a:cubicBezTo>
                <a:cubicBezTo>
                  <a:pt x="4771456" y="2103055"/>
                  <a:pt x="4780454" y="2053462"/>
                  <a:pt x="4780454" y="2006123"/>
                </a:cubicBezTo>
                <a:cubicBezTo>
                  <a:pt x="4780454" y="2006123"/>
                  <a:pt x="4780454" y="2006123"/>
                  <a:pt x="4645477" y="2006123"/>
                </a:cubicBezTo>
                <a:cubicBezTo>
                  <a:pt x="4645477" y="2006123"/>
                  <a:pt x="4645477" y="2006123"/>
                  <a:pt x="4645477" y="1947512"/>
                </a:cubicBezTo>
                <a:cubicBezTo>
                  <a:pt x="4645477" y="1947512"/>
                  <a:pt x="4645477" y="1947512"/>
                  <a:pt x="4838944" y="1947512"/>
                </a:cubicBezTo>
                <a:cubicBezTo>
                  <a:pt x="4838944" y="1947512"/>
                  <a:pt x="4838944" y="1947512"/>
                  <a:pt x="4838944" y="2222531"/>
                </a:cubicBezTo>
                <a:lnTo>
                  <a:pt x="4793952" y="2222531"/>
                </a:lnTo>
                <a:cubicBezTo>
                  <a:pt x="4793952" y="2222531"/>
                  <a:pt x="4793952" y="2222531"/>
                  <a:pt x="4782704" y="2161666"/>
                </a:cubicBezTo>
                <a:cubicBezTo>
                  <a:pt x="4757958" y="2204497"/>
                  <a:pt x="4701717" y="2233802"/>
                  <a:pt x="4645477" y="2233802"/>
                </a:cubicBezTo>
                <a:cubicBezTo>
                  <a:pt x="4593735" y="2233802"/>
                  <a:pt x="4544243" y="2215768"/>
                  <a:pt x="4506000" y="2179700"/>
                </a:cubicBezTo>
                <a:cubicBezTo>
                  <a:pt x="4454258" y="2130106"/>
                  <a:pt x="4440761" y="2057970"/>
                  <a:pt x="4440761" y="1967800"/>
                </a:cubicBezTo>
                <a:cubicBezTo>
                  <a:pt x="4440761" y="1884393"/>
                  <a:pt x="4452009" y="1810003"/>
                  <a:pt x="4506000" y="1755901"/>
                </a:cubicBezTo>
                <a:cubicBezTo>
                  <a:pt x="4544243" y="1719833"/>
                  <a:pt x="4593735" y="1701799"/>
                  <a:pt x="4645477" y="1701799"/>
                </a:cubicBezTo>
                <a:close/>
                <a:moveTo>
                  <a:pt x="4002083" y="1701799"/>
                </a:moveTo>
                <a:cubicBezTo>
                  <a:pt x="4060574" y="1701799"/>
                  <a:pt x="4112315" y="1722087"/>
                  <a:pt x="4148309" y="1758155"/>
                </a:cubicBezTo>
                <a:cubicBezTo>
                  <a:pt x="4173055" y="1785206"/>
                  <a:pt x="4191052" y="1816766"/>
                  <a:pt x="4193302" y="1859597"/>
                </a:cubicBezTo>
                <a:cubicBezTo>
                  <a:pt x="4193302" y="1859597"/>
                  <a:pt x="4193302" y="1859597"/>
                  <a:pt x="4125813" y="1859597"/>
                </a:cubicBezTo>
                <a:cubicBezTo>
                  <a:pt x="4123563" y="1834800"/>
                  <a:pt x="4114565" y="1819020"/>
                  <a:pt x="4103317" y="1803240"/>
                </a:cubicBezTo>
                <a:cubicBezTo>
                  <a:pt x="4078571" y="1773935"/>
                  <a:pt x="4044826" y="1762664"/>
                  <a:pt x="4002083" y="1762664"/>
                </a:cubicBezTo>
                <a:cubicBezTo>
                  <a:pt x="3968339" y="1762664"/>
                  <a:pt x="3934595" y="1776189"/>
                  <a:pt x="3909849" y="1800986"/>
                </a:cubicBezTo>
                <a:cubicBezTo>
                  <a:pt x="3867106" y="1843817"/>
                  <a:pt x="3864856" y="1913699"/>
                  <a:pt x="3864856" y="1967800"/>
                </a:cubicBezTo>
                <a:cubicBezTo>
                  <a:pt x="3864856" y="2017394"/>
                  <a:pt x="3867106" y="2091784"/>
                  <a:pt x="3909849" y="2134615"/>
                </a:cubicBezTo>
                <a:cubicBezTo>
                  <a:pt x="3934595" y="2161666"/>
                  <a:pt x="3968339" y="2172937"/>
                  <a:pt x="4002083" y="2172937"/>
                </a:cubicBezTo>
                <a:cubicBezTo>
                  <a:pt x="4038077" y="2172937"/>
                  <a:pt x="4071822" y="2159412"/>
                  <a:pt x="4094318" y="2136869"/>
                </a:cubicBezTo>
                <a:cubicBezTo>
                  <a:pt x="4130312" y="2103055"/>
                  <a:pt x="4139311" y="2053462"/>
                  <a:pt x="4139311" y="2006123"/>
                </a:cubicBezTo>
                <a:cubicBezTo>
                  <a:pt x="4139311" y="2006123"/>
                  <a:pt x="4139311" y="2006123"/>
                  <a:pt x="4002083" y="2006123"/>
                </a:cubicBezTo>
                <a:cubicBezTo>
                  <a:pt x="4002083" y="2006123"/>
                  <a:pt x="4002083" y="2006123"/>
                  <a:pt x="4002083" y="1947512"/>
                </a:cubicBezTo>
                <a:cubicBezTo>
                  <a:pt x="4002083" y="1947512"/>
                  <a:pt x="4002083" y="1947512"/>
                  <a:pt x="4197801" y="1947512"/>
                </a:cubicBezTo>
                <a:cubicBezTo>
                  <a:pt x="4197801" y="1947512"/>
                  <a:pt x="4197801" y="1947512"/>
                  <a:pt x="4197801" y="2222531"/>
                </a:cubicBezTo>
                <a:lnTo>
                  <a:pt x="4152808" y="2222531"/>
                </a:lnTo>
                <a:cubicBezTo>
                  <a:pt x="4152808" y="2222531"/>
                  <a:pt x="4152808" y="2222531"/>
                  <a:pt x="4141560" y="2161666"/>
                </a:cubicBezTo>
                <a:cubicBezTo>
                  <a:pt x="4116814" y="2204497"/>
                  <a:pt x="4060574" y="2233802"/>
                  <a:pt x="4002083" y="2233802"/>
                </a:cubicBezTo>
                <a:cubicBezTo>
                  <a:pt x="3950342" y="2233802"/>
                  <a:pt x="3900850" y="2215768"/>
                  <a:pt x="3864856" y="2179700"/>
                </a:cubicBezTo>
                <a:cubicBezTo>
                  <a:pt x="3813115" y="2130106"/>
                  <a:pt x="3797367" y="2057970"/>
                  <a:pt x="3797367" y="1967800"/>
                </a:cubicBezTo>
                <a:cubicBezTo>
                  <a:pt x="3797367" y="1884393"/>
                  <a:pt x="3808616" y="1810003"/>
                  <a:pt x="3864856" y="1755901"/>
                </a:cubicBezTo>
                <a:cubicBezTo>
                  <a:pt x="3900850" y="1719833"/>
                  <a:pt x="3950342" y="1701799"/>
                  <a:pt x="4002083" y="1701799"/>
                </a:cubicBezTo>
                <a:close/>
                <a:moveTo>
                  <a:pt x="1642228" y="1701799"/>
                </a:moveTo>
                <a:cubicBezTo>
                  <a:pt x="1691719" y="1701799"/>
                  <a:pt x="1741211" y="1717579"/>
                  <a:pt x="1774955" y="1749138"/>
                </a:cubicBezTo>
                <a:cubicBezTo>
                  <a:pt x="1806450" y="1780698"/>
                  <a:pt x="1822198" y="1816766"/>
                  <a:pt x="1824447" y="1859597"/>
                </a:cubicBezTo>
                <a:cubicBezTo>
                  <a:pt x="1824447" y="1859597"/>
                  <a:pt x="1824447" y="1859597"/>
                  <a:pt x="1756958" y="1859597"/>
                </a:cubicBezTo>
                <a:cubicBezTo>
                  <a:pt x="1754708" y="1834800"/>
                  <a:pt x="1745710" y="1812257"/>
                  <a:pt x="1732212" y="1796478"/>
                </a:cubicBezTo>
                <a:cubicBezTo>
                  <a:pt x="1711966" y="1773935"/>
                  <a:pt x="1680471" y="1760410"/>
                  <a:pt x="1639978" y="1760410"/>
                </a:cubicBezTo>
                <a:cubicBezTo>
                  <a:pt x="1603983" y="1760410"/>
                  <a:pt x="1572489" y="1769427"/>
                  <a:pt x="1549993" y="1796478"/>
                </a:cubicBezTo>
                <a:cubicBezTo>
                  <a:pt x="1536494" y="1810003"/>
                  <a:pt x="1529746" y="1828037"/>
                  <a:pt x="1529746" y="1850580"/>
                </a:cubicBezTo>
                <a:cubicBezTo>
                  <a:pt x="1529746" y="1897919"/>
                  <a:pt x="1567989" y="1918207"/>
                  <a:pt x="1606234" y="1922716"/>
                </a:cubicBezTo>
                <a:cubicBezTo>
                  <a:pt x="1635478" y="1927224"/>
                  <a:pt x="1662474" y="1931733"/>
                  <a:pt x="1691719" y="1936241"/>
                </a:cubicBezTo>
                <a:cubicBezTo>
                  <a:pt x="1774955" y="1949767"/>
                  <a:pt x="1833445" y="2001614"/>
                  <a:pt x="1833445" y="2082767"/>
                </a:cubicBezTo>
                <a:cubicBezTo>
                  <a:pt x="1833445" y="2125598"/>
                  <a:pt x="1815448" y="2157157"/>
                  <a:pt x="1790703" y="2181954"/>
                </a:cubicBezTo>
                <a:cubicBezTo>
                  <a:pt x="1754708" y="2215768"/>
                  <a:pt x="1698468" y="2231547"/>
                  <a:pt x="1644477" y="2231547"/>
                </a:cubicBezTo>
                <a:cubicBezTo>
                  <a:pt x="1581488" y="2231547"/>
                  <a:pt x="1531996" y="2215768"/>
                  <a:pt x="1498251" y="2184208"/>
                </a:cubicBezTo>
                <a:cubicBezTo>
                  <a:pt x="1466757" y="2152649"/>
                  <a:pt x="1444260" y="2109818"/>
                  <a:pt x="1444260" y="2060225"/>
                </a:cubicBezTo>
                <a:cubicBezTo>
                  <a:pt x="1444260" y="2060225"/>
                  <a:pt x="1444260" y="2060225"/>
                  <a:pt x="1509499" y="2060225"/>
                </a:cubicBezTo>
                <a:cubicBezTo>
                  <a:pt x="1509499" y="2091784"/>
                  <a:pt x="1525247" y="2121089"/>
                  <a:pt x="1545494" y="2141378"/>
                </a:cubicBezTo>
                <a:cubicBezTo>
                  <a:pt x="1570239" y="2163920"/>
                  <a:pt x="1608483" y="2172937"/>
                  <a:pt x="1644477" y="2172937"/>
                </a:cubicBezTo>
                <a:cubicBezTo>
                  <a:pt x="1682720" y="2172937"/>
                  <a:pt x="1716465" y="2166174"/>
                  <a:pt x="1738962" y="2143632"/>
                </a:cubicBezTo>
                <a:cubicBezTo>
                  <a:pt x="1754708" y="2130106"/>
                  <a:pt x="1765956" y="2109818"/>
                  <a:pt x="1765956" y="2082767"/>
                </a:cubicBezTo>
                <a:cubicBezTo>
                  <a:pt x="1765956" y="2044445"/>
                  <a:pt x="1741211" y="2010631"/>
                  <a:pt x="1680471" y="2001614"/>
                </a:cubicBezTo>
                <a:cubicBezTo>
                  <a:pt x="1680471" y="2001614"/>
                  <a:pt x="1680471" y="2001614"/>
                  <a:pt x="1599484" y="1988089"/>
                </a:cubicBezTo>
                <a:cubicBezTo>
                  <a:pt x="1522997" y="1976817"/>
                  <a:pt x="1462257" y="1933987"/>
                  <a:pt x="1462257" y="1852834"/>
                </a:cubicBezTo>
                <a:cubicBezTo>
                  <a:pt x="1462257" y="1814512"/>
                  <a:pt x="1480254" y="1778444"/>
                  <a:pt x="1507249" y="1751393"/>
                </a:cubicBezTo>
                <a:cubicBezTo>
                  <a:pt x="1543244" y="1717579"/>
                  <a:pt x="1588236" y="1701799"/>
                  <a:pt x="1642228" y="1701799"/>
                </a:cubicBezTo>
                <a:close/>
                <a:moveTo>
                  <a:pt x="654642" y="1701799"/>
                </a:moveTo>
                <a:cubicBezTo>
                  <a:pt x="704133" y="1701799"/>
                  <a:pt x="755874" y="1719833"/>
                  <a:pt x="791868" y="1755901"/>
                </a:cubicBezTo>
                <a:cubicBezTo>
                  <a:pt x="848110" y="1810003"/>
                  <a:pt x="857108" y="1884393"/>
                  <a:pt x="857108" y="1967800"/>
                </a:cubicBezTo>
                <a:cubicBezTo>
                  <a:pt x="857108" y="2048953"/>
                  <a:pt x="848110" y="2123344"/>
                  <a:pt x="791868" y="2177446"/>
                </a:cubicBezTo>
                <a:cubicBezTo>
                  <a:pt x="755874" y="2213514"/>
                  <a:pt x="704133" y="2233802"/>
                  <a:pt x="654642" y="2233802"/>
                </a:cubicBezTo>
                <a:cubicBezTo>
                  <a:pt x="602900" y="2233802"/>
                  <a:pt x="553408" y="2213514"/>
                  <a:pt x="515164" y="2177446"/>
                </a:cubicBezTo>
                <a:cubicBezTo>
                  <a:pt x="461173" y="2123344"/>
                  <a:pt x="449925" y="2048953"/>
                  <a:pt x="449925" y="1967800"/>
                </a:cubicBezTo>
                <a:cubicBezTo>
                  <a:pt x="449925" y="1884393"/>
                  <a:pt x="461173" y="1810003"/>
                  <a:pt x="515164" y="1755901"/>
                </a:cubicBezTo>
                <a:cubicBezTo>
                  <a:pt x="553408" y="1719833"/>
                  <a:pt x="602900" y="1701799"/>
                  <a:pt x="654642" y="1701799"/>
                </a:cubicBezTo>
                <a:close/>
                <a:moveTo>
                  <a:pt x="202466" y="1701799"/>
                </a:moveTo>
                <a:cubicBezTo>
                  <a:pt x="258707" y="1701799"/>
                  <a:pt x="308199" y="1722087"/>
                  <a:pt x="339693" y="1753647"/>
                </a:cubicBezTo>
                <a:cubicBezTo>
                  <a:pt x="368939" y="1782952"/>
                  <a:pt x="386936" y="1823529"/>
                  <a:pt x="389185" y="1870868"/>
                </a:cubicBezTo>
                <a:cubicBezTo>
                  <a:pt x="389185" y="1870868"/>
                  <a:pt x="389185" y="1870868"/>
                  <a:pt x="323946" y="1870868"/>
                </a:cubicBezTo>
                <a:cubicBezTo>
                  <a:pt x="321697" y="1841563"/>
                  <a:pt x="312698" y="1819020"/>
                  <a:pt x="294701" y="1798732"/>
                </a:cubicBezTo>
                <a:cubicBezTo>
                  <a:pt x="274454" y="1776189"/>
                  <a:pt x="240710" y="1762664"/>
                  <a:pt x="202466" y="1762664"/>
                </a:cubicBezTo>
                <a:cubicBezTo>
                  <a:pt x="168722" y="1762664"/>
                  <a:pt x="134978" y="1776189"/>
                  <a:pt x="110232" y="1800986"/>
                </a:cubicBezTo>
                <a:cubicBezTo>
                  <a:pt x="67489" y="1843817"/>
                  <a:pt x="67489" y="1913699"/>
                  <a:pt x="67489" y="1967800"/>
                </a:cubicBezTo>
                <a:cubicBezTo>
                  <a:pt x="67489" y="2019648"/>
                  <a:pt x="67489" y="2089530"/>
                  <a:pt x="110232" y="2132361"/>
                </a:cubicBezTo>
                <a:cubicBezTo>
                  <a:pt x="134978" y="2159412"/>
                  <a:pt x="168722" y="2172937"/>
                  <a:pt x="202466" y="2172937"/>
                </a:cubicBezTo>
                <a:cubicBezTo>
                  <a:pt x="240710" y="2172937"/>
                  <a:pt x="276704" y="2154903"/>
                  <a:pt x="296951" y="2132361"/>
                </a:cubicBezTo>
                <a:cubicBezTo>
                  <a:pt x="312698" y="2114327"/>
                  <a:pt x="323946" y="2087276"/>
                  <a:pt x="323946" y="2060225"/>
                </a:cubicBezTo>
                <a:cubicBezTo>
                  <a:pt x="323946" y="2060225"/>
                  <a:pt x="323946" y="2060225"/>
                  <a:pt x="391435" y="2060225"/>
                </a:cubicBezTo>
                <a:cubicBezTo>
                  <a:pt x="389185" y="2107564"/>
                  <a:pt x="368939" y="2148140"/>
                  <a:pt x="339693" y="2177446"/>
                </a:cubicBezTo>
                <a:cubicBezTo>
                  <a:pt x="308199" y="2209005"/>
                  <a:pt x="258707" y="2233802"/>
                  <a:pt x="202466" y="2233802"/>
                </a:cubicBezTo>
                <a:cubicBezTo>
                  <a:pt x="150725" y="2233802"/>
                  <a:pt x="101233" y="2213514"/>
                  <a:pt x="65239" y="2177446"/>
                </a:cubicBezTo>
                <a:cubicBezTo>
                  <a:pt x="8999" y="2123344"/>
                  <a:pt x="0" y="2048953"/>
                  <a:pt x="0" y="1967800"/>
                </a:cubicBezTo>
                <a:cubicBezTo>
                  <a:pt x="0" y="1884393"/>
                  <a:pt x="8999" y="1810003"/>
                  <a:pt x="65239" y="1755901"/>
                </a:cubicBezTo>
                <a:cubicBezTo>
                  <a:pt x="101233" y="1719833"/>
                  <a:pt x="150725" y="1701799"/>
                  <a:pt x="202466" y="1701799"/>
                </a:cubicBezTo>
                <a:close/>
                <a:moveTo>
                  <a:pt x="2227389" y="214047"/>
                </a:moveTo>
                <a:cubicBezTo>
                  <a:pt x="2227389" y="214047"/>
                  <a:pt x="2227389" y="214047"/>
                  <a:pt x="2227389" y="574548"/>
                </a:cubicBezTo>
                <a:cubicBezTo>
                  <a:pt x="2227389" y="574548"/>
                  <a:pt x="2227389" y="574548"/>
                  <a:pt x="2456649" y="574548"/>
                </a:cubicBezTo>
                <a:cubicBezTo>
                  <a:pt x="2584765" y="574548"/>
                  <a:pt x="2654442" y="509207"/>
                  <a:pt x="2654442" y="394298"/>
                </a:cubicBezTo>
                <a:cubicBezTo>
                  <a:pt x="2654442" y="277135"/>
                  <a:pt x="2584765" y="214047"/>
                  <a:pt x="2456649" y="214047"/>
                </a:cubicBezTo>
                <a:cubicBezTo>
                  <a:pt x="2456649" y="214047"/>
                  <a:pt x="2456649" y="214047"/>
                  <a:pt x="2227389" y="214047"/>
                </a:cubicBezTo>
                <a:close/>
                <a:moveTo>
                  <a:pt x="8961436" y="0"/>
                </a:moveTo>
                <a:lnTo>
                  <a:pt x="9905999" y="0"/>
                </a:lnTo>
                <a:lnTo>
                  <a:pt x="9905999" y="225425"/>
                </a:lnTo>
                <a:lnTo>
                  <a:pt x="9555161" y="225425"/>
                </a:lnTo>
                <a:lnTo>
                  <a:pt x="9555161" y="1214437"/>
                </a:lnTo>
                <a:lnTo>
                  <a:pt x="9315449" y="1214437"/>
                </a:lnTo>
                <a:lnTo>
                  <a:pt x="9315449" y="225425"/>
                </a:lnTo>
                <a:lnTo>
                  <a:pt x="8961436" y="225425"/>
                </a:lnTo>
                <a:close/>
                <a:moveTo>
                  <a:pt x="7785099" y="0"/>
                </a:moveTo>
                <a:lnTo>
                  <a:pt x="8035924" y="0"/>
                </a:lnTo>
                <a:lnTo>
                  <a:pt x="8037512" y="3175"/>
                </a:lnTo>
                <a:lnTo>
                  <a:pt x="8523286" y="774700"/>
                </a:lnTo>
                <a:lnTo>
                  <a:pt x="8523286" y="0"/>
                </a:lnTo>
                <a:lnTo>
                  <a:pt x="8759824" y="0"/>
                </a:lnTo>
                <a:lnTo>
                  <a:pt x="8759824" y="1214437"/>
                </a:lnTo>
                <a:lnTo>
                  <a:pt x="8518524" y="1214437"/>
                </a:lnTo>
                <a:lnTo>
                  <a:pt x="8024812" y="425450"/>
                </a:lnTo>
                <a:lnTo>
                  <a:pt x="8024812" y="1214437"/>
                </a:lnTo>
                <a:lnTo>
                  <a:pt x="7785099" y="1214437"/>
                </a:lnTo>
                <a:close/>
                <a:moveTo>
                  <a:pt x="6665911" y="0"/>
                </a:moveTo>
                <a:lnTo>
                  <a:pt x="7535861" y="0"/>
                </a:lnTo>
                <a:lnTo>
                  <a:pt x="7535861" y="220663"/>
                </a:lnTo>
                <a:lnTo>
                  <a:pt x="6905624" y="220663"/>
                </a:lnTo>
                <a:lnTo>
                  <a:pt x="6905624" y="473075"/>
                </a:lnTo>
                <a:lnTo>
                  <a:pt x="7459661" y="473075"/>
                </a:lnTo>
                <a:lnTo>
                  <a:pt x="7459661" y="690562"/>
                </a:lnTo>
                <a:lnTo>
                  <a:pt x="6905624" y="690562"/>
                </a:lnTo>
                <a:lnTo>
                  <a:pt x="6905624" y="993775"/>
                </a:lnTo>
                <a:lnTo>
                  <a:pt x="7535861" y="993775"/>
                </a:lnTo>
                <a:lnTo>
                  <a:pt x="7535861" y="1214437"/>
                </a:lnTo>
                <a:lnTo>
                  <a:pt x="6665911" y="1214437"/>
                </a:lnTo>
                <a:close/>
                <a:moveTo>
                  <a:pt x="5221286" y="0"/>
                </a:moveTo>
                <a:lnTo>
                  <a:pt x="5534024" y="0"/>
                </a:lnTo>
                <a:lnTo>
                  <a:pt x="5835649" y="823912"/>
                </a:lnTo>
                <a:lnTo>
                  <a:pt x="6142037" y="0"/>
                </a:lnTo>
                <a:lnTo>
                  <a:pt x="6438899" y="0"/>
                </a:lnTo>
                <a:lnTo>
                  <a:pt x="6438899" y="1214437"/>
                </a:lnTo>
                <a:lnTo>
                  <a:pt x="6203949" y="1214437"/>
                </a:lnTo>
                <a:lnTo>
                  <a:pt x="6203949" y="419100"/>
                </a:lnTo>
                <a:lnTo>
                  <a:pt x="5916612" y="1196975"/>
                </a:lnTo>
                <a:lnTo>
                  <a:pt x="5740399" y="1196975"/>
                </a:lnTo>
                <a:lnTo>
                  <a:pt x="5454649" y="409575"/>
                </a:lnTo>
                <a:lnTo>
                  <a:pt x="5454649" y="1214437"/>
                </a:lnTo>
                <a:lnTo>
                  <a:pt x="5221286" y="1214437"/>
                </a:lnTo>
                <a:close/>
                <a:moveTo>
                  <a:pt x="4098924" y="0"/>
                </a:moveTo>
                <a:lnTo>
                  <a:pt x="4968874" y="0"/>
                </a:lnTo>
                <a:lnTo>
                  <a:pt x="4968874" y="220663"/>
                </a:lnTo>
                <a:lnTo>
                  <a:pt x="4340224" y="220663"/>
                </a:lnTo>
                <a:lnTo>
                  <a:pt x="4340224" y="473075"/>
                </a:lnTo>
                <a:lnTo>
                  <a:pt x="4895849" y="473075"/>
                </a:lnTo>
                <a:lnTo>
                  <a:pt x="4895849" y="690562"/>
                </a:lnTo>
                <a:lnTo>
                  <a:pt x="4340224" y="690562"/>
                </a:lnTo>
                <a:lnTo>
                  <a:pt x="4340224" y="993775"/>
                </a:lnTo>
                <a:lnTo>
                  <a:pt x="4968874" y="993775"/>
                </a:lnTo>
                <a:lnTo>
                  <a:pt x="4968874" y="1214437"/>
                </a:lnTo>
                <a:lnTo>
                  <a:pt x="4098924" y="1214437"/>
                </a:lnTo>
                <a:close/>
                <a:moveTo>
                  <a:pt x="3079749" y="0"/>
                </a:moveTo>
                <a:lnTo>
                  <a:pt x="3321049" y="0"/>
                </a:lnTo>
                <a:lnTo>
                  <a:pt x="3321049" y="984250"/>
                </a:lnTo>
                <a:lnTo>
                  <a:pt x="3871912" y="984250"/>
                </a:lnTo>
                <a:lnTo>
                  <a:pt x="3871912" y="1214437"/>
                </a:lnTo>
                <a:lnTo>
                  <a:pt x="3079749" y="1214437"/>
                </a:lnTo>
                <a:close/>
                <a:moveTo>
                  <a:pt x="1989138" y="0"/>
                </a:moveTo>
                <a:cubicBezTo>
                  <a:pt x="1989138" y="0"/>
                  <a:pt x="1989138" y="0"/>
                  <a:pt x="2465639" y="0"/>
                </a:cubicBezTo>
                <a:cubicBezTo>
                  <a:pt x="2735357" y="0"/>
                  <a:pt x="2897188" y="146454"/>
                  <a:pt x="2897188" y="392045"/>
                </a:cubicBezTo>
                <a:cubicBezTo>
                  <a:pt x="2897188" y="639889"/>
                  <a:pt x="2735357" y="786342"/>
                  <a:pt x="2465639" y="786342"/>
                </a:cubicBezTo>
                <a:cubicBezTo>
                  <a:pt x="2465639" y="786342"/>
                  <a:pt x="2465639" y="786342"/>
                  <a:pt x="2227389" y="786342"/>
                </a:cubicBezTo>
                <a:cubicBezTo>
                  <a:pt x="2227389" y="786342"/>
                  <a:pt x="2227389" y="786342"/>
                  <a:pt x="2227389" y="1214437"/>
                </a:cubicBezTo>
                <a:cubicBezTo>
                  <a:pt x="2227389" y="1214437"/>
                  <a:pt x="2227389" y="1214437"/>
                  <a:pt x="1989138" y="1214437"/>
                </a:cubicBezTo>
                <a:cubicBezTo>
                  <a:pt x="1989138" y="1214437"/>
                  <a:pt x="1989138" y="1214437"/>
                  <a:pt x="1989138" y="0"/>
                </a:cubicBezTo>
                <a:close/>
                <a:moveTo>
                  <a:pt x="520699" y="0"/>
                </a:moveTo>
                <a:lnTo>
                  <a:pt x="833436" y="0"/>
                </a:lnTo>
                <a:lnTo>
                  <a:pt x="1135061" y="823912"/>
                </a:lnTo>
                <a:lnTo>
                  <a:pt x="1439862" y="0"/>
                </a:lnTo>
                <a:lnTo>
                  <a:pt x="1736724" y="0"/>
                </a:lnTo>
                <a:lnTo>
                  <a:pt x="1736724" y="1214437"/>
                </a:lnTo>
                <a:lnTo>
                  <a:pt x="1503362" y="1214437"/>
                </a:lnTo>
                <a:lnTo>
                  <a:pt x="1503362" y="419100"/>
                </a:lnTo>
                <a:lnTo>
                  <a:pt x="1216024" y="1196975"/>
                </a:lnTo>
                <a:lnTo>
                  <a:pt x="1039812" y="1196975"/>
                </a:lnTo>
                <a:lnTo>
                  <a:pt x="754062" y="409575"/>
                </a:lnTo>
                <a:lnTo>
                  <a:pt x="754062" y="1214437"/>
                </a:lnTo>
                <a:lnTo>
                  <a:pt x="520699" y="1214437"/>
                </a:lnTo>
                <a:close/>
                <a:moveTo>
                  <a:pt x="25400" y="0"/>
                </a:moveTo>
                <a:lnTo>
                  <a:pt x="268288" y="0"/>
                </a:lnTo>
                <a:lnTo>
                  <a:pt x="268288" y="1214437"/>
                </a:lnTo>
                <a:lnTo>
                  <a:pt x="25400" y="121443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GB">
                <a:solidFill>
                  <a:srgbClr val="1F2023"/>
                </a:solidFill>
              </a:rPr>
              <a:t> </a:t>
            </a:r>
            <a:endParaRPr lang="en-GB" dirty="0">
              <a:solidFill>
                <a:srgbClr val="1F2023"/>
              </a:solidFill>
            </a:endParaRP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0C23C2C4-9C05-4B0D-A5F2-916706DD0868}"/>
              </a:ext>
            </a:extLst>
          </p:cNvPr>
          <p:cNvSpPr txBox="1">
            <a:spLocks/>
          </p:cNvSpPr>
          <p:nvPr userDrawn="1"/>
        </p:nvSpPr>
        <p:spPr>
          <a:xfrm>
            <a:off x="9378938" y="6496424"/>
            <a:ext cx="255600" cy="1116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r" defTabSz="914400" rtl="0" eaLnBrk="1" latinLnBrk="0" hangingPunct="1">
              <a:defRPr sz="650" kern="1200" spc="0" baseline="0">
                <a:solidFill>
                  <a:srgbClr val="2F363B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650" smtClean="0">
                <a:solidFill>
                  <a:srgbClr val="1F2023"/>
                </a:solidFill>
              </a:rPr>
              <a:pPr/>
              <a:t>‹#›</a:t>
            </a:fld>
            <a:endParaRPr lang="en-GB" sz="650" dirty="0">
              <a:solidFill>
                <a:srgbClr val="1F20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9810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case_sho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3C5E530-08C3-4F11-A2C6-6DF1463198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88246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3C5E530-08C3-4F11-A2C6-6DF1463198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C39504E-4D73-4AF2-88D2-BD5DC83852B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2DE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5000" b="0" i="0" baseline="0" noProof="0" dirty="0" err="1">
              <a:solidFill>
                <a:srgbClr val="2F363B"/>
              </a:solidFill>
              <a:latin typeface="Impact" panose="020B0806030902050204" pitchFamily="34" charset="0"/>
              <a:ea typeface="+mj-ea"/>
              <a:cs typeface="+mj-cs"/>
              <a:sym typeface="Impact" panose="020B0806030902050204" pitchFamily="34" charset="0"/>
            </a:endParaRPr>
          </a:p>
        </p:txBody>
      </p:sp>
      <p:sp>
        <p:nvSpPr>
          <p:cNvPr id="8" name="Picture Placeholder 13">
            <a:extLst>
              <a:ext uri="{FF2B5EF4-FFF2-40B4-BE49-F238E27FC236}">
                <a16:creationId xmlns:a16="http://schemas.microsoft.com/office/drawing/2014/main" id="{C4CFC32D-2211-4E39-9B91-7B77BE0D101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1"/>
            <a:ext cx="9906001" cy="6858000"/>
          </a:xfrm>
          <a:solidFill>
            <a:srgbClr val="B8BBBD"/>
          </a:solidFill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da-DK" dirty="0"/>
            </a:lvl1pPr>
          </a:lstStyle>
          <a:p>
            <a:pPr lvl="0" algn="ctr">
              <a:buNone/>
            </a:pPr>
            <a:r>
              <a:rPr lang="en-GB" dirty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949D33-2E01-4246-97EA-A41F8450A0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4051" y="1128486"/>
            <a:ext cx="3855558" cy="1277273"/>
          </a:xfrm>
          <a:noFill/>
        </p:spPr>
        <p:txBody>
          <a:bodyPr vert="horz" lIns="0" tIns="0" rIns="0">
            <a:spAutoFit/>
          </a:bodyPr>
          <a:lstStyle>
            <a:lvl1pPr>
              <a:lnSpc>
                <a:spcPct val="83000"/>
              </a:lnSpc>
              <a:defRPr sz="5000" cap="all" baseline="0">
                <a:solidFill>
                  <a:schemeClr val="bg1"/>
                </a:solidFill>
                <a:latin typeface="Impact" panose="020B0806030902050204" pitchFamily="34" charset="0"/>
              </a:defRPr>
            </a:lvl1pPr>
          </a:lstStyle>
          <a:p>
            <a:r>
              <a:rPr lang="en-GB" dirty="0"/>
              <a:t>CLICK TO EDIT MASTER TITLE</a:t>
            </a:r>
          </a:p>
        </p:txBody>
      </p:sp>
      <p:sp>
        <p:nvSpPr>
          <p:cNvPr id="10" name="Date_GeneralDate" hidden="1">
            <a:extLst>
              <a:ext uri="{FF2B5EF4-FFF2-40B4-BE49-F238E27FC236}">
                <a16:creationId xmlns:a16="http://schemas.microsoft.com/office/drawing/2014/main" id="{0FAE2377-E2B0-4140-9CCB-1BC962EBB0E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3B622D86-972D-43A8-8E81-B3E0ACF379F0}" type="datetime1">
              <a:rPr lang="en-US" smtClean="0"/>
              <a:t>2/25/2022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6492679-67E2-4950-9788-4A68EBA6BB0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84051" y="2740083"/>
            <a:ext cx="3422650" cy="1516063"/>
          </a:xfrm>
        </p:spPr>
        <p:txBody>
          <a:bodyPr/>
          <a:lstStyle>
            <a:lvl1pPr>
              <a:buFontTx/>
              <a:buNone/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AA90BC2-6F20-46DE-9028-4D06826A69F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4051" y="276200"/>
            <a:ext cx="900000" cy="269875"/>
          </a:xfrm>
          <a:blipFill>
            <a:blip r:embed="rId7"/>
            <a:stretch>
              <a:fillRect/>
            </a:stretch>
          </a:blipFill>
        </p:spPr>
        <p:txBody>
          <a:bodyPr rIns="0" anchor="ctr" anchorCtr="0"/>
          <a:lstStyle>
            <a:lvl1pPr algn="l">
              <a:defRPr sz="100"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dirty="0"/>
              <a:t>.</a:t>
            </a:r>
          </a:p>
        </p:txBody>
      </p:sp>
      <p:sp>
        <p:nvSpPr>
          <p:cNvPr id="14" name="Text Placeholder logo">
            <a:extLst>
              <a:ext uri="{FF2B5EF4-FFF2-40B4-BE49-F238E27FC236}">
                <a16:creationId xmlns:a16="http://schemas.microsoft.com/office/drawing/2014/main" id="{0CCBDCEE-CA39-4882-B9E1-3A14FEFED0F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479736" y="303045"/>
            <a:ext cx="154800" cy="349200"/>
          </a:xfrm>
          <a:blipFill>
            <a:blip r:embed="rId8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US" dirty="0"/>
              <a:t>.</a:t>
            </a:r>
            <a:endParaRPr lang="en-GB" dirty="0"/>
          </a:p>
        </p:txBody>
      </p:sp>
      <p:sp>
        <p:nvSpPr>
          <p:cNvPr id="12" name="TextBox 33">
            <a:extLst>
              <a:ext uri="{FF2B5EF4-FFF2-40B4-BE49-F238E27FC236}">
                <a16:creationId xmlns:a16="http://schemas.microsoft.com/office/drawing/2014/main" id="{AC198211-3431-4E8B-B6DA-E674381C3A43}"/>
              </a:ext>
            </a:extLst>
          </p:cNvPr>
          <p:cNvSpPr txBox="1"/>
          <p:nvPr userDrawn="1"/>
        </p:nvSpPr>
        <p:spPr>
          <a:xfrm>
            <a:off x="10107046" y="0"/>
            <a:ext cx="1570400" cy="2129402"/>
          </a:xfrm>
          <a:prstGeom prst="rect">
            <a:avLst/>
          </a:prstGeom>
          <a:solidFill>
            <a:srgbClr val="E2DE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indent="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b="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0" indent="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1" kern="1200" cap="none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0" indent="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1" kern="1200" cap="all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144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0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144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lphaUcPeriod"/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0" indent="0" algn="l" defTabSz="742950" rtl="0" eaLnBrk="1" latinLnBrk="0" hangingPunct="1">
              <a:lnSpc>
                <a:spcPct val="8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4800" kern="1200" cap="all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en-GB" sz="800" b="1" dirty="0">
                <a:solidFill>
                  <a:schemeClr val="tx1"/>
                </a:solidFill>
                <a:sym typeface="Arial" panose="020B0604020202020204" pitchFamily="34" charset="0"/>
              </a:rPr>
              <a:t>CASE DATA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For internal use only – delete before sharing</a:t>
            </a:r>
          </a:p>
          <a:p>
            <a:pPr>
              <a:buNone/>
            </a:pPr>
            <a:endParaRPr lang="en-GB" sz="800" dirty="0">
              <a:solidFill>
                <a:schemeClr val="tx1"/>
              </a:solidFill>
              <a:sym typeface="Arial" panose="020B0604020202020204" pitchFamily="34" charset="0"/>
            </a:endParaRP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Client name: 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Maconomy project name: 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Industry: 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Keywords: xx, xx, 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Year(s): 20xx – 20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Implement contact person: xx</a:t>
            </a:r>
          </a:p>
          <a:p>
            <a:pPr>
              <a:buNone/>
            </a:pPr>
            <a:endParaRPr lang="en-GB" sz="8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1F10CD25-992F-4691-9877-FE540C63AA08}"/>
              </a:ext>
            </a:extLst>
          </p:cNvPr>
          <p:cNvSpPr txBox="1">
            <a:spLocks/>
          </p:cNvSpPr>
          <p:nvPr userDrawn="1"/>
        </p:nvSpPr>
        <p:spPr>
          <a:xfrm>
            <a:off x="9378938" y="6496424"/>
            <a:ext cx="255600" cy="1116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r" defTabSz="914400" rtl="0" eaLnBrk="1" latinLnBrk="0" hangingPunct="1">
              <a:defRPr sz="650" kern="1200" spc="0" baseline="0">
                <a:solidFill>
                  <a:srgbClr val="2F363B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650" smtClean="0">
                <a:solidFill>
                  <a:schemeClr val="bg1"/>
                </a:solidFill>
              </a:rPr>
              <a:pPr/>
              <a:t>‹#›</a:t>
            </a:fld>
            <a:endParaRPr lang="en-GB" sz="65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8163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case_lon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7E4694B-A434-48B1-A431-0432E4744F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7939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Slide" r:id="rId6" imgW="526" imgH="526" progId="TCLayout.ActiveDocument.1">
                  <p:embed/>
                </p:oleObj>
              </mc:Choice>
              <mc:Fallback>
                <p:oleObj name="think-cell Slide" r:id="rId6" imgW="526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7E4694B-A434-48B1-A431-0432E4744F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C3A9516-8834-4484-A04E-ECB695CB650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2DE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0" i="0" baseline="0" noProof="0" dirty="0" err="1">
              <a:solidFill>
                <a:srgbClr val="2F363B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Rectangle 1">
            <a:extLst>
              <a:ext uri="{FF2B5EF4-FFF2-40B4-BE49-F238E27FC236}">
                <a16:creationId xmlns:a16="http://schemas.microsoft.com/office/drawing/2014/main" id="{749152A0-09EC-4CDD-A991-4F69E37FE88A}"/>
              </a:ext>
            </a:extLst>
          </p:cNvPr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EEEBE8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1000" noProof="0" dirty="0">
              <a:solidFill>
                <a:srgbClr val="1F2023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AD8A034-05A2-458D-8D7A-81B7EFBAEA9F}"/>
              </a:ext>
            </a:extLst>
          </p:cNvPr>
          <p:cNvSpPr txBox="1"/>
          <p:nvPr userDrawn="1"/>
        </p:nvSpPr>
        <p:spPr>
          <a:xfrm>
            <a:off x="6532418" y="-1"/>
            <a:ext cx="3373582" cy="3543301"/>
          </a:xfrm>
          <a:prstGeom prst="rect">
            <a:avLst/>
          </a:prstGeom>
          <a:solidFill>
            <a:srgbClr val="E4B73B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-144000">
              <a:lnSpc>
                <a:spcPct val="93000"/>
              </a:lnSpc>
              <a:spcAft>
                <a:spcPts val="0"/>
              </a:spcAft>
              <a:buSzPct val="100000"/>
              <a:buNone/>
              <a:defRPr sz="1100">
                <a:solidFill>
                  <a:srgbClr val="2F363B"/>
                </a:solidFill>
                <a:latin typeface="Arial" panose="020B0604020202020204" pitchFamily="34" charset="0"/>
              </a:defRPr>
            </a:lvl1pPr>
            <a:lvl2pPr marL="0" lvl="1" indent="0">
              <a:lnSpc>
                <a:spcPct val="93000"/>
              </a:lnSpc>
              <a:spcAft>
                <a:spcPts val="0"/>
              </a:spcAft>
              <a:buSzPct val="100000"/>
              <a:buChar char="​"/>
              <a:defRPr sz="1100">
                <a:solidFill>
                  <a:srgbClr val="2F363B"/>
                </a:solidFill>
                <a:latin typeface="Arial" panose="020B0604020202020204" pitchFamily="34" charset="0"/>
              </a:defRPr>
            </a:lvl2pPr>
            <a:lvl3pPr marL="139303" lvl="2" indent="-139303">
              <a:lnSpc>
                <a:spcPct val="93000"/>
              </a:lnSpc>
              <a:spcAft>
                <a:spcPts val="0"/>
              </a:spcAft>
              <a:buSzPct val="100000"/>
              <a:defRPr sz="1100">
                <a:solidFill>
                  <a:srgbClr val="2F363B"/>
                </a:solidFill>
                <a:latin typeface="Arial" panose="020B0604020202020204" pitchFamily="34" charset="0"/>
              </a:defRPr>
            </a:lvl3pPr>
            <a:lvl4pPr marL="185738" lvl="3" indent="-185738">
              <a:lnSpc>
                <a:spcPct val="93000"/>
              </a:lnSpc>
              <a:spcAft>
                <a:spcPts val="0"/>
              </a:spcAft>
              <a:buSzPct val="100000"/>
              <a:buFont typeface="+mj-lt"/>
              <a:buAutoNum type="arabicPeriod"/>
              <a:defRPr sz="1100">
                <a:solidFill>
                  <a:srgbClr val="2F363B"/>
                </a:solidFill>
                <a:latin typeface="Arial" panose="020B0604020202020204" pitchFamily="34" charset="0"/>
              </a:defRPr>
            </a:lvl4pPr>
            <a:lvl5pPr marL="185738" lvl="4" indent="-185738">
              <a:lnSpc>
                <a:spcPct val="93000"/>
              </a:lnSpc>
              <a:spcAft>
                <a:spcPts val="0"/>
              </a:spcAft>
              <a:buSzPct val="100000"/>
              <a:buFont typeface="+mj-lt"/>
              <a:buAutoNum type="alphaUcPeriod"/>
              <a:defRPr sz="1100" b="0">
                <a:solidFill>
                  <a:srgbClr val="2F363B"/>
                </a:solidFill>
                <a:latin typeface="Arial" panose="020B0604020202020204" pitchFamily="34" charset="0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lvl="1">
              <a:buNone/>
            </a:pPr>
            <a:endParaRPr lang="en-GB">
              <a:solidFill>
                <a:srgbClr val="30373B"/>
              </a:solidFill>
              <a:sym typeface="Arial" panose="020B0604020202020204" pitchFamily="34" charset="0"/>
            </a:endParaRPr>
          </a:p>
        </p:txBody>
      </p:sp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96EDC17A-116C-4E16-A3DE-2E5F4B894B8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317911" y="1308"/>
            <a:ext cx="3889058" cy="3108288"/>
          </a:xfrm>
          <a:solidFill>
            <a:srgbClr val="B8BBBD"/>
          </a:solidFill>
        </p:spPr>
        <p:txBody>
          <a:bodyPr rIns="0" anchor="ctr" anchorCtr="0"/>
          <a:lstStyle>
            <a:lvl1pPr marL="0" indent="0" algn="ctr">
              <a:buNone/>
              <a:defRPr>
                <a:solidFill>
                  <a:srgbClr val="1F2023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71B800F5-D353-40A2-B9C9-A29ACB6135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5070" y="2746979"/>
            <a:ext cx="4320000" cy="886397"/>
          </a:xfrm>
        </p:spPr>
        <p:txBody>
          <a:bodyPr anchor="b" anchorCtr="0">
            <a:spAutoFit/>
          </a:bodyPr>
          <a:lstStyle>
            <a:lvl1pPr>
              <a:defRPr sz="3200">
                <a:solidFill>
                  <a:srgbClr val="1F202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6C3A81CD-98C4-40D0-925F-38C84421F367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 rot="5400000">
            <a:off x="9382133" y="400810"/>
            <a:ext cx="350168" cy="154638"/>
          </a:xfrm>
          <a:custGeom>
            <a:avLst/>
            <a:gdLst>
              <a:gd name="connsiteX0" fmla="*/ 242136 w 350168"/>
              <a:gd name="connsiteY0" fmla="*/ 154638 h 154638"/>
              <a:gd name="connsiteX1" fmla="*/ 242136 w 350168"/>
              <a:gd name="connsiteY1" fmla="*/ 141700 h 154638"/>
              <a:gd name="connsiteX2" fmla="*/ 350168 w 350168"/>
              <a:gd name="connsiteY2" fmla="*/ 141700 h 154638"/>
              <a:gd name="connsiteX3" fmla="*/ 350168 w 350168"/>
              <a:gd name="connsiteY3" fmla="*/ 154638 h 154638"/>
              <a:gd name="connsiteX4" fmla="*/ 62944 w 350168"/>
              <a:gd name="connsiteY4" fmla="*/ 154337 h 154638"/>
              <a:gd name="connsiteX5" fmla="*/ 62944 w 350168"/>
              <a:gd name="connsiteY5" fmla="*/ 0 h 154638"/>
              <a:gd name="connsiteX6" fmla="*/ 102688 w 350168"/>
              <a:gd name="connsiteY6" fmla="*/ 0 h 154638"/>
              <a:gd name="connsiteX7" fmla="*/ 141020 w 350168"/>
              <a:gd name="connsiteY7" fmla="*/ 104707 h 154638"/>
              <a:gd name="connsiteX8" fmla="*/ 179755 w 350168"/>
              <a:gd name="connsiteY8" fmla="*/ 0 h 154638"/>
              <a:gd name="connsiteX9" fmla="*/ 217481 w 350168"/>
              <a:gd name="connsiteY9" fmla="*/ 0 h 154638"/>
              <a:gd name="connsiteX10" fmla="*/ 217481 w 350168"/>
              <a:gd name="connsiteY10" fmla="*/ 154337 h 154638"/>
              <a:gd name="connsiteX11" fmla="*/ 187825 w 350168"/>
              <a:gd name="connsiteY11" fmla="*/ 154337 h 154638"/>
              <a:gd name="connsiteX12" fmla="*/ 187825 w 350168"/>
              <a:gd name="connsiteY12" fmla="*/ 53263 h 154638"/>
              <a:gd name="connsiteX13" fmla="*/ 151309 w 350168"/>
              <a:gd name="connsiteY13" fmla="*/ 152117 h 154638"/>
              <a:gd name="connsiteX14" fmla="*/ 128915 w 350168"/>
              <a:gd name="connsiteY14" fmla="*/ 152117 h 154638"/>
              <a:gd name="connsiteX15" fmla="*/ 92601 w 350168"/>
              <a:gd name="connsiteY15" fmla="*/ 52051 h 154638"/>
              <a:gd name="connsiteX16" fmla="*/ 92601 w 350168"/>
              <a:gd name="connsiteY16" fmla="*/ 154337 h 154638"/>
              <a:gd name="connsiteX17" fmla="*/ 0 w 350168"/>
              <a:gd name="connsiteY17" fmla="*/ 154337 h 154638"/>
              <a:gd name="connsiteX18" fmla="*/ 0 w 350168"/>
              <a:gd name="connsiteY18" fmla="*/ 0 h 154638"/>
              <a:gd name="connsiteX19" fmla="*/ 30867 w 350168"/>
              <a:gd name="connsiteY19" fmla="*/ 0 h 154638"/>
              <a:gd name="connsiteX20" fmla="*/ 30867 w 350168"/>
              <a:gd name="connsiteY20" fmla="*/ 154337 h 154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50168" h="154638">
                <a:moveTo>
                  <a:pt x="242136" y="154638"/>
                </a:moveTo>
                <a:lnTo>
                  <a:pt x="242136" y="141700"/>
                </a:lnTo>
                <a:lnTo>
                  <a:pt x="350168" y="141700"/>
                </a:lnTo>
                <a:lnTo>
                  <a:pt x="350168" y="154638"/>
                </a:lnTo>
                <a:close/>
                <a:moveTo>
                  <a:pt x="62944" y="154337"/>
                </a:moveTo>
                <a:lnTo>
                  <a:pt x="62944" y="0"/>
                </a:lnTo>
                <a:lnTo>
                  <a:pt x="102688" y="0"/>
                </a:lnTo>
                <a:lnTo>
                  <a:pt x="141020" y="104707"/>
                </a:lnTo>
                <a:lnTo>
                  <a:pt x="179755" y="0"/>
                </a:lnTo>
                <a:lnTo>
                  <a:pt x="217481" y="0"/>
                </a:lnTo>
                <a:lnTo>
                  <a:pt x="217481" y="154337"/>
                </a:lnTo>
                <a:lnTo>
                  <a:pt x="187825" y="154337"/>
                </a:lnTo>
                <a:lnTo>
                  <a:pt x="187825" y="53263"/>
                </a:lnTo>
                <a:lnTo>
                  <a:pt x="151309" y="152117"/>
                </a:lnTo>
                <a:lnTo>
                  <a:pt x="128915" y="152117"/>
                </a:lnTo>
                <a:lnTo>
                  <a:pt x="92601" y="52051"/>
                </a:lnTo>
                <a:lnTo>
                  <a:pt x="92601" y="154337"/>
                </a:lnTo>
                <a:close/>
                <a:moveTo>
                  <a:pt x="0" y="154337"/>
                </a:moveTo>
                <a:lnTo>
                  <a:pt x="0" y="0"/>
                </a:lnTo>
                <a:lnTo>
                  <a:pt x="30867" y="0"/>
                </a:lnTo>
                <a:lnTo>
                  <a:pt x="30867" y="15433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23430AAB-5902-4654-B9FA-AE29404FCE66}"/>
              </a:ext>
            </a:extLst>
          </p:cNvPr>
          <p:cNvCxnSpPr>
            <a:cxnSpLocks/>
          </p:cNvCxnSpPr>
          <p:nvPr userDrawn="1"/>
        </p:nvCxnSpPr>
        <p:spPr>
          <a:xfrm>
            <a:off x="275070" y="4497744"/>
            <a:ext cx="4320000" cy="0"/>
          </a:xfrm>
          <a:prstGeom prst="line">
            <a:avLst/>
          </a:prstGeom>
          <a:ln w="12700">
            <a:solidFill>
              <a:srgbClr val="30373B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3F61116-2B80-4AA8-A5DE-F43ACEFB4AD3}"/>
              </a:ext>
            </a:extLst>
          </p:cNvPr>
          <p:cNvCxnSpPr>
            <a:cxnSpLocks/>
          </p:cNvCxnSpPr>
          <p:nvPr userDrawn="1"/>
        </p:nvCxnSpPr>
        <p:spPr>
          <a:xfrm>
            <a:off x="5319136" y="4497744"/>
            <a:ext cx="4319999" cy="0"/>
          </a:xfrm>
          <a:prstGeom prst="line">
            <a:avLst/>
          </a:prstGeom>
          <a:ln w="12700">
            <a:solidFill>
              <a:srgbClr val="30373B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871737B9-DDE3-4847-BCBB-79FA9187C04F}"/>
              </a:ext>
            </a:extLst>
          </p:cNvPr>
          <p:cNvSpPr/>
          <p:nvPr userDrawn="1"/>
        </p:nvSpPr>
        <p:spPr>
          <a:xfrm>
            <a:off x="275070" y="4251232"/>
            <a:ext cx="1077218" cy="17171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lvl="1">
              <a:lnSpc>
                <a:spcPct val="93000"/>
              </a:lnSpc>
              <a:buNone/>
            </a:pPr>
            <a:r>
              <a:rPr lang="en-GB" sz="1200" b="1" dirty="0">
                <a:solidFill>
                  <a:srgbClr val="30373B"/>
                </a:solidFill>
              </a:rPr>
              <a:t>THE PROJECT</a:t>
            </a:r>
            <a:endParaRPr lang="en-GB" dirty="0">
              <a:solidFill>
                <a:srgbClr val="30373B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9512485-4193-4DA1-A713-E51426E48AB3}"/>
              </a:ext>
            </a:extLst>
          </p:cNvPr>
          <p:cNvSpPr/>
          <p:nvPr userDrawn="1"/>
        </p:nvSpPr>
        <p:spPr>
          <a:xfrm>
            <a:off x="5317911" y="4251232"/>
            <a:ext cx="929550" cy="17171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lvl="1">
              <a:lnSpc>
                <a:spcPct val="93000"/>
              </a:lnSpc>
              <a:buNone/>
            </a:pPr>
            <a:r>
              <a:rPr lang="en-GB" sz="1200" b="1" dirty="0">
                <a:solidFill>
                  <a:srgbClr val="30373B"/>
                </a:solidFill>
              </a:rPr>
              <a:t>THE IMPACT</a:t>
            </a:r>
            <a:endParaRPr lang="en-GB" dirty="0">
              <a:solidFill>
                <a:srgbClr val="30373B"/>
              </a:solidFill>
            </a:endParaRP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FD457679-0CD8-436B-B224-B5039179B05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75070" y="4648330"/>
            <a:ext cx="4320000" cy="1663569"/>
          </a:xfrm>
        </p:spPr>
        <p:txBody>
          <a:bodyPr/>
          <a:lstStyle>
            <a:lvl1pPr>
              <a:buFontTx/>
              <a:buNone/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0122C995-A46A-47E3-BD5A-37630113CBD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319136" y="4648330"/>
            <a:ext cx="4320000" cy="1663569"/>
          </a:xfrm>
        </p:spPr>
        <p:txBody>
          <a:bodyPr/>
          <a:lstStyle>
            <a:lvl1pPr>
              <a:buFontTx/>
              <a:buNone/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22B717F-572C-4701-890C-5980AFA4B1FF}"/>
              </a:ext>
            </a:extLst>
          </p:cNvPr>
          <p:cNvSpPr/>
          <p:nvPr userDrawn="1"/>
        </p:nvSpPr>
        <p:spPr>
          <a:xfrm>
            <a:off x="275070" y="1511114"/>
            <a:ext cx="347852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0"/>
              </a:spcAft>
            </a:pPr>
            <a:r>
              <a:rPr lang="en-GB" dirty="0">
                <a:solidFill>
                  <a:srgbClr val="1F2023"/>
                </a:solidFill>
              </a:rPr>
              <a:t>CASE</a:t>
            </a:r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C55FEAD9-E0C4-4E4E-9EEC-4F3E52446BCE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45317630-8701-4B49-BF3D-3DA5BE3CE466}" type="datetime1">
              <a:rPr lang="en-US" smtClean="0"/>
              <a:t>2/25/2022</a:t>
            </a:fld>
            <a:endParaRPr lang="en-GB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1D797A1B-1250-4702-BA87-713DE7B4184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Footer</a:t>
            </a:r>
            <a:endParaRPr lang="en-GB" dirty="0"/>
          </a:p>
        </p:txBody>
      </p:sp>
      <p:sp>
        <p:nvSpPr>
          <p:cNvPr id="26" name="TextBox 33">
            <a:extLst>
              <a:ext uri="{FF2B5EF4-FFF2-40B4-BE49-F238E27FC236}">
                <a16:creationId xmlns:a16="http://schemas.microsoft.com/office/drawing/2014/main" id="{16A48703-285C-4AA2-973D-4D322ECF524F}"/>
              </a:ext>
            </a:extLst>
          </p:cNvPr>
          <p:cNvSpPr txBox="1"/>
          <p:nvPr userDrawn="1"/>
        </p:nvSpPr>
        <p:spPr>
          <a:xfrm>
            <a:off x="10107046" y="0"/>
            <a:ext cx="1570400" cy="2129402"/>
          </a:xfrm>
          <a:prstGeom prst="rect">
            <a:avLst/>
          </a:prstGeom>
          <a:solidFill>
            <a:srgbClr val="E2DE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indent="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b="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0" indent="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1" kern="1200" cap="none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0" indent="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1" kern="1200" cap="all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144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0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144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lphaUcPeriod"/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0" indent="0" algn="l" defTabSz="742950" rtl="0" eaLnBrk="1" latinLnBrk="0" hangingPunct="1">
              <a:lnSpc>
                <a:spcPct val="8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4800" kern="1200" cap="all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en-GB" sz="800" b="1" dirty="0">
                <a:solidFill>
                  <a:schemeClr val="tx1"/>
                </a:solidFill>
                <a:sym typeface="Arial" panose="020B0604020202020204" pitchFamily="34" charset="0"/>
              </a:rPr>
              <a:t>CASE DATA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For internal use only – delete before sharing</a:t>
            </a:r>
          </a:p>
          <a:p>
            <a:pPr>
              <a:buNone/>
            </a:pPr>
            <a:endParaRPr lang="en-GB" sz="800" dirty="0">
              <a:solidFill>
                <a:schemeClr val="tx1"/>
              </a:solidFill>
              <a:sym typeface="Arial" panose="020B0604020202020204" pitchFamily="34" charset="0"/>
            </a:endParaRP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Client name: 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Maconomy project name: 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Industry: 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Keywords: xx, xx, 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Year(s): 20xx – 20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Implement contact person: xx</a:t>
            </a:r>
          </a:p>
          <a:p>
            <a:pPr>
              <a:buNone/>
            </a:pPr>
            <a:endParaRPr lang="en-GB" sz="8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0" name="Slide Number Placeholder 4">
            <a:extLst>
              <a:ext uri="{FF2B5EF4-FFF2-40B4-BE49-F238E27FC236}">
                <a16:creationId xmlns:a16="http://schemas.microsoft.com/office/drawing/2014/main" id="{3D05F45B-D1A2-4914-ABF3-2EECD56B6F4E}"/>
              </a:ext>
            </a:extLst>
          </p:cNvPr>
          <p:cNvSpPr txBox="1">
            <a:spLocks/>
          </p:cNvSpPr>
          <p:nvPr userDrawn="1"/>
        </p:nvSpPr>
        <p:spPr>
          <a:xfrm>
            <a:off x="9378938" y="6496424"/>
            <a:ext cx="255600" cy="1116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r" defTabSz="914400" rtl="0" eaLnBrk="1" latinLnBrk="0" hangingPunct="1">
              <a:defRPr sz="650" kern="1200" spc="0" baseline="0">
                <a:solidFill>
                  <a:srgbClr val="2F363B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650" smtClean="0">
                <a:solidFill>
                  <a:srgbClr val="1F2023"/>
                </a:solidFill>
              </a:rPr>
              <a:pPr/>
              <a:t>‹#›</a:t>
            </a:fld>
            <a:endParaRPr lang="en-GB" sz="650" dirty="0">
              <a:solidFill>
                <a:srgbClr val="1F20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1104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ference case_lon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7E4694B-A434-48B1-A431-0432E4744F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Slide" r:id="rId6" imgW="526" imgH="526" progId="TCLayout.ActiveDocument.1">
                  <p:embed/>
                </p:oleObj>
              </mc:Choice>
              <mc:Fallback>
                <p:oleObj name="think-cell Slide" r:id="rId6" imgW="526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7E4694B-A434-48B1-A431-0432E4744F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C3A9516-8834-4484-A04E-ECB695CB650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2DE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0" i="0" baseline="0" noProof="0" dirty="0" err="1">
              <a:solidFill>
                <a:srgbClr val="2F363B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Rectangle 1">
            <a:extLst>
              <a:ext uri="{FF2B5EF4-FFF2-40B4-BE49-F238E27FC236}">
                <a16:creationId xmlns:a16="http://schemas.microsoft.com/office/drawing/2014/main" id="{749152A0-09EC-4CDD-A991-4F69E37FE88A}"/>
              </a:ext>
            </a:extLst>
          </p:cNvPr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EEEBE8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1000" noProof="0" dirty="0">
              <a:solidFill>
                <a:srgbClr val="1F2023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AD8A034-05A2-458D-8D7A-81B7EFBAEA9F}"/>
              </a:ext>
            </a:extLst>
          </p:cNvPr>
          <p:cNvSpPr txBox="1"/>
          <p:nvPr userDrawn="1"/>
        </p:nvSpPr>
        <p:spPr>
          <a:xfrm>
            <a:off x="6532418" y="-1"/>
            <a:ext cx="3373582" cy="3543301"/>
          </a:xfrm>
          <a:prstGeom prst="rect">
            <a:avLst/>
          </a:prstGeom>
          <a:solidFill>
            <a:srgbClr val="8AA29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-144000">
              <a:lnSpc>
                <a:spcPct val="93000"/>
              </a:lnSpc>
              <a:spcAft>
                <a:spcPts val="0"/>
              </a:spcAft>
              <a:buSzPct val="100000"/>
              <a:buNone/>
              <a:defRPr sz="1100">
                <a:solidFill>
                  <a:srgbClr val="2F363B"/>
                </a:solidFill>
                <a:latin typeface="Arial" panose="020B0604020202020204" pitchFamily="34" charset="0"/>
              </a:defRPr>
            </a:lvl1pPr>
            <a:lvl2pPr marL="0" lvl="1" indent="0">
              <a:lnSpc>
                <a:spcPct val="93000"/>
              </a:lnSpc>
              <a:spcAft>
                <a:spcPts val="0"/>
              </a:spcAft>
              <a:buSzPct val="100000"/>
              <a:buChar char="​"/>
              <a:defRPr sz="1100">
                <a:solidFill>
                  <a:srgbClr val="2F363B"/>
                </a:solidFill>
                <a:latin typeface="Arial" panose="020B0604020202020204" pitchFamily="34" charset="0"/>
              </a:defRPr>
            </a:lvl2pPr>
            <a:lvl3pPr marL="139303" lvl="2" indent="-139303">
              <a:lnSpc>
                <a:spcPct val="93000"/>
              </a:lnSpc>
              <a:spcAft>
                <a:spcPts val="0"/>
              </a:spcAft>
              <a:buSzPct val="100000"/>
              <a:defRPr sz="1100">
                <a:solidFill>
                  <a:srgbClr val="2F363B"/>
                </a:solidFill>
                <a:latin typeface="Arial" panose="020B0604020202020204" pitchFamily="34" charset="0"/>
              </a:defRPr>
            </a:lvl3pPr>
            <a:lvl4pPr marL="185738" lvl="3" indent="-185738">
              <a:lnSpc>
                <a:spcPct val="93000"/>
              </a:lnSpc>
              <a:spcAft>
                <a:spcPts val="0"/>
              </a:spcAft>
              <a:buSzPct val="100000"/>
              <a:buFont typeface="+mj-lt"/>
              <a:buAutoNum type="arabicPeriod"/>
              <a:defRPr sz="1100">
                <a:solidFill>
                  <a:srgbClr val="2F363B"/>
                </a:solidFill>
                <a:latin typeface="Arial" panose="020B0604020202020204" pitchFamily="34" charset="0"/>
              </a:defRPr>
            </a:lvl4pPr>
            <a:lvl5pPr marL="185738" lvl="4" indent="-185738">
              <a:lnSpc>
                <a:spcPct val="93000"/>
              </a:lnSpc>
              <a:spcAft>
                <a:spcPts val="0"/>
              </a:spcAft>
              <a:buSzPct val="100000"/>
              <a:buFont typeface="+mj-lt"/>
              <a:buAutoNum type="alphaUcPeriod"/>
              <a:defRPr sz="1100" b="0">
                <a:solidFill>
                  <a:srgbClr val="2F363B"/>
                </a:solidFill>
                <a:latin typeface="Arial" panose="020B0604020202020204" pitchFamily="34" charset="0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lvl="1">
              <a:buNone/>
            </a:pPr>
            <a:endParaRPr lang="en-GB">
              <a:solidFill>
                <a:srgbClr val="30373B"/>
              </a:solidFill>
              <a:sym typeface="Arial" panose="020B0604020202020204" pitchFamily="34" charset="0"/>
            </a:endParaRPr>
          </a:p>
        </p:txBody>
      </p:sp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96EDC17A-116C-4E16-A3DE-2E5F4B894B8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317911" y="1308"/>
            <a:ext cx="3889058" cy="3108288"/>
          </a:xfrm>
          <a:solidFill>
            <a:srgbClr val="B8BBBD"/>
          </a:solidFill>
        </p:spPr>
        <p:txBody>
          <a:bodyPr rIns="0" anchor="ctr" anchorCtr="0"/>
          <a:lstStyle>
            <a:lvl1pPr marL="0" indent="0" algn="ctr">
              <a:buNone/>
              <a:defRPr>
                <a:solidFill>
                  <a:srgbClr val="1F2023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71B800F5-D353-40A2-B9C9-A29ACB6135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5070" y="2746979"/>
            <a:ext cx="4320000" cy="886397"/>
          </a:xfrm>
        </p:spPr>
        <p:txBody>
          <a:bodyPr anchor="b" anchorCtr="0">
            <a:spAutoFit/>
          </a:bodyPr>
          <a:lstStyle>
            <a:lvl1pPr>
              <a:defRPr sz="3200">
                <a:solidFill>
                  <a:srgbClr val="1F202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6C3A81CD-98C4-40D0-925F-38C84421F367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 rot="5400000">
            <a:off x="9382133" y="400810"/>
            <a:ext cx="350168" cy="154638"/>
          </a:xfrm>
          <a:custGeom>
            <a:avLst/>
            <a:gdLst>
              <a:gd name="connsiteX0" fmla="*/ 242136 w 350168"/>
              <a:gd name="connsiteY0" fmla="*/ 154638 h 154638"/>
              <a:gd name="connsiteX1" fmla="*/ 242136 w 350168"/>
              <a:gd name="connsiteY1" fmla="*/ 141700 h 154638"/>
              <a:gd name="connsiteX2" fmla="*/ 350168 w 350168"/>
              <a:gd name="connsiteY2" fmla="*/ 141700 h 154638"/>
              <a:gd name="connsiteX3" fmla="*/ 350168 w 350168"/>
              <a:gd name="connsiteY3" fmla="*/ 154638 h 154638"/>
              <a:gd name="connsiteX4" fmla="*/ 62944 w 350168"/>
              <a:gd name="connsiteY4" fmla="*/ 154337 h 154638"/>
              <a:gd name="connsiteX5" fmla="*/ 62944 w 350168"/>
              <a:gd name="connsiteY5" fmla="*/ 0 h 154638"/>
              <a:gd name="connsiteX6" fmla="*/ 102688 w 350168"/>
              <a:gd name="connsiteY6" fmla="*/ 0 h 154638"/>
              <a:gd name="connsiteX7" fmla="*/ 141020 w 350168"/>
              <a:gd name="connsiteY7" fmla="*/ 104707 h 154638"/>
              <a:gd name="connsiteX8" fmla="*/ 179755 w 350168"/>
              <a:gd name="connsiteY8" fmla="*/ 0 h 154638"/>
              <a:gd name="connsiteX9" fmla="*/ 217481 w 350168"/>
              <a:gd name="connsiteY9" fmla="*/ 0 h 154638"/>
              <a:gd name="connsiteX10" fmla="*/ 217481 w 350168"/>
              <a:gd name="connsiteY10" fmla="*/ 154337 h 154638"/>
              <a:gd name="connsiteX11" fmla="*/ 187825 w 350168"/>
              <a:gd name="connsiteY11" fmla="*/ 154337 h 154638"/>
              <a:gd name="connsiteX12" fmla="*/ 187825 w 350168"/>
              <a:gd name="connsiteY12" fmla="*/ 53263 h 154638"/>
              <a:gd name="connsiteX13" fmla="*/ 151309 w 350168"/>
              <a:gd name="connsiteY13" fmla="*/ 152117 h 154638"/>
              <a:gd name="connsiteX14" fmla="*/ 128915 w 350168"/>
              <a:gd name="connsiteY14" fmla="*/ 152117 h 154638"/>
              <a:gd name="connsiteX15" fmla="*/ 92601 w 350168"/>
              <a:gd name="connsiteY15" fmla="*/ 52051 h 154638"/>
              <a:gd name="connsiteX16" fmla="*/ 92601 w 350168"/>
              <a:gd name="connsiteY16" fmla="*/ 154337 h 154638"/>
              <a:gd name="connsiteX17" fmla="*/ 0 w 350168"/>
              <a:gd name="connsiteY17" fmla="*/ 154337 h 154638"/>
              <a:gd name="connsiteX18" fmla="*/ 0 w 350168"/>
              <a:gd name="connsiteY18" fmla="*/ 0 h 154638"/>
              <a:gd name="connsiteX19" fmla="*/ 30867 w 350168"/>
              <a:gd name="connsiteY19" fmla="*/ 0 h 154638"/>
              <a:gd name="connsiteX20" fmla="*/ 30867 w 350168"/>
              <a:gd name="connsiteY20" fmla="*/ 154337 h 154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50168" h="154638">
                <a:moveTo>
                  <a:pt x="242136" y="154638"/>
                </a:moveTo>
                <a:lnTo>
                  <a:pt x="242136" y="141700"/>
                </a:lnTo>
                <a:lnTo>
                  <a:pt x="350168" y="141700"/>
                </a:lnTo>
                <a:lnTo>
                  <a:pt x="350168" y="154638"/>
                </a:lnTo>
                <a:close/>
                <a:moveTo>
                  <a:pt x="62944" y="154337"/>
                </a:moveTo>
                <a:lnTo>
                  <a:pt x="62944" y="0"/>
                </a:lnTo>
                <a:lnTo>
                  <a:pt x="102688" y="0"/>
                </a:lnTo>
                <a:lnTo>
                  <a:pt x="141020" y="104707"/>
                </a:lnTo>
                <a:lnTo>
                  <a:pt x="179755" y="0"/>
                </a:lnTo>
                <a:lnTo>
                  <a:pt x="217481" y="0"/>
                </a:lnTo>
                <a:lnTo>
                  <a:pt x="217481" y="154337"/>
                </a:lnTo>
                <a:lnTo>
                  <a:pt x="187825" y="154337"/>
                </a:lnTo>
                <a:lnTo>
                  <a:pt x="187825" y="53263"/>
                </a:lnTo>
                <a:lnTo>
                  <a:pt x="151309" y="152117"/>
                </a:lnTo>
                <a:lnTo>
                  <a:pt x="128915" y="152117"/>
                </a:lnTo>
                <a:lnTo>
                  <a:pt x="92601" y="52051"/>
                </a:lnTo>
                <a:lnTo>
                  <a:pt x="92601" y="154337"/>
                </a:lnTo>
                <a:close/>
                <a:moveTo>
                  <a:pt x="0" y="154337"/>
                </a:moveTo>
                <a:lnTo>
                  <a:pt x="0" y="0"/>
                </a:lnTo>
                <a:lnTo>
                  <a:pt x="30867" y="0"/>
                </a:lnTo>
                <a:lnTo>
                  <a:pt x="30867" y="15433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23430AAB-5902-4654-B9FA-AE29404FCE66}"/>
              </a:ext>
            </a:extLst>
          </p:cNvPr>
          <p:cNvCxnSpPr>
            <a:cxnSpLocks/>
          </p:cNvCxnSpPr>
          <p:nvPr userDrawn="1"/>
        </p:nvCxnSpPr>
        <p:spPr>
          <a:xfrm>
            <a:off x="275070" y="4497744"/>
            <a:ext cx="4320000" cy="0"/>
          </a:xfrm>
          <a:prstGeom prst="line">
            <a:avLst/>
          </a:prstGeom>
          <a:ln w="12700">
            <a:solidFill>
              <a:srgbClr val="30373B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3F61116-2B80-4AA8-A5DE-F43ACEFB4AD3}"/>
              </a:ext>
            </a:extLst>
          </p:cNvPr>
          <p:cNvCxnSpPr>
            <a:cxnSpLocks/>
          </p:cNvCxnSpPr>
          <p:nvPr userDrawn="1"/>
        </p:nvCxnSpPr>
        <p:spPr>
          <a:xfrm>
            <a:off x="5319136" y="4497744"/>
            <a:ext cx="4319999" cy="0"/>
          </a:xfrm>
          <a:prstGeom prst="line">
            <a:avLst/>
          </a:prstGeom>
          <a:ln w="12700">
            <a:solidFill>
              <a:srgbClr val="30373B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871737B9-DDE3-4847-BCBB-79FA9187C04F}"/>
              </a:ext>
            </a:extLst>
          </p:cNvPr>
          <p:cNvSpPr/>
          <p:nvPr userDrawn="1"/>
        </p:nvSpPr>
        <p:spPr>
          <a:xfrm>
            <a:off x="275070" y="4251232"/>
            <a:ext cx="1077218" cy="17171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lvl="1">
              <a:lnSpc>
                <a:spcPct val="93000"/>
              </a:lnSpc>
              <a:buNone/>
            </a:pPr>
            <a:r>
              <a:rPr lang="en-GB" sz="1200" b="1" dirty="0">
                <a:solidFill>
                  <a:srgbClr val="30373B"/>
                </a:solidFill>
              </a:rPr>
              <a:t>THE PROJECT</a:t>
            </a:r>
            <a:endParaRPr lang="en-GB" dirty="0">
              <a:solidFill>
                <a:srgbClr val="30373B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9512485-4193-4DA1-A713-E51426E48AB3}"/>
              </a:ext>
            </a:extLst>
          </p:cNvPr>
          <p:cNvSpPr/>
          <p:nvPr userDrawn="1"/>
        </p:nvSpPr>
        <p:spPr>
          <a:xfrm>
            <a:off x="5317911" y="4251232"/>
            <a:ext cx="929550" cy="17171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lvl="1">
              <a:lnSpc>
                <a:spcPct val="93000"/>
              </a:lnSpc>
              <a:buNone/>
            </a:pPr>
            <a:r>
              <a:rPr lang="en-GB" sz="1200" b="1" dirty="0">
                <a:solidFill>
                  <a:srgbClr val="30373B"/>
                </a:solidFill>
              </a:rPr>
              <a:t>THE IMPACT</a:t>
            </a:r>
            <a:endParaRPr lang="en-GB" dirty="0">
              <a:solidFill>
                <a:srgbClr val="30373B"/>
              </a:solidFill>
            </a:endParaRP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FD457679-0CD8-436B-B224-B5039179B05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75070" y="4648330"/>
            <a:ext cx="4320000" cy="1663569"/>
          </a:xfrm>
        </p:spPr>
        <p:txBody>
          <a:bodyPr/>
          <a:lstStyle>
            <a:lvl1pPr>
              <a:buFontTx/>
              <a:buNone/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0122C995-A46A-47E3-BD5A-37630113CBD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319136" y="4648330"/>
            <a:ext cx="4320000" cy="1663569"/>
          </a:xfrm>
        </p:spPr>
        <p:txBody>
          <a:bodyPr/>
          <a:lstStyle>
            <a:lvl1pPr>
              <a:buFontTx/>
              <a:buNone/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22B717F-572C-4701-890C-5980AFA4B1FF}"/>
              </a:ext>
            </a:extLst>
          </p:cNvPr>
          <p:cNvSpPr/>
          <p:nvPr userDrawn="1"/>
        </p:nvSpPr>
        <p:spPr>
          <a:xfrm>
            <a:off x="275070" y="1511114"/>
            <a:ext cx="347852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0"/>
              </a:spcAft>
            </a:pPr>
            <a:r>
              <a:rPr lang="en-GB" dirty="0">
                <a:solidFill>
                  <a:srgbClr val="1F2023"/>
                </a:solidFill>
              </a:rPr>
              <a:t>CASE</a:t>
            </a:r>
          </a:p>
        </p:txBody>
      </p:sp>
      <p:sp>
        <p:nvSpPr>
          <p:cNvPr id="19" name="TextBox 33">
            <a:extLst>
              <a:ext uri="{FF2B5EF4-FFF2-40B4-BE49-F238E27FC236}">
                <a16:creationId xmlns:a16="http://schemas.microsoft.com/office/drawing/2014/main" id="{5AE06631-AC75-4EE4-B524-F8EFE6C15DB9}"/>
              </a:ext>
            </a:extLst>
          </p:cNvPr>
          <p:cNvSpPr txBox="1"/>
          <p:nvPr userDrawn="1"/>
        </p:nvSpPr>
        <p:spPr>
          <a:xfrm>
            <a:off x="10107046" y="0"/>
            <a:ext cx="1570400" cy="2129402"/>
          </a:xfrm>
          <a:prstGeom prst="rect">
            <a:avLst/>
          </a:prstGeom>
          <a:solidFill>
            <a:srgbClr val="E2DE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indent="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b="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0" indent="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1" kern="1200" cap="none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0" indent="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1" kern="1200" cap="all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144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0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144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lphaUcPeriod"/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0" indent="0" algn="l" defTabSz="742950" rtl="0" eaLnBrk="1" latinLnBrk="0" hangingPunct="1">
              <a:lnSpc>
                <a:spcPct val="8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4800" kern="1200" cap="all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en-GB" sz="800" b="1" dirty="0">
                <a:solidFill>
                  <a:schemeClr val="tx1"/>
                </a:solidFill>
                <a:sym typeface="Arial" panose="020B0604020202020204" pitchFamily="34" charset="0"/>
              </a:rPr>
              <a:t>CASE DATA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For internal use only – delete before sharing</a:t>
            </a:r>
          </a:p>
          <a:p>
            <a:pPr>
              <a:buNone/>
            </a:pPr>
            <a:endParaRPr lang="en-GB" sz="800" dirty="0">
              <a:solidFill>
                <a:schemeClr val="tx1"/>
              </a:solidFill>
              <a:sym typeface="Arial" panose="020B0604020202020204" pitchFamily="34" charset="0"/>
            </a:endParaRP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Client name: 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Maconomy project name: 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Industry: 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Keywords: xx, xx, 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Year(s): 20xx – 20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Implement contact person: xx</a:t>
            </a:r>
          </a:p>
          <a:p>
            <a:pPr>
              <a:buNone/>
            </a:pPr>
            <a:endParaRPr lang="en-GB" sz="8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8" name="Slide Number Placeholder 4">
            <a:extLst>
              <a:ext uri="{FF2B5EF4-FFF2-40B4-BE49-F238E27FC236}">
                <a16:creationId xmlns:a16="http://schemas.microsoft.com/office/drawing/2014/main" id="{B1A99B9D-5B6E-42D6-941A-637B016E56E2}"/>
              </a:ext>
            </a:extLst>
          </p:cNvPr>
          <p:cNvSpPr txBox="1">
            <a:spLocks/>
          </p:cNvSpPr>
          <p:nvPr userDrawn="1"/>
        </p:nvSpPr>
        <p:spPr>
          <a:xfrm>
            <a:off x="9378938" y="6496424"/>
            <a:ext cx="255600" cy="1116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r" defTabSz="914400" rtl="0" eaLnBrk="1" latinLnBrk="0" hangingPunct="1">
              <a:defRPr sz="650" kern="1200" spc="0" baseline="0">
                <a:solidFill>
                  <a:srgbClr val="2F363B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650" smtClean="0">
                <a:solidFill>
                  <a:srgbClr val="1F2023"/>
                </a:solidFill>
              </a:rPr>
              <a:pPr/>
              <a:t>‹#›</a:t>
            </a:fld>
            <a:endParaRPr lang="en-GB" sz="650" dirty="0">
              <a:solidFill>
                <a:srgbClr val="1F20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4962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ference case_lon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7E4694B-A434-48B1-A431-0432E4744F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Slide" r:id="rId6" imgW="526" imgH="526" progId="TCLayout.ActiveDocument.1">
                  <p:embed/>
                </p:oleObj>
              </mc:Choice>
              <mc:Fallback>
                <p:oleObj name="think-cell Slide" r:id="rId6" imgW="526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7E4694B-A434-48B1-A431-0432E4744F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C3A9516-8834-4484-A04E-ECB695CB650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2DE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0" i="0" baseline="0" noProof="0" dirty="0" err="1">
              <a:solidFill>
                <a:srgbClr val="2F363B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Rectangle 1">
            <a:extLst>
              <a:ext uri="{FF2B5EF4-FFF2-40B4-BE49-F238E27FC236}">
                <a16:creationId xmlns:a16="http://schemas.microsoft.com/office/drawing/2014/main" id="{749152A0-09EC-4CDD-A991-4F69E37FE88A}"/>
              </a:ext>
            </a:extLst>
          </p:cNvPr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EEEBE8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1000" noProof="0" dirty="0">
              <a:solidFill>
                <a:srgbClr val="1F2023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AD8A034-05A2-458D-8D7A-81B7EFBAEA9F}"/>
              </a:ext>
            </a:extLst>
          </p:cNvPr>
          <p:cNvSpPr txBox="1"/>
          <p:nvPr userDrawn="1"/>
        </p:nvSpPr>
        <p:spPr>
          <a:xfrm>
            <a:off x="6532418" y="-1"/>
            <a:ext cx="3373582" cy="3543301"/>
          </a:xfrm>
          <a:prstGeom prst="rect">
            <a:avLst/>
          </a:prstGeom>
          <a:solidFill>
            <a:srgbClr val="595F6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-144000">
              <a:lnSpc>
                <a:spcPct val="93000"/>
              </a:lnSpc>
              <a:spcAft>
                <a:spcPts val="0"/>
              </a:spcAft>
              <a:buSzPct val="100000"/>
              <a:buNone/>
              <a:defRPr sz="1100">
                <a:solidFill>
                  <a:srgbClr val="2F363B"/>
                </a:solidFill>
                <a:latin typeface="Arial" panose="020B0604020202020204" pitchFamily="34" charset="0"/>
              </a:defRPr>
            </a:lvl1pPr>
            <a:lvl2pPr marL="0" lvl="1" indent="0">
              <a:lnSpc>
                <a:spcPct val="93000"/>
              </a:lnSpc>
              <a:spcAft>
                <a:spcPts val="0"/>
              </a:spcAft>
              <a:buSzPct val="100000"/>
              <a:buChar char="​"/>
              <a:defRPr sz="1100">
                <a:solidFill>
                  <a:srgbClr val="2F363B"/>
                </a:solidFill>
                <a:latin typeface="Arial" panose="020B0604020202020204" pitchFamily="34" charset="0"/>
              </a:defRPr>
            </a:lvl2pPr>
            <a:lvl3pPr marL="139303" lvl="2" indent="-139303">
              <a:lnSpc>
                <a:spcPct val="93000"/>
              </a:lnSpc>
              <a:spcAft>
                <a:spcPts val="0"/>
              </a:spcAft>
              <a:buSzPct val="100000"/>
              <a:defRPr sz="1100">
                <a:solidFill>
                  <a:srgbClr val="2F363B"/>
                </a:solidFill>
                <a:latin typeface="Arial" panose="020B0604020202020204" pitchFamily="34" charset="0"/>
              </a:defRPr>
            </a:lvl3pPr>
            <a:lvl4pPr marL="185738" lvl="3" indent="-185738">
              <a:lnSpc>
                <a:spcPct val="93000"/>
              </a:lnSpc>
              <a:spcAft>
                <a:spcPts val="0"/>
              </a:spcAft>
              <a:buSzPct val="100000"/>
              <a:buFont typeface="+mj-lt"/>
              <a:buAutoNum type="arabicPeriod"/>
              <a:defRPr sz="1100">
                <a:solidFill>
                  <a:srgbClr val="2F363B"/>
                </a:solidFill>
                <a:latin typeface="Arial" panose="020B0604020202020204" pitchFamily="34" charset="0"/>
              </a:defRPr>
            </a:lvl4pPr>
            <a:lvl5pPr marL="185738" lvl="4" indent="-185738">
              <a:lnSpc>
                <a:spcPct val="93000"/>
              </a:lnSpc>
              <a:spcAft>
                <a:spcPts val="0"/>
              </a:spcAft>
              <a:buSzPct val="100000"/>
              <a:buFont typeface="+mj-lt"/>
              <a:buAutoNum type="alphaUcPeriod"/>
              <a:defRPr sz="1100" b="0">
                <a:solidFill>
                  <a:srgbClr val="2F363B"/>
                </a:solidFill>
                <a:latin typeface="Arial" panose="020B0604020202020204" pitchFamily="34" charset="0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lvl="1">
              <a:buNone/>
            </a:pPr>
            <a:endParaRPr lang="en-GB">
              <a:solidFill>
                <a:srgbClr val="30373B"/>
              </a:solidFill>
              <a:sym typeface="Arial" panose="020B0604020202020204" pitchFamily="34" charset="0"/>
            </a:endParaRPr>
          </a:p>
        </p:txBody>
      </p:sp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96EDC17A-116C-4E16-A3DE-2E5F4B894B8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317911" y="1308"/>
            <a:ext cx="3889058" cy="3108288"/>
          </a:xfrm>
          <a:solidFill>
            <a:srgbClr val="B8BBBD"/>
          </a:solidFill>
        </p:spPr>
        <p:txBody>
          <a:bodyPr rIns="0" anchor="ctr" anchorCtr="0"/>
          <a:lstStyle>
            <a:lvl1pPr marL="0" indent="0" algn="ctr">
              <a:buNone/>
              <a:defRPr>
                <a:solidFill>
                  <a:srgbClr val="1F2023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71B800F5-D353-40A2-B9C9-A29ACB6135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5070" y="2746979"/>
            <a:ext cx="4320000" cy="886397"/>
          </a:xfrm>
        </p:spPr>
        <p:txBody>
          <a:bodyPr anchor="b" anchorCtr="0">
            <a:spAutoFit/>
          </a:bodyPr>
          <a:lstStyle>
            <a:lvl1pPr>
              <a:defRPr sz="3200">
                <a:solidFill>
                  <a:srgbClr val="1F202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23430AAB-5902-4654-B9FA-AE29404FCE66}"/>
              </a:ext>
            </a:extLst>
          </p:cNvPr>
          <p:cNvCxnSpPr>
            <a:cxnSpLocks/>
          </p:cNvCxnSpPr>
          <p:nvPr userDrawn="1"/>
        </p:nvCxnSpPr>
        <p:spPr>
          <a:xfrm>
            <a:off x="275070" y="4497744"/>
            <a:ext cx="4320000" cy="0"/>
          </a:xfrm>
          <a:prstGeom prst="line">
            <a:avLst/>
          </a:prstGeom>
          <a:ln w="12700">
            <a:solidFill>
              <a:srgbClr val="30373B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3F61116-2B80-4AA8-A5DE-F43ACEFB4AD3}"/>
              </a:ext>
            </a:extLst>
          </p:cNvPr>
          <p:cNvCxnSpPr>
            <a:cxnSpLocks/>
          </p:cNvCxnSpPr>
          <p:nvPr userDrawn="1"/>
        </p:nvCxnSpPr>
        <p:spPr>
          <a:xfrm>
            <a:off x="5319136" y="4497744"/>
            <a:ext cx="4319999" cy="0"/>
          </a:xfrm>
          <a:prstGeom prst="line">
            <a:avLst/>
          </a:prstGeom>
          <a:ln w="12700">
            <a:solidFill>
              <a:srgbClr val="30373B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871737B9-DDE3-4847-BCBB-79FA9187C04F}"/>
              </a:ext>
            </a:extLst>
          </p:cNvPr>
          <p:cNvSpPr/>
          <p:nvPr userDrawn="1"/>
        </p:nvSpPr>
        <p:spPr>
          <a:xfrm>
            <a:off x="275070" y="4251232"/>
            <a:ext cx="1077218" cy="17171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lvl="1">
              <a:lnSpc>
                <a:spcPct val="93000"/>
              </a:lnSpc>
              <a:buNone/>
            </a:pPr>
            <a:r>
              <a:rPr lang="en-GB" sz="1200" b="1" dirty="0">
                <a:solidFill>
                  <a:srgbClr val="30373B"/>
                </a:solidFill>
              </a:rPr>
              <a:t>THE PROJECT</a:t>
            </a:r>
            <a:endParaRPr lang="en-GB" dirty="0">
              <a:solidFill>
                <a:srgbClr val="30373B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9512485-4193-4DA1-A713-E51426E48AB3}"/>
              </a:ext>
            </a:extLst>
          </p:cNvPr>
          <p:cNvSpPr/>
          <p:nvPr userDrawn="1"/>
        </p:nvSpPr>
        <p:spPr>
          <a:xfrm>
            <a:off x="5317911" y="4251232"/>
            <a:ext cx="929550" cy="17171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lvl="1">
              <a:lnSpc>
                <a:spcPct val="93000"/>
              </a:lnSpc>
              <a:buNone/>
            </a:pPr>
            <a:r>
              <a:rPr lang="en-GB" sz="1200" b="1" dirty="0">
                <a:solidFill>
                  <a:srgbClr val="30373B"/>
                </a:solidFill>
              </a:rPr>
              <a:t>THE IMPACT</a:t>
            </a:r>
            <a:endParaRPr lang="en-GB" dirty="0">
              <a:solidFill>
                <a:srgbClr val="30373B"/>
              </a:solidFill>
            </a:endParaRP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FD457679-0CD8-436B-B224-B5039179B05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75070" y="4648330"/>
            <a:ext cx="4320000" cy="1663569"/>
          </a:xfrm>
        </p:spPr>
        <p:txBody>
          <a:bodyPr/>
          <a:lstStyle>
            <a:lvl1pPr>
              <a:buFontTx/>
              <a:buNone/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0122C995-A46A-47E3-BD5A-37630113CBD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319136" y="4648330"/>
            <a:ext cx="4320000" cy="1663569"/>
          </a:xfrm>
        </p:spPr>
        <p:txBody>
          <a:bodyPr/>
          <a:lstStyle>
            <a:lvl1pPr>
              <a:buFontTx/>
              <a:buNone/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22B717F-572C-4701-890C-5980AFA4B1FF}"/>
              </a:ext>
            </a:extLst>
          </p:cNvPr>
          <p:cNvSpPr/>
          <p:nvPr userDrawn="1"/>
        </p:nvSpPr>
        <p:spPr>
          <a:xfrm>
            <a:off x="275070" y="1511114"/>
            <a:ext cx="347852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0"/>
              </a:spcAft>
            </a:pPr>
            <a:r>
              <a:rPr lang="en-GB" dirty="0">
                <a:solidFill>
                  <a:srgbClr val="1F2023"/>
                </a:solidFill>
              </a:rPr>
              <a:t>CASE</a:t>
            </a: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87FD700C-F5D8-47A6-B075-E7C3777BFD22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 rot="5400000">
            <a:off x="9382133" y="400810"/>
            <a:ext cx="350168" cy="154638"/>
          </a:xfrm>
          <a:custGeom>
            <a:avLst/>
            <a:gdLst>
              <a:gd name="connsiteX0" fmla="*/ 242136 w 350168"/>
              <a:gd name="connsiteY0" fmla="*/ 154638 h 154638"/>
              <a:gd name="connsiteX1" fmla="*/ 242136 w 350168"/>
              <a:gd name="connsiteY1" fmla="*/ 141700 h 154638"/>
              <a:gd name="connsiteX2" fmla="*/ 350168 w 350168"/>
              <a:gd name="connsiteY2" fmla="*/ 141700 h 154638"/>
              <a:gd name="connsiteX3" fmla="*/ 350168 w 350168"/>
              <a:gd name="connsiteY3" fmla="*/ 154638 h 154638"/>
              <a:gd name="connsiteX4" fmla="*/ 62944 w 350168"/>
              <a:gd name="connsiteY4" fmla="*/ 154337 h 154638"/>
              <a:gd name="connsiteX5" fmla="*/ 62944 w 350168"/>
              <a:gd name="connsiteY5" fmla="*/ 0 h 154638"/>
              <a:gd name="connsiteX6" fmla="*/ 102688 w 350168"/>
              <a:gd name="connsiteY6" fmla="*/ 0 h 154638"/>
              <a:gd name="connsiteX7" fmla="*/ 141020 w 350168"/>
              <a:gd name="connsiteY7" fmla="*/ 104707 h 154638"/>
              <a:gd name="connsiteX8" fmla="*/ 179755 w 350168"/>
              <a:gd name="connsiteY8" fmla="*/ 0 h 154638"/>
              <a:gd name="connsiteX9" fmla="*/ 217481 w 350168"/>
              <a:gd name="connsiteY9" fmla="*/ 0 h 154638"/>
              <a:gd name="connsiteX10" fmla="*/ 217481 w 350168"/>
              <a:gd name="connsiteY10" fmla="*/ 154337 h 154638"/>
              <a:gd name="connsiteX11" fmla="*/ 187825 w 350168"/>
              <a:gd name="connsiteY11" fmla="*/ 154337 h 154638"/>
              <a:gd name="connsiteX12" fmla="*/ 187825 w 350168"/>
              <a:gd name="connsiteY12" fmla="*/ 53263 h 154638"/>
              <a:gd name="connsiteX13" fmla="*/ 151309 w 350168"/>
              <a:gd name="connsiteY13" fmla="*/ 152117 h 154638"/>
              <a:gd name="connsiteX14" fmla="*/ 128915 w 350168"/>
              <a:gd name="connsiteY14" fmla="*/ 152117 h 154638"/>
              <a:gd name="connsiteX15" fmla="*/ 92601 w 350168"/>
              <a:gd name="connsiteY15" fmla="*/ 52051 h 154638"/>
              <a:gd name="connsiteX16" fmla="*/ 92601 w 350168"/>
              <a:gd name="connsiteY16" fmla="*/ 154337 h 154638"/>
              <a:gd name="connsiteX17" fmla="*/ 0 w 350168"/>
              <a:gd name="connsiteY17" fmla="*/ 154337 h 154638"/>
              <a:gd name="connsiteX18" fmla="*/ 0 w 350168"/>
              <a:gd name="connsiteY18" fmla="*/ 0 h 154638"/>
              <a:gd name="connsiteX19" fmla="*/ 30867 w 350168"/>
              <a:gd name="connsiteY19" fmla="*/ 0 h 154638"/>
              <a:gd name="connsiteX20" fmla="*/ 30867 w 350168"/>
              <a:gd name="connsiteY20" fmla="*/ 154337 h 154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50168" h="154638">
                <a:moveTo>
                  <a:pt x="242136" y="154638"/>
                </a:moveTo>
                <a:lnTo>
                  <a:pt x="242136" y="141700"/>
                </a:lnTo>
                <a:lnTo>
                  <a:pt x="350168" y="141700"/>
                </a:lnTo>
                <a:lnTo>
                  <a:pt x="350168" y="154638"/>
                </a:lnTo>
                <a:close/>
                <a:moveTo>
                  <a:pt x="62944" y="154337"/>
                </a:moveTo>
                <a:lnTo>
                  <a:pt x="62944" y="0"/>
                </a:lnTo>
                <a:lnTo>
                  <a:pt x="102688" y="0"/>
                </a:lnTo>
                <a:lnTo>
                  <a:pt x="141020" y="104707"/>
                </a:lnTo>
                <a:lnTo>
                  <a:pt x="179755" y="0"/>
                </a:lnTo>
                <a:lnTo>
                  <a:pt x="217481" y="0"/>
                </a:lnTo>
                <a:lnTo>
                  <a:pt x="217481" y="154337"/>
                </a:lnTo>
                <a:lnTo>
                  <a:pt x="187825" y="154337"/>
                </a:lnTo>
                <a:lnTo>
                  <a:pt x="187825" y="53263"/>
                </a:lnTo>
                <a:lnTo>
                  <a:pt x="151309" y="152117"/>
                </a:lnTo>
                <a:lnTo>
                  <a:pt x="128915" y="152117"/>
                </a:lnTo>
                <a:lnTo>
                  <a:pt x="92601" y="52051"/>
                </a:lnTo>
                <a:lnTo>
                  <a:pt x="92601" y="154337"/>
                </a:lnTo>
                <a:close/>
                <a:moveTo>
                  <a:pt x="0" y="154337"/>
                </a:moveTo>
                <a:lnTo>
                  <a:pt x="0" y="0"/>
                </a:lnTo>
                <a:lnTo>
                  <a:pt x="30867" y="0"/>
                </a:lnTo>
                <a:lnTo>
                  <a:pt x="30867" y="15433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/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676A9557-0521-4D63-9104-F44D76841FFE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45317630-8701-4B49-BF3D-3DA5BE3CE466}" type="datetime1">
              <a:rPr lang="en-US" smtClean="0"/>
              <a:t>2/25/2022</a:t>
            </a:fld>
            <a:endParaRPr lang="en-GB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C0E1CEF2-4F80-4706-AE63-0C7E8A7402D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Footer</a:t>
            </a:r>
            <a:endParaRPr lang="en-GB" dirty="0"/>
          </a:p>
        </p:txBody>
      </p:sp>
      <p:sp>
        <p:nvSpPr>
          <p:cNvPr id="26" name="TextBox 33">
            <a:extLst>
              <a:ext uri="{FF2B5EF4-FFF2-40B4-BE49-F238E27FC236}">
                <a16:creationId xmlns:a16="http://schemas.microsoft.com/office/drawing/2014/main" id="{A5525994-7183-4EB3-80FB-FB6FA3A2CF42}"/>
              </a:ext>
            </a:extLst>
          </p:cNvPr>
          <p:cNvSpPr txBox="1"/>
          <p:nvPr userDrawn="1"/>
        </p:nvSpPr>
        <p:spPr>
          <a:xfrm>
            <a:off x="10107046" y="0"/>
            <a:ext cx="1570400" cy="2129402"/>
          </a:xfrm>
          <a:prstGeom prst="rect">
            <a:avLst/>
          </a:prstGeom>
          <a:solidFill>
            <a:srgbClr val="E2DE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indent="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b="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0" indent="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1" kern="1200" cap="none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0" indent="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1" kern="1200" cap="all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144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0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144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lphaUcPeriod"/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0" indent="0" algn="l" defTabSz="742950" rtl="0" eaLnBrk="1" latinLnBrk="0" hangingPunct="1">
              <a:lnSpc>
                <a:spcPct val="8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4800" kern="1200" cap="all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en-GB" sz="800" b="1" dirty="0">
                <a:solidFill>
                  <a:schemeClr val="tx1"/>
                </a:solidFill>
                <a:sym typeface="Arial" panose="020B0604020202020204" pitchFamily="34" charset="0"/>
              </a:rPr>
              <a:t>CASE DATA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For internal use only – delete before sharing</a:t>
            </a:r>
          </a:p>
          <a:p>
            <a:pPr>
              <a:buNone/>
            </a:pPr>
            <a:endParaRPr lang="en-GB" sz="800" dirty="0">
              <a:solidFill>
                <a:schemeClr val="tx1"/>
              </a:solidFill>
              <a:sym typeface="Arial" panose="020B0604020202020204" pitchFamily="34" charset="0"/>
            </a:endParaRP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Client name: 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Maconomy project name: 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Industry: 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Keywords: xx, xx, 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Year(s): 20xx – 20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Implement contact person: xx</a:t>
            </a:r>
          </a:p>
          <a:p>
            <a:pPr>
              <a:buNone/>
            </a:pPr>
            <a:endParaRPr lang="en-GB" sz="8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0" name="Slide Number Placeholder 4">
            <a:extLst>
              <a:ext uri="{FF2B5EF4-FFF2-40B4-BE49-F238E27FC236}">
                <a16:creationId xmlns:a16="http://schemas.microsoft.com/office/drawing/2014/main" id="{9D1CD835-9AA7-42C6-9936-DAAA5C35E271}"/>
              </a:ext>
            </a:extLst>
          </p:cNvPr>
          <p:cNvSpPr txBox="1">
            <a:spLocks/>
          </p:cNvSpPr>
          <p:nvPr userDrawn="1"/>
        </p:nvSpPr>
        <p:spPr>
          <a:xfrm>
            <a:off x="9378938" y="6496424"/>
            <a:ext cx="255600" cy="1116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r" defTabSz="914400" rtl="0" eaLnBrk="1" latinLnBrk="0" hangingPunct="1">
              <a:defRPr sz="650" kern="1200" spc="0" baseline="0">
                <a:solidFill>
                  <a:srgbClr val="2F363B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650" smtClean="0">
                <a:solidFill>
                  <a:srgbClr val="1F2023"/>
                </a:solidFill>
              </a:rPr>
              <a:pPr/>
              <a:t>‹#›</a:t>
            </a:fld>
            <a:endParaRPr lang="en-GB" sz="650" dirty="0">
              <a:solidFill>
                <a:srgbClr val="1F20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8306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ce case_long text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7E4694B-A434-48B1-A431-0432E4744F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9166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think-cell Slide" r:id="rId6" imgW="526" imgH="526" progId="TCLayout.ActiveDocument.1">
                  <p:embed/>
                </p:oleObj>
              </mc:Choice>
              <mc:Fallback>
                <p:oleObj name="think-cell Slide" r:id="rId6" imgW="526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7E4694B-A434-48B1-A431-0432E4744F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C3A9516-8834-4484-A04E-ECB695CB650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2DE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0" i="0" baseline="0" noProof="0" dirty="0" err="1">
              <a:solidFill>
                <a:srgbClr val="2F363B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C949A49-8B74-4770-82C7-FB3B75548D7F}"/>
              </a:ext>
            </a:extLst>
          </p:cNvPr>
          <p:cNvSpPr/>
          <p:nvPr userDrawn="1"/>
        </p:nvSpPr>
        <p:spPr>
          <a:xfrm>
            <a:off x="0" y="1"/>
            <a:ext cx="9906000" cy="6857999"/>
          </a:xfrm>
          <a:prstGeom prst="rect">
            <a:avLst/>
          </a:prstGeom>
          <a:solidFill>
            <a:srgbClr val="30373B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05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87" b="0" i="0" u="none" strike="noStrike" kern="0" cap="none" spc="0" normalizeH="0" baseline="0" noProof="0" dirty="0">
              <a:ln>
                <a:noFill/>
              </a:ln>
              <a:solidFill>
                <a:srgbClr val="1F202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AD8A034-05A2-458D-8D7A-81B7EFBAEA9F}"/>
              </a:ext>
            </a:extLst>
          </p:cNvPr>
          <p:cNvSpPr txBox="1"/>
          <p:nvPr userDrawn="1"/>
        </p:nvSpPr>
        <p:spPr>
          <a:xfrm>
            <a:off x="6532418" y="-1"/>
            <a:ext cx="3373582" cy="3543301"/>
          </a:xfrm>
          <a:prstGeom prst="rect">
            <a:avLst/>
          </a:prstGeom>
          <a:solidFill>
            <a:srgbClr val="9A6E3A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-144000">
              <a:lnSpc>
                <a:spcPct val="93000"/>
              </a:lnSpc>
              <a:spcAft>
                <a:spcPts val="0"/>
              </a:spcAft>
              <a:buSzPct val="100000"/>
              <a:buNone/>
              <a:defRPr sz="1100">
                <a:solidFill>
                  <a:srgbClr val="2F363B"/>
                </a:solidFill>
                <a:latin typeface="Arial" panose="020B0604020202020204" pitchFamily="34" charset="0"/>
              </a:defRPr>
            </a:lvl1pPr>
            <a:lvl2pPr marL="0" lvl="1" indent="0">
              <a:lnSpc>
                <a:spcPct val="93000"/>
              </a:lnSpc>
              <a:spcAft>
                <a:spcPts val="0"/>
              </a:spcAft>
              <a:buSzPct val="100000"/>
              <a:buChar char="​"/>
              <a:defRPr sz="1100">
                <a:solidFill>
                  <a:srgbClr val="2F363B"/>
                </a:solidFill>
                <a:latin typeface="Arial" panose="020B0604020202020204" pitchFamily="34" charset="0"/>
              </a:defRPr>
            </a:lvl2pPr>
            <a:lvl3pPr marL="139303" lvl="2" indent="-139303">
              <a:lnSpc>
                <a:spcPct val="93000"/>
              </a:lnSpc>
              <a:spcAft>
                <a:spcPts val="0"/>
              </a:spcAft>
              <a:buSzPct val="100000"/>
              <a:defRPr sz="1100">
                <a:solidFill>
                  <a:srgbClr val="2F363B"/>
                </a:solidFill>
                <a:latin typeface="Arial" panose="020B0604020202020204" pitchFamily="34" charset="0"/>
              </a:defRPr>
            </a:lvl3pPr>
            <a:lvl4pPr marL="185738" lvl="3" indent="-185738">
              <a:lnSpc>
                <a:spcPct val="93000"/>
              </a:lnSpc>
              <a:spcAft>
                <a:spcPts val="0"/>
              </a:spcAft>
              <a:buSzPct val="100000"/>
              <a:buFont typeface="+mj-lt"/>
              <a:buAutoNum type="arabicPeriod"/>
              <a:defRPr sz="1100">
                <a:solidFill>
                  <a:srgbClr val="2F363B"/>
                </a:solidFill>
                <a:latin typeface="Arial" panose="020B0604020202020204" pitchFamily="34" charset="0"/>
              </a:defRPr>
            </a:lvl4pPr>
            <a:lvl5pPr marL="185738" lvl="4" indent="-185738">
              <a:lnSpc>
                <a:spcPct val="93000"/>
              </a:lnSpc>
              <a:spcAft>
                <a:spcPts val="0"/>
              </a:spcAft>
              <a:buSzPct val="100000"/>
              <a:buFont typeface="+mj-lt"/>
              <a:buAutoNum type="alphaUcPeriod"/>
              <a:defRPr sz="1100" b="0">
                <a:solidFill>
                  <a:srgbClr val="2F363B"/>
                </a:solidFill>
                <a:latin typeface="Arial" panose="020B0604020202020204" pitchFamily="34" charset="0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lvl="1">
              <a:buNone/>
            </a:pPr>
            <a:endParaRPr lang="en-GB">
              <a:solidFill>
                <a:srgbClr val="30373B"/>
              </a:solidFill>
              <a:sym typeface="Arial" panose="020B0604020202020204" pitchFamily="34" charset="0"/>
            </a:endParaRPr>
          </a:p>
        </p:txBody>
      </p:sp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96EDC17A-116C-4E16-A3DE-2E5F4B894B8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317911" y="1308"/>
            <a:ext cx="3889058" cy="3108288"/>
          </a:xfrm>
          <a:solidFill>
            <a:srgbClr val="B8BBBD"/>
          </a:solidFill>
        </p:spPr>
        <p:txBody>
          <a:bodyPr rIns="0" anchor="ctr" anchorCtr="0"/>
          <a:lstStyle>
            <a:lvl1pPr marL="0" indent="0" algn="ctr">
              <a:buNone/>
              <a:defRPr>
                <a:solidFill>
                  <a:srgbClr val="1F2023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71B800F5-D353-40A2-B9C9-A29ACB6135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5070" y="2746979"/>
            <a:ext cx="4320000" cy="886397"/>
          </a:xfrm>
        </p:spPr>
        <p:txBody>
          <a:bodyPr anchor="b" anchorCtr="0">
            <a:spAutoFit/>
          </a:bodyPr>
          <a:lstStyle>
            <a:lvl1pPr>
              <a:defRPr sz="3200">
                <a:solidFill>
                  <a:srgbClr val="F8F5E7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6C3A81CD-98C4-40D0-925F-38C84421F367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 rot="5400000">
            <a:off x="9382133" y="400810"/>
            <a:ext cx="350168" cy="154638"/>
          </a:xfrm>
          <a:custGeom>
            <a:avLst/>
            <a:gdLst>
              <a:gd name="connsiteX0" fmla="*/ 242136 w 350168"/>
              <a:gd name="connsiteY0" fmla="*/ 154638 h 154638"/>
              <a:gd name="connsiteX1" fmla="*/ 242136 w 350168"/>
              <a:gd name="connsiteY1" fmla="*/ 141700 h 154638"/>
              <a:gd name="connsiteX2" fmla="*/ 350168 w 350168"/>
              <a:gd name="connsiteY2" fmla="*/ 141700 h 154638"/>
              <a:gd name="connsiteX3" fmla="*/ 350168 w 350168"/>
              <a:gd name="connsiteY3" fmla="*/ 154638 h 154638"/>
              <a:gd name="connsiteX4" fmla="*/ 62944 w 350168"/>
              <a:gd name="connsiteY4" fmla="*/ 154337 h 154638"/>
              <a:gd name="connsiteX5" fmla="*/ 62944 w 350168"/>
              <a:gd name="connsiteY5" fmla="*/ 0 h 154638"/>
              <a:gd name="connsiteX6" fmla="*/ 102688 w 350168"/>
              <a:gd name="connsiteY6" fmla="*/ 0 h 154638"/>
              <a:gd name="connsiteX7" fmla="*/ 141020 w 350168"/>
              <a:gd name="connsiteY7" fmla="*/ 104707 h 154638"/>
              <a:gd name="connsiteX8" fmla="*/ 179755 w 350168"/>
              <a:gd name="connsiteY8" fmla="*/ 0 h 154638"/>
              <a:gd name="connsiteX9" fmla="*/ 217481 w 350168"/>
              <a:gd name="connsiteY9" fmla="*/ 0 h 154638"/>
              <a:gd name="connsiteX10" fmla="*/ 217481 w 350168"/>
              <a:gd name="connsiteY10" fmla="*/ 154337 h 154638"/>
              <a:gd name="connsiteX11" fmla="*/ 187825 w 350168"/>
              <a:gd name="connsiteY11" fmla="*/ 154337 h 154638"/>
              <a:gd name="connsiteX12" fmla="*/ 187825 w 350168"/>
              <a:gd name="connsiteY12" fmla="*/ 53263 h 154638"/>
              <a:gd name="connsiteX13" fmla="*/ 151309 w 350168"/>
              <a:gd name="connsiteY13" fmla="*/ 152117 h 154638"/>
              <a:gd name="connsiteX14" fmla="*/ 128915 w 350168"/>
              <a:gd name="connsiteY14" fmla="*/ 152117 h 154638"/>
              <a:gd name="connsiteX15" fmla="*/ 92601 w 350168"/>
              <a:gd name="connsiteY15" fmla="*/ 52051 h 154638"/>
              <a:gd name="connsiteX16" fmla="*/ 92601 w 350168"/>
              <a:gd name="connsiteY16" fmla="*/ 154337 h 154638"/>
              <a:gd name="connsiteX17" fmla="*/ 0 w 350168"/>
              <a:gd name="connsiteY17" fmla="*/ 154337 h 154638"/>
              <a:gd name="connsiteX18" fmla="*/ 0 w 350168"/>
              <a:gd name="connsiteY18" fmla="*/ 0 h 154638"/>
              <a:gd name="connsiteX19" fmla="*/ 30867 w 350168"/>
              <a:gd name="connsiteY19" fmla="*/ 0 h 154638"/>
              <a:gd name="connsiteX20" fmla="*/ 30867 w 350168"/>
              <a:gd name="connsiteY20" fmla="*/ 154337 h 154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50168" h="154638">
                <a:moveTo>
                  <a:pt x="242136" y="154638"/>
                </a:moveTo>
                <a:lnTo>
                  <a:pt x="242136" y="141700"/>
                </a:lnTo>
                <a:lnTo>
                  <a:pt x="350168" y="141700"/>
                </a:lnTo>
                <a:lnTo>
                  <a:pt x="350168" y="154638"/>
                </a:lnTo>
                <a:close/>
                <a:moveTo>
                  <a:pt x="62944" y="154337"/>
                </a:moveTo>
                <a:lnTo>
                  <a:pt x="62944" y="0"/>
                </a:lnTo>
                <a:lnTo>
                  <a:pt x="102688" y="0"/>
                </a:lnTo>
                <a:lnTo>
                  <a:pt x="141020" y="104707"/>
                </a:lnTo>
                <a:lnTo>
                  <a:pt x="179755" y="0"/>
                </a:lnTo>
                <a:lnTo>
                  <a:pt x="217481" y="0"/>
                </a:lnTo>
                <a:lnTo>
                  <a:pt x="217481" y="154337"/>
                </a:lnTo>
                <a:lnTo>
                  <a:pt x="187825" y="154337"/>
                </a:lnTo>
                <a:lnTo>
                  <a:pt x="187825" y="53263"/>
                </a:lnTo>
                <a:lnTo>
                  <a:pt x="151309" y="152117"/>
                </a:lnTo>
                <a:lnTo>
                  <a:pt x="128915" y="152117"/>
                </a:lnTo>
                <a:lnTo>
                  <a:pt x="92601" y="52051"/>
                </a:lnTo>
                <a:lnTo>
                  <a:pt x="92601" y="154337"/>
                </a:lnTo>
                <a:close/>
                <a:moveTo>
                  <a:pt x="0" y="154337"/>
                </a:moveTo>
                <a:lnTo>
                  <a:pt x="0" y="0"/>
                </a:lnTo>
                <a:lnTo>
                  <a:pt x="30867" y="0"/>
                </a:lnTo>
                <a:lnTo>
                  <a:pt x="30867" y="15433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23430AAB-5902-4654-B9FA-AE29404FCE66}"/>
              </a:ext>
            </a:extLst>
          </p:cNvPr>
          <p:cNvCxnSpPr>
            <a:cxnSpLocks/>
          </p:cNvCxnSpPr>
          <p:nvPr userDrawn="1"/>
        </p:nvCxnSpPr>
        <p:spPr>
          <a:xfrm>
            <a:off x="275070" y="4497744"/>
            <a:ext cx="4320000" cy="0"/>
          </a:xfrm>
          <a:prstGeom prst="line">
            <a:avLst/>
          </a:prstGeom>
          <a:ln w="12700">
            <a:solidFill>
              <a:srgbClr val="F8F5E7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3F61116-2B80-4AA8-A5DE-F43ACEFB4AD3}"/>
              </a:ext>
            </a:extLst>
          </p:cNvPr>
          <p:cNvCxnSpPr>
            <a:cxnSpLocks/>
          </p:cNvCxnSpPr>
          <p:nvPr userDrawn="1"/>
        </p:nvCxnSpPr>
        <p:spPr>
          <a:xfrm>
            <a:off x="5319136" y="4497744"/>
            <a:ext cx="4319999" cy="0"/>
          </a:xfrm>
          <a:prstGeom prst="line">
            <a:avLst/>
          </a:prstGeom>
          <a:ln w="12700">
            <a:solidFill>
              <a:srgbClr val="F8F5E7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871737B9-DDE3-4847-BCBB-79FA9187C04F}"/>
              </a:ext>
            </a:extLst>
          </p:cNvPr>
          <p:cNvSpPr/>
          <p:nvPr userDrawn="1"/>
        </p:nvSpPr>
        <p:spPr>
          <a:xfrm>
            <a:off x="275070" y="4251232"/>
            <a:ext cx="1077218" cy="17171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lvl="1">
              <a:lnSpc>
                <a:spcPct val="93000"/>
              </a:lnSpc>
              <a:buNone/>
            </a:pPr>
            <a:r>
              <a:rPr lang="en-GB" sz="1200" b="1" dirty="0">
                <a:solidFill>
                  <a:srgbClr val="F8F5E7"/>
                </a:solidFill>
              </a:rPr>
              <a:t>THE PROJECT</a:t>
            </a:r>
            <a:endParaRPr lang="en-GB" dirty="0">
              <a:solidFill>
                <a:srgbClr val="F8F5E7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9512485-4193-4DA1-A713-E51426E48AB3}"/>
              </a:ext>
            </a:extLst>
          </p:cNvPr>
          <p:cNvSpPr/>
          <p:nvPr userDrawn="1"/>
        </p:nvSpPr>
        <p:spPr>
          <a:xfrm>
            <a:off x="5317911" y="4251232"/>
            <a:ext cx="929550" cy="17171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lvl="1">
              <a:lnSpc>
                <a:spcPct val="93000"/>
              </a:lnSpc>
              <a:buNone/>
            </a:pPr>
            <a:r>
              <a:rPr lang="en-GB" sz="1200" b="1" dirty="0">
                <a:solidFill>
                  <a:srgbClr val="F8F5E7"/>
                </a:solidFill>
              </a:rPr>
              <a:t>THE IMPACT</a:t>
            </a:r>
            <a:endParaRPr lang="en-GB" dirty="0">
              <a:solidFill>
                <a:srgbClr val="F8F5E7"/>
              </a:solidFill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6E258190-5654-4F09-866D-DF259733865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75070" y="4643414"/>
            <a:ext cx="4319588" cy="1668485"/>
          </a:xfrm>
        </p:spPr>
        <p:txBody>
          <a:bodyPr/>
          <a:lstStyle>
            <a:lvl1pPr>
              <a:buFontTx/>
              <a:buNone/>
              <a:defRPr sz="1000">
                <a:solidFill>
                  <a:srgbClr val="F8F5E7"/>
                </a:solidFill>
              </a:defRPr>
            </a:lvl1pPr>
            <a:lvl2pPr>
              <a:defRPr sz="1000">
                <a:solidFill>
                  <a:srgbClr val="F8F5E7"/>
                </a:solidFill>
              </a:defRPr>
            </a:lvl2pPr>
            <a:lvl3pPr>
              <a:defRPr sz="1000">
                <a:solidFill>
                  <a:srgbClr val="F8F5E7"/>
                </a:solidFill>
              </a:defRPr>
            </a:lvl3pPr>
            <a:lvl4pPr>
              <a:defRPr sz="1000">
                <a:solidFill>
                  <a:srgbClr val="F8F5E7"/>
                </a:solidFill>
              </a:defRPr>
            </a:lvl4pPr>
            <a:lvl5pPr>
              <a:defRPr sz="1000">
                <a:solidFill>
                  <a:srgbClr val="F8F5E7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307552BF-22B2-4AC0-889F-4545B1A418A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319136" y="4643414"/>
            <a:ext cx="4320000" cy="1668485"/>
          </a:xfrm>
        </p:spPr>
        <p:txBody>
          <a:bodyPr/>
          <a:lstStyle>
            <a:lvl1pPr>
              <a:buFontTx/>
              <a:buNone/>
              <a:defRPr sz="1000">
                <a:solidFill>
                  <a:srgbClr val="F8F5E7"/>
                </a:solidFill>
              </a:defRPr>
            </a:lvl1pPr>
            <a:lvl2pPr>
              <a:defRPr sz="1000">
                <a:solidFill>
                  <a:srgbClr val="F8F5E7"/>
                </a:solidFill>
              </a:defRPr>
            </a:lvl2pPr>
            <a:lvl3pPr>
              <a:defRPr sz="1000">
                <a:solidFill>
                  <a:srgbClr val="F8F5E7"/>
                </a:solidFill>
              </a:defRPr>
            </a:lvl3pPr>
            <a:lvl4pPr>
              <a:defRPr sz="1000">
                <a:solidFill>
                  <a:srgbClr val="F8F5E7"/>
                </a:solidFill>
              </a:defRPr>
            </a:lvl4pPr>
            <a:lvl5pPr>
              <a:defRPr sz="1000">
                <a:solidFill>
                  <a:srgbClr val="F8F5E7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D39F5F7-9774-4481-86BE-3C43D975F2D6}"/>
              </a:ext>
            </a:extLst>
          </p:cNvPr>
          <p:cNvSpPr/>
          <p:nvPr userDrawn="1"/>
        </p:nvSpPr>
        <p:spPr>
          <a:xfrm>
            <a:off x="275070" y="1511114"/>
            <a:ext cx="347852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0"/>
              </a:spcAft>
            </a:pPr>
            <a:r>
              <a:rPr lang="en-GB" dirty="0">
                <a:solidFill>
                  <a:schemeClr val="bg1"/>
                </a:solidFill>
              </a:rPr>
              <a:t>CASE</a:t>
            </a:r>
          </a:p>
        </p:txBody>
      </p:sp>
      <p:sp>
        <p:nvSpPr>
          <p:cNvPr id="21" name="TextBox 33">
            <a:extLst>
              <a:ext uri="{FF2B5EF4-FFF2-40B4-BE49-F238E27FC236}">
                <a16:creationId xmlns:a16="http://schemas.microsoft.com/office/drawing/2014/main" id="{DC80D7DE-7F0F-4C98-AC15-01F67C78C406}"/>
              </a:ext>
            </a:extLst>
          </p:cNvPr>
          <p:cNvSpPr txBox="1"/>
          <p:nvPr userDrawn="1"/>
        </p:nvSpPr>
        <p:spPr>
          <a:xfrm>
            <a:off x="10107046" y="0"/>
            <a:ext cx="1570400" cy="2129402"/>
          </a:xfrm>
          <a:prstGeom prst="rect">
            <a:avLst/>
          </a:prstGeom>
          <a:solidFill>
            <a:srgbClr val="E2DE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indent="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b="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0" indent="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1" kern="1200" cap="none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0" indent="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1" kern="1200" cap="all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144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0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144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lphaUcPeriod"/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0" indent="0" algn="l" defTabSz="742950" rtl="0" eaLnBrk="1" latinLnBrk="0" hangingPunct="1">
              <a:lnSpc>
                <a:spcPct val="8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4800" kern="1200" cap="all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en-GB" sz="800" b="1" dirty="0">
                <a:solidFill>
                  <a:schemeClr val="tx1"/>
                </a:solidFill>
                <a:sym typeface="Arial" panose="020B0604020202020204" pitchFamily="34" charset="0"/>
              </a:rPr>
              <a:t>CASE DATA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For internal use only – delete before sharing</a:t>
            </a:r>
          </a:p>
          <a:p>
            <a:pPr>
              <a:buNone/>
            </a:pPr>
            <a:endParaRPr lang="en-GB" sz="800" dirty="0">
              <a:solidFill>
                <a:schemeClr val="tx1"/>
              </a:solidFill>
              <a:sym typeface="Arial" panose="020B0604020202020204" pitchFamily="34" charset="0"/>
            </a:endParaRP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Client name: 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Maconomy project name: 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Industry: 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Keywords: xx, xx, 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Year(s): 20xx – 20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Implement contact person: xx</a:t>
            </a:r>
          </a:p>
          <a:p>
            <a:pPr>
              <a:buNone/>
            </a:pPr>
            <a:endParaRPr lang="en-GB" sz="8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544B3DC4-B916-4CFF-B1CB-568E7DA9808C}"/>
              </a:ext>
            </a:extLst>
          </p:cNvPr>
          <p:cNvSpPr txBox="1">
            <a:spLocks/>
          </p:cNvSpPr>
          <p:nvPr userDrawn="1"/>
        </p:nvSpPr>
        <p:spPr>
          <a:xfrm>
            <a:off x="9378938" y="6496424"/>
            <a:ext cx="255600" cy="1116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r" defTabSz="914400" rtl="0" eaLnBrk="1" latinLnBrk="0" hangingPunct="1">
              <a:defRPr sz="650" kern="1200" spc="0" baseline="0">
                <a:solidFill>
                  <a:srgbClr val="2F363B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650" smtClean="0">
                <a:solidFill>
                  <a:srgbClr val="F8F5E7"/>
                </a:solidFill>
              </a:rPr>
              <a:pPr/>
              <a:t>‹#›</a:t>
            </a:fld>
            <a:endParaRPr lang="en-GB" sz="650" dirty="0">
              <a:solidFill>
                <a:srgbClr val="F8F5E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2584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eference case_long text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5C949A49-8B74-4770-82C7-FB3B75548D7F}"/>
              </a:ext>
            </a:extLst>
          </p:cNvPr>
          <p:cNvSpPr/>
          <p:nvPr userDrawn="1"/>
        </p:nvSpPr>
        <p:spPr>
          <a:xfrm>
            <a:off x="0" y="1"/>
            <a:ext cx="9906000" cy="6857999"/>
          </a:xfrm>
          <a:prstGeom prst="rect">
            <a:avLst/>
          </a:prstGeom>
          <a:solidFill>
            <a:srgbClr val="30373B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05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87" b="0" i="0" u="none" strike="noStrike" kern="0" cap="none" spc="0" normalizeH="0" baseline="0" noProof="0" dirty="0">
              <a:ln>
                <a:noFill/>
              </a:ln>
              <a:solidFill>
                <a:srgbClr val="1F202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AD8A034-05A2-458D-8D7A-81B7EFBAEA9F}"/>
              </a:ext>
            </a:extLst>
          </p:cNvPr>
          <p:cNvSpPr txBox="1"/>
          <p:nvPr userDrawn="1"/>
        </p:nvSpPr>
        <p:spPr>
          <a:xfrm>
            <a:off x="6532418" y="-1"/>
            <a:ext cx="3373582" cy="3543301"/>
          </a:xfrm>
          <a:prstGeom prst="rect">
            <a:avLst/>
          </a:prstGeom>
          <a:solidFill>
            <a:srgbClr val="893E45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-144000">
              <a:lnSpc>
                <a:spcPct val="93000"/>
              </a:lnSpc>
              <a:spcAft>
                <a:spcPts val="0"/>
              </a:spcAft>
              <a:buSzPct val="100000"/>
              <a:buNone/>
              <a:defRPr sz="1100">
                <a:solidFill>
                  <a:srgbClr val="2F363B"/>
                </a:solidFill>
                <a:latin typeface="Arial" panose="020B0604020202020204" pitchFamily="34" charset="0"/>
              </a:defRPr>
            </a:lvl1pPr>
            <a:lvl2pPr marL="0" lvl="1" indent="0">
              <a:lnSpc>
                <a:spcPct val="93000"/>
              </a:lnSpc>
              <a:spcAft>
                <a:spcPts val="0"/>
              </a:spcAft>
              <a:buSzPct val="100000"/>
              <a:buChar char="​"/>
              <a:defRPr sz="1100">
                <a:solidFill>
                  <a:srgbClr val="2F363B"/>
                </a:solidFill>
                <a:latin typeface="Arial" panose="020B0604020202020204" pitchFamily="34" charset="0"/>
              </a:defRPr>
            </a:lvl2pPr>
            <a:lvl3pPr marL="139303" lvl="2" indent="-139303">
              <a:lnSpc>
                <a:spcPct val="93000"/>
              </a:lnSpc>
              <a:spcAft>
                <a:spcPts val="0"/>
              </a:spcAft>
              <a:buSzPct val="100000"/>
              <a:defRPr sz="1100">
                <a:solidFill>
                  <a:srgbClr val="2F363B"/>
                </a:solidFill>
                <a:latin typeface="Arial" panose="020B0604020202020204" pitchFamily="34" charset="0"/>
              </a:defRPr>
            </a:lvl3pPr>
            <a:lvl4pPr marL="185738" lvl="3" indent="-185738">
              <a:lnSpc>
                <a:spcPct val="93000"/>
              </a:lnSpc>
              <a:spcAft>
                <a:spcPts val="0"/>
              </a:spcAft>
              <a:buSzPct val="100000"/>
              <a:buFont typeface="+mj-lt"/>
              <a:buAutoNum type="arabicPeriod"/>
              <a:defRPr sz="1100">
                <a:solidFill>
                  <a:srgbClr val="2F363B"/>
                </a:solidFill>
                <a:latin typeface="Arial" panose="020B0604020202020204" pitchFamily="34" charset="0"/>
              </a:defRPr>
            </a:lvl4pPr>
            <a:lvl5pPr marL="185738" lvl="4" indent="-185738">
              <a:lnSpc>
                <a:spcPct val="93000"/>
              </a:lnSpc>
              <a:spcAft>
                <a:spcPts val="0"/>
              </a:spcAft>
              <a:buSzPct val="100000"/>
              <a:buFont typeface="+mj-lt"/>
              <a:buAutoNum type="alphaUcPeriod"/>
              <a:defRPr sz="1100" b="0">
                <a:solidFill>
                  <a:srgbClr val="2F363B"/>
                </a:solidFill>
                <a:latin typeface="Arial" panose="020B0604020202020204" pitchFamily="34" charset="0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lvl="1">
              <a:buNone/>
            </a:pPr>
            <a:endParaRPr lang="en-GB">
              <a:solidFill>
                <a:srgbClr val="30373B"/>
              </a:solidFill>
              <a:sym typeface="Arial" panose="020B0604020202020204" pitchFamily="34" charset="0"/>
            </a:endParaRPr>
          </a:p>
        </p:txBody>
      </p:sp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96EDC17A-116C-4E16-A3DE-2E5F4B894B8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317911" y="1308"/>
            <a:ext cx="3889058" cy="3108288"/>
          </a:xfrm>
          <a:solidFill>
            <a:srgbClr val="B8BBBD"/>
          </a:solidFill>
        </p:spPr>
        <p:txBody>
          <a:bodyPr rIns="0" anchor="ctr" anchorCtr="0"/>
          <a:lstStyle>
            <a:lvl1pPr marL="0" indent="0" algn="ctr">
              <a:buNone/>
              <a:defRPr>
                <a:solidFill>
                  <a:srgbClr val="1F2023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71B800F5-D353-40A2-B9C9-A29ACB6135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5070" y="2746979"/>
            <a:ext cx="4320000" cy="886397"/>
          </a:xfrm>
        </p:spPr>
        <p:txBody>
          <a:bodyPr anchor="b" anchorCtr="0">
            <a:spAutoFit/>
          </a:bodyPr>
          <a:lstStyle>
            <a:lvl1pPr>
              <a:defRPr sz="3200">
                <a:solidFill>
                  <a:srgbClr val="F8F5E7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6C3A81CD-98C4-40D0-925F-38C84421F367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auto">
          <a:xfrm rot="5400000">
            <a:off x="9382133" y="400810"/>
            <a:ext cx="350168" cy="154638"/>
          </a:xfrm>
          <a:custGeom>
            <a:avLst/>
            <a:gdLst>
              <a:gd name="connsiteX0" fmla="*/ 242136 w 350168"/>
              <a:gd name="connsiteY0" fmla="*/ 154638 h 154638"/>
              <a:gd name="connsiteX1" fmla="*/ 242136 w 350168"/>
              <a:gd name="connsiteY1" fmla="*/ 141700 h 154638"/>
              <a:gd name="connsiteX2" fmla="*/ 350168 w 350168"/>
              <a:gd name="connsiteY2" fmla="*/ 141700 h 154638"/>
              <a:gd name="connsiteX3" fmla="*/ 350168 w 350168"/>
              <a:gd name="connsiteY3" fmla="*/ 154638 h 154638"/>
              <a:gd name="connsiteX4" fmla="*/ 62944 w 350168"/>
              <a:gd name="connsiteY4" fmla="*/ 154337 h 154638"/>
              <a:gd name="connsiteX5" fmla="*/ 62944 w 350168"/>
              <a:gd name="connsiteY5" fmla="*/ 0 h 154638"/>
              <a:gd name="connsiteX6" fmla="*/ 102688 w 350168"/>
              <a:gd name="connsiteY6" fmla="*/ 0 h 154638"/>
              <a:gd name="connsiteX7" fmla="*/ 141020 w 350168"/>
              <a:gd name="connsiteY7" fmla="*/ 104707 h 154638"/>
              <a:gd name="connsiteX8" fmla="*/ 179755 w 350168"/>
              <a:gd name="connsiteY8" fmla="*/ 0 h 154638"/>
              <a:gd name="connsiteX9" fmla="*/ 217481 w 350168"/>
              <a:gd name="connsiteY9" fmla="*/ 0 h 154638"/>
              <a:gd name="connsiteX10" fmla="*/ 217481 w 350168"/>
              <a:gd name="connsiteY10" fmla="*/ 154337 h 154638"/>
              <a:gd name="connsiteX11" fmla="*/ 187825 w 350168"/>
              <a:gd name="connsiteY11" fmla="*/ 154337 h 154638"/>
              <a:gd name="connsiteX12" fmla="*/ 187825 w 350168"/>
              <a:gd name="connsiteY12" fmla="*/ 53263 h 154638"/>
              <a:gd name="connsiteX13" fmla="*/ 151309 w 350168"/>
              <a:gd name="connsiteY13" fmla="*/ 152117 h 154638"/>
              <a:gd name="connsiteX14" fmla="*/ 128915 w 350168"/>
              <a:gd name="connsiteY14" fmla="*/ 152117 h 154638"/>
              <a:gd name="connsiteX15" fmla="*/ 92601 w 350168"/>
              <a:gd name="connsiteY15" fmla="*/ 52051 h 154638"/>
              <a:gd name="connsiteX16" fmla="*/ 92601 w 350168"/>
              <a:gd name="connsiteY16" fmla="*/ 154337 h 154638"/>
              <a:gd name="connsiteX17" fmla="*/ 0 w 350168"/>
              <a:gd name="connsiteY17" fmla="*/ 154337 h 154638"/>
              <a:gd name="connsiteX18" fmla="*/ 0 w 350168"/>
              <a:gd name="connsiteY18" fmla="*/ 0 h 154638"/>
              <a:gd name="connsiteX19" fmla="*/ 30867 w 350168"/>
              <a:gd name="connsiteY19" fmla="*/ 0 h 154638"/>
              <a:gd name="connsiteX20" fmla="*/ 30867 w 350168"/>
              <a:gd name="connsiteY20" fmla="*/ 154337 h 154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50168" h="154638">
                <a:moveTo>
                  <a:pt x="242136" y="154638"/>
                </a:moveTo>
                <a:lnTo>
                  <a:pt x="242136" y="141700"/>
                </a:lnTo>
                <a:lnTo>
                  <a:pt x="350168" y="141700"/>
                </a:lnTo>
                <a:lnTo>
                  <a:pt x="350168" y="154638"/>
                </a:lnTo>
                <a:close/>
                <a:moveTo>
                  <a:pt x="62944" y="154337"/>
                </a:moveTo>
                <a:lnTo>
                  <a:pt x="62944" y="0"/>
                </a:lnTo>
                <a:lnTo>
                  <a:pt x="102688" y="0"/>
                </a:lnTo>
                <a:lnTo>
                  <a:pt x="141020" y="104707"/>
                </a:lnTo>
                <a:lnTo>
                  <a:pt x="179755" y="0"/>
                </a:lnTo>
                <a:lnTo>
                  <a:pt x="217481" y="0"/>
                </a:lnTo>
                <a:lnTo>
                  <a:pt x="217481" y="154337"/>
                </a:lnTo>
                <a:lnTo>
                  <a:pt x="187825" y="154337"/>
                </a:lnTo>
                <a:lnTo>
                  <a:pt x="187825" y="53263"/>
                </a:lnTo>
                <a:lnTo>
                  <a:pt x="151309" y="152117"/>
                </a:lnTo>
                <a:lnTo>
                  <a:pt x="128915" y="152117"/>
                </a:lnTo>
                <a:lnTo>
                  <a:pt x="92601" y="52051"/>
                </a:lnTo>
                <a:lnTo>
                  <a:pt x="92601" y="154337"/>
                </a:lnTo>
                <a:close/>
                <a:moveTo>
                  <a:pt x="0" y="154337"/>
                </a:moveTo>
                <a:lnTo>
                  <a:pt x="0" y="0"/>
                </a:lnTo>
                <a:lnTo>
                  <a:pt x="30867" y="0"/>
                </a:lnTo>
                <a:lnTo>
                  <a:pt x="30867" y="15433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23430AAB-5902-4654-B9FA-AE29404FCE66}"/>
              </a:ext>
            </a:extLst>
          </p:cNvPr>
          <p:cNvCxnSpPr>
            <a:cxnSpLocks/>
          </p:cNvCxnSpPr>
          <p:nvPr userDrawn="1"/>
        </p:nvCxnSpPr>
        <p:spPr>
          <a:xfrm>
            <a:off x="275070" y="4497744"/>
            <a:ext cx="4320000" cy="0"/>
          </a:xfrm>
          <a:prstGeom prst="line">
            <a:avLst/>
          </a:prstGeom>
          <a:ln w="12700">
            <a:solidFill>
              <a:srgbClr val="F8F5E7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3F61116-2B80-4AA8-A5DE-F43ACEFB4AD3}"/>
              </a:ext>
            </a:extLst>
          </p:cNvPr>
          <p:cNvCxnSpPr>
            <a:cxnSpLocks/>
          </p:cNvCxnSpPr>
          <p:nvPr userDrawn="1"/>
        </p:nvCxnSpPr>
        <p:spPr>
          <a:xfrm>
            <a:off x="5319136" y="4497744"/>
            <a:ext cx="4319999" cy="0"/>
          </a:xfrm>
          <a:prstGeom prst="line">
            <a:avLst/>
          </a:prstGeom>
          <a:ln w="12700">
            <a:solidFill>
              <a:srgbClr val="F8F5E7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871737B9-DDE3-4847-BCBB-79FA9187C04F}"/>
              </a:ext>
            </a:extLst>
          </p:cNvPr>
          <p:cNvSpPr/>
          <p:nvPr userDrawn="1"/>
        </p:nvSpPr>
        <p:spPr>
          <a:xfrm>
            <a:off x="275070" y="4251232"/>
            <a:ext cx="1077218" cy="17171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lvl="1">
              <a:lnSpc>
                <a:spcPct val="93000"/>
              </a:lnSpc>
              <a:buNone/>
            </a:pPr>
            <a:r>
              <a:rPr lang="en-GB" sz="1200" b="1" dirty="0">
                <a:solidFill>
                  <a:srgbClr val="F8F5E7"/>
                </a:solidFill>
              </a:rPr>
              <a:t>THE PROJECT</a:t>
            </a:r>
            <a:endParaRPr lang="en-GB" dirty="0">
              <a:solidFill>
                <a:srgbClr val="F8F5E7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9512485-4193-4DA1-A713-E51426E48AB3}"/>
              </a:ext>
            </a:extLst>
          </p:cNvPr>
          <p:cNvSpPr/>
          <p:nvPr userDrawn="1"/>
        </p:nvSpPr>
        <p:spPr>
          <a:xfrm>
            <a:off x="5317911" y="4251232"/>
            <a:ext cx="929550" cy="17171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lvl="1">
              <a:lnSpc>
                <a:spcPct val="93000"/>
              </a:lnSpc>
              <a:buNone/>
            </a:pPr>
            <a:r>
              <a:rPr lang="en-GB" sz="1200" b="1" dirty="0">
                <a:solidFill>
                  <a:srgbClr val="F8F5E7"/>
                </a:solidFill>
              </a:rPr>
              <a:t>THE IMPACT</a:t>
            </a:r>
            <a:endParaRPr lang="en-GB" dirty="0">
              <a:solidFill>
                <a:srgbClr val="F8F5E7"/>
              </a:solidFill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6E258190-5654-4F09-866D-DF259733865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75070" y="4643414"/>
            <a:ext cx="4319588" cy="1668485"/>
          </a:xfrm>
        </p:spPr>
        <p:txBody>
          <a:bodyPr/>
          <a:lstStyle>
            <a:lvl1pPr>
              <a:buFontTx/>
              <a:buNone/>
              <a:defRPr sz="1000">
                <a:solidFill>
                  <a:srgbClr val="F8F5E7"/>
                </a:solidFill>
              </a:defRPr>
            </a:lvl1pPr>
            <a:lvl2pPr>
              <a:defRPr sz="1000">
                <a:solidFill>
                  <a:srgbClr val="F8F5E7"/>
                </a:solidFill>
              </a:defRPr>
            </a:lvl2pPr>
            <a:lvl3pPr>
              <a:defRPr sz="1000">
                <a:solidFill>
                  <a:srgbClr val="F8F5E7"/>
                </a:solidFill>
              </a:defRPr>
            </a:lvl3pPr>
            <a:lvl4pPr>
              <a:defRPr sz="1000">
                <a:solidFill>
                  <a:srgbClr val="F8F5E7"/>
                </a:solidFill>
              </a:defRPr>
            </a:lvl4pPr>
            <a:lvl5pPr>
              <a:defRPr sz="1000">
                <a:solidFill>
                  <a:srgbClr val="F8F5E7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307552BF-22B2-4AC0-889F-4545B1A418A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319136" y="4643414"/>
            <a:ext cx="4320000" cy="1668485"/>
          </a:xfrm>
        </p:spPr>
        <p:txBody>
          <a:bodyPr/>
          <a:lstStyle>
            <a:lvl1pPr>
              <a:buFontTx/>
              <a:buNone/>
              <a:defRPr sz="1000">
                <a:solidFill>
                  <a:srgbClr val="F8F5E7"/>
                </a:solidFill>
              </a:defRPr>
            </a:lvl1pPr>
            <a:lvl2pPr>
              <a:defRPr sz="1000">
                <a:solidFill>
                  <a:srgbClr val="F8F5E7"/>
                </a:solidFill>
              </a:defRPr>
            </a:lvl2pPr>
            <a:lvl3pPr>
              <a:defRPr sz="1000">
                <a:solidFill>
                  <a:srgbClr val="F8F5E7"/>
                </a:solidFill>
              </a:defRPr>
            </a:lvl3pPr>
            <a:lvl4pPr>
              <a:defRPr sz="1000">
                <a:solidFill>
                  <a:srgbClr val="F8F5E7"/>
                </a:solidFill>
              </a:defRPr>
            </a:lvl4pPr>
            <a:lvl5pPr>
              <a:defRPr sz="1000">
                <a:solidFill>
                  <a:srgbClr val="F8F5E7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D39F5F7-9774-4481-86BE-3C43D975F2D6}"/>
              </a:ext>
            </a:extLst>
          </p:cNvPr>
          <p:cNvSpPr/>
          <p:nvPr userDrawn="1"/>
        </p:nvSpPr>
        <p:spPr>
          <a:xfrm>
            <a:off x="275070" y="1511114"/>
            <a:ext cx="347852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0"/>
              </a:spcAft>
            </a:pPr>
            <a:r>
              <a:rPr lang="en-GB" dirty="0">
                <a:solidFill>
                  <a:schemeClr val="bg1"/>
                </a:solidFill>
              </a:rPr>
              <a:t>CASE</a:t>
            </a:r>
          </a:p>
        </p:txBody>
      </p:sp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BCE50D5C-BAC4-4FCE-9028-0D797DC82564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45317630-8701-4B49-BF3D-3DA5BE3CE466}" type="datetime1">
              <a:rPr lang="en-US" smtClean="0"/>
              <a:t>2/25/2022</a:t>
            </a:fld>
            <a:endParaRPr lang="en-GB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39F4068E-E362-489D-A634-D49ABE2508E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Footer</a:t>
            </a:r>
            <a:endParaRPr lang="en-GB" dirty="0"/>
          </a:p>
        </p:txBody>
      </p:sp>
      <p:sp>
        <p:nvSpPr>
          <p:cNvPr id="21" name="TextBox 33">
            <a:extLst>
              <a:ext uri="{FF2B5EF4-FFF2-40B4-BE49-F238E27FC236}">
                <a16:creationId xmlns:a16="http://schemas.microsoft.com/office/drawing/2014/main" id="{9064EA47-C43C-43CA-8985-663D50D487C7}"/>
              </a:ext>
            </a:extLst>
          </p:cNvPr>
          <p:cNvSpPr txBox="1"/>
          <p:nvPr userDrawn="1"/>
        </p:nvSpPr>
        <p:spPr>
          <a:xfrm>
            <a:off x="10107046" y="0"/>
            <a:ext cx="1570400" cy="2129402"/>
          </a:xfrm>
          <a:prstGeom prst="rect">
            <a:avLst/>
          </a:prstGeom>
          <a:solidFill>
            <a:srgbClr val="E2DE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indent="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b="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0" indent="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1" kern="1200" cap="none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0" indent="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1" kern="1200" cap="all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144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0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144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lphaUcPeriod"/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0" indent="0" algn="l" defTabSz="742950" rtl="0" eaLnBrk="1" latinLnBrk="0" hangingPunct="1">
              <a:lnSpc>
                <a:spcPct val="8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4800" kern="1200" cap="all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en-GB" sz="800" b="1" dirty="0">
                <a:solidFill>
                  <a:schemeClr val="tx1"/>
                </a:solidFill>
                <a:sym typeface="Arial" panose="020B0604020202020204" pitchFamily="34" charset="0"/>
              </a:rPr>
              <a:t>CASE DATA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For internal use only – delete before sharing</a:t>
            </a:r>
          </a:p>
          <a:p>
            <a:pPr>
              <a:buNone/>
            </a:pPr>
            <a:endParaRPr lang="en-GB" sz="800" dirty="0">
              <a:solidFill>
                <a:schemeClr val="tx1"/>
              </a:solidFill>
              <a:sym typeface="Arial" panose="020B0604020202020204" pitchFamily="34" charset="0"/>
            </a:endParaRP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Client name: 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Maconomy project name: 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Industry: 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Keywords: xx, xx, 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Year(s): 20xx – 20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Implement contact person: xx</a:t>
            </a:r>
          </a:p>
          <a:p>
            <a:pPr>
              <a:buNone/>
            </a:pPr>
            <a:endParaRPr lang="en-GB" sz="8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E1E86394-7A3D-443E-8405-D4F36877CC23}"/>
              </a:ext>
            </a:extLst>
          </p:cNvPr>
          <p:cNvSpPr txBox="1">
            <a:spLocks/>
          </p:cNvSpPr>
          <p:nvPr userDrawn="1"/>
        </p:nvSpPr>
        <p:spPr>
          <a:xfrm>
            <a:off x="9378938" y="6496424"/>
            <a:ext cx="255600" cy="1116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r" defTabSz="914400" rtl="0" eaLnBrk="1" latinLnBrk="0" hangingPunct="1">
              <a:defRPr sz="650" kern="1200" spc="0" baseline="0">
                <a:solidFill>
                  <a:srgbClr val="2F363B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650" smtClean="0">
                <a:solidFill>
                  <a:srgbClr val="F8F5E7"/>
                </a:solidFill>
              </a:rPr>
              <a:pPr/>
              <a:t>‹#›</a:t>
            </a:fld>
            <a:endParaRPr lang="en-GB" sz="650" dirty="0">
              <a:solidFill>
                <a:srgbClr val="F8F5E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968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eference case_long text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7E4694B-A434-48B1-A431-0432E4744F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think-cell Slide" r:id="rId6" imgW="526" imgH="526" progId="TCLayout.ActiveDocument.1">
                  <p:embed/>
                </p:oleObj>
              </mc:Choice>
              <mc:Fallback>
                <p:oleObj name="think-cell Slide" r:id="rId6" imgW="526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7E4694B-A434-48B1-A431-0432E4744F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C3A9516-8834-4484-A04E-ECB695CB650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2DE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0" i="0" baseline="0" noProof="0" dirty="0" err="1">
              <a:solidFill>
                <a:srgbClr val="2F363B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C949A49-8B74-4770-82C7-FB3B75548D7F}"/>
              </a:ext>
            </a:extLst>
          </p:cNvPr>
          <p:cNvSpPr/>
          <p:nvPr userDrawn="1"/>
        </p:nvSpPr>
        <p:spPr>
          <a:xfrm>
            <a:off x="0" y="1"/>
            <a:ext cx="9906000" cy="6857999"/>
          </a:xfrm>
          <a:prstGeom prst="rect">
            <a:avLst/>
          </a:prstGeom>
          <a:solidFill>
            <a:srgbClr val="30373B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05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87" b="0" i="0" u="none" strike="noStrike" kern="0" cap="none" spc="0" normalizeH="0" baseline="0" noProof="0" dirty="0">
              <a:ln>
                <a:noFill/>
              </a:ln>
              <a:solidFill>
                <a:srgbClr val="1F202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AD8A034-05A2-458D-8D7A-81B7EFBAEA9F}"/>
              </a:ext>
            </a:extLst>
          </p:cNvPr>
          <p:cNvSpPr txBox="1"/>
          <p:nvPr userDrawn="1"/>
        </p:nvSpPr>
        <p:spPr>
          <a:xfrm>
            <a:off x="6532418" y="-1"/>
            <a:ext cx="3373582" cy="3543301"/>
          </a:xfrm>
          <a:prstGeom prst="rect">
            <a:avLst/>
          </a:prstGeom>
          <a:solidFill>
            <a:srgbClr val="E2DE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indent="-144000">
              <a:lnSpc>
                <a:spcPct val="93000"/>
              </a:lnSpc>
              <a:spcAft>
                <a:spcPts val="0"/>
              </a:spcAft>
              <a:buSzPct val="100000"/>
              <a:buNone/>
              <a:defRPr sz="1100">
                <a:solidFill>
                  <a:srgbClr val="2F363B"/>
                </a:solidFill>
                <a:latin typeface="Arial" panose="020B0604020202020204" pitchFamily="34" charset="0"/>
              </a:defRPr>
            </a:lvl1pPr>
            <a:lvl2pPr marL="0" lvl="1" indent="0">
              <a:lnSpc>
                <a:spcPct val="93000"/>
              </a:lnSpc>
              <a:spcAft>
                <a:spcPts val="0"/>
              </a:spcAft>
              <a:buSzPct val="100000"/>
              <a:buChar char="​"/>
              <a:defRPr sz="1100">
                <a:solidFill>
                  <a:srgbClr val="2F363B"/>
                </a:solidFill>
                <a:latin typeface="Arial" panose="020B0604020202020204" pitchFamily="34" charset="0"/>
              </a:defRPr>
            </a:lvl2pPr>
            <a:lvl3pPr marL="139303" lvl="2" indent="-139303">
              <a:lnSpc>
                <a:spcPct val="93000"/>
              </a:lnSpc>
              <a:spcAft>
                <a:spcPts val="0"/>
              </a:spcAft>
              <a:buSzPct val="100000"/>
              <a:defRPr sz="1100">
                <a:solidFill>
                  <a:srgbClr val="2F363B"/>
                </a:solidFill>
                <a:latin typeface="Arial" panose="020B0604020202020204" pitchFamily="34" charset="0"/>
              </a:defRPr>
            </a:lvl3pPr>
            <a:lvl4pPr marL="185738" lvl="3" indent="-185738">
              <a:lnSpc>
                <a:spcPct val="93000"/>
              </a:lnSpc>
              <a:spcAft>
                <a:spcPts val="0"/>
              </a:spcAft>
              <a:buSzPct val="100000"/>
              <a:buFont typeface="+mj-lt"/>
              <a:buAutoNum type="arabicPeriod"/>
              <a:defRPr sz="1100">
                <a:solidFill>
                  <a:srgbClr val="2F363B"/>
                </a:solidFill>
                <a:latin typeface="Arial" panose="020B0604020202020204" pitchFamily="34" charset="0"/>
              </a:defRPr>
            </a:lvl4pPr>
            <a:lvl5pPr marL="185738" lvl="4" indent="-185738">
              <a:lnSpc>
                <a:spcPct val="93000"/>
              </a:lnSpc>
              <a:spcAft>
                <a:spcPts val="0"/>
              </a:spcAft>
              <a:buSzPct val="100000"/>
              <a:buFont typeface="+mj-lt"/>
              <a:buAutoNum type="alphaUcPeriod"/>
              <a:defRPr sz="1100" b="0">
                <a:solidFill>
                  <a:srgbClr val="2F363B"/>
                </a:solidFill>
                <a:latin typeface="Arial" panose="020B0604020202020204" pitchFamily="34" charset="0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lvl="1">
              <a:buNone/>
            </a:pPr>
            <a:endParaRPr lang="en-GB">
              <a:solidFill>
                <a:srgbClr val="30373B"/>
              </a:solidFill>
              <a:sym typeface="Arial" panose="020B0604020202020204" pitchFamily="34" charset="0"/>
            </a:endParaRPr>
          </a:p>
        </p:txBody>
      </p:sp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96EDC17A-116C-4E16-A3DE-2E5F4B894B8C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317911" y="1308"/>
            <a:ext cx="3889058" cy="3108288"/>
          </a:xfrm>
          <a:solidFill>
            <a:srgbClr val="B8BBBD"/>
          </a:solidFill>
        </p:spPr>
        <p:txBody>
          <a:bodyPr rIns="0" anchor="ctr" anchorCtr="0"/>
          <a:lstStyle>
            <a:lvl1pPr marL="0" indent="0" algn="ctr">
              <a:buNone/>
              <a:defRPr>
                <a:solidFill>
                  <a:srgbClr val="1F2023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71B800F5-D353-40A2-B9C9-A29ACB6135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5070" y="2746979"/>
            <a:ext cx="4320000" cy="886397"/>
          </a:xfrm>
        </p:spPr>
        <p:txBody>
          <a:bodyPr anchor="b" anchorCtr="0">
            <a:spAutoFit/>
          </a:bodyPr>
          <a:lstStyle>
            <a:lvl1pPr>
              <a:defRPr sz="3200">
                <a:solidFill>
                  <a:srgbClr val="F8F5E7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6C3A81CD-98C4-40D0-925F-38C84421F367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 rot="5400000">
            <a:off x="9382133" y="400810"/>
            <a:ext cx="350168" cy="154638"/>
          </a:xfrm>
          <a:custGeom>
            <a:avLst/>
            <a:gdLst>
              <a:gd name="connsiteX0" fmla="*/ 242136 w 350168"/>
              <a:gd name="connsiteY0" fmla="*/ 154638 h 154638"/>
              <a:gd name="connsiteX1" fmla="*/ 242136 w 350168"/>
              <a:gd name="connsiteY1" fmla="*/ 141700 h 154638"/>
              <a:gd name="connsiteX2" fmla="*/ 350168 w 350168"/>
              <a:gd name="connsiteY2" fmla="*/ 141700 h 154638"/>
              <a:gd name="connsiteX3" fmla="*/ 350168 w 350168"/>
              <a:gd name="connsiteY3" fmla="*/ 154638 h 154638"/>
              <a:gd name="connsiteX4" fmla="*/ 62944 w 350168"/>
              <a:gd name="connsiteY4" fmla="*/ 154337 h 154638"/>
              <a:gd name="connsiteX5" fmla="*/ 62944 w 350168"/>
              <a:gd name="connsiteY5" fmla="*/ 0 h 154638"/>
              <a:gd name="connsiteX6" fmla="*/ 102688 w 350168"/>
              <a:gd name="connsiteY6" fmla="*/ 0 h 154638"/>
              <a:gd name="connsiteX7" fmla="*/ 141020 w 350168"/>
              <a:gd name="connsiteY7" fmla="*/ 104707 h 154638"/>
              <a:gd name="connsiteX8" fmla="*/ 179755 w 350168"/>
              <a:gd name="connsiteY8" fmla="*/ 0 h 154638"/>
              <a:gd name="connsiteX9" fmla="*/ 217481 w 350168"/>
              <a:gd name="connsiteY9" fmla="*/ 0 h 154638"/>
              <a:gd name="connsiteX10" fmla="*/ 217481 w 350168"/>
              <a:gd name="connsiteY10" fmla="*/ 154337 h 154638"/>
              <a:gd name="connsiteX11" fmla="*/ 187825 w 350168"/>
              <a:gd name="connsiteY11" fmla="*/ 154337 h 154638"/>
              <a:gd name="connsiteX12" fmla="*/ 187825 w 350168"/>
              <a:gd name="connsiteY12" fmla="*/ 53263 h 154638"/>
              <a:gd name="connsiteX13" fmla="*/ 151309 w 350168"/>
              <a:gd name="connsiteY13" fmla="*/ 152117 h 154638"/>
              <a:gd name="connsiteX14" fmla="*/ 128915 w 350168"/>
              <a:gd name="connsiteY14" fmla="*/ 152117 h 154638"/>
              <a:gd name="connsiteX15" fmla="*/ 92601 w 350168"/>
              <a:gd name="connsiteY15" fmla="*/ 52051 h 154638"/>
              <a:gd name="connsiteX16" fmla="*/ 92601 w 350168"/>
              <a:gd name="connsiteY16" fmla="*/ 154337 h 154638"/>
              <a:gd name="connsiteX17" fmla="*/ 0 w 350168"/>
              <a:gd name="connsiteY17" fmla="*/ 154337 h 154638"/>
              <a:gd name="connsiteX18" fmla="*/ 0 w 350168"/>
              <a:gd name="connsiteY18" fmla="*/ 0 h 154638"/>
              <a:gd name="connsiteX19" fmla="*/ 30867 w 350168"/>
              <a:gd name="connsiteY19" fmla="*/ 0 h 154638"/>
              <a:gd name="connsiteX20" fmla="*/ 30867 w 350168"/>
              <a:gd name="connsiteY20" fmla="*/ 154337 h 154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50168" h="154638">
                <a:moveTo>
                  <a:pt x="242136" y="154638"/>
                </a:moveTo>
                <a:lnTo>
                  <a:pt x="242136" y="141700"/>
                </a:lnTo>
                <a:lnTo>
                  <a:pt x="350168" y="141700"/>
                </a:lnTo>
                <a:lnTo>
                  <a:pt x="350168" y="154638"/>
                </a:lnTo>
                <a:close/>
                <a:moveTo>
                  <a:pt x="62944" y="154337"/>
                </a:moveTo>
                <a:lnTo>
                  <a:pt x="62944" y="0"/>
                </a:lnTo>
                <a:lnTo>
                  <a:pt x="102688" y="0"/>
                </a:lnTo>
                <a:lnTo>
                  <a:pt x="141020" y="104707"/>
                </a:lnTo>
                <a:lnTo>
                  <a:pt x="179755" y="0"/>
                </a:lnTo>
                <a:lnTo>
                  <a:pt x="217481" y="0"/>
                </a:lnTo>
                <a:lnTo>
                  <a:pt x="217481" y="154337"/>
                </a:lnTo>
                <a:lnTo>
                  <a:pt x="187825" y="154337"/>
                </a:lnTo>
                <a:lnTo>
                  <a:pt x="187825" y="53263"/>
                </a:lnTo>
                <a:lnTo>
                  <a:pt x="151309" y="152117"/>
                </a:lnTo>
                <a:lnTo>
                  <a:pt x="128915" y="152117"/>
                </a:lnTo>
                <a:lnTo>
                  <a:pt x="92601" y="52051"/>
                </a:lnTo>
                <a:lnTo>
                  <a:pt x="92601" y="154337"/>
                </a:lnTo>
                <a:close/>
                <a:moveTo>
                  <a:pt x="0" y="154337"/>
                </a:moveTo>
                <a:lnTo>
                  <a:pt x="0" y="0"/>
                </a:lnTo>
                <a:lnTo>
                  <a:pt x="30867" y="0"/>
                </a:lnTo>
                <a:lnTo>
                  <a:pt x="30867" y="15433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23430AAB-5902-4654-B9FA-AE29404FCE66}"/>
              </a:ext>
            </a:extLst>
          </p:cNvPr>
          <p:cNvCxnSpPr>
            <a:cxnSpLocks/>
          </p:cNvCxnSpPr>
          <p:nvPr userDrawn="1"/>
        </p:nvCxnSpPr>
        <p:spPr>
          <a:xfrm>
            <a:off x="275070" y="4497744"/>
            <a:ext cx="4320000" cy="0"/>
          </a:xfrm>
          <a:prstGeom prst="line">
            <a:avLst/>
          </a:prstGeom>
          <a:ln w="12700">
            <a:solidFill>
              <a:srgbClr val="F8F5E7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3F61116-2B80-4AA8-A5DE-F43ACEFB4AD3}"/>
              </a:ext>
            </a:extLst>
          </p:cNvPr>
          <p:cNvCxnSpPr>
            <a:cxnSpLocks/>
          </p:cNvCxnSpPr>
          <p:nvPr userDrawn="1"/>
        </p:nvCxnSpPr>
        <p:spPr>
          <a:xfrm>
            <a:off x="5319136" y="4497744"/>
            <a:ext cx="4319999" cy="0"/>
          </a:xfrm>
          <a:prstGeom prst="line">
            <a:avLst/>
          </a:prstGeom>
          <a:ln w="12700">
            <a:solidFill>
              <a:srgbClr val="F8F5E7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871737B9-DDE3-4847-BCBB-79FA9187C04F}"/>
              </a:ext>
            </a:extLst>
          </p:cNvPr>
          <p:cNvSpPr/>
          <p:nvPr userDrawn="1"/>
        </p:nvSpPr>
        <p:spPr>
          <a:xfrm>
            <a:off x="275070" y="4251232"/>
            <a:ext cx="1077218" cy="17171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lvl="1">
              <a:lnSpc>
                <a:spcPct val="93000"/>
              </a:lnSpc>
              <a:buNone/>
            </a:pPr>
            <a:r>
              <a:rPr lang="en-GB" sz="1200" b="1" dirty="0">
                <a:solidFill>
                  <a:srgbClr val="F8F5E7"/>
                </a:solidFill>
              </a:rPr>
              <a:t>THE PROJECT</a:t>
            </a:r>
            <a:endParaRPr lang="en-GB" dirty="0">
              <a:solidFill>
                <a:srgbClr val="F8F5E7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9512485-4193-4DA1-A713-E51426E48AB3}"/>
              </a:ext>
            </a:extLst>
          </p:cNvPr>
          <p:cNvSpPr/>
          <p:nvPr userDrawn="1"/>
        </p:nvSpPr>
        <p:spPr>
          <a:xfrm>
            <a:off x="5317911" y="4251232"/>
            <a:ext cx="929550" cy="17171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lvl="1">
              <a:lnSpc>
                <a:spcPct val="93000"/>
              </a:lnSpc>
              <a:buNone/>
            </a:pPr>
            <a:r>
              <a:rPr lang="en-GB" sz="1200" b="1" dirty="0">
                <a:solidFill>
                  <a:srgbClr val="F8F5E7"/>
                </a:solidFill>
              </a:rPr>
              <a:t>THE IMPACT</a:t>
            </a:r>
            <a:endParaRPr lang="en-GB" dirty="0">
              <a:solidFill>
                <a:srgbClr val="F8F5E7"/>
              </a:solidFill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6E258190-5654-4F09-866D-DF259733865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75070" y="4643414"/>
            <a:ext cx="4319588" cy="1668485"/>
          </a:xfrm>
        </p:spPr>
        <p:txBody>
          <a:bodyPr/>
          <a:lstStyle>
            <a:lvl1pPr>
              <a:buFontTx/>
              <a:buNone/>
              <a:defRPr sz="1000">
                <a:solidFill>
                  <a:srgbClr val="F8F5E7"/>
                </a:solidFill>
              </a:defRPr>
            </a:lvl1pPr>
            <a:lvl2pPr>
              <a:defRPr sz="1000">
                <a:solidFill>
                  <a:srgbClr val="F8F5E7"/>
                </a:solidFill>
              </a:defRPr>
            </a:lvl2pPr>
            <a:lvl3pPr>
              <a:defRPr sz="1000">
                <a:solidFill>
                  <a:srgbClr val="F8F5E7"/>
                </a:solidFill>
              </a:defRPr>
            </a:lvl3pPr>
            <a:lvl4pPr>
              <a:defRPr sz="1000">
                <a:solidFill>
                  <a:srgbClr val="F8F5E7"/>
                </a:solidFill>
              </a:defRPr>
            </a:lvl4pPr>
            <a:lvl5pPr>
              <a:defRPr sz="1000">
                <a:solidFill>
                  <a:srgbClr val="F8F5E7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307552BF-22B2-4AC0-889F-4545B1A418A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319136" y="4643414"/>
            <a:ext cx="4320000" cy="1668485"/>
          </a:xfrm>
        </p:spPr>
        <p:txBody>
          <a:bodyPr/>
          <a:lstStyle>
            <a:lvl1pPr>
              <a:buFontTx/>
              <a:buNone/>
              <a:defRPr sz="1000">
                <a:solidFill>
                  <a:srgbClr val="F8F5E7"/>
                </a:solidFill>
              </a:defRPr>
            </a:lvl1pPr>
            <a:lvl2pPr>
              <a:defRPr sz="1000">
                <a:solidFill>
                  <a:srgbClr val="F8F5E7"/>
                </a:solidFill>
              </a:defRPr>
            </a:lvl2pPr>
            <a:lvl3pPr>
              <a:defRPr sz="1000">
                <a:solidFill>
                  <a:srgbClr val="F8F5E7"/>
                </a:solidFill>
              </a:defRPr>
            </a:lvl3pPr>
            <a:lvl4pPr>
              <a:defRPr sz="1000">
                <a:solidFill>
                  <a:srgbClr val="F8F5E7"/>
                </a:solidFill>
              </a:defRPr>
            </a:lvl4pPr>
            <a:lvl5pPr>
              <a:defRPr sz="1000">
                <a:solidFill>
                  <a:srgbClr val="F8F5E7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D39F5F7-9774-4481-86BE-3C43D975F2D6}"/>
              </a:ext>
            </a:extLst>
          </p:cNvPr>
          <p:cNvSpPr/>
          <p:nvPr userDrawn="1"/>
        </p:nvSpPr>
        <p:spPr>
          <a:xfrm>
            <a:off x="275070" y="1511114"/>
            <a:ext cx="347852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Aft>
                <a:spcPts val="0"/>
              </a:spcAft>
            </a:pPr>
            <a:r>
              <a:rPr lang="en-GB" dirty="0">
                <a:solidFill>
                  <a:schemeClr val="bg1"/>
                </a:solidFill>
              </a:rPr>
              <a:t>CASE</a:t>
            </a:r>
          </a:p>
        </p:txBody>
      </p:sp>
      <p:sp>
        <p:nvSpPr>
          <p:cNvPr id="9" name="Date Placeholder 8" hidden="1">
            <a:extLst>
              <a:ext uri="{FF2B5EF4-FFF2-40B4-BE49-F238E27FC236}">
                <a16:creationId xmlns:a16="http://schemas.microsoft.com/office/drawing/2014/main" id="{5404BE8D-AE5A-46FA-AE62-EA7B11A6E33D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45317630-8701-4B49-BF3D-3DA5BE3CE466}" type="datetime1">
              <a:rPr lang="en-US" smtClean="0"/>
              <a:t>2/25/2022</a:t>
            </a:fld>
            <a:endParaRPr lang="en-GB" dirty="0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5D23A5B9-DBF2-46B4-814A-26CF3CA8B62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GB"/>
              <a:t>Footer</a:t>
            </a:r>
            <a:endParaRPr lang="en-GB" dirty="0"/>
          </a:p>
        </p:txBody>
      </p:sp>
      <p:sp>
        <p:nvSpPr>
          <p:cNvPr id="27" name="TextBox 33">
            <a:extLst>
              <a:ext uri="{FF2B5EF4-FFF2-40B4-BE49-F238E27FC236}">
                <a16:creationId xmlns:a16="http://schemas.microsoft.com/office/drawing/2014/main" id="{EFEBE689-7BB7-4A1C-874A-96F7609AFCDE}"/>
              </a:ext>
            </a:extLst>
          </p:cNvPr>
          <p:cNvSpPr txBox="1"/>
          <p:nvPr userDrawn="1"/>
        </p:nvSpPr>
        <p:spPr>
          <a:xfrm>
            <a:off x="10107046" y="0"/>
            <a:ext cx="1570400" cy="2129402"/>
          </a:xfrm>
          <a:prstGeom prst="rect">
            <a:avLst/>
          </a:prstGeom>
          <a:solidFill>
            <a:srgbClr val="E2DE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indent="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000" b="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0" indent="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1" kern="1200" cap="none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0" indent="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1000" b="1" kern="1200" cap="all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144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000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144000" indent="-144000" algn="l" defTabSz="74295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lphaUcPeriod"/>
              <a:defRPr sz="10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0" indent="0" algn="l" defTabSz="742950" rtl="0" eaLnBrk="1" latinLnBrk="0" hangingPunct="1">
              <a:lnSpc>
                <a:spcPct val="8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​"/>
              <a:defRPr sz="4800" kern="1200" cap="all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en-GB" sz="800" b="1" dirty="0">
                <a:solidFill>
                  <a:schemeClr val="tx1"/>
                </a:solidFill>
                <a:sym typeface="Arial" panose="020B0604020202020204" pitchFamily="34" charset="0"/>
              </a:rPr>
              <a:t>CASE DATA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For internal use only – delete before sharing</a:t>
            </a:r>
          </a:p>
          <a:p>
            <a:pPr>
              <a:buNone/>
            </a:pPr>
            <a:endParaRPr lang="en-GB" sz="800" dirty="0">
              <a:solidFill>
                <a:schemeClr val="tx1"/>
              </a:solidFill>
              <a:sym typeface="Arial" panose="020B0604020202020204" pitchFamily="34" charset="0"/>
            </a:endParaRP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Client name: 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Maconomy project name: 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Industry: 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Keywords: xx, xx, 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Year(s): 20xx – 20xx</a:t>
            </a:r>
          </a:p>
          <a:p>
            <a:pPr>
              <a:buNone/>
            </a:pPr>
            <a:r>
              <a:rPr lang="en-GB" sz="800" dirty="0">
                <a:solidFill>
                  <a:schemeClr val="tx1"/>
                </a:solidFill>
                <a:sym typeface="Arial" panose="020B0604020202020204" pitchFamily="34" charset="0"/>
              </a:rPr>
              <a:t>Implement contact person: xx</a:t>
            </a:r>
          </a:p>
          <a:p>
            <a:pPr>
              <a:buNone/>
            </a:pPr>
            <a:endParaRPr lang="en-GB" sz="8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21" name="Slide Number Placeholder 4">
            <a:extLst>
              <a:ext uri="{FF2B5EF4-FFF2-40B4-BE49-F238E27FC236}">
                <a16:creationId xmlns:a16="http://schemas.microsoft.com/office/drawing/2014/main" id="{F4699551-9183-4D68-BD7D-5E8F06B3070B}"/>
              </a:ext>
            </a:extLst>
          </p:cNvPr>
          <p:cNvSpPr txBox="1">
            <a:spLocks/>
          </p:cNvSpPr>
          <p:nvPr userDrawn="1"/>
        </p:nvSpPr>
        <p:spPr>
          <a:xfrm>
            <a:off x="9378938" y="6496424"/>
            <a:ext cx="255600" cy="1116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r" defTabSz="914400" rtl="0" eaLnBrk="1" latinLnBrk="0" hangingPunct="1">
              <a:defRPr sz="650" kern="1200" spc="0" baseline="0">
                <a:solidFill>
                  <a:srgbClr val="2F363B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650" smtClean="0">
                <a:solidFill>
                  <a:srgbClr val="F8F5E7"/>
                </a:solidFill>
              </a:rPr>
              <a:pPr/>
              <a:t>‹#›</a:t>
            </a:fld>
            <a:endParaRPr lang="en-GB" sz="650" dirty="0">
              <a:solidFill>
                <a:srgbClr val="F8F5E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9107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stery cover -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7C2E43F-680B-403E-A4AF-7DB5E19453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8907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think-cell Slide" r:id="rId5" imgW="408" imgH="408" progId="TCLayout.ActiveDocument.1">
                  <p:embed/>
                </p:oleObj>
              </mc:Choice>
              <mc:Fallback>
                <p:oleObj name="think-cell Slide" r:id="rId5" imgW="408" imgH="40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7C2E43F-680B-403E-A4AF-7DB5E19453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55546BB0-F964-4CFA-A631-C62781668FE0}"/>
              </a:ext>
            </a:extLst>
          </p:cNvPr>
          <p:cNvSpPr txBox="1"/>
          <p:nvPr userDrawn="1"/>
        </p:nvSpPr>
        <p:spPr>
          <a:xfrm>
            <a:off x="0" y="3081297"/>
            <a:ext cx="9632951" cy="3776703"/>
          </a:xfrm>
          <a:prstGeom prst="rect">
            <a:avLst/>
          </a:prstGeom>
          <a:solidFill>
            <a:srgbClr val="30373B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>
              <a:defRPr sz="1100">
                <a:solidFill>
                  <a:srgbClr val="2F363B"/>
                </a:solidFill>
              </a:defRPr>
            </a:lvl1pPr>
            <a:lvl2pPr marL="0" lvl="1" indent="0">
              <a:buSzPct val="100000"/>
              <a:buChar char="​"/>
              <a:defRPr sz="1100">
                <a:solidFill>
                  <a:srgbClr val="2F363B"/>
                </a:solidFill>
                <a:latin typeface="Arial" panose="020B0604020202020204" pitchFamily="34" charset="0"/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lvl="1">
              <a:buNone/>
            </a:pPr>
            <a:endParaRPr lang="de-DE">
              <a:sym typeface="Arial" panose="020B0604020202020204" pitchFamily="34" charset="0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82BB08A-2585-4258-863F-4190206A12A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73988" y="4573689"/>
            <a:ext cx="1857375" cy="198438"/>
          </a:xfrm>
        </p:spPr>
        <p:txBody>
          <a:bodyPr lIns="270000" rIns="270000" anchor="ctr" anchorCtr="0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anuary 2020</a:t>
            </a:r>
            <a:endParaRPr lang="da-DK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ACF0EDF-0F93-47FA-9F31-B4F92E7C9C1E}"/>
              </a:ext>
            </a:extLst>
          </p:cNvPr>
          <p:cNvGrpSpPr/>
          <p:nvPr userDrawn="1"/>
        </p:nvGrpSpPr>
        <p:grpSpPr>
          <a:xfrm>
            <a:off x="269874" y="0"/>
            <a:ext cx="9636126" cy="6608510"/>
            <a:chOff x="269874" y="0"/>
            <a:chExt cx="9636126" cy="6608510"/>
          </a:xfrm>
        </p:grpSpPr>
        <p:sp>
          <p:nvSpPr>
            <p:cNvPr id="20" name="Freeform: Shape 4">
              <a:extLst>
                <a:ext uri="{FF2B5EF4-FFF2-40B4-BE49-F238E27FC236}">
                  <a16:creationId xmlns:a16="http://schemas.microsoft.com/office/drawing/2014/main" id="{14EE2482-2706-4328-878D-41690870F632}"/>
                </a:ext>
              </a:extLst>
            </p:cNvPr>
            <p:cNvSpPr/>
            <p:nvPr userDrawn="1"/>
          </p:nvSpPr>
          <p:spPr>
            <a:xfrm>
              <a:off x="269874" y="280735"/>
              <a:ext cx="9364663" cy="6327775"/>
            </a:xfrm>
            <a:custGeom>
              <a:avLst/>
              <a:gdLst>
                <a:gd name="connsiteX0" fmla="*/ 2157895 w 9586368"/>
                <a:gd name="connsiteY0" fmla="*/ 6461491 h 6479439"/>
                <a:gd name="connsiteX1" fmla="*/ 2167802 w 9586368"/>
                <a:gd name="connsiteY1" fmla="*/ 6461491 h 6479439"/>
                <a:gd name="connsiteX2" fmla="*/ 2171820 w 9586368"/>
                <a:gd name="connsiteY2" fmla="*/ 6465529 h 6479439"/>
                <a:gd name="connsiteX3" fmla="*/ 2171820 w 9586368"/>
                <a:gd name="connsiteY3" fmla="*/ 6475400 h 6479439"/>
                <a:gd name="connsiteX4" fmla="*/ 2167802 w 9586368"/>
                <a:gd name="connsiteY4" fmla="*/ 6479439 h 6479439"/>
                <a:gd name="connsiteX5" fmla="*/ 2157895 w 9586368"/>
                <a:gd name="connsiteY5" fmla="*/ 6479439 h 6479439"/>
                <a:gd name="connsiteX6" fmla="*/ 2153871 w 9586368"/>
                <a:gd name="connsiteY6" fmla="*/ 6475400 h 6479439"/>
                <a:gd name="connsiteX7" fmla="*/ 2153871 w 9586368"/>
                <a:gd name="connsiteY7" fmla="*/ 6465529 h 6479439"/>
                <a:gd name="connsiteX8" fmla="*/ 1918509 w 9586368"/>
                <a:gd name="connsiteY8" fmla="*/ 6461491 h 6479439"/>
                <a:gd name="connsiteX9" fmla="*/ 1928419 w 9586368"/>
                <a:gd name="connsiteY9" fmla="*/ 6461491 h 6479439"/>
                <a:gd name="connsiteX10" fmla="*/ 1932437 w 9586368"/>
                <a:gd name="connsiteY10" fmla="*/ 6465529 h 6479439"/>
                <a:gd name="connsiteX11" fmla="*/ 1932437 w 9586368"/>
                <a:gd name="connsiteY11" fmla="*/ 6475400 h 6479439"/>
                <a:gd name="connsiteX12" fmla="*/ 1928419 w 9586368"/>
                <a:gd name="connsiteY12" fmla="*/ 6479439 h 6479439"/>
                <a:gd name="connsiteX13" fmla="*/ 1918509 w 9586368"/>
                <a:gd name="connsiteY13" fmla="*/ 6479439 h 6479439"/>
                <a:gd name="connsiteX14" fmla="*/ 1914490 w 9586368"/>
                <a:gd name="connsiteY14" fmla="*/ 6475400 h 6479439"/>
                <a:gd name="connsiteX15" fmla="*/ 1914490 w 9586368"/>
                <a:gd name="connsiteY15" fmla="*/ 6465529 h 6479439"/>
                <a:gd name="connsiteX16" fmla="*/ 1679200 w 9586368"/>
                <a:gd name="connsiteY16" fmla="*/ 6461491 h 6479439"/>
                <a:gd name="connsiteX17" fmla="*/ 1689110 w 9586368"/>
                <a:gd name="connsiteY17" fmla="*/ 6461491 h 6479439"/>
                <a:gd name="connsiteX18" fmla="*/ 1693128 w 9586368"/>
                <a:gd name="connsiteY18" fmla="*/ 6465529 h 6479439"/>
                <a:gd name="connsiteX19" fmla="*/ 1693128 w 9586368"/>
                <a:gd name="connsiteY19" fmla="*/ 6475400 h 6479439"/>
                <a:gd name="connsiteX20" fmla="*/ 1689110 w 9586368"/>
                <a:gd name="connsiteY20" fmla="*/ 6479439 h 6479439"/>
                <a:gd name="connsiteX21" fmla="*/ 1679200 w 9586368"/>
                <a:gd name="connsiteY21" fmla="*/ 6479439 h 6479439"/>
                <a:gd name="connsiteX22" fmla="*/ 1675180 w 9586368"/>
                <a:gd name="connsiteY22" fmla="*/ 6475400 h 6479439"/>
                <a:gd name="connsiteX23" fmla="*/ 1675180 w 9586368"/>
                <a:gd name="connsiteY23" fmla="*/ 6465529 h 6479439"/>
                <a:gd name="connsiteX24" fmla="*/ 1439885 w 9586368"/>
                <a:gd name="connsiteY24" fmla="*/ 6461491 h 6479439"/>
                <a:gd name="connsiteX25" fmla="*/ 1449795 w 9586368"/>
                <a:gd name="connsiteY25" fmla="*/ 6461491 h 6479439"/>
                <a:gd name="connsiteX26" fmla="*/ 1453813 w 9586368"/>
                <a:gd name="connsiteY26" fmla="*/ 6465529 h 6479439"/>
                <a:gd name="connsiteX27" fmla="*/ 1453813 w 9586368"/>
                <a:gd name="connsiteY27" fmla="*/ 6475400 h 6479439"/>
                <a:gd name="connsiteX28" fmla="*/ 1449795 w 9586368"/>
                <a:gd name="connsiteY28" fmla="*/ 6479439 h 6479439"/>
                <a:gd name="connsiteX29" fmla="*/ 1439885 w 9586368"/>
                <a:gd name="connsiteY29" fmla="*/ 6479439 h 6479439"/>
                <a:gd name="connsiteX30" fmla="*/ 1435865 w 9586368"/>
                <a:gd name="connsiteY30" fmla="*/ 6475400 h 6479439"/>
                <a:gd name="connsiteX31" fmla="*/ 1435865 w 9586368"/>
                <a:gd name="connsiteY31" fmla="*/ 6465529 h 6479439"/>
                <a:gd name="connsiteX32" fmla="*/ 1200570 w 9586368"/>
                <a:gd name="connsiteY32" fmla="*/ 6461491 h 6479439"/>
                <a:gd name="connsiteX33" fmla="*/ 1210480 w 9586368"/>
                <a:gd name="connsiteY33" fmla="*/ 6461491 h 6479439"/>
                <a:gd name="connsiteX34" fmla="*/ 1214498 w 9586368"/>
                <a:gd name="connsiteY34" fmla="*/ 6465529 h 6479439"/>
                <a:gd name="connsiteX35" fmla="*/ 1214498 w 9586368"/>
                <a:gd name="connsiteY35" fmla="*/ 6475400 h 6479439"/>
                <a:gd name="connsiteX36" fmla="*/ 1210480 w 9586368"/>
                <a:gd name="connsiteY36" fmla="*/ 6479439 h 6479439"/>
                <a:gd name="connsiteX37" fmla="*/ 1200570 w 9586368"/>
                <a:gd name="connsiteY37" fmla="*/ 6479439 h 6479439"/>
                <a:gd name="connsiteX38" fmla="*/ 1196551 w 9586368"/>
                <a:gd name="connsiteY38" fmla="*/ 6475400 h 6479439"/>
                <a:gd name="connsiteX39" fmla="*/ 1196551 w 9586368"/>
                <a:gd name="connsiteY39" fmla="*/ 6465529 h 6479439"/>
                <a:gd name="connsiteX40" fmla="*/ 961257 w 9586368"/>
                <a:gd name="connsiteY40" fmla="*/ 6461491 h 6479439"/>
                <a:gd name="connsiteX41" fmla="*/ 971167 w 9586368"/>
                <a:gd name="connsiteY41" fmla="*/ 6461491 h 6479439"/>
                <a:gd name="connsiteX42" fmla="*/ 975186 w 9586368"/>
                <a:gd name="connsiteY42" fmla="*/ 6465529 h 6479439"/>
                <a:gd name="connsiteX43" fmla="*/ 975186 w 9586368"/>
                <a:gd name="connsiteY43" fmla="*/ 6475400 h 6479439"/>
                <a:gd name="connsiteX44" fmla="*/ 971167 w 9586368"/>
                <a:gd name="connsiteY44" fmla="*/ 6479439 h 6479439"/>
                <a:gd name="connsiteX45" fmla="*/ 961257 w 9586368"/>
                <a:gd name="connsiteY45" fmla="*/ 6479439 h 6479439"/>
                <a:gd name="connsiteX46" fmla="*/ 957238 w 9586368"/>
                <a:gd name="connsiteY46" fmla="*/ 6475400 h 6479439"/>
                <a:gd name="connsiteX47" fmla="*/ 957238 w 9586368"/>
                <a:gd name="connsiteY47" fmla="*/ 6465529 h 6479439"/>
                <a:gd name="connsiteX48" fmla="*/ 9572438 w 9586368"/>
                <a:gd name="connsiteY48" fmla="*/ 6461440 h 6479439"/>
                <a:gd name="connsiteX49" fmla="*/ 9582349 w 9586368"/>
                <a:gd name="connsiteY49" fmla="*/ 6461440 h 6479439"/>
                <a:gd name="connsiteX50" fmla="*/ 9586368 w 9586368"/>
                <a:gd name="connsiteY50" fmla="*/ 6465478 h 6479439"/>
                <a:gd name="connsiteX51" fmla="*/ 9586368 w 9586368"/>
                <a:gd name="connsiteY51" fmla="*/ 6475349 h 6479439"/>
                <a:gd name="connsiteX52" fmla="*/ 9582349 w 9586368"/>
                <a:gd name="connsiteY52" fmla="*/ 6479388 h 6479439"/>
                <a:gd name="connsiteX53" fmla="*/ 9572438 w 9586368"/>
                <a:gd name="connsiteY53" fmla="*/ 6479388 h 6479439"/>
                <a:gd name="connsiteX54" fmla="*/ 9568419 w 9586368"/>
                <a:gd name="connsiteY54" fmla="*/ 6475349 h 6479439"/>
                <a:gd name="connsiteX55" fmla="*/ 9568419 w 9586368"/>
                <a:gd name="connsiteY55" fmla="*/ 6465478 h 6479439"/>
                <a:gd name="connsiteX56" fmla="*/ 9333125 w 9586368"/>
                <a:gd name="connsiteY56" fmla="*/ 6461440 h 6479439"/>
                <a:gd name="connsiteX57" fmla="*/ 9343036 w 9586368"/>
                <a:gd name="connsiteY57" fmla="*/ 6461440 h 6479439"/>
                <a:gd name="connsiteX58" fmla="*/ 9347055 w 9586368"/>
                <a:gd name="connsiteY58" fmla="*/ 6465478 h 6479439"/>
                <a:gd name="connsiteX59" fmla="*/ 9347055 w 9586368"/>
                <a:gd name="connsiteY59" fmla="*/ 6475349 h 6479439"/>
                <a:gd name="connsiteX60" fmla="*/ 9343036 w 9586368"/>
                <a:gd name="connsiteY60" fmla="*/ 6479388 h 6479439"/>
                <a:gd name="connsiteX61" fmla="*/ 9333125 w 9586368"/>
                <a:gd name="connsiteY61" fmla="*/ 6479388 h 6479439"/>
                <a:gd name="connsiteX62" fmla="*/ 9329106 w 9586368"/>
                <a:gd name="connsiteY62" fmla="*/ 6475349 h 6479439"/>
                <a:gd name="connsiteX63" fmla="*/ 9329106 w 9586368"/>
                <a:gd name="connsiteY63" fmla="*/ 6465478 h 6479439"/>
                <a:gd name="connsiteX64" fmla="*/ 9093811 w 9586368"/>
                <a:gd name="connsiteY64" fmla="*/ 6461440 h 6479439"/>
                <a:gd name="connsiteX65" fmla="*/ 9103722 w 9586368"/>
                <a:gd name="connsiteY65" fmla="*/ 6461440 h 6479439"/>
                <a:gd name="connsiteX66" fmla="*/ 9107741 w 9586368"/>
                <a:gd name="connsiteY66" fmla="*/ 6465478 h 6479439"/>
                <a:gd name="connsiteX67" fmla="*/ 9107741 w 9586368"/>
                <a:gd name="connsiteY67" fmla="*/ 6475349 h 6479439"/>
                <a:gd name="connsiteX68" fmla="*/ 9103722 w 9586368"/>
                <a:gd name="connsiteY68" fmla="*/ 6479388 h 6479439"/>
                <a:gd name="connsiteX69" fmla="*/ 9093811 w 9586368"/>
                <a:gd name="connsiteY69" fmla="*/ 6479388 h 6479439"/>
                <a:gd name="connsiteX70" fmla="*/ 9089792 w 9586368"/>
                <a:gd name="connsiteY70" fmla="*/ 6475349 h 6479439"/>
                <a:gd name="connsiteX71" fmla="*/ 9089792 w 9586368"/>
                <a:gd name="connsiteY71" fmla="*/ 6465478 h 6479439"/>
                <a:gd name="connsiteX72" fmla="*/ 8854496 w 9586368"/>
                <a:gd name="connsiteY72" fmla="*/ 6461440 h 6479439"/>
                <a:gd name="connsiteX73" fmla="*/ 8864407 w 9586368"/>
                <a:gd name="connsiteY73" fmla="*/ 6461440 h 6479439"/>
                <a:gd name="connsiteX74" fmla="*/ 8868426 w 9586368"/>
                <a:gd name="connsiteY74" fmla="*/ 6465478 h 6479439"/>
                <a:gd name="connsiteX75" fmla="*/ 8868426 w 9586368"/>
                <a:gd name="connsiteY75" fmla="*/ 6475349 h 6479439"/>
                <a:gd name="connsiteX76" fmla="*/ 8864407 w 9586368"/>
                <a:gd name="connsiteY76" fmla="*/ 6479388 h 6479439"/>
                <a:gd name="connsiteX77" fmla="*/ 8854496 w 9586368"/>
                <a:gd name="connsiteY77" fmla="*/ 6479388 h 6479439"/>
                <a:gd name="connsiteX78" fmla="*/ 8850477 w 9586368"/>
                <a:gd name="connsiteY78" fmla="*/ 6475349 h 6479439"/>
                <a:gd name="connsiteX79" fmla="*/ 8850477 w 9586368"/>
                <a:gd name="connsiteY79" fmla="*/ 6465478 h 6479439"/>
                <a:gd name="connsiteX80" fmla="*/ 8615184 w 9586368"/>
                <a:gd name="connsiteY80" fmla="*/ 6461440 h 6479439"/>
                <a:gd name="connsiteX81" fmla="*/ 8625095 w 9586368"/>
                <a:gd name="connsiteY81" fmla="*/ 6461440 h 6479439"/>
                <a:gd name="connsiteX82" fmla="*/ 8629114 w 9586368"/>
                <a:gd name="connsiteY82" fmla="*/ 6465478 h 6479439"/>
                <a:gd name="connsiteX83" fmla="*/ 8629114 w 9586368"/>
                <a:gd name="connsiteY83" fmla="*/ 6475349 h 6479439"/>
                <a:gd name="connsiteX84" fmla="*/ 8625095 w 9586368"/>
                <a:gd name="connsiteY84" fmla="*/ 6479388 h 6479439"/>
                <a:gd name="connsiteX85" fmla="*/ 8615184 w 9586368"/>
                <a:gd name="connsiteY85" fmla="*/ 6479388 h 6479439"/>
                <a:gd name="connsiteX86" fmla="*/ 8611165 w 9586368"/>
                <a:gd name="connsiteY86" fmla="*/ 6475349 h 6479439"/>
                <a:gd name="connsiteX87" fmla="*/ 8611165 w 9586368"/>
                <a:gd name="connsiteY87" fmla="*/ 6465478 h 6479439"/>
                <a:gd name="connsiteX88" fmla="*/ 8375869 w 9586368"/>
                <a:gd name="connsiteY88" fmla="*/ 6461440 h 6479439"/>
                <a:gd name="connsiteX89" fmla="*/ 8385779 w 9586368"/>
                <a:gd name="connsiteY89" fmla="*/ 6461440 h 6479439"/>
                <a:gd name="connsiteX90" fmla="*/ 8389799 w 9586368"/>
                <a:gd name="connsiteY90" fmla="*/ 6465478 h 6479439"/>
                <a:gd name="connsiteX91" fmla="*/ 8389799 w 9586368"/>
                <a:gd name="connsiteY91" fmla="*/ 6475349 h 6479439"/>
                <a:gd name="connsiteX92" fmla="*/ 8385779 w 9586368"/>
                <a:gd name="connsiteY92" fmla="*/ 6479388 h 6479439"/>
                <a:gd name="connsiteX93" fmla="*/ 8375869 w 9586368"/>
                <a:gd name="connsiteY93" fmla="*/ 6479388 h 6479439"/>
                <a:gd name="connsiteX94" fmla="*/ 8371850 w 9586368"/>
                <a:gd name="connsiteY94" fmla="*/ 6475349 h 6479439"/>
                <a:gd name="connsiteX95" fmla="*/ 8371850 w 9586368"/>
                <a:gd name="connsiteY95" fmla="*/ 6465478 h 6479439"/>
                <a:gd name="connsiteX96" fmla="*/ 8136553 w 9586368"/>
                <a:gd name="connsiteY96" fmla="*/ 6461440 h 6479439"/>
                <a:gd name="connsiteX97" fmla="*/ 8146464 w 9586368"/>
                <a:gd name="connsiteY97" fmla="*/ 6461440 h 6479439"/>
                <a:gd name="connsiteX98" fmla="*/ 8150483 w 9586368"/>
                <a:gd name="connsiteY98" fmla="*/ 6465478 h 6479439"/>
                <a:gd name="connsiteX99" fmla="*/ 8150483 w 9586368"/>
                <a:gd name="connsiteY99" fmla="*/ 6475349 h 6479439"/>
                <a:gd name="connsiteX100" fmla="*/ 8146464 w 9586368"/>
                <a:gd name="connsiteY100" fmla="*/ 6479388 h 6479439"/>
                <a:gd name="connsiteX101" fmla="*/ 8136553 w 9586368"/>
                <a:gd name="connsiteY101" fmla="*/ 6479388 h 6479439"/>
                <a:gd name="connsiteX102" fmla="*/ 8132534 w 9586368"/>
                <a:gd name="connsiteY102" fmla="*/ 6475349 h 6479439"/>
                <a:gd name="connsiteX103" fmla="*/ 8132534 w 9586368"/>
                <a:gd name="connsiteY103" fmla="*/ 6465478 h 6479439"/>
                <a:gd name="connsiteX104" fmla="*/ 7897241 w 9586368"/>
                <a:gd name="connsiteY104" fmla="*/ 6461440 h 6479439"/>
                <a:gd name="connsiteX105" fmla="*/ 7907151 w 9586368"/>
                <a:gd name="connsiteY105" fmla="*/ 6461440 h 6479439"/>
                <a:gd name="connsiteX106" fmla="*/ 7911170 w 9586368"/>
                <a:gd name="connsiteY106" fmla="*/ 6465478 h 6479439"/>
                <a:gd name="connsiteX107" fmla="*/ 7911170 w 9586368"/>
                <a:gd name="connsiteY107" fmla="*/ 6475349 h 6479439"/>
                <a:gd name="connsiteX108" fmla="*/ 7907151 w 9586368"/>
                <a:gd name="connsiteY108" fmla="*/ 6479388 h 6479439"/>
                <a:gd name="connsiteX109" fmla="*/ 7897241 w 9586368"/>
                <a:gd name="connsiteY109" fmla="*/ 6479388 h 6479439"/>
                <a:gd name="connsiteX110" fmla="*/ 7893222 w 9586368"/>
                <a:gd name="connsiteY110" fmla="*/ 6475349 h 6479439"/>
                <a:gd name="connsiteX111" fmla="*/ 7893222 w 9586368"/>
                <a:gd name="connsiteY111" fmla="*/ 6465478 h 6479439"/>
                <a:gd name="connsiteX112" fmla="*/ 7657926 w 9586368"/>
                <a:gd name="connsiteY112" fmla="*/ 6461440 h 6479439"/>
                <a:gd name="connsiteX113" fmla="*/ 7667836 w 9586368"/>
                <a:gd name="connsiteY113" fmla="*/ 6461440 h 6479439"/>
                <a:gd name="connsiteX114" fmla="*/ 7671855 w 9586368"/>
                <a:gd name="connsiteY114" fmla="*/ 6465478 h 6479439"/>
                <a:gd name="connsiteX115" fmla="*/ 7671855 w 9586368"/>
                <a:gd name="connsiteY115" fmla="*/ 6475349 h 6479439"/>
                <a:gd name="connsiteX116" fmla="*/ 7667836 w 9586368"/>
                <a:gd name="connsiteY116" fmla="*/ 6479388 h 6479439"/>
                <a:gd name="connsiteX117" fmla="*/ 7657926 w 9586368"/>
                <a:gd name="connsiteY117" fmla="*/ 6479388 h 6479439"/>
                <a:gd name="connsiteX118" fmla="*/ 7653906 w 9586368"/>
                <a:gd name="connsiteY118" fmla="*/ 6475349 h 6479439"/>
                <a:gd name="connsiteX119" fmla="*/ 7653906 w 9586368"/>
                <a:gd name="connsiteY119" fmla="*/ 6465478 h 6479439"/>
                <a:gd name="connsiteX120" fmla="*/ 7418611 w 9586368"/>
                <a:gd name="connsiteY120" fmla="*/ 6461440 h 6479439"/>
                <a:gd name="connsiteX121" fmla="*/ 7428521 w 9586368"/>
                <a:gd name="connsiteY121" fmla="*/ 6461440 h 6479439"/>
                <a:gd name="connsiteX122" fmla="*/ 7432540 w 9586368"/>
                <a:gd name="connsiteY122" fmla="*/ 6465478 h 6479439"/>
                <a:gd name="connsiteX123" fmla="*/ 7432540 w 9586368"/>
                <a:gd name="connsiteY123" fmla="*/ 6475349 h 6479439"/>
                <a:gd name="connsiteX124" fmla="*/ 7428521 w 9586368"/>
                <a:gd name="connsiteY124" fmla="*/ 6479388 h 6479439"/>
                <a:gd name="connsiteX125" fmla="*/ 7418611 w 9586368"/>
                <a:gd name="connsiteY125" fmla="*/ 6479388 h 6479439"/>
                <a:gd name="connsiteX126" fmla="*/ 7414592 w 9586368"/>
                <a:gd name="connsiteY126" fmla="*/ 6475349 h 6479439"/>
                <a:gd name="connsiteX127" fmla="*/ 7414592 w 9586368"/>
                <a:gd name="connsiteY127" fmla="*/ 6465478 h 6479439"/>
                <a:gd name="connsiteX128" fmla="*/ 7179298 w 9586368"/>
                <a:gd name="connsiteY128" fmla="*/ 6461440 h 6479439"/>
                <a:gd name="connsiteX129" fmla="*/ 7189209 w 9586368"/>
                <a:gd name="connsiteY129" fmla="*/ 6461440 h 6479439"/>
                <a:gd name="connsiteX130" fmla="*/ 7193228 w 9586368"/>
                <a:gd name="connsiteY130" fmla="*/ 6465478 h 6479439"/>
                <a:gd name="connsiteX131" fmla="*/ 7193228 w 9586368"/>
                <a:gd name="connsiteY131" fmla="*/ 6475349 h 6479439"/>
                <a:gd name="connsiteX132" fmla="*/ 7189209 w 9586368"/>
                <a:gd name="connsiteY132" fmla="*/ 6479388 h 6479439"/>
                <a:gd name="connsiteX133" fmla="*/ 7179298 w 9586368"/>
                <a:gd name="connsiteY133" fmla="*/ 6479388 h 6479439"/>
                <a:gd name="connsiteX134" fmla="*/ 7175279 w 9586368"/>
                <a:gd name="connsiteY134" fmla="*/ 6475349 h 6479439"/>
                <a:gd name="connsiteX135" fmla="*/ 7175279 w 9586368"/>
                <a:gd name="connsiteY135" fmla="*/ 6465478 h 6479439"/>
                <a:gd name="connsiteX136" fmla="*/ 6939983 w 9586368"/>
                <a:gd name="connsiteY136" fmla="*/ 6461440 h 6479439"/>
                <a:gd name="connsiteX137" fmla="*/ 6949894 w 9586368"/>
                <a:gd name="connsiteY137" fmla="*/ 6461440 h 6479439"/>
                <a:gd name="connsiteX138" fmla="*/ 6953913 w 9586368"/>
                <a:gd name="connsiteY138" fmla="*/ 6465478 h 6479439"/>
                <a:gd name="connsiteX139" fmla="*/ 6953913 w 9586368"/>
                <a:gd name="connsiteY139" fmla="*/ 6475349 h 6479439"/>
                <a:gd name="connsiteX140" fmla="*/ 6949894 w 9586368"/>
                <a:gd name="connsiteY140" fmla="*/ 6479388 h 6479439"/>
                <a:gd name="connsiteX141" fmla="*/ 6939983 w 9586368"/>
                <a:gd name="connsiteY141" fmla="*/ 6479388 h 6479439"/>
                <a:gd name="connsiteX142" fmla="*/ 6935964 w 9586368"/>
                <a:gd name="connsiteY142" fmla="*/ 6475349 h 6479439"/>
                <a:gd name="connsiteX143" fmla="*/ 6935964 w 9586368"/>
                <a:gd name="connsiteY143" fmla="*/ 6465478 h 6479439"/>
                <a:gd name="connsiteX144" fmla="*/ 6700670 w 9586368"/>
                <a:gd name="connsiteY144" fmla="*/ 6461440 h 6479439"/>
                <a:gd name="connsiteX145" fmla="*/ 6710581 w 9586368"/>
                <a:gd name="connsiteY145" fmla="*/ 6461440 h 6479439"/>
                <a:gd name="connsiteX146" fmla="*/ 6714600 w 9586368"/>
                <a:gd name="connsiteY146" fmla="*/ 6465478 h 6479439"/>
                <a:gd name="connsiteX147" fmla="*/ 6714600 w 9586368"/>
                <a:gd name="connsiteY147" fmla="*/ 6475349 h 6479439"/>
                <a:gd name="connsiteX148" fmla="*/ 6710581 w 9586368"/>
                <a:gd name="connsiteY148" fmla="*/ 6479388 h 6479439"/>
                <a:gd name="connsiteX149" fmla="*/ 6700670 w 9586368"/>
                <a:gd name="connsiteY149" fmla="*/ 6479388 h 6479439"/>
                <a:gd name="connsiteX150" fmla="*/ 6696651 w 9586368"/>
                <a:gd name="connsiteY150" fmla="*/ 6475349 h 6479439"/>
                <a:gd name="connsiteX151" fmla="*/ 6696651 w 9586368"/>
                <a:gd name="connsiteY151" fmla="*/ 6465478 h 6479439"/>
                <a:gd name="connsiteX152" fmla="*/ 6461356 w 9586368"/>
                <a:gd name="connsiteY152" fmla="*/ 6461440 h 6479439"/>
                <a:gd name="connsiteX153" fmla="*/ 6471266 w 9586368"/>
                <a:gd name="connsiteY153" fmla="*/ 6461440 h 6479439"/>
                <a:gd name="connsiteX154" fmla="*/ 6475285 w 9586368"/>
                <a:gd name="connsiteY154" fmla="*/ 6465478 h 6479439"/>
                <a:gd name="connsiteX155" fmla="*/ 6475285 w 9586368"/>
                <a:gd name="connsiteY155" fmla="*/ 6475349 h 6479439"/>
                <a:gd name="connsiteX156" fmla="*/ 6471266 w 9586368"/>
                <a:gd name="connsiteY156" fmla="*/ 6479388 h 6479439"/>
                <a:gd name="connsiteX157" fmla="*/ 6461356 w 9586368"/>
                <a:gd name="connsiteY157" fmla="*/ 6479388 h 6479439"/>
                <a:gd name="connsiteX158" fmla="*/ 6457337 w 9586368"/>
                <a:gd name="connsiteY158" fmla="*/ 6475349 h 6479439"/>
                <a:gd name="connsiteX159" fmla="*/ 6457337 w 9586368"/>
                <a:gd name="connsiteY159" fmla="*/ 6465478 h 6479439"/>
                <a:gd name="connsiteX160" fmla="*/ 6222042 w 9586368"/>
                <a:gd name="connsiteY160" fmla="*/ 6461440 h 6479439"/>
                <a:gd name="connsiteX161" fmla="*/ 6231952 w 9586368"/>
                <a:gd name="connsiteY161" fmla="*/ 6461440 h 6479439"/>
                <a:gd name="connsiteX162" fmla="*/ 6235971 w 9586368"/>
                <a:gd name="connsiteY162" fmla="*/ 6465478 h 6479439"/>
                <a:gd name="connsiteX163" fmla="*/ 6235971 w 9586368"/>
                <a:gd name="connsiteY163" fmla="*/ 6475349 h 6479439"/>
                <a:gd name="connsiteX164" fmla="*/ 6231952 w 9586368"/>
                <a:gd name="connsiteY164" fmla="*/ 6479388 h 6479439"/>
                <a:gd name="connsiteX165" fmla="*/ 6222042 w 9586368"/>
                <a:gd name="connsiteY165" fmla="*/ 6479388 h 6479439"/>
                <a:gd name="connsiteX166" fmla="*/ 6218023 w 9586368"/>
                <a:gd name="connsiteY166" fmla="*/ 6475349 h 6479439"/>
                <a:gd name="connsiteX167" fmla="*/ 6218023 w 9586368"/>
                <a:gd name="connsiteY167" fmla="*/ 6465478 h 6479439"/>
                <a:gd name="connsiteX168" fmla="*/ 5982729 w 9586368"/>
                <a:gd name="connsiteY168" fmla="*/ 6461440 h 6479439"/>
                <a:gd name="connsiteX169" fmla="*/ 5992639 w 9586368"/>
                <a:gd name="connsiteY169" fmla="*/ 6461440 h 6479439"/>
                <a:gd name="connsiteX170" fmla="*/ 5996658 w 9586368"/>
                <a:gd name="connsiteY170" fmla="*/ 6465478 h 6479439"/>
                <a:gd name="connsiteX171" fmla="*/ 5996658 w 9586368"/>
                <a:gd name="connsiteY171" fmla="*/ 6475349 h 6479439"/>
                <a:gd name="connsiteX172" fmla="*/ 5992639 w 9586368"/>
                <a:gd name="connsiteY172" fmla="*/ 6479388 h 6479439"/>
                <a:gd name="connsiteX173" fmla="*/ 5982729 w 9586368"/>
                <a:gd name="connsiteY173" fmla="*/ 6479388 h 6479439"/>
                <a:gd name="connsiteX174" fmla="*/ 5978710 w 9586368"/>
                <a:gd name="connsiteY174" fmla="*/ 6475349 h 6479439"/>
                <a:gd name="connsiteX175" fmla="*/ 5978710 w 9586368"/>
                <a:gd name="connsiteY175" fmla="*/ 6465478 h 6479439"/>
                <a:gd name="connsiteX176" fmla="*/ 5743412 w 9586368"/>
                <a:gd name="connsiteY176" fmla="*/ 6461440 h 6479439"/>
                <a:gd name="connsiteX177" fmla="*/ 5753323 w 9586368"/>
                <a:gd name="connsiteY177" fmla="*/ 6461440 h 6479439"/>
                <a:gd name="connsiteX178" fmla="*/ 5757342 w 9586368"/>
                <a:gd name="connsiteY178" fmla="*/ 6465478 h 6479439"/>
                <a:gd name="connsiteX179" fmla="*/ 5757342 w 9586368"/>
                <a:gd name="connsiteY179" fmla="*/ 6475349 h 6479439"/>
                <a:gd name="connsiteX180" fmla="*/ 5753323 w 9586368"/>
                <a:gd name="connsiteY180" fmla="*/ 6479388 h 6479439"/>
                <a:gd name="connsiteX181" fmla="*/ 5743412 w 9586368"/>
                <a:gd name="connsiteY181" fmla="*/ 6479388 h 6479439"/>
                <a:gd name="connsiteX182" fmla="*/ 5739393 w 9586368"/>
                <a:gd name="connsiteY182" fmla="*/ 6475349 h 6479439"/>
                <a:gd name="connsiteX183" fmla="*/ 5739393 w 9586368"/>
                <a:gd name="connsiteY183" fmla="*/ 6465478 h 6479439"/>
                <a:gd name="connsiteX184" fmla="*/ 5504099 w 9586368"/>
                <a:gd name="connsiteY184" fmla="*/ 6461440 h 6479439"/>
                <a:gd name="connsiteX185" fmla="*/ 5514010 w 9586368"/>
                <a:gd name="connsiteY185" fmla="*/ 6461440 h 6479439"/>
                <a:gd name="connsiteX186" fmla="*/ 5518029 w 9586368"/>
                <a:gd name="connsiteY186" fmla="*/ 6465478 h 6479439"/>
                <a:gd name="connsiteX187" fmla="*/ 5518029 w 9586368"/>
                <a:gd name="connsiteY187" fmla="*/ 6475349 h 6479439"/>
                <a:gd name="connsiteX188" fmla="*/ 5514010 w 9586368"/>
                <a:gd name="connsiteY188" fmla="*/ 6479388 h 6479439"/>
                <a:gd name="connsiteX189" fmla="*/ 5504099 w 9586368"/>
                <a:gd name="connsiteY189" fmla="*/ 6479388 h 6479439"/>
                <a:gd name="connsiteX190" fmla="*/ 5500080 w 9586368"/>
                <a:gd name="connsiteY190" fmla="*/ 6475349 h 6479439"/>
                <a:gd name="connsiteX191" fmla="*/ 5500080 w 9586368"/>
                <a:gd name="connsiteY191" fmla="*/ 6465478 h 6479439"/>
                <a:gd name="connsiteX192" fmla="*/ 5264784 w 9586368"/>
                <a:gd name="connsiteY192" fmla="*/ 6461440 h 6479439"/>
                <a:gd name="connsiteX193" fmla="*/ 5274694 w 9586368"/>
                <a:gd name="connsiteY193" fmla="*/ 6461440 h 6479439"/>
                <a:gd name="connsiteX194" fmla="*/ 5278713 w 9586368"/>
                <a:gd name="connsiteY194" fmla="*/ 6465478 h 6479439"/>
                <a:gd name="connsiteX195" fmla="*/ 5278713 w 9586368"/>
                <a:gd name="connsiteY195" fmla="*/ 6475349 h 6479439"/>
                <a:gd name="connsiteX196" fmla="*/ 5274694 w 9586368"/>
                <a:gd name="connsiteY196" fmla="*/ 6479388 h 6479439"/>
                <a:gd name="connsiteX197" fmla="*/ 5264784 w 9586368"/>
                <a:gd name="connsiteY197" fmla="*/ 6479388 h 6479439"/>
                <a:gd name="connsiteX198" fmla="*/ 5260765 w 9586368"/>
                <a:gd name="connsiteY198" fmla="*/ 6475349 h 6479439"/>
                <a:gd name="connsiteX199" fmla="*/ 5260765 w 9586368"/>
                <a:gd name="connsiteY199" fmla="*/ 6465478 h 6479439"/>
                <a:gd name="connsiteX200" fmla="*/ 5025470 w 9586368"/>
                <a:gd name="connsiteY200" fmla="*/ 6461440 h 6479439"/>
                <a:gd name="connsiteX201" fmla="*/ 5035381 w 9586368"/>
                <a:gd name="connsiteY201" fmla="*/ 6461440 h 6479439"/>
                <a:gd name="connsiteX202" fmla="*/ 5039400 w 9586368"/>
                <a:gd name="connsiteY202" fmla="*/ 6465478 h 6479439"/>
                <a:gd name="connsiteX203" fmla="*/ 5039400 w 9586368"/>
                <a:gd name="connsiteY203" fmla="*/ 6475349 h 6479439"/>
                <a:gd name="connsiteX204" fmla="*/ 5035381 w 9586368"/>
                <a:gd name="connsiteY204" fmla="*/ 6479388 h 6479439"/>
                <a:gd name="connsiteX205" fmla="*/ 5025470 w 9586368"/>
                <a:gd name="connsiteY205" fmla="*/ 6479388 h 6479439"/>
                <a:gd name="connsiteX206" fmla="*/ 5021451 w 9586368"/>
                <a:gd name="connsiteY206" fmla="*/ 6475349 h 6479439"/>
                <a:gd name="connsiteX207" fmla="*/ 5021451 w 9586368"/>
                <a:gd name="connsiteY207" fmla="*/ 6465478 h 6479439"/>
                <a:gd name="connsiteX208" fmla="*/ 4786241 w 9586368"/>
                <a:gd name="connsiteY208" fmla="*/ 6461440 h 6479439"/>
                <a:gd name="connsiteX209" fmla="*/ 4796152 w 9586368"/>
                <a:gd name="connsiteY209" fmla="*/ 6461440 h 6479439"/>
                <a:gd name="connsiteX210" fmla="*/ 4800171 w 9586368"/>
                <a:gd name="connsiteY210" fmla="*/ 6465478 h 6479439"/>
                <a:gd name="connsiteX211" fmla="*/ 4800171 w 9586368"/>
                <a:gd name="connsiteY211" fmla="*/ 6475349 h 6479439"/>
                <a:gd name="connsiteX212" fmla="*/ 4796152 w 9586368"/>
                <a:gd name="connsiteY212" fmla="*/ 6479388 h 6479439"/>
                <a:gd name="connsiteX213" fmla="*/ 4786241 w 9586368"/>
                <a:gd name="connsiteY213" fmla="*/ 6479388 h 6479439"/>
                <a:gd name="connsiteX214" fmla="*/ 4782224 w 9586368"/>
                <a:gd name="connsiteY214" fmla="*/ 6475349 h 6479439"/>
                <a:gd name="connsiteX215" fmla="*/ 4782224 w 9586368"/>
                <a:gd name="connsiteY215" fmla="*/ 6465478 h 6479439"/>
                <a:gd name="connsiteX216" fmla="*/ 4546929 w 9586368"/>
                <a:gd name="connsiteY216" fmla="*/ 6461440 h 6479439"/>
                <a:gd name="connsiteX217" fmla="*/ 4556840 w 9586368"/>
                <a:gd name="connsiteY217" fmla="*/ 6461440 h 6479439"/>
                <a:gd name="connsiteX218" fmla="*/ 4560859 w 9586368"/>
                <a:gd name="connsiteY218" fmla="*/ 6465478 h 6479439"/>
                <a:gd name="connsiteX219" fmla="*/ 4560859 w 9586368"/>
                <a:gd name="connsiteY219" fmla="*/ 6475349 h 6479439"/>
                <a:gd name="connsiteX220" fmla="*/ 4556840 w 9586368"/>
                <a:gd name="connsiteY220" fmla="*/ 6479388 h 6479439"/>
                <a:gd name="connsiteX221" fmla="*/ 4546929 w 9586368"/>
                <a:gd name="connsiteY221" fmla="*/ 6479388 h 6479439"/>
                <a:gd name="connsiteX222" fmla="*/ 4542910 w 9586368"/>
                <a:gd name="connsiteY222" fmla="*/ 6475349 h 6479439"/>
                <a:gd name="connsiteX223" fmla="*/ 4542910 w 9586368"/>
                <a:gd name="connsiteY223" fmla="*/ 6465478 h 6479439"/>
                <a:gd name="connsiteX224" fmla="*/ 4307612 w 9586368"/>
                <a:gd name="connsiteY224" fmla="*/ 6461440 h 6479439"/>
                <a:gd name="connsiteX225" fmla="*/ 4317523 w 9586368"/>
                <a:gd name="connsiteY225" fmla="*/ 6461440 h 6479439"/>
                <a:gd name="connsiteX226" fmla="*/ 4321543 w 9586368"/>
                <a:gd name="connsiteY226" fmla="*/ 6465478 h 6479439"/>
                <a:gd name="connsiteX227" fmla="*/ 4321543 w 9586368"/>
                <a:gd name="connsiteY227" fmla="*/ 6475349 h 6479439"/>
                <a:gd name="connsiteX228" fmla="*/ 4317523 w 9586368"/>
                <a:gd name="connsiteY228" fmla="*/ 6479388 h 6479439"/>
                <a:gd name="connsiteX229" fmla="*/ 4307612 w 9586368"/>
                <a:gd name="connsiteY229" fmla="*/ 6479388 h 6479439"/>
                <a:gd name="connsiteX230" fmla="*/ 4303595 w 9586368"/>
                <a:gd name="connsiteY230" fmla="*/ 6475349 h 6479439"/>
                <a:gd name="connsiteX231" fmla="*/ 4303595 w 9586368"/>
                <a:gd name="connsiteY231" fmla="*/ 6465478 h 6479439"/>
                <a:gd name="connsiteX232" fmla="*/ 4068297 w 9586368"/>
                <a:gd name="connsiteY232" fmla="*/ 6461440 h 6479439"/>
                <a:gd name="connsiteX233" fmla="*/ 4078210 w 9586368"/>
                <a:gd name="connsiteY233" fmla="*/ 6461440 h 6479439"/>
                <a:gd name="connsiteX234" fmla="*/ 4082229 w 9586368"/>
                <a:gd name="connsiteY234" fmla="*/ 6465478 h 6479439"/>
                <a:gd name="connsiteX235" fmla="*/ 4082229 w 9586368"/>
                <a:gd name="connsiteY235" fmla="*/ 6475349 h 6479439"/>
                <a:gd name="connsiteX236" fmla="*/ 4078210 w 9586368"/>
                <a:gd name="connsiteY236" fmla="*/ 6479388 h 6479439"/>
                <a:gd name="connsiteX237" fmla="*/ 4068297 w 9586368"/>
                <a:gd name="connsiteY237" fmla="*/ 6479388 h 6479439"/>
                <a:gd name="connsiteX238" fmla="*/ 4064278 w 9586368"/>
                <a:gd name="connsiteY238" fmla="*/ 6475349 h 6479439"/>
                <a:gd name="connsiteX239" fmla="*/ 4064278 w 9586368"/>
                <a:gd name="connsiteY239" fmla="*/ 6465478 h 6479439"/>
                <a:gd name="connsiteX240" fmla="*/ 3828990 w 9586368"/>
                <a:gd name="connsiteY240" fmla="*/ 6461440 h 6479439"/>
                <a:gd name="connsiteX241" fmla="*/ 3838899 w 9586368"/>
                <a:gd name="connsiteY241" fmla="*/ 6461440 h 6479439"/>
                <a:gd name="connsiteX242" fmla="*/ 3842917 w 9586368"/>
                <a:gd name="connsiteY242" fmla="*/ 6465478 h 6479439"/>
                <a:gd name="connsiteX243" fmla="*/ 3842917 w 9586368"/>
                <a:gd name="connsiteY243" fmla="*/ 6475349 h 6479439"/>
                <a:gd name="connsiteX244" fmla="*/ 3838899 w 9586368"/>
                <a:gd name="connsiteY244" fmla="*/ 6479388 h 6479439"/>
                <a:gd name="connsiteX245" fmla="*/ 3828990 w 9586368"/>
                <a:gd name="connsiteY245" fmla="*/ 6479388 h 6479439"/>
                <a:gd name="connsiteX246" fmla="*/ 3824971 w 9586368"/>
                <a:gd name="connsiteY246" fmla="*/ 6475349 h 6479439"/>
                <a:gd name="connsiteX247" fmla="*/ 3824971 w 9586368"/>
                <a:gd name="connsiteY247" fmla="*/ 6465478 h 6479439"/>
                <a:gd name="connsiteX248" fmla="*/ 3589676 w 9586368"/>
                <a:gd name="connsiteY248" fmla="*/ 6461440 h 6479439"/>
                <a:gd name="connsiteX249" fmla="*/ 3599585 w 9586368"/>
                <a:gd name="connsiteY249" fmla="*/ 6461440 h 6479439"/>
                <a:gd name="connsiteX250" fmla="*/ 3603604 w 9586368"/>
                <a:gd name="connsiteY250" fmla="*/ 6465478 h 6479439"/>
                <a:gd name="connsiteX251" fmla="*/ 3603604 w 9586368"/>
                <a:gd name="connsiteY251" fmla="*/ 6475349 h 6479439"/>
                <a:gd name="connsiteX252" fmla="*/ 3599585 w 9586368"/>
                <a:gd name="connsiteY252" fmla="*/ 6479388 h 6479439"/>
                <a:gd name="connsiteX253" fmla="*/ 3589676 w 9586368"/>
                <a:gd name="connsiteY253" fmla="*/ 6479388 h 6479439"/>
                <a:gd name="connsiteX254" fmla="*/ 3585657 w 9586368"/>
                <a:gd name="connsiteY254" fmla="*/ 6475349 h 6479439"/>
                <a:gd name="connsiteX255" fmla="*/ 3585657 w 9586368"/>
                <a:gd name="connsiteY255" fmla="*/ 6465478 h 6479439"/>
                <a:gd name="connsiteX256" fmla="*/ 3350359 w 9586368"/>
                <a:gd name="connsiteY256" fmla="*/ 6461440 h 6479439"/>
                <a:gd name="connsiteX257" fmla="*/ 3360268 w 9586368"/>
                <a:gd name="connsiteY257" fmla="*/ 6461440 h 6479439"/>
                <a:gd name="connsiteX258" fmla="*/ 3364287 w 9586368"/>
                <a:gd name="connsiteY258" fmla="*/ 6465478 h 6479439"/>
                <a:gd name="connsiteX259" fmla="*/ 3364287 w 9586368"/>
                <a:gd name="connsiteY259" fmla="*/ 6475349 h 6479439"/>
                <a:gd name="connsiteX260" fmla="*/ 3360268 w 9586368"/>
                <a:gd name="connsiteY260" fmla="*/ 6479388 h 6479439"/>
                <a:gd name="connsiteX261" fmla="*/ 3350359 w 9586368"/>
                <a:gd name="connsiteY261" fmla="*/ 6479388 h 6479439"/>
                <a:gd name="connsiteX262" fmla="*/ 3346340 w 9586368"/>
                <a:gd name="connsiteY262" fmla="*/ 6475349 h 6479439"/>
                <a:gd name="connsiteX263" fmla="*/ 3346340 w 9586368"/>
                <a:gd name="connsiteY263" fmla="*/ 6465478 h 6479439"/>
                <a:gd name="connsiteX264" fmla="*/ 3111048 w 9586368"/>
                <a:gd name="connsiteY264" fmla="*/ 6461440 h 6479439"/>
                <a:gd name="connsiteX265" fmla="*/ 3120959 w 9586368"/>
                <a:gd name="connsiteY265" fmla="*/ 6461440 h 6479439"/>
                <a:gd name="connsiteX266" fmla="*/ 3124977 w 9586368"/>
                <a:gd name="connsiteY266" fmla="*/ 6465478 h 6479439"/>
                <a:gd name="connsiteX267" fmla="*/ 3124977 w 9586368"/>
                <a:gd name="connsiteY267" fmla="*/ 6475349 h 6479439"/>
                <a:gd name="connsiteX268" fmla="*/ 3120959 w 9586368"/>
                <a:gd name="connsiteY268" fmla="*/ 6479388 h 6479439"/>
                <a:gd name="connsiteX269" fmla="*/ 3111048 w 9586368"/>
                <a:gd name="connsiteY269" fmla="*/ 6479388 h 6479439"/>
                <a:gd name="connsiteX270" fmla="*/ 3107029 w 9586368"/>
                <a:gd name="connsiteY270" fmla="*/ 6475349 h 6479439"/>
                <a:gd name="connsiteX271" fmla="*/ 3107029 w 9586368"/>
                <a:gd name="connsiteY271" fmla="*/ 6465478 h 6479439"/>
                <a:gd name="connsiteX272" fmla="*/ 2871737 w 9586368"/>
                <a:gd name="connsiteY272" fmla="*/ 6461440 h 6479439"/>
                <a:gd name="connsiteX273" fmla="*/ 2881646 w 9586368"/>
                <a:gd name="connsiteY273" fmla="*/ 6461440 h 6479439"/>
                <a:gd name="connsiteX274" fmla="*/ 2885666 w 9586368"/>
                <a:gd name="connsiteY274" fmla="*/ 6465478 h 6479439"/>
                <a:gd name="connsiteX275" fmla="*/ 2885666 w 9586368"/>
                <a:gd name="connsiteY275" fmla="*/ 6475349 h 6479439"/>
                <a:gd name="connsiteX276" fmla="*/ 2881646 w 9586368"/>
                <a:gd name="connsiteY276" fmla="*/ 6479388 h 6479439"/>
                <a:gd name="connsiteX277" fmla="*/ 2871737 w 9586368"/>
                <a:gd name="connsiteY277" fmla="*/ 6479388 h 6479439"/>
                <a:gd name="connsiteX278" fmla="*/ 2867717 w 9586368"/>
                <a:gd name="connsiteY278" fmla="*/ 6475349 h 6479439"/>
                <a:gd name="connsiteX279" fmla="*/ 2867717 w 9586368"/>
                <a:gd name="connsiteY279" fmla="*/ 6465478 h 6479439"/>
                <a:gd name="connsiteX280" fmla="*/ 2632423 w 9586368"/>
                <a:gd name="connsiteY280" fmla="*/ 6461440 h 6479439"/>
                <a:gd name="connsiteX281" fmla="*/ 2642334 w 9586368"/>
                <a:gd name="connsiteY281" fmla="*/ 6461440 h 6479439"/>
                <a:gd name="connsiteX282" fmla="*/ 2646352 w 9586368"/>
                <a:gd name="connsiteY282" fmla="*/ 6465478 h 6479439"/>
                <a:gd name="connsiteX283" fmla="*/ 2646352 w 9586368"/>
                <a:gd name="connsiteY283" fmla="*/ 6475349 h 6479439"/>
                <a:gd name="connsiteX284" fmla="*/ 2642334 w 9586368"/>
                <a:gd name="connsiteY284" fmla="*/ 6479388 h 6479439"/>
                <a:gd name="connsiteX285" fmla="*/ 2632423 w 9586368"/>
                <a:gd name="connsiteY285" fmla="*/ 6479388 h 6479439"/>
                <a:gd name="connsiteX286" fmla="*/ 2628404 w 9586368"/>
                <a:gd name="connsiteY286" fmla="*/ 6475349 h 6479439"/>
                <a:gd name="connsiteX287" fmla="*/ 2628404 w 9586368"/>
                <a:gd name="connsiteY287" fmla="*/ 6465478 h 6479439"/>
                <a:gd name="connsiteX288" fmla="*/ 2393104 w 9586368"/>
                <a:gd name="connsiteY288" fmla="*/ 6461440 h 6479439"/>
                <a:gd name="connsiteX289" fmla="*/ 2403015 w 9586368"/>
                <a:gd name="connsiteY289" fmla="*/ 6461440 h 6479439"/>
                <a:gd name="connsiteX290" fmla="*/ 2407034 w 9586368"/>
                <a:gd name="connsiteY290" fmla="*/ 6465478 h 6479439"/>
                <a:gd name="connsiteX291" fmla="*/ 2407034 w 9586368"/>
                <a:gd name="connsiteY291" fmla="*/ 6475349 h 6479439"/>
                <a:gd name="connsiteX292" fmla="*/ 2403015 w 9586368"/>
                <a:gd name="connsiteY292" fmla="*/ 6479388 h 6479439"/>
                <a:gd name="connsiteX293" fmla="*/ 2393104 w 9586368"/>
                <a:gd name="connsiteY293" fmla="*/ 6479388 h 6479439"/>
                <a:gd name="connsiteX294" fmla="*/ 2389087 w 9586368"/>
                <a:gd name="connsiteY294" fmla="*/ 6475349 h 6479439"/>
                <a:gd name="connsiteX295" fmla="*/ 2389087 w 9586368"/>
                <a:gd name="connsiteY295" fmla="*/ 6465478 h 6479439"/>
                <a:gd name="connsiteX296" fmla="*/ 721958 w 9586368"/>
                <a:gd name="connsiteY296" fmla="*/ 6461440 h 6479439"/>
                <a:gd name="connsiteX297" fmla="*/ 731868 w 9586368"/>
                <a:gd name="connsiteY297" fmla="*/ 6461440 h 6479439"/>
                <a:gd name="connsiteX298" fmla="*/ 735887 w 9586368"/>
                <a:gd name="connsiteY298" fmla="*/ 6465478 h 6479439"/>
                <a:gd name="connsiteX299" fmla="*/ 735887 w 9586368"/>
                <a:gd name="connsiteY299" fmla="*/ 6475349 h 6479439"/>
                <a:gd name="connsiteX300" fmla="*/ 731868 w 9586368"/>
                <a:gd name="connsiteY300" fmla="*/ 6479388 h 6479439"/>
                <a:gd name="connsiteX301" fmla="*/ 721958 w 9586368"/>
                <a:gd name="connsiteY301" fmla="*/ 6479388 h 6479439"/>
                <a:gd name="connsiteX302" fmla="*/ 717939 w 9586368"/>
                <a:gd name="connsiteY302" fmla="*/ 6475349 h 6479439"/>
                <a:gd name="connsiteX303" fmla="*/ 717939 w 9586368"/>
                <a:gd name="connsiteY303" fmla="*/ 6465478 h 6479439"/>
                <a:gd name="connsiteX304" fmla="*/ 482646 w 9586368"/>
                <a:gd name="connsiteY304" fmla="*/ 6461440 h 6479439"/>
                <a:gd name="connsiteX305" fmla="*/ 492556 w 9586368"/>
                <a:gd name="connsiteY305" fmla="*/ 6461440 h 6479439"/>
                <a:gd name="connsiteX306" fmla="*/ 496575 w 9586368"/>
                <a:gd name="connsiteY306" fmla="*/ 6465478 h 6479439"/>
                <a:gd name="connsiteX307" fmla="*/ 496575 w 9586368"/>
                <a:gd name="connsiteY307" fmla="*/ 6475349 h 6479439"/>
                <a:gd name="connsiteX308" fmla="*/ 492556 w 9586368"/>
                <a:gd name="connsiteY308" fmla="*/ 6479388 h 6479439"/>
                <a:gd name="connsiteX309" fmla="*/ 482646 w 9586368"/>
                <a:gd name="connsiteY309" fmla="*/ 6479388 h 6479439"/>
                <a:gd name="connsiteX310" fmla="*/ 478627 w 9586368"/>
                <a:gd name="connsiteY310" fmla="*/ 6475349 h 6479439"/>
                <a:gd name="connsiteX311" fmla="*/ 478627 w 9586368"/>
                <a:gd name="connsiteY311" fmla="*/ 6465478 h 6479439"/>
                <a:gd name="connsiteX312" fmla="*/ 243332 w 9586368"/>
                <a:gd name="connsiteY312" fmla="*/ 6461440 h 6479439"/>
                <a:gd name="connsiteX313" fmla="*/ 253242 w 9586368"/>
                <a:gd name="connsiteY313" fmla="*/ 6461440 h 6479439"/>
                <a:gd name="connsiteX314" fmla="*/ 257261 w 9586368"/>
                <a:gd name="connsiteY314" fmla="*/ 6465478 h 6479439"/>
                <a:gd name="connsiteX315" fmla="*/ 257261 w 9586368"/>
                <a:gd name="connsiteY315" fmla="*/ 6475349 h 6479439"/>
                <a:gd name="connsiteX316" fmla="*/ 253242 w 9586368"/>
                <a:gd name="connsiteY316" fmla="*/ 6479388 h 6479439"/>
                <a:gd name="connsiteX317" fmla="*/ 243332 w 9586368"/>
                <a:gd name="connsiteY317" fmla="*/ 6479388 h 6479439"/>
                <a:gd name="connsiteX318" fmla="*/ 239313 w 9586368"/>
                <a:gd name="connsiteY318" fmla="*/ 6475349 h 6479439"/>
                <a:gd name="connsiteX319" fmla="*/ 239313 w 9586368"/>
                <a:gd name="connsiteY319" fmla="*/ 6465478 h 6479439"/>
                <a:gd name="connsiteX320" fmla="*/ 4019 w 9586368"/>
                <a:gd name="connsiteY320" fmla="*/ 6461440 h 6479439"/>
                <a:gd name="connsiteX321" fmla="*/ 13929 w 9586368"/>
                <a:gd name="connsiteY321" fmla="*/ 6461440 h 6479439"/>
                <a:gd name="connsiteX322" fmla="*/ 17949 w 9586368"/>
                <a:gd name="connsiteY322" fmla="*/ 6465478 h 6479439"/>
                <a:gd name="connsiteX323" fmla="*/ 17949 w 9586368"/>
                <a:gd name="connsiteY323" fmla="*/ 6475349 h 6479439"/>
                <a:gd name="connsiteX324" fmla="*/ 13929 w 9586368"/>
                <a:gd name="connsiteY324" fmla="*/ 6479388 h 6479439"/>
                <a:gd name="connsiteX325" fmla="*/ 4019 w 9586368"/>
                <a:gd name="connsiteY325" fmla="*/ 6479388 h 6479439"/>
                <a:gd name="connsiteX326" fmla="*/ 0 w 9586368"/>
                <a:gd name="connsiteY326" fmla="*/ 6475349 h 6479439"/>
                <a:gd name="connsiteX327" fmla="*/ 0 w 9586368"/>
                <a:gd name="connsiteY327" fmla="*/ 6465478 h 6479439"/>
                <a:gd name="connsiteX328" fmla="*/ 9572438 w 9586368"/>
                <a:gd name="connsiteY328" fmla="*/ 6222160 h 6479439"/>
                <a:gd name="connsiteX329" fmla="*/ 9582349 w 9586368"/>
                <a:gd name="connsiteY329" fmla="*/ 6222160 h 6479439"/>
                <a:gd name="connsiteX330" fmla="*/ 9586368 w 9586368"/>
                <a:gd name="connsiteY330" fmla="*/ 6226198 h 6479439"/>
                <a:gd name="connsiteX331" fmla="*/ 9586368 w 9586368"/>
                <a:gd name="connsiteY331" fmla="*/ 6236069 h 6479439"/>
                <a:gd name="connsiteX332" fmla="*/ 9582349 w 9586368"/>
                <a:gd name="connsiteY332" fmla="*/ 6240109 h 6479439"/>
                <a:gd name="connsiteX333" fmla="*/ 9572438 w 9586368"/>
                <a:gd name="connsiteY333" fmla="*/ 6240109 h 6479439"/>
                <a:gd name="connsiteX334" fmla="*/ 9568419 w 9586368"/>
                <a:gd name="connsiteY334" fmla="*/ 6236069 h 6479439"/>
                <a:gd name="connsiteX335" fmla="*/ 9568419 w 9586368"/>
                <a:gd name="connsiteY335" fmla="*/ 6226198 h 6479439"/>
                <a:gd name="connsiteX336" fmla="*/ 9333125 w 9586368"/>
                <a:gd name="connsiteY336" fmla="*/ 6222160 h 6479439"/>
                <a:gd name="connsiteX337" fmla="*/ 9343036 w 9586368"/>
                <a:gd name="connsiteY337" fmla="*/ 6222160 h 6479439"/>
                <a:gd name="connsiteX338" fmla="*/ 9347055 w 9586368"/>
                <a:gd name="connsiteY338" fmla="*/ 6226198 h 6479439"/>
                <a:gd name="connsiteX339" fmla="*/ 9347055 w 9586368"/>
                <a:gd name="connsiteY339" fmla="*/ 6236069 h 6479439"/>
                <a:gd name="connsiteX340" fmla="*/ 9343036 w 9586368"/>
                <a:gd name="connsiteY340" fmla="*/ 6240109 h 6479439"/>
                <a:gd name="connsiteX341" fmla="*/ 9333125 w 9586368"/>
                <a:gd name="connsiteY341" fmla="*/ 6240109 h 6479439"/>
                <a:gd name="connsiteX342" fmla="*/ 9329106 w 9586368"/>
                <a:gd name="connsiteY342" fmla="*/ 6236069 h 6479439"/>
                <a:gd name="connsiteX343" fmla="*/ 9329106 w 9586368"/>
                <a:gd name="connsiteY343" fmla="*/ 6226198 h 6479439"/>
                <a:gd name="connsiteX344" fmla="*/ 9093811 w 9586368"/>
                <a:gd name="connsiteY344" fmla="*/ 6222160 h 6479439"/>
                <a:gd name="connsiteX345" fmla="*/ 9103722 w 9586368"/>
                <a:gd name="connsiteY345" fmla="*/ 6222160 h 6479439"/>
                <a:gd name="connsiteX346" fmla="*/ 9107741 w 9586368"/>
                <a:gd name="connsiteY346" fmla="*/ 6226198 h 6479439"/>
                <a:gd name="connsiteX347" fmla="*/ 9107741 w 9586368"/>
                <a:gd name="connsiteY347" fmla="*/ 6236069 h 6479439"/>
                <a:gd name="connsiteX348" fmla="*/ 9103722 w 9586368"/>
                <a:gd name="connsiteY348" fmla="*/ 6240109 h 6479439"/>
                <a:gd name="connsiteX349" fmla="*/ 9093811 w 9586368"/>
                <a:gd name="connsiteY349" fmla="*/ 6240109 h 6479439"/>
                <a:gd name="connsiteX350" fmla="*/ 9089792 w 9586368"/>
                <a:gd name="connsiteY350" fmla="*/ 6236069 h 6479439"/>
                <a:gd name="connsiteX351" fmla="*/ 9089792 w 9586368"/>
                <a:gd name="connsiteY351" fmla="*/ 6226198 h 6479439"/>
                <a:gd name="connsiteX352" fmla="*/ 8854496 w 9586368"/>
                <a:gd name="connsiteY352" fmla="*/ 6222160 h 6479439"/>
                <a:gd name="connsiteX353" fmla="*/ 8864407 w 9586368"/>
                <a:gd name="connsiteY353" fmla="*/ 6222160 h 6479439"/>
                <a:gd name="connsiteX354" fmla="*/ 8868426 w 9586368"/>
                <a:gd name="connsiteY354" fmla="*/ 6226198 h 6479439"/>
                <a:gd name="connsiteX355" fmla="*/ 8868426 w 9586368"/>
                <a:gd name="connsiteY355" fmla="*/ 6236069 h 6479439"/>
                <a:gd name="connsiteX356" fmla="*/ 8864407 w 9586368"/>
                <a:gd name="connsiteY356" fmla="*/ 6240109 h 6479439"/>
                <a:gd name="connsiteX357" fmla="*/ 8854496 w 9586368"/>
                <a:gd name="connsiteY357" fmla="*/ 6240109 h 6479439"/>
                <a:gd name="connsiteX358" fmla="*/ 8850477 w 9586368"/>
                <a:gd name="connsiteY358" fmla="*/ 6236069 h 6479439"/>
                <a:gd name="connsiteX359" fmla="*/ 8850477 w 9586368"/>
                <a:gd name="connsiteY359" fmla="*/ 6226198 h 6479439"/>
                <a:gd name="connsiteX360" fmla="*/ 8615184 w 9586368"/>
                <a:gd name="connsiteY360" fmla="*/ 6222160 h 6479439"/>
                <a:gd name="connsiteX361" fmla="*/ 8625095 w 9586368"/>
                <a:gd name="connsiteY361" fmla="*/ 6222160 h 6479439"/>
                <a:gd name="connsiteX362" fmla="*/ 8629114 w 9586368"/>
                <a:gd name="connsiteY362" fmla="*/ 6226198 h 6479439"/>
                <a:gd name="connsiteX363" fmla="*/ 8629114 w 9586368"/>
                <a:gd name="connsiteY363" fmla="*/ 6236069 h 6479439"/>
                <a:gd name="connsiteX364" fmla="*/ 8625095 w 9586368"/>
                <a:gd name="connsiteY364" fmla="*/ 6240109 h 6479439"/>
                <a:gd name="connsiteX365" fmla="*/ 8615184 w 9586368"/>
                <a:gd name="connsiteY365" fmla="*/ 6240109 h 6479439"/>
                <a:gd name="connsiteX366" fmla="*/ 8611165 w 9586368"/>
                <a:gd name="connsiteY366" fmla="*/ 6236069 h 6479439"/>
                <a:gd name="connsiteX367" fmla="*/ 8611165 w 9586368"/>
                <a:gd name="connsiteY367" fmla="*/ 6226198 h 6479439"/>
                <a:gd name="connsiteX368" fmla="*/ 8375869 w 9586368"/>
                <a:gd name="connsiteY368" fmla="*/ 6222160 h 6479439"/>
                <a:gd name="connsiteX369" fmla="*/ 8385779 w 9586368"/>
                <a:gd name="connsiteY369" fmla="*/ 6222160 h 6479439"/>
                <a:gd name="connsiteX370" fmla="*/ 8389799 w 9586368"/>
                <a:gd name="connsiteY370" fmla="*/ 6226198 h 6479439"/>
                <a:gd name="connsiteX371" fmla="*/ 8389799 w 9586368"/>
                <a:gd name="connsiteY371" fmla="*/ 6236069 h 6479439"/>
                <a:gd name="connsiteX372" fmla="*/ 8385779 w 9586368"/>
                <a:gd name="connsiteY372" fmla="*/ 6240109 h 6479439"/>
                <a:gd name="connsiteX373" fmla="*/ 8375869 w 9586368"/>
                <a:gd name="connsiteY373" fmla="*/ 6240109 h 6479439"/>
                <a:gd name="connsiteX374" fmla="*/ 8371850 w 9586368"/>
                <a:gd name="connsiteY374" fmla="*/ 6236069 h 6479439"/>
                <a:gd name="connsiteX375" fmla="*/ 8371850 w 9586368"/>
                <a:gd name="connsiteY375" fmla="*/ 6226198 h 6479439"/>
                <a:gd name="connsiteX376" fmla="*/ 8136553 w 9586368"/>
                <a:gd name="connsiteY376" fmla="*/ 6222160 h 6479439"/>
                <a:gd name="connsiteX377" fmla="*/ 8146464 w 9586368"/>
                <a:gd name="connsiteY377" fmla="*/ 6222160 h 6479439"/>
                <a:gd name="connsiteX378" fmla="*/ 8150483 w 9586368"/>
                <a:gd name="connsiteY378" fmla="*/ 6226198 h 6479439"/>
                <a:gd name="connsiteX379" fmla="*/ 8150483 w 9586368"/>
                <a:gd name="connsiteY379" fmla="*/ 6236069 h 6479439"/>
                <a:gd name="connsiteX380" fmla="*/ 8146464 w 9586368"/>
                <a:gd name="connsiteY380" fmla="*/ 6240109 h 6479439"/>
                <a:gd name="connsiteX381" fmla="*/ 8136553 w 9586368"/>
                <a:gd name="connsiteY381" fmla="*/ 6240109 h 6479439"/>
                <a:gd name="connsiteX382" fmla="*/ 8132534 w 9586368"/>
                <a:gd name="connsiteY382" fmla="*/ 6236069 h 6479439"/>
                <a:gd name="connsiteX383" fmla="*/ 8132534 w 9586368"/>
                <a:gd name="connsiteY383" fmla="*/ 6226198 h 6479439"/>
                <a:gd name="connsiteX384" fmla="*/ 7897241 w 9586368"/>
                <a:gd name="connsiteY384" fmla="*/ 6222160 h 6479439"/>
                <a:gd name="connsiteX385" fmla="*/ 7907151 w 9586368"/>
                <a:gd name="connsiteY385" fmla="*/ 6222160 h 6479439"/>
                <a:gd name="connsiteX386" fmla="*/ 7911170 w 9586368"/>
                <a:gd name="connsiteY386" fmla="*/ 6226198 h 6479439"/>
                <a:gd name="connsiteX387" fmla="*/ 7911170 w 9586368"/>
                <a:gd name="connsiteY387" fmla="*/ 6236069 h 6479439"/>
                <a:gd name="connsiteX388" fmla="*/ 7907151 w 9586368"/>
                <a:gd name="connsiteY388" fmla="*/ 6240109 h 6479439"/>
                <a:gd name="connsiteX389" fmla="*/ 7897241 w 9586368"/>
                <a:gd name="connsiteY389" fmla="*/ 6240109 h 6479439"/>
                <a:gd name="connsiteX390" fmla="*/ 7893222 w 9586368"/>
                <a:gd name="connsiteY390" fmla="*/ 6236069 h 6479439"/>
                <a:gd name="connsiteX391" fmla="*/ 7893222 w 9586368"/>
                <a:gd name="connsiteY391" fmla="*/ 6226198 h 6479439"/>
                <a:gd name="connsiteX392" fmla="*/ 7657926 w 9586368"/>
                <a:gd name="connsiteY392" fmla="*/ 6222160 h 6479439"/>
                <a:gd name="connsiteX393" fmla="*/ 7667836 w 9586368"/>
                <a:gd name="connsiteY393" fmla="*/ 6222160 h 6479439"/>
                <a:gd name="connsiteX394" fmla="*/ 7671855 w 9586368"/>
                <a:gd name="connsiteY394" fmla="*/ 6226198 h 6479439"/>
                <a:gd name="connsiteX395" fmla="*/ 7671855 w 9586368"/>
                <a:gd name="connsiteY395" fmla="*/ 6236069 h 6479439"/>
                <a:gd name="connsiteX396" fmla="*/ 7667836 w 9586368"/>
                <a:gd name="connsiteY396" fmla="*/ 6240109 h 6479439"/>
                <a:gd name="connsiteX397" fmla="*/ 7657926 w 9586368"/>
                <a:gd name="connsiteY397" fmla="*/ 6240109 h 6479439"/>
                <a:gd name="connsiteX398" fmla="*/ 7653906 w 9586368"/>
                <a:gd name="connsiteY398" fmla="*/ 6236069 h 6479439"/>
                <a:gd name="connsiteX399" fmla="*/ 7653906 w 9586368"/>
                <a:gd name="connsiteY399" fmla="*/ 6226198 h 6479439"/>
                <a:gd name="connsiteX400" fmla="*/ 7418611 w 9586368"/>
                <a:gd name="connsiteY400" fmla="*/ 6222160 h 6479439"/>
                <a:gd name="connsiteX401" fmla="*/ 7428521 w 9586368"/>
                <a:gd name="connsiteY401" fmla="*/ 6222160 h 6479439"/>
                <a:gd name="connsiteX402" fmla="*/ 7432540 w 9586368"/>
                <a:gd name="connsiteY402" fmla="*/ 6226198 h 6479439"/>
                <a:gd name="connsiteX403" fmla="*/ 7432540 w 9586368"/>
                <a:gd name="connsiteY403" fmla="*/ 6236069 h 6479439"/>
                <a:gd name="connsiteX404" fmla="*/ 7428521 w 9586368"/>
                <a:gd name="connsiteY404" fmla="*/ 6240109 h 6479439"/>
                <a:gd name="connsiteX405" fmla="*/ 7418611 w 9586368"/>
                <a:gd name="connsiteY405" fmla="*/ 6240109 h 6479439"/>
                <a:gd name="connsiteX406" fmla="*/ 7414592 w 9586368"/>
                <a:gd name="connsiteY406" fmla="*/ 6236069 h 6479439"/>
                <a:gd name="connsiteX407" fmla="*/ 7414592 w 9586368"/>
                <a:gd name="connsiteY407" fmla="*/ 6226198 h 6479439"/>
                <a:gd name="connsiteX408" fmla="*/ 7179298 w 9586368"/>
                <a:gd name="connsiteY408" fmla="*/ 6222160 h 6479439"/>
                <a:gd name="connsiteX409" fmla="*/ 7189209 w 9586368"/>
                <a:gd name="connsiteY409" fmla="*/ 6222160 h 6479439"/>
                <a:gd name="connsiteX410" fmla="*/ 7193228 w 9586368"/>
                <a:gd name="connsiteY410" fmla="*/ 6226198 h 6479439"/>
                <a:gd name="connsiteX411" fmla="*/ 7193228 w 9586368"/>
                <a:gd name="connsiteY411" fmla="*/ 6236069 h 6479439"/>
                <a:gd name="connsiteX412" fmla="*/ 7189209 w 9586368"/>
                <a:gd name="connsiteY412" fmla="*/ 6240109 h 6479439"/>
                <a:gd name="connsiteX413" fmla="*/ 7179298 w 9586368"/>
                <a:gd name="connsiteY413" fmla="*/ 6240109 h 6479439"/>
                <a:gd name="connsiteX414" fmla="*/ 7175279 w 9586368"/>
                <a:gd name="connsiteY414" fmla="*/ 6236069 h 6479439"/>
                <a:gd name="connsiteX415" fmla="*/ 7175279 w 9586368"/>
                <a:gd name="connsiteY415" fmla="*/ 6226198 h 6479439"/>
                <a:gd name="connsiteX416" fmla="*/ 6939983 w 9586368"/>
                <a:gd name="connsiteY416" fmla="*/ 6222160 h 6479439"/>
                <a:gd name="connsiteX417" fmla="*/ 6949894 w 9586368"/>
                <a:gd name="connsiteY417" fmla="*/ 6222160 h 6479439"/>
                <a:gd name="connsiteX418" fmla="*/ 6953913 w 9586368"/>
                <a:gd name="connsiteY418" fmla="*/ 6226198 h 6479439"/>
                <a:gd name="connsiteX419" fmla="*/ 6953913 w 9586368"/>
                <a:gd name="connsiteY419" fmla="*/ 6236069 h 6479439"/>
                <a:gd name="connsiteX420" fmla="*/ 6949894 w 9586368"/>
                <a:gd name="connsiteY420" fmla="*/ 6240109 h 6479439"/>
                <a:gd name="connsiteX421" fmla="*/ 6939983 w 9586368"/>
                <a:gd name="connsiteY421" fmla="*/ 6240109 h 6479439"/>
                <a:gd name="connsiteX422" fmla="*/ 6935964 w 9586368"/>
                <a:gd name="connsiteY422" fmla="*/ 6236069 h 6479439"/>
                <a:gd name="connsiteX423" fmla="*/ 6935964 w 9586368"/>
                <a:gd name="connsiteY423" fmla="*/ 6226198 h 6479439"/>
                <a:gd name="connsiteX424" fmla="*/ 6700670 w 9586368"/>
                <a:gd name="connsiteY424" fmla="*/ 6222160 h 6479439"/>
                <a:gd name="connsiteX425" fmla="*/ 6710581 w 9586368"/>
                <a:gd name="connsiteY425" fmla="*/ 6222160 h 6479439"/>
                <a:gd name="connsiteX426" fmla="*/ 6714600 w 9586368"/>
                <a:gd name="connsiteY426" fmla="*/ 6226198 h 6479439"/>
                <a:gd name="connsiteX427" fmla="*/ 6714600 w 9586368"/>
                <a:gd name="connsiteY427" fmla="*/ 6236069 h 6479439"/>
                <a:gd name="connsiteX428" fmla="*/ 6710581 w 9586368"/>
                <a:gd name="connsiteY428" fmla="*/ 6240109 h 6479439"/>
                <a:gd name="connsiteX429" fmla="*/ 6700670 w 9586368"/>
                <a:gd name="connsiteY429" fmla="*/ 6240109 h 6479439"/>
                <a:gd name="connsiteX430" fmla="*/ 6696651 w 9586368"/>
                <a:gd name="connsiteY430" fmla="*/ 6236069 h 6479439"/>
                <a:gd name="connsiteX431" fmla="*/ 6696651 w 9586368"/>
                <a:gd name="connsiteY431" fmla="*/ 6226198 h 6479439"/>
                <a:gd name="connsiteX432" fmla="*/ 6461356 w 9586368"/>
                <a:gd name="connsiteY432" fmla="*/ 6222160 h 6479439"/>
                <a:gd name="connsiteX433" fmla="*/ 6471266 w 9586368"/>
                <a:gd name="connsiteY433" fmla="*/ 6222160 h 6479439"/>
                <a:gd name="connsiteX434" fmla="*/ 6475285 w 9586368"/>
                <a:gd name="connsiteY434" fmla="*/ 6226198 h 6479439"/>
                <a:gd name="connsiteX435" fmla="*/ 6475285 w 9586368"/>
                <a:gd name="connsiteY435" fmla="*/ 6236069 h 6479439"/>
                <a:gd name="connsiteX436" fmla="*/ 6471266 w 9586368"/>
                <a:gd name="connsiteY436" fmla="*/ 6240109 h 6479439"/>
                <a:gd name="connsiteX437" fmla="*/ 6461356 w 9586368"/>
                <a:gd name="connsiteY437" fmla="*/ 6240109 h 6479439"/>
                <a:gd name="connsiteX438" fmla="*/ 6457337 w 9586368"/>
                <a:gd name="connsiteY438" fmla="*/ 6236069 h 6479439"/>
                <a:gd name="connsiteX439" fmla="*/ 6457337 w 9586368"/>
                <a:gd name="connsiteY439" fmla="*/ 6226198 h 6479439"/>
                <a:gd name="connsiteX440" fmla="*/ 6222042 w 9586368"/>
                <a:gd name="connsiteY440" fmla="*/ 6222160 h 6479439"/>
                <a:gd name="connsiteX441" fmla="*/ 6231952 w 9586368"/>
                <a:gd name="connsiteY441" fmla="*/ 6222160 h 6479439"/>
                <a:gd name="connsiteX442" fmla="*/ 6235971 w 9586368"/>
                <a:gd name="connsiteY442" fmla="*/ 6226198 h 6479439"/>
                <a:gd name="connsiteX443" fmla="*/ 6235971 w 9586368"/>
                <a:gd name="connsiteY443" fmla="*/ 6236069 h 6479439"/>
                <a:gd name="connsiteX444" fmla="*/ 6231952 w 9586368"/>
                <a:gd name="connsiteY444" fmla="*/ 6240109 h 6479439"/>
                <a:gd name="connsiteX445" fmla="*/ 6222042 w 9586368"/>
                <a:gd name="connsiteY445" fmla="*/ 6240109 h 6479439"/>
                <a:gd name="connsiteX446" fmla="*/ 6218023 w 9586368"/>
                <a:gd name="connsiteY446" fmla="*/ 6236069 h 6479439"/>
                <a:gd name="connsiteX447" fmla="*/ 6218023 w 9586368"/>
                <a:gd name="connsiteY447" fmla="*/ 6226198 h 6479439"/>
                <a:gd name="connsiteX448" fmla="*/ 5982729 w 9586368"/>
                <a:gd name="connsiteY448" fmla="*/ 6222160 h 6479439"/>
                <a:gd name="connsiteX449" fmla="*/ 5992639 w 9586368"/>
                <a:gd name="connsiteY449" fmla="*/ 6222160 h 6479439"/>
                <a:gd name="connsiteX450" fmla="*/ 5996658 w 9586368"/>
                <a:gd name="connsiteY450" fmla="*/ 6226198 h 6479439"/>
                <a:gd name="connsiteX451" fmla="*/ 5996658 w 9586368"/>
                <a:gd name="connsiteY451" fmla="*/ 6236069 h 6479439"/>
                <a:gd name="connsiteX452" fmla="*/ 5992639 w 9586368"/>
                <a:gd name="connsiteY452" fmla="*/ 6240109 h 6479439"/>
                <a:gd name="connsiteX453" fmla="*/ 5982729 w 9586368"/>
                <a:gd name="connsiteY453" fmla="*/ 6240109 h 6479439"/>
                <a:gd name="connsiteX454" fmla="*/ 5978710 w 9586368"/>
                <a:gd name="connsiteY454" fmla="*/ 6236069 h 6479439"/>
                <a:gd name="connsiteX455" fmla="*/ 5978710 w 9586368"/>
                <a:gd name="connsiteY455" fmla="*/ 6226198 h 6479439"/>
                <a:gd name="connsiteX456" fmla="*/ 5743412 w 9586368"/>
                <a:gd name="connsiteY456" fmla="*/ 6222160 h 6479439"/>
                <a:gd name="connsiteX457" fmla="*/ 5753323 w 9586368"/>
                <a:gd name="connsiteY457" fmla="*/ 6222160 h 6479439"/>
                <a:gd name="connsiteX458" fmla="*/ 5757342 w 9586368"/>
                <a:gd name="connsiteY458" fmla="*/ 6226198 h 6479439"/>
                <a:gd name="connsiteX459" fmla="*/ 5757342 w 9586368"/>
                <a:gd name="connsiteY459" fmla="*/ 6236069 h 6479439"/>
                <a:gd name="connsiteX460" fmla="*/ 5753323 w 9586368"/>
                <a:gd name="connsiteY460" fmla="*/ 6240109 h 6479439"/>
                <a:gd name="connsiteX461" fmla="*/ 5743412 w 9586368"/>
                <a:gd name="connsiteY461" fmla="*/ 6240109 h 6479439"/>
                <a:gd name="connsiteX462" fmla="*/ 5739393 w 9586368"/>
                <a:gd name="connsiteY462" fmla="*/ 6236069 h 6479439"/>
                <a:gd name="connsiteX463" fmla="*/ 5739393 w 9586368"/>
                <a:gd name="connsiteY463" fmla="*/ 6226198 h 6479439"/>
                <a:gd name="connsiteX464" fmla="*/ 5504099 w 9586368"/>
                <a:gd name="connsiteY464" fmla="*/ 6222160 h 6479439"/>
                <a:gd name="connsiteX465" fmla="*/ 5514010 w 9586368"/>
                <a:gd name="connsiteY465" fmla="*/ 6222160 h 6479439"/>
                <a:gd name="connsiteX466" fmla="*/ 5518029 w 9586368"/>
                <a:gd name="connsiteY466" fmla="*/ 6226198 h 6479439"/>
                <a:gd name="connsiteX467" fmla="*/ 5518029 w 9586368"/>
                <a:gd name="connsiteY467" fmla="*/ 6236069 h 6479439"/>
                <a:gd name="connsiteX468" fmla="*/ 5514010 w 9586368"/>
                <a:gd name="connsiteY468" fmla="*/ 6240109 h 6479439"/>
                <a:gd name="connsiteX469" fmla="*/ 5504099 w 9586368"/>
                <a:gd name="connsiteY469" fmla="*/ 6240109 h 6479439"/>
                <a:gd name="connsiteX470" fmla="*/ 5500080 w 9586368"/>
                <a:gd name="connsiteY470" fmla="*/ 6236069 h 6479439"/>
                <a:gd name="connsiteX471" fmla="*/ 5500080 w 9586368"/>
                <a:gd name="connsiteY471" fmla="*/ 6226198 h 6479439"/>
                <a:gd name="connsiteX472" fmla="*/ 5264784 w 9586368"/>
                <a:gd name="connsiteY472" fmla="*/ 6222160 h 6479439"/>
                <a:gd name="connsiteX473" fmla="*/ 5274694 w 9586368"/>
                <a:gd name="connsiteY473" fmla="*/ 6222160 h 6479439"/>
                <a:gd name="connsiteX474" fmla="*/ 5278713 w 9586368"/>
                <a:gd name="connsiteY474" fmla="*/ 6226198 h 6479439"/>
                <a:gd name="connsiteX475" fmla="*/ 5278713 w 9586368"/>
                <a:gd name="connsiteY475" fmla="*/ 6236069 h 6479439"/>
                <a:gd name="connsiteX476" fmla="*/ 5274694 w 9586368"/>
                <a:gd name="connsiteY476" fmla="*/ 6240109 h 6479439"/>
                <a:gd name="connsiteX477" fmla="*/ 5264784 w 9586368"/>
                <a:gd name="connsiteY477" fmla="*/ 6240109 h 6479439"/>
                <a:gd name="connsiteX478" fmla="*/ 5260765 w 9586368"/>
                <a:gd name="connsiteY478" fmla="*/ 6236069 h 6479439"/>
                <a:gd name="connsiteX479" fmla="*/ 5260765 w 9586368"/>
                <a:gd name="connsiteY479" fmla="*/ 6226198 h 6479439"/>
                <a:gd name="connsiteX480" fmla="*/ 5025470 w 9586368"/>
                <a:gd name="connsiteY480" fmla="*/ 6222160 h 6479439"/>
                <a:gd name="connsiteX481" fmla="*/ 5035381 w 9586368"/>
                <a:gd name="connsiteY481" fmla="*/ 6222160 h 6479439"/>
                <a:gd name="connsiteX482" fmla="*/ 5039400 w 9586368"/>
                <a:gd name="connsiteY482" fmla="*/ 6226198 h 6479439"/>
                <a:gd name="connsiteX483" fmla="*/ 5039400 w 9586368"/>
                <a:gd name="connsiteY483" fmla="*/ 6236069 h 6479439"/>
                <a:gd name="connsiteX484" fmla="*/ 5035381 w 9586368"/>
                <a:gd name="connsiteY484" fmla="*/ 6240109 h 6479439"/>
                <a:gd name="connsiteX485" fmla="*/ 5025470 w 9586368"/>
                <a:gd name="connsiteY485" fmla="*/ 6240109 h 6479439"/>
                <a:gd name="connsiteX486" fmla="*/ 5021451 w 9586368"/>
                <a:gd name="connsiteY486" fmla="*/ 6236069 h 6479439"/>
                <a:gd name="connsiteX487" fmla="*/ 5021451 w 9586368"/>
                <a:gd name="connsiteY487" fmla="*/ 6226198 h 6479439"/>
                <a:gd name="connsiteX488" fmla="*/ 4786241 w 9586368"/>
                <a:gd name="connsiteY488" fmla="*/ 6222160 h 6479439"/>
                <a:gd name="connsiteX489" fmla="*/ 4796152 w 9586368"/>
                <a:gd name="connsiteY489" fmla="*/ 6222160 h 6479439"/>
                <a:gd name="connsiteX490" fmla="*/ 4800171 w 9586368"/>
                <a:gd name="connsiteY490" fmla="*/ 6226198 h 6479439"/>
                <a:gd name="connsiteX491" fmla="*/ 4800171 w 9586368"/>
                <a:gd name="connsiteY491" fmla="*/ 6236069 h 6479439"/>
                <a:gd name="connsiteX492" fmla="*/ 4796152 w 9586368"/>
                <a:gd name="connsiteY492" fmla="*/ 6240109 h 6479439"/>
                <a:gd name="connsiteX493" fmla="*/ 4786241 w 9586368"/>
                <a:gd name="connsiteY493" fmla="*/ 6240109 h 6479439"/>
                <a:gd name="connsiteX494" fmla="*/ 4782224 w 9586368"/>
                <a:gd name="connsiteY494" fmla="*/ 6236069 h 6479439"/>
                <a:gd name="connsiteX495" fmla="*/ 4782224 w 9586368"/>
                <a:gd name="connsiteY495" fmla="*/ 6226198 h 6479439"/>
                <a:gd name="connsiteX496" fmla="*/ 4546929 w 9586368"/>
                <a:gd name="connsiteY496" fmla="*/ 6222160 h 6479439"/>
                <a:gd name="connsiteX497" fmla="*/ 4556840 w 9586368"/>
                <a:gd name="connsiteY497" fmla="*/ 6222160 h 6479439"/>
                <a:gd name="connsiteX498" fmla="*/ 4560859 w 9586368"/>
                <a:gd name="connsiteY498" fmla="*/ 6226198 h 6479439"/>
                <a:gd name="connsiteX499" fmla="*/ 4560859 w 9586368"/>
                <a:gd name="connsiteY499" fmla="*/ 6236069 h 6479439"/>
                <a:gd name="connsiteX500" fmla="*/ 4556840 w 9586368"/>
                <a:gd name="connsiteY500" fmla="*/ 6240109 h 6479439"/>
                <a:gd name="connsiteX501" fmla="*/ 4546929 w 9586368"/>
                <a:gd name="connsiteY501" fmla="*/ 6240109 h 6479439"/>
                <a:gd name="connsiteX502" fmla="*/ 4542910 w 9586368"/>
                <a:gd name="connsiteY502" fmla="*/ 6236069 h 6479439"/>
                <a:gd name="connsiteX503" fmla="*/ 4542910 w 9586368"/>
                <a:gd name="connsiteY503" fmla="*/ 6226198 h 6479439"/>
                <a:gd name="connsiteX504" fmla="*/ 4307612 w 9586368"/>
                <a:gd name="connsiteY504" fmla="*/ 6222160 h 6479439"/>
                <a:gd name="connsiteX505" fmla="*/ 4317523 w 9586368"/>
                <a:gd name="connsiteY505" fmla="*/ 6222160 h 6479439"/>
                <a:gd name="connsiteX506" fmla="*/ 4321543 w 9586368"/>
                <a:gd name="connsiteY506" fmla="*/ 6226198 h 6479439"/>
                <a:gd name="connsiteX507" fmla="*/ 4321543 w 9586368"/>
                <a:gd name="connsiteY507" fmla="*/ 6236069 h 6479439"/>
                <a:gd name="connsiteX508" fmla="*/ 4317523 w 9586368"/>
                <a:gd name="connsiteY508" fmla="*/ 6240109 h 6479439"/>
                <a:gd name="connsiteX509" fmla="*/ 4307612 w 9586368"/>
                <a:gd name="connsiteY509" fmla="*/ 6240109 h 6479439"/>
                <a:gd name="connsiteX510" fmla="*/ 4303595 w 9586368"/>
                <a:gd name="connsiteY510" fmla="*/ 6236069 h 6479439"/>
                <a:gd name="connsiteX511" fmla="*/ 4303595 w 9586368"/>
                <a:gd name="connsiteY511" fmla="*/ 6226198 h 6479439"/>
                <a:gd name="connsiteX512" fmla="*/ 4068297 w 9586368"/>
                <a:gd name="connsiteY512" fmla="*/ 6222160 h 6479439"/>
                <a:gd name="connsiteX513" fmla="*/ 4078210 w 9586368"/>
                <a:gd name="connsiteY513" fmla="*/ 6222160 h 6479439"/>
                <a:gd name="connsiteX514" fmla="*/ 4082229 w 9586368"/>
                <a:gd name="connsiteY514" fmla="*/ 6226198 h 6479439"/>
                <a:gd name="connsiteX515" fmla="*/ 4082229 w 9586368"/>
                <a:gd name="connsiteY515" fmla="*/ 6236069 h 6479439"/>
                <a:gd name="connsiteX516" fmla="*/ 4078210 w 9586368"/>
                <a:gd name="connsiteY516" fmla="*/ 6240109 h 6479439"/>
                <a:gd name="connsiteX517" fmla="*/ 4068297 w 9586368"/>
                <a:gd name="connsiteY517" fmla="*/ 6240109 h 6479439"/>
                <a:gd name="connsiteX518" fmla="*/ 4064278 w 9586368"/>
                <a:gd name="connsiteY518" fmla="*/ 6236069 h 6479439"/>
                <a:gd name="connsiteX519" fmla="*/ 4064278 w 9586368"/>
                <a:gd name="connsiteY519" fmla="*/ 6226198 h 6479439"/>
                <a:gd name="connsiteX520" fmla="*/ 3828990 w 9586368"/>
                <a:gd name="connsiteY520" fmla="*/ 6222160 h 6479439"/>
                <a:gd name="connsiteX521" fmla="*/ 3838899 w 9586368"/>
                <a:gd name="connsiteY521" fmla="*/ 6222160 h 6479439"/>
                <a:gd name="connsiteX522" fmla="*/ 3842917 w 9586368"/>
                <a:gd name="connsiteY522" fmla="*/ 6226198 h 6479439"/>
                <a:gd name="connsiteX523" fmla="*/ 3842917 w 9586368"/>
                <a:gd name="connsiteY523" fmla="*/ 6236069 h 6479439"/>
                <a:gd name="connsiteX524" fmla="*/ 3838899 w 9586368"/>
                <a:gd name="connsiteY524" fmla="*/ 6240109 h 6479439"/>
                <a:gd name="connsiteX525" fmla="*/ 3828990 w 9586368"/>
                <a:gd name="connsiteY525" fmla="*/ 6240109 h 6479439"/>
                <a:gd name="connsiteX526" fmla="*/ 3824971 w 9586368"/>
                <a:gd name="connsiteY526" fmla="*/ 6236069 h 6479439"/>
                <a:gd name="connsiteX527" fmla="*/ 3824971 w 9586368"/>
                <a:gd name="connsiteY527" fmla="*/ 6226198 h 6479439"/>
                <a:gd name="connsiteX528" fmla="*/ 3589676 w 9586368"/>
                <a:gd name="connsiteY528" fmla="*/ 6222160 h 6479439"/>
                <a:gd name="connsiteX529" fmla="*/ 3599585 w 9586368"/>
                <a:gd name="connsiteY529" fmla="*/ 6222160 h 6479439"/>
                <a:gd name="connsiteX530" fmla="*/ 3603604 w 9586368"/>
                <a:gd name="connsiteY530" fmla="*/ 6226198 h 6479439"/>
                <a:gd name="connsiteX531" fmla="*/ 3603604 w 9586368"/>
                <a:gd name="connsiteY531" fmla="*/ 6236069 h 6479439"/>
                <a:gd name="connsiteX532" fmla="*/ 3599585 w 9586368"/>
                <a:gd name="connsiteY532" fmla="*/ 6240109 h 6479439"/>
                <a:gd name="connsiteX533" fmla="*/ 3589676 w 9586368"/>
                <a:gd name="connsiteY533" fmla="*/ 6240109 h 6479439"/>
                <a:gd name="connsiteX534" fmla="*/ 3585657 w 9586368"/>
                <a:gd name="connsiteY534" fmla="*/ 6236069 h 6479439"/>
                <a:gd name="connsiteX535" fmla="*/ 3585657 w 9586368"/>
                <a:gd name="connsiteY535" fmla="*/ 6226198 h 6479439"/>
                <a:gd name="connsiteX536" fmla="*/ 3350359 w 9586368"/>
                <a:gd name="connsiteY536" fmla="*/ 6222160 h 6479439"/>
                <a:gd name="connsiteX537" fmla="*/ 3360268 w 9586368"/>
                <a:gd name="connsiteY537" fmla="*/ 6222160 h 6479439"/>
                <a:gd name="connsiteX538" fmla="*/ 3364287 w 9586368"/>
                <a:gd name="connsiteY538" fmla="*/ 6226198 h 6479439"/>
                <a:gd name="connsiteX539" fmla="*/ 3364287 w 9586368"/>
                <a:gd name="connsiteY539" fmla="*/ 6236069 h 6479439"/>
                <a:gd name="connsiteX540" fmla="*/ 3360268 w 9586368"/>
                <a:gd name="connsiteY540" fmla="*/ 6240109 h 6479439"/>
                <a:gd name="connsiteX541" fmla="*/ 3350359 w 9586368"/>
                <a:gd name="connsiteY541" fmla="*/ 6240109 h 6479439"/>
                <a:gd name="connsiteX542" fmla="*/ 3346340 w 9586368"/>
                <a:gd name="connsiteY542" fmla="*/ 6236069 h 6479439"/>
                <a:gd name="connsiteX543" fmla="*/ 3346340 w 9586368"/>
                <a:gd name="connsiteY543" fmla="*/ 6226198 h 6479439"/>
                <a:gd name="connsiteX544" fmla="*/ 3111048 w 9586368"/>
                <a:gd name="connsiteY544" fmla="*/ 6222160 h 6479439"/>
                <a:gd name="connsiteX545" fmla="*/ 3120959 w 9586368"/>
                <a:gd name="connsiteY545" fmla="*/ 6222160 h 6479439"/>
                <a:gd name="connsiteX546" fmla="*/ 3124977 w 9586368"/>
                <a:gd name="connsiteY546" fmla="*/ 6226198 h 6479439"/>
                <a:gd name="connsiteX547" fmla="*/ 3124977 w 9586368"/>
                <a:gd name="connsiteY547" fmla="*/ 6236069 h 6479439"/>
                <a:gd name="connsiteX548" fmla="*/ 3120959 w 9586368"/>
                <a:gd name="connsiteY548" fmla="*/ 6240109 h 6479439"/>
                <a:gd name="connsiteX549" fmla="*/ 3111048 w 9586368"/>
                <a:gd name="connsiteY549" fmla="*/ 6240109 h 6479439"/>
                <a:gd name="connsiteX550" fmla="*/ 3107029 w 9586368"/>
                <a:gd name="connsiteY550" fmla="*/ 6236069 h 6479439"/>
                <a:gd name="connsiteX551" fmla="*/ 3107029 w 9586368"/>
                <a:gd name="connsiteY551" fmla="*/ 6226198 h 6479439"/>
                <a:gd name="connsiteX552" fmla="*/ 2871737 w 9586368"/>
                <a:gd name="connsiteY552" fmla="*/ 6222160 h 6479439"/>
                <a:gd name="connsiteX553" fmla="*/ 2881646 w 9586368"/>
                <a:gd name="connsiteY553" fmla="*/ 6222160 h 6479439"/>
                <a:gd name="connsiteX554" fmla="*/ 2885666 w 9586368"/>
                <a:gd name="connsiteY554" fmla="*/ 6226198 h 6479439"/>
                <a:gd name="connsiteX555" fmla="*/ 2885666 w 9586368"/>
                <a:gd name="connsiteY555" fmla="*/ 6236069 h 6479439"/>
                <a:gd name="connsiteX556" fmla="*/ 2881646 w 9586368"/>
                <a:gd name="connsiteY556" fmla="*/ 6240109 h 6479439"/>
                <a:gd name="connsiteX557" fmla="*/ 2871737 w 9586368"/>
                <a:gd name="connsiteY557" fmla="*/ 6240109 h 6479439"/>
                <a:gd name="connsiteX558" fmla="*/ 2867717 w 9586368"/>
                <a:gd name="connsiteY558" fmla="*/ 6236069 h 6479439"/>
                <a:gd name="connsiteX559" fmla="*/ 2867717 w 9586368"/>
                <a:gd name="connsiteY559" fmla="*/ 6226198 h 6479439"/>
                <a:gd name="connsiteX560" fmla="*/ 2632423 w 9586368"/>
                <a:gd name="connsiteY560" fmla="*/ 6222160 h 6479439"/>
                <a:gd name="connsiteX561" fmla="*/ 2642334 w 9586368"/>
                <a:gd name="connsiteY561" fmla="*/ 6222160 h 6479439"/>
                <a:gd name="connsiteX562" fmla="*/ 2646352 w 9586368"/>
                <a:gd name="connsiteY562" fmla="*/ 6226198 h 6479439"/>
                <a:gd name="connsiteX563" fmla="*/ 2646352 w 9586368"/>
                <a:gd name="connsiteY563" fmla="*/ 6236069 h 6479439"/>
                <a:gd name="connsiteX564" fmla="*/ 2642334 w 9586368"/>
                <a:gd name="connsiteY564" fmla="*/ 6240109 h 6479439"/>
                <a:gd name="connsiteX565" fmla="*/ 2632423 w 9586368"/>
                <a:gd name="connsiteY565" fmla="*/ 6240109 h 6479439"/>
                <a:gd name="connsiteX566" fmla="*/ 2628404 w 9586368"/>
                <a:gd name="connsiteY566" fmla="*/ 6236069 h 6479439"/>
                <a:gd name="connsiteX567" fmla="*/ 2628404 w 9586368"/>
                <a:gd name="connsiteY567" fmla="*/ 6226198 h 6479439"/>
                <a:gd name="connsiteX568" fmla="*/ 2393104 w 9586368"/>
                <a:gd name="connsiteY568" fmla="*/ 6222160 h 6479439"/>
                <a:gd name="connsiteX569" fmla="*/ 2403015 w 9586368"/>
                <a:gd name="connsiteY569" fmla="*/ 6222160 h 6479439"/>
                <a:gd name="connsiteX570" fmla="*/ 2407034 w 9586368"/>
                <a:gd name="connsiteY570" fmla="*/ 6226198 h 6479439"/>
                <a:gd name="connsiteX571" fmla="*/ 2407034 w 9586368"/>
                <a:gd name="connsiteY571" fmla="*/ 6236069 h 6479439"/>
                <a:gd name="connsiteX572" fmla="*/ 2403015 w 9586368"/>
                <a:gd name="connsiteY572" fmla="*/ 6240109 h 6479439"/>
                <a:gd name="connsiteX573" fmla="*/ 2393104 w 9586368"/>
                <a:gd name="connsiteY573" fmla="*/ 6240109 h 6479439"/>
                <a:gd name="connsiteX574" fmla="*/ 2389087 w 9586368"/>
                <a:gd name="connsiteY574" fmla="*/ 6236069 h 6479439"/>
                <a:gd name="connsiteX575" fmla="*/ 2389087 w 9586368"/>
                <a:gd name="connsiteY575" fmla="*/ 6226198 h 6479439"/>
                <a:gd name="connsiteX576" fmla="*/ 2157818 w 9586368"/>
                <a:gd name="connsiteY576" fmla="*/ 6222160 h 6479439"/>
                <a:gd name="connsiteX577" fmla="*/ 2167728 w 9586368"/>
                <a:gd name="connsiteY577" fmla="*/ 6222160 h 6479439"/>
                <a:gd name="connsiteX578" fmla="*/ 2171746 w 9586368"/>
                <a:gd name="connsiteY578" fmla="*/ 6226198 h 6479439"/>
                <a:gd name="connsiteX579" fmla="*/ 2171746 w 9586368"/>
                <a:gd name="connsiteY579" fmla="*/ 6236069 h 6479439"/>
                <a:gd name="connsiteX580" fmla="*/ 2167728 w 9586368"/>
                <a:gd name="connsiteY580" fmla="*/ 6240109 h 6479439"/>
                <a:gd name="connsiteX581" fmla="*/ 2157818 w 9586368"/>
                <a:gd name="connsiteY581" fmla="*/ 6240109 h 6479439"/>
                <a:gd name="connsiteX582" fmla="*/ 2153799 w 9586368"/>
                <a:gd name="connsiteY582" fmla="*/ 6236069 h 6479439"/>
                <a:gd name="connsiteX583" fmla="*/ 2153799 w 9586368"/>
                <a:gd name="connsiteY583" fmla="*/ 6226198 h 6479439"/>
                <a:gd name="connsiteX584" fmla="*/ 1918509 w 9586368"/>
                <a:gd name="connsiteY584" fmla="*/ 6222160 h 6479439"/>
                <a:gd name="connsiteX585" fmla="*/ 1928419 w 9586368"/>
                <a:gd name="connsiteY585" fmla="*/ 6222160 h 6479439"/>
                <a:gd name="connsiteX586" fmla="*/ 1932438 w 9586368"/>
                <a:gd name="connsiteY586" fmla="*/ 6226198 h 6479439"/>
                <a:gd name="connsiteX587" fmla="*/ 1932438 w 9586368"/>
                <a:gd name="connsiteY587" fmla="*/ 6236069 h 6479439"/>
                <a:gd name="connsiteX588" fmla="*/ 1928419 w 9586368"/>
                <a:gd name="connsiteY588" fmla="*/ 6240109 h 6479439"/>
                <a:gd name="connsiteX589" fmla="*/ 1918509 w 9586368"/>
                <a:gd name="connsiteY589" fmla="*/ 6240109 h 6479439"/>
                <a:gd name="connsiteX590" fmla="*/ 1914490 w 9586368"/>
                <a:gd name="connsiteY590" fmla="*/ 6236069 h 6479439"/>
                <a:gd name="connsiteX591" fmla="*/ 1914490 w 9586368"/>
                <a:gd name="connsiteY591" fmla="*/ 6226198 h 6479439"/>
                <a:gd name="connsiteX592" fmla="*/ 1679200 w 9586368"/>
                <a:gd name="connsiteY592" fmla="*/ 6222160 h 6479439"/>
                <a:gd name="connsiteX593" fmla="*/ 1689110 w 9586368"/>
                <a:gd name="connsiteY593" fmla="*/ 6222160 h 6479439"/>
                <a:gd name="connsiteX594" fmla="*/ 1693129 w 9586368"/>
                <a:gd name="connsiteY594" fmla="*/ 6226198 h 6479439"/>
                <a:gd name="connsiteX595" fmla="*/ 1693129 w 9586368"/>
                <a:gd name="connsiteY595" fmla="*/ 6236069 h 6479439"/>
                <a:gd name="connsiteX596" fmla="*/ 1689110 w 9586368"/>
                <a:gd name="connsiteY596" fmla="*/ 6240109 h 6479439"/>
                <a:gd name="connsiteX597" fmla="*/ 1679200 w 9586368"/>
                <a:gd name="connsiteY597" fmla="*/ 6240109 h 6479439"/>
                <a:gd name="connsiteX598" fmla="*/ 1675182 w 9586368"/>
                <a:gd name="connsiteY598" fmla="*/ 6236069 h 6479439"/>
                <a:gd name="connsiteX599" fmla="*/ 1675182 w 9586368"/>
                <a:gd name="connsiteY599" fmla="*/ 6226198 h 6479439"/>
                <a:gd name="connsiteX600" fmla="*/ 1439885 w 9586368"/>
                <a:gd name="connsiteY600" fmla="*/ 6222160 h 6479439"/>
                <a:gd name="connsiteX601" fmla="*/ 1449795 w 9586368"/>
                <a:gd name="connsiteY601" fmla="*/ 6222160 h 6479439"/>
                <a:gd name="connsiteX602" fmla="*/ 1453814 w 9586368"/>
                <a:gd name="connsiteY602" fmla="*/ 6226198 h 6479439"/>
                <a:gd name="connsiteX603" fmla="*/ 1453814 w 9586368"/>
                <a:gd name="connsiteY603" fmla="*/ 6236069 h 6479439"/>
                <a:gd name="connsiteX604" fmla="*/ 1449795 w 9586368"/>
                <a:gd name="connsiteY604" fmla="*/ 6240109 h 6479439"/>
                <a:gd name="connsiteX605" fmla="*/ 1439885 w 9586368"/>
                <a:gd name="connsiteY605" fmla="*/ 6240109 h 6479439"/>
                <a:gd name="connsiteX606" fmla="*/ 1435866 w 9586368"/>
                <a:gd name="connsiteY606" fmla="*/ 6236069 h 6479439"/>
                <a:gd name="connsiteX607" fmla="*/ 1435866 w 9586368"/>
                <a:gd name="connsiteY607" fmla="*/ 6226198 h 6479439"/>
                <a:gd name="connsiteX608" fmla="*/ 1200570 w 9586368"/>
                <a:gd name="connsiteY608" fmla="*/ 6222160 h 6479439"/>
                <a:gd name="connsiteX609" fmla="*/ 1210481 w 9586368"/>
                <a:gd name="connsiteY609" fmla="*/ 6222160 h 6479439"/>
                <a:gd name="connsiteX610" fmla="*/ 1214499 w 9586368"/>
                <a:gd name="connsiteY610" fmla="*/ 6226198 h 6479439"/>
                <a:gd name="connsiteX611" fmla="*/ 1214499 w 9586368"/>
                <a:gd name="connsiteY611" fmla="*/ 6236069 h 6479439"/>
                <a:gd name="connsiteX612" fmla="*/ 1210481 w 9586368"/>
                <a:gd name="connsiteY612" fmla="*/ 6240109 h 6479439"/>
                <a:gd name="connsiteX613" fmla="*/ 1200570 w 9586368"/>
                <a:gd name="connsiteY613" fmla="*/ 6240109 h 6479439"/>
                <a:gd name="connsiteX614" fmla="*/ 1196551 w 9586368"/>
                <a:gd name="connsiteY614" fmla="*/ 6236069 h 6479439"/>
                <a:gd name="connsiteX615" fmla="*/ 1196551 w 9586368"/>
                <a:gd name="connsiteY615" fmla="*/ 6226198 h 6479439"/>
                <a:gd name="connsiteX616" fmla="*/ 961258 w 9586368"/>
                <a:gd name="connsiteY616" fmla="*/ 6222160 h 6479439"/>
                <a:gd name="connsiteX617" fmla="*/ 971167 w 9586368"/>
                <a:gd name="connsiteY617" fmla="*/ 6222160 h 6479439"/>
                <a:gd name="connsiteX618" fmla="*/ 975186 w 9586368"/>
                <a:gd name="connsiteY618" fmla="*/ 6226198 h 6479439"/>
                <a:gd name="connsiteX619" fmla="*/ 975186 w 9586368"/>
                <a:gd name="connsiteY619" fmla="*/ 6236069 h 6479439"/>
                <a:gd name="connsiteX620" fmla="*/ 971167 w 9586368"/>
                <a:gd name="connsiteY620" fmla="*/ 6240109 h 6479439"/>
                <a:gd name="connsiteX621" fmla="*/ 961258 w 9586368"/>
                <a:gd name="connsiteY621" fmla="*/ 6240109 h 6479439"/>
                <a:gd name="connsiteX622" fmla="*/ 957239 w 9586368"/>
                <a:gd name="connsiteY622" fmla="*/ 6236069 h 6479439"/>
                <a:gd name="connsiteX623" fmla="*/ 957239 w 9586368"/>
                <a:gd name="connsiteY623" fmla="*/ 6226198 h 6479439"/>
                <a:gd name="connsiteX624" fmla="*/ 721959 w 9586368"/>
                <a:gd name="connsiteY624" fmla="*/ 6222160 h 6479439"/>
                <a:gd name="connsiteX625" fmla="*/ 731869 w 9586368"/>
                <a:gd name="connsiteY625" fmla="*/ 6222160 h 6479439"/>
                <a:gd name="connsiteX626" fmla="*/ 735888 w 9586368"/>
                <a:gd name="connsiteY626" fmla="*/ 6226198 h 6479439"/>
                <a:gd name="connsiteX627" fmla="*/ 735888 w 9586368"/>
                <a:gd name="connsiteY627" fmla="*/ 6236069 h 6479439"/>
                <a:gd name="connsiteX628" fmla="*/ 731869 w 9586368"/>
                <a:gd name="connsiteY628" fmla="*/ 6240109 h 6479439"/>
                <a:gd name="connsiteX629" fmla="*/ 721959 w 9586368"/>
                <a:gd name="connsiteY629" fmla="*/ 6240109 h 6479439"/>
                <a:gd name="connsiteX630" fmla="*/ 717940 w 9586368"/>
                <a:gd name="connsiteY630" fmla="*/ 6236069 h 6479439"/>
                <a:gd name="connsiteX631" fmla="*/ 717940 w 9586368"/>
                <a:gd name="connsiteY631" fmla="*/ 6226198 h 6479439"/>
                <a:gd name="connsiteX632" fmla="*/ 482646 w 9586368"/>
                <a:gd name="connsiteY632" fmla="*/ 6222160 h 6479439"/>
                <a:gd name="connsiteX633" fmla="*/ 492557 w 9586368"/>
                <a:gd name="connsiteY633" fmla="*/ 6222160 h 6479439"/>
                <a:gd name="connsiteX634" fmla="*/ 496576 w 9586368"/>
                <a:gd name="connsiteY634" fmla="*/ 6226198 h 6479439"/>
                <a:gd name="connsiteX635" fmla="*/ 496576 w 9586368"/>
                <a:gd name="connsiteY635" fmla="*/ 6236069 h 6479439"/>
                <a:gd name="connsiteX636" fmla="*/ 492557 w 9586368"/>
                <a:gd name="connsiteY636" fmla="*/ 6240109 h 6479439"/>
                <a:gd name="connsiteX637" fmla="*/ 482646 w 9586368"/>
                <a:gd name="connsiteY637" fmla="*/ 6240109 h 6479439"/>
                <a:gd name="connsiteX638" fmla="*/ 478627 w 9586368"/>
                <a:gd name="connsiteY638" fmla="*/ 6236069 h 6479439"/>
                <a:gd name="connsiteX639" fmla="*/ 478627 w 9586368"/>
                <a:gd name="connsiteY639" fmla="*/ 6226198 h 6479439"/>
                <a:gd name="connsiteX640" fmla="*/ 243333 w 9586368"/>
                <a:gd name="connsiteY640" fmla="*/ 6222160 h 6479439"/>
                <a:gd name="connsiteX641" fmla="*/ 253243 w 9586368"/>
                <a:gd name="connsiteY641" fmla="*/ 6222160 h 6479439"/>
                <a:gd name="connsiteX642" fmla="*/ 257263 w 9586368"/>
                <a:gd name="connsiteY642" fmla="*/ 6226198 h 6479439"/>
                <a:gd name="connsiteX643" fmla="*/ 257263 w 9586368"/>
                <a:gd name="connsiteY643" fmla="*/ 6236069 h 6479439"/>
                <a:gd name="connsiteX644" fmla="*/ 253243 w 9586368"/>
                <a:gd name="connsiteY644" fmla="*/ 6240109 h 6479439"/>
                <a:gd name="connsiteX645" fmla="*/ 243333 w 9586368"/>
                <a:gd name="connsiteY645" fmla="*/ 6240109 h 6479439"/>
                <a:gd name="connsiteX646" fmla="*/ 239314 w 9586368"/>
                <a:gd name="connsiteY646" fmla="*/ 6236069 h 6479439"/>
                <a:gd name="connsiteX647" fmla="*/ 239314 w 9586368"/>
                <a:gd name="connsiteY647" fmla="*/ 6226198 h 6479439"/>
                <a:gd name="connsiteX648" fmla="*/ 4020 w 9586368"/>
                <a:gd name="connsiteY648" fmla="*/ 6222160 h 6479439"/>
                <a:gd name="connsiteX649" fmla="*/ 13930 w 9586368"/>
                <a:gd name="connsiteY649" fmla="*/ 6222160 h 6479439"/>
                <a:gd name="connsiteX650" fmla="*/ 17949 w 9586368"/>
                <a:gd name="connsiteY650" fmla="*/ 6226198 h 6479439"/>
                <a:gd name="connsiteX651" fmla="*/ 17949 w 9586368"/>
                <a:gd name="connsiteY651" fmla="*/ 6236069 h 6479439"/>
                <a:gd name="connsiteX652" fmla="*/ 13930 w 9586368"/>
                <a:gd name="connsiteY652" fmla="*/ 6240109 h 6479439"/>
                <a:gd name="connsiteX653" fmla="*/ 4020 w 9586368"/>
                <a:gd name="connsiteY653" fmla="*/ 6240109 h 6479439"/>
                <a:gd name="connsiteX654" fmla="*/ 1 w 9586368"/>
                <a:gd name="connsiteY654" fmla="*/ 6236069 h 6479439"/>
                <a:gd name="connsiteX655" fmla="*/ 1 w 9586368"/>
                <a:gd name="connsiteY655" fmla="*/ 6226198 h 6479439"/>
                <a:gd name="connsiteX656" fmla="*/ 2157818 w 9586368"/>
                <a:gd name="connsiteY656" fmla="*/ 5982881 h 6479439"/>
                <a:gd name="connsiteX657" fmla="*/ 2167728 w 9586368"/>
                <a:gd name="connsiteY657" fmla="*/ 5982881 h 6479439"/>
                <a:gd name="connsiteX658" fmla="*/ 2171747 w 9586368"/>
                <a:gd name="connsiteY658" fmla="*/ 5986919 h 6479439"/>
                <a:gd name="connsiteX659" fmla="*/ 2171747 w 9586368"/>
                <a:gd name="connsiteY659" fmla="*/ 5996790 h 6479439"/>
                <a:gd name="connsiteX660" fmla="*/ 2167728 w 9586368"/>
                <a:gd name="connsiteY660" fmla="*/ 6000829 h 6479439"/>
                <a:gd name="connsiteX661" fmla="*/ 2157818 w 9586368"/>
                <a:gd name="connsiteY661" fmla="*/ 6000829 h 6479439"/>
                <a:gd name="connsiteX662" fmla="*/ 2153799 w 9586368"/>
                <a:gd name="connsiteY662" fmla="*/ 5996790 h 6479439"/>
                <a:gd name="connsiteX663" fmla="*/ 2153799 w 9586368"/>
                <a:gd name="connsiteY663" fmla="*/ 5986919 h 6479439"/>
                <a:gd name="connsiteX664" fmla="*/ 1918509 w 9586368"/>
                <a:gd name="connsiteY664" fmla="*/ 5982881 h 6479439"/>
                <a:gd name="connsiteX665" fmla="*/ 1928420 w 9586368"/>
                <a:gd name="connsiteY665" fmla="*/ 5982881 h 6479439"/>
                <a:gd name="connsiteX666" fmla="*/ 1932438 w 9586368"/>
                <a:gd name="connsiteY666" fmla="*/ 5986919 h 6479439"/>
                <a:gd name="connsiteX667" fmla="*/ 1932438 w 9586368"/>
                <a:gd name="connsiteY667" fmla="*/ 5996790 h 6479439"/>
                <a:gd name="connsiteX668" fmla="*/ 1928420 w 9586368"/>
                <a:gd name="connsiteY668" fmla="*/ 6000829 h 6479439"/>
                <a:gd name="connsiteX669" fmla="*/ 1918509 w 9586368"/>
                <a:gd name="connsiteY669" fmla="*/ 6000829 h 6479439"/>
                <a:gd name="connsiteX670" fmla="*/ 1914490 w 9586368"/>
                <a:gd name="connsiteY670" fmla="*/ 5996790 h 6479439"/>
                <a:gd name="connsiteX671" fmla="*/ 1914490 w 9586368"/>
                <a:gd name="connsiteY671" fmla="*/ 5986919 h 6479439"/>
                <a:gd name="connsiteX672" fmla="*/ 1679201 w 9586368"/>
                <a:gd name="connsiteY672" fmla="*/ 5982881 h 6479439"/>
                <a:gd name="connsiteX673" fmla="*/ 1689111 w 9586368"/>
                <a:gd name="connsiteY673" fmla="*/ 5982881 h 6479439"/>
                <a:gd name="connsiteX674" fmla="*/ 1693129 w 9586368"/>
                <a:gd name="connsiteY674" fmla="*/ 5986919 h 6479439"/>
                <a:gd name="connsiteX675" fmla="*/ 1693129 w 9586368"/>
                <a:gd name="connsiteY675" fmla="*/ 5996790 h 6479439"/>
                <a:gd name="connsiteX676" fmla="*/ 1689111 w 9586368"/>
                <a:gd name="connsiteY676" fmla="*/ 6000829 h 6479439"/>
                <a:gd name="connsiteX677" fmla="*/ 1679201 w 9586368"/>
                <a:gd name="connsiteY677" fmla="*/ 6000829 h 6479439"/>
                <a:gd name="connsiteX678" fmla="*/ 1675182 w 9586368"/>
                <a:gd name="connsiteY678" fmla="*/ 5996790 h 6479439"/>
                <a:gd name="connsiteX679" fmla="*/ 1675182 w 9586368"/>
                <a:gd name="connsiteY679" fmla="*/ 5986919 h 6479439"/>
                <a:gd name="connsiteX680" fmla="*/ 1439886 w 9586368"/>
                <a:gd name="connsiteY680" fmla="*/ 5982881 h 6479439"/>
                <a:gd name="connsiteX681" fmla="*/ 1449796 w 9586368"/>
                <a:gd name="connsiteY681" fmla="*/ 5982881 h 6479439"/>
                <a:gd name="connsiteX682" fmla="*/ 1453814 w 9586368"/>
                <a:gd name="connsiteY682" fmla="*/ 5986919 h 6479439"/>
                <a:gd name="connsiteX683" fmla="*/ 1453814 w 9586368"/>
                <a:gd name="connsiteY683" fmla="*/ 5996790 h 6479439"/>
                <a:gd name="connsiteX684" fmla="*/ 1449796 w 9586368"/>
                <a:gd name="connsiteY684" fmla="*/ 6000829 h 6479439"/>
                <a:gd name="connsiteX685" fmla="*/ 1439886 w 9586368"/>
                <a:gd name="connsiteY685" fmla="*/ 6000829 h 6479439"/>
                <a:gd name="connsiteX686" fmla="*/ 1435866 w 9586368"/>
                <a:gd name="connsiteY686" fmla="*/ 5996790 h 6479439"/>
                <a:gd name="connsiteX687" fmla="*/ 1435866 w 9586368"/>
                <a:gd name="connsiteY687" fmla="*/ 5986919 h 6479439"/>
                <a:gd name="connsiteX688" fmla="*/ 1200571 w 9586368"/>
                <a:gd name="connsiteY688" fmla="*/ 5982881 h 6479439"/>
                <a:gd name="connsiteX689" fmla="*/ 1210481 w 9586368"/>
                <a:gd name="connsiteY689" fmla="*/ 5982881 h 6479439"/>
                <a:gd name="connsiteX690" fmla="*/ 1214500 w 9586368"/>
                <a:gd name="connsiteY690" fmla="*/ 5986919 h 6479439"/>
                <a:gd name="connsiteX691" fmla="*/ 1214500 w 9586368"/>
                <a:gd name="connsiteY691" fmla="*/ 5996790 h 6479439"/>
                <a:gd name="connsiteX692" fmla="*/ 1210481 w 9586368"/>
                <a:gd name="connsiteY692" fmla="*/ 6000829 h 6479439"/>
                <a:gd name="connsiteX693" fmla="*/ 1200571 w 9586368"/>
                <a:gd name="connsiteY693" fmla="*/ 6000829 h 6479439"/>
                <a:gd name="connsiteX694" fmla="*/ 1196553 w 9586368"/>
                <a:gd name="connsiteY694" fmla="*/ 5996790 h 6479439"/>
                <a:gd name="connsiteX695" fmla="*/ 1196553 w 9586368"/>
                <a:gd name="connsiteY695" fmla="*/ 5986919 h 6479439"/>
                <a:gd name="connsiteX696" fmla="*/ 961258 w 9586368"/>
                <a:gd name="connsiteY696" fmla="*/ 5982881 h 6479439"/>
                <a:gd name="connsiteX697" fmla="*/ 971168 w 9586368"/>
                <a:gd name="connsiteY697" fmla="*/ 5982881 h 6479439"/>
                <a:gd name="connsiteX698" fmla="*/ 975187 w 9586368"/>
                <a:gd name="connsiteY698" fmla="*/ 5986919 h 6479439"/>
                <a:gd name="connsiteX699" fmla="*/ 975187 w 9586368"/>
                <a:gd name="connsiteY699" fmla="*/ 5996790 h 6479439"/>
                <a:gd name="connsiteX700" fmla="*/ 971168 w 9586368"/>
                <a:gd name="connsiteY700" fmla="*/ 6000829 h 6479439"/>
                <a:gd name="connsiteX701" fmla="*/ 961258 w 9586368"/>
                <a:gd name="connsiteY701" fmla="*/ 6000829 h 6479439"/>
                <a:gd name="connsiteX702" fmla="*/ 957239 w 9586368"/>
                <a:gd name="connsiteY702" fmla="*/ 5996790 h 6479439"/>
                <a:gd name="connsiteX703" fmla="*/ 957239 w 9586368"/>
                <a:gd name="connsiteY703" fmla="*/ 5986919 h 6479439"/>
                <a:gd name="connsiteX704" fmla="*/ 9572438 w 9586368"/>
                <a:gd name="connsiteY704" fmla="*/ 5982829 h 6479439"/>
                <a:gd name="connsiteX705" fmla="*/ 9582349 w 9586368"/>
                <a:gd name="connsiteY705" fmla="*/ 5982829 h 6479439"/>
                <a:gd name="connsiteX706" fmla="*/ 9586368 w 9586368"/>
                <a:gd name="connsiteY706" fmla="*/ 5986868 h 6479439"/>
                <a:gd name="connsiteX707" fmla="*/ 9586368 w 9586368"/>
                <a:gd name="connsiteY707" fmla="*/ 5996739 h 6479439"/>
                <a:gd name="connsiteX708" fmla="*/ 9582349 w 9586368"/>
                <a:gd name="connsiteY708" fmla="*/ 6000778 h 6479439"/>
                <a:gd name="connsiteX709" fmla="*/ 9572438 w 9586368"/>
                <a:gd name="connsiteY709" fmla="*/ 6000778 h 6479439"/>
                <a:gd name="connsiteX710" fmla="*/ 9568419 w 9586368"/>
                <a:gd name="connsiteY710" fmla="*/ 5996739 h 6479439"/>
                <a:gd name="connsiteX711" fmla="*/ 9568419 w 9586368"/>
                <a:gd name="connsiteY711" fmla="*/ 5986868 h 6479439"/>
                <a:gd name="connsiteX712" fmla="*/ 9333125 w 9586368"/>
                <a:gd name="connsiteY712" fmla="*/ 5982829 h 6479439"/>
                <a:gd name="connsiteX713" fmla="*/ 9343036 w 9586368"/>
                <a:gd name="connsiteY713" fmla="*/ 5982829 h 6479439"/>
                <a:gd name="connsiteX714" fmla="*/ 9347055 w 9586368"/>
                <a:gd name="connsiteY714" fmla="*/ 5986868 h 6479439"/>
                <a:gd name="connsiteX715" fmla="*/ 9347055 w 9586368"/>
                <a:gd name="connsiteY715" fmla="*/ 5996739 h 6479439"/>
                <a:gd name="connsiteX716" fmla="*/ 9343036 w 9586368"/>
                <a:gd name="connsiteY716" fmla="*/ 6000778 h 6479439"/>
                <a:gd name="connsiteX717" fmla="*/ 9333125 w 9586368"/>
                <a:gd name="connsiteY717" fmla="*/ 6000778 h 6479439"/>
                <a:gd name="connsiteX718" fmla="*/ 9329106 w 9586368"/>
                <a:gd name="connsiteY718" fmla="*/ 5996739 h 6479439"/>
                <a:gd name="connsiteX719" fmla="*/ 9329106 w 9586368"/>
                <a:gd name="connsiteY719" fmla="*/ 5986868 h 6479439"/>
                <a:gd name="connsiteX720" fmla="*/ 9093811 w 9586368"/>
                <a:gd name="connsiteY720" fmla="*/ 5982829 h 6479439"/>
                <a:gd name="connsiteX721" fmla="*/ 9103722 w 9586368"/>
                <a:gd name="connsiteY721" fmla="*/ 5982829 h 6479439"/>
                <a:gd name="connsiteX722" fmla="*/ 9107741 w 9586368"/>
                <a:gd name="connsiteY722" fmla="*/ 5986868 h 6479439"/>
                <a:gd name="connsiteX723" fmla="*/ 9107741 w 9586368"/>
                <a:gd name="connsiteY723" fmla="*/ 5996739 h 6479439"/>
                <a:gd name="connsiteX724" fmla="*/ 9103722 w 9586368"/>
                <a:gd name="connsiteY724" fmla="*/ 6000778 h 6479439"/>
                <a:gd name="connsiteX725" fmla="*/ 9093811 w 9586368"/>
                <a:gd name="connsiteY725" fmla="*/ 6000778 h 6479439"/>
                <a:gd name="connsiteX726" fmla="*/ 9089792 w 9586368"/>
                <a:gd name="connsiteY726" fmla="*/ 5996739 h 6479439"/>
                <a:gd name="connsiteX727" fmla="*/ 9089792 w 9586368"/>
                <a:gd name="connsiteY727" fmla="*/ 5986868 h 6479439"/>
                <a:gd name="connsiteX728" fmla="*/ 8854496 w 9586368"/>
                <a:gd name="connsiteY728" fmla="*/ 5982829 h 6479439"/>
                <a:gd name="connsiteX729" fmla="*/ 8864407 w 9586368"/>
                <a:gd name="connsiteY729" fmla="*/ 5982829 h 6479439"/>
                <a:gd name="connsiteX730" fmla="*/ 8868426 w 9586368"/>
                <a:gd name="connsiteY730" fmla="*/ 5986868 h 6479439"/>
                <a:gd name="connsiteX731" fmla="*/ 8868426 w 9586368"/>
                <a:gd name="connsiteY731" fmla="*/ 5996739 h 6479439"/>
                <a:gd name="connsiteX732" fmla="*/ 8864407 w 9586368"/>
                <a:gd name="connsiteY732" fmla="*/ 6000778 h 6479439"/>
                <a:gd name="connsiteX733" fmla="*/ 8854496 w 9586368"/>
                <a:gd name="connsiteY733" fmla="*/ 6000778 h 6479439"/>
                <a:gd name="connsiteX734" fmla="*/ 8850477 w 9586368"/>
                <a:gd name="connsiteY734" fmla="*/ 5996739 h 6479439"/>
                <a:gd name="connsiteX735" fmla="*/ 8850477 w 9586368"/>
                <a:gd name="connsiteY735" fmla="*/ 5986868 h 6479439"/>
                <a:gd name="connsiteX736" fmla="*/ 8615184 w 9586368"/>
                <a:gd name="connsiteY736" fmla="*/ 5982829 h 6479439"/>
                <a:gd name="connsiteX737" fmla="*/ 8625095 w 9586368"/>
                <a:gd name="connsiteY737" fmla="*/ 5982829 h 6479439"/>
                <a:gd name="connsiteX738" fmla="*/ 8629114 w 9586368"/>
                <a:gd name="connsiteY738" fmla="*/ 5986868 h 6479439"/>
                <a:gd name="connsiteX739" fmla="*/ 8629114 w 9586368"/>
                <a:gd name="connsiteY739" fmla="*/ 5996739 h 6479439"/>
                <a:gd name="connsiteX740" fmla="*/ 8625095 w 9586368"/>
                <a:gd name="connsiteY740" fmla="*/ 6000778 h 6479439"/>
                <a:gd name="connsiteX741" fmla="*/ 8615184 w 9586368"/>
                <a:gd name="connsiteY741" fmla="*/ 6000778 h 6479439"/>
                <a:gd name="connsiteX742" fmla="*/ 8611165 w 9586368"/>
                <a:gd name="connsiteY742" fmla="*/ 5996739 h 6479439"/>
                <a:gd name="connsiteX743" fmla="*/ 8611165 w 9586368"/>
                <a:gd name="connsiteY743" fmla="*/ 5986868 h 6479439"/>
                <a:gd name="connsiteX744" fmla="*/ 8375869 w 9586368"/>
                <a:gd name="connsiteY744" fmla="*/ 5982829 h 6479439"/>
                <a:gd name="connsiteX745" fmla="*/ 8385779 w 9586368"/>
                <a:gd name="connsiteY745" fmla="*/ 5982829 h 6479439"/>
                <a:gd name="connsiteX746" fmla="*/ 8389799 w 9586368"/>
                <a:gd name="connsiteY746" fmla="*/ 5986868 h 6479439"/>
                <a:gd name="connsiteX747" fmla="*/ 8389799 w 9586368"/>
                <a:gd name="connsiteY747" fmla="*/ 5996739 h 6479439"/>
                <a:gd name="connsiteX748" fmla="*/ 8385779 w 9586368"/>
                <a:gd name="connsiteY748" fmla="*/ 6000778 h 6479439"/>
                <a:gd name="connsiteX749" fmla="*/ 8375869 w 9586368"/>
                <a:gd name="connsiteY749" fmla="*/ 6000778 h 6479439"/>
                <a:gd name="connsiteX750" fmla="*/ 8371850 w 9586368"/>
                <a:gd name="connsiteY750" fmla="*/ 5996739 h 6479439"/>
                <a:gd name="connsiteX751" fmla="*/ 8371850 w 9586368"/>
                <a:gd name="connsiteY751" fmla="*/ 5986868 h 6479439"/>
                <a:gd name="connsiteX752" fmla="*/ 8136553 w 9586368"/>
                <a:gd name="connsiteY752" fmla="*/ 5982829 h 6479439"/>
                <a:gd name="connsiteX753" fmla="*/ 8146464 w 9586368"/>
                <a:gd name="connsiteY753" fmla="*/ 5982829 h 6479439"/>
                <a:gd name="connsiteX754" fmla="*/ 8150483 w 9586368"/>
                <a:gd name="connsiteY754" fmla="*/ 5986868 h 6479439"/>
                <a:gd name="connsiteX755" fmla="*/ 8150483 w 9586368"/>
                <a:gd name="connsiteY755" fmla="*/ 5996739 h 6479439"/>
                <a:gd name="connsiteX756" fmla="*/ 8146464 w 9586368"/>
                <a:gd name="connsiteY756" fmla="*/ 6000778 h 6479439"/>
                <a:gd name="connsiteX757" fmla="*/ 8136553 w 9586368"/>
                <a:gd name="connsiteY757" fmla="*/ 6000778 h 6479439"/>
                <a:gd name="connsiteX758" fmla="*/ 8132534 w 9586368"/>
                <a:gd name="connsiteY758" fmla="*/ 5996739 h 6479439"/>
                <a:gd name="connsiteX759" fmla="*/ 8132534 w 9586368"/>
                <a:gd name="connsiteY759" fmla="*/ 5986868 h 6479439"/>
                <a:gd name="connsiteX760" fmla="*/ 7897241 w 9586368"/>
                <a:gd name="connsiteY760" fmla="*/ 5982829 h 6479439"/>
                <a:gd name="connsiteX761" fmla="*/ 7907151 w 9586368"/>
                <a:gd name="connsiteY761" fmla="*/ 5982829 h 6479439"/>
                <a:gd name="connsiteX762" fmla="*/ 7911170 w 9586368"/>
                <a:gd name="connsiteY762" fmla="*/ 5986868 h 6479439"/>
                <a:gd name="connsiteX763" fmla="*/ 7911170 w 9586368"/>
                <a:gd name="connsiteY763" fmla="*/ 5996739 h 6479439"/>
                <a:gd name="connsiteX764" fmla="*/ 7907151 w 9586368"/>
                <a:gd name="connsiteY764" fmla="*/ 6000778 h 6479439"/>
                <a:gd name="connsiteX765" fmla="*/ 7897241 w 9586368"/>
                <a:gd name="connsiteY765" fmla="*/ 6000778 h 6479439"/>
                <a:gd name="connsiteX766" fmla="*/ 7893222 w 9586368"/>
                <a:gd name="connsiteY766" fmla="*/ 5996739 h 6479439"/>
                <a:gd name="connsiteX767" fmla="*/ 7893222 w 9586368"/>
                <a:gd name="connsiteY767" fmla="*/ 5986868 h 6479439"/>
                <a:gd name="connsiteX768" fmla="*/ 7657926 w 9586368"/>
                <a:gd name="connsiteY768" fmla="*/ 5982829 h 6479439"/>
                <a:gd name="connsiteX769" fmla="*/ 7667836 w 9586368"/>
                <a:gd name="connsiteY769" fmla="*/ 5982829 h 6479439"/>
                <a:gd name="connsiteX770" fmla="*/ 7671855 w 9586368"/>
                <a:gd name="connsiteY770" fmla="*/ 5986868 h 6479439"/>
                <a:gd name="connsiteX771" fmla="*/ 7671855 w 9586368"/>
                <a:gd name="connsiteY771" fmla="*/ 5996739 h 6479439"/>
                <a:gd name="connsiteX772" fmla="*/ 7667836 w 9586368"/>
                <a:gd name="connsiteY772" fmla="*/ 6000778 h 6479439"/>
                <a:gd name="connsiteX773" fmla="*/ 7657926 w 9586368"/>
                <a:gd name="connsiteY773" fmla="*/ 6000778 h 6479439"/>
                <a:gd name="connsiteX774" fmla="*/ 7653906 w 9586368"/>
                <a:gd name="connsiteY774" fmla="*/ 5996739 h 6479439"/>
                <a:gd name="connsiteX775" fmla="*/ 7653906 w 9586368"/>
                <a:gd name="connsiteY775" fmla="*/ 5986868 h 6479439"/>
                <a:gd name="connsiteX776" fmla="*/ 7418611 w 9586368"/>
                <a:gd name="connsiteY776" fmla="*/ 5982829 h 6479439"/>
                <a:gd name="connsiteX777" fmla="*/ 7428521 w 9586368"/>
                <a:gd name="connsiteY777" fmla="*/ 5982829 h 6479439"/>
                <a:gd name="connsiteX778" fmla="*/ 7432540 w 9586368"/>
                <a:gd name="connsiteY778" fmla="*/ 5986868 h 6479439"/>
                <a:gd name="connsiteX779" fmla="*/ 7432540 w 9586368"/>
                <a:gd name="connsiteY779" fmla="*/ 5996739 h 6479439"/>
                <a:gd name="connsiteX780" fmla="*/ 7428521 w 9586368"/>
                <a:gd name="connsiteY780" fmla="*/ 6000778 h 6479439"/>
                <a:gd name="connsiteX781" fmla="*/ 7418611 w 9586368"/>
                <a:gd name="connsiteY781" fmla="*/ 6000778 h 6479439"/>
                <a:gd name="connsiteX782" fmla="*/ 7414592 w 9586368"/>
                <a:gd name="connsiteY782" fmla="*/ 5996739 h 6479439"/>
                <a:gd name="connsiteX783" fmla="*/ 7414592 w 9586368"/>
                <a:gd name="connsiteY783" fmla="*/ 5986868 h 6479439"/>
                <a:gd name="connsiteX784" fmla="*/ 7179298 w 9586368"/>
                <a:gd name="connsiteY784" fmla="*/ 5982829 h 6479439"/>
                <a:gd name="connsiteX785" fmla="*/ 7189209 w 9586368"/>
                <a:gd name="connsiteY785" fmla="*/ 5982829 h 6479439"/>
                <a:gd name="connsiteX786" fmla="*/ 7193228 w 9586368"/>
                <a:gd name="connsiteY786" fmla="*/ 5986868 h 6479439"/>
                <a:gd name="connsiteX787" fmla="*/ 7193228 w 9586368"/>
                <a:gd name="connsiteY787" fmla="*/ 5996739 h 6479439"/>
                <a:gd name="connsiteX788" fmla="*/ 7189209 w 9586368"/>
                <a:gd name="connsiteY788" fmla="*/ 6000778 h 6479439"/>
                <a:gd name="connsiteX789" fmla="*/ 7179298 w 9586368"/>
                <a:gd name="connsiteY789" fmla="*/ 6000778 h 6479439"/>
                <a:gd name="connsiteX790" fmla="*/ 7175279 w 9586368"/>
                <a:gd name="connsiteY790" fmla="*/ 5996739 h 6479439"/>
                <a:gd name="connsiteX791" fmla="*/ 7175279 w 9586368"/>
                <a:gd name="connsiteY791" fmla="*/ 5986868 h 6479439"/>
                <a:gd name="connsiteX792" fmla="*/ 6939983 w 9586368"/>
                <a:gd name="connsiteY792" fmla="*/ 5982829 h 6479439"/>
                <a:gd name="connsiteX793" fmla="*/ 6949894 w 9586368"/>
                <a:gd name="connsiteY793" fmla="*/ 5982829 h 6479439"/>
                <a:gd name="connsiteX794" fmla="*/ 6953913 w 9586368"/>
                <a:gd name="connsiteY794" fmla="*/ 5986868 h 6479439"/>
                <a:gd name="connsiteX795" fmla="*/ 6953913 w 9586368"/>
                <a:gd name="connsiteY795" fmla="*/ 5996739 h 6479439"/>
                <a:gd name="connsiteX796" fmla="*/ 6949894 w 9586368"/>
                <a:gd name="connsiteY796" fmla="*/ 6000778 h 6479439"/>
                <a:gd name="connsiteX797" fmla="*/ 6939983 w 9586368"/>
                <a:gd name="connsiteY797" fmla="*/ 6000778 h 6479439"/>
                <a:gd name="connsiteX798" fmla="*/ 6935964 w 9586368"/>
                <a:gd name="connsiteY798" fmla="*/ 5996739 h 6479439"/>
                <a:gd name="connsiteX799" fmla="*/ 6935964 w 9586368"/>
                <a:gd name="connsiteY799" fmla="*/ 5986868 h 6479439"/>
                <a:gd name="connsiteX800" fmla="*/ 6700670 w 9586368"/>
                <a:gd name="connsiteY800" fmla="*/ 5982829 h 6479439"/>
                <a:gd name="connsiteX801" fmla="*/ 6710581 w 9586368"/>
                <a:gd name="connsiteY801" fmla="*/ 5982829 h 6479439"/>
                <a:gd name="connsiteX802" fmla="*/ 6714600 w 9586368"/>
                <a:gd name="connsiteY802" fmla="*/ 5986868 h 6479439"/>
                <a:gd name="connsiteX803" fmla="*/ 6714600 w 9586368"/>
                <a:gd name="connsiteY803" fmla="*/ 5996739 h 6479439"/>
                <a:gd name="connsiteX804" fmla="*/ 6710581 w 9586368"/>
                <a:gd name="connsiteY804" fmla="*/ 6000778 h 6479439"/>
                <a:gd name="connsiteX805" fmla="*/ 6700670 w 9586368"/>
                <a:gd name="connsiteY805" fmla="*/ 6000778 h 6479439"/>
                <a:gd name="connsiteX806" fmla="*/ 6696651 w 9586368"/>
                <a:gd name="connsiteY806" fmla="*/ 5996739 h 6479439"/>
                <a:gd name="connsiteX807" fmla="*/ 6696651 w 9586368"/>
                <a:gd name="connsiteY807" fmla="*/ 5986868 h 6479439"/>
                <a:gd name="connsiteX808" fmla="*/ 6461356 w 9586368"/>
                <a:gd name="connsiteY808" fmla="*/ 5982829 h 6479439"/>
                <a:gd name="connsiteX809" fmla="*/ 6471266 w 9586368"/>
                <a:gd name="connsiteY809" fmla="*/ 5982829 h 6479439"/>
                <a:gd name="connsiteX810" fmla="*/ 6475285 w 9586368"/>
                <a:gd name="connsiteY810" fmla="*/ 5986868 h 6479439"/>
                <a:gd name="connsiteX811" fmla="*/ 6475285 w 9586368"/>
                <a:gd name="connsiteY811" fmla="*/ 5996739 h 6479439"/>
                <a:gd name="connsiteX812" fmla="*/ 6471266 w 9586368"/>
                <a:gd name="connsiteY812" fmla="*/ 6000778 h 6479439"/>
                <a:gd name="connsiteX813" fmla="*/ 6461356 w 9586368"/>
                <a:gd name="connsiteY813" fmla="*/ 6000778 h 6479439"/>
                <a:gd name="connsiteX814" fmla="*/ 6457337 w 9586368"/>
                <a:gd name="connsiteY814" fmla="*/ 5996739 h 6479439"/>
                <a:gd name="connsiteX815" fmla="*/ 6457337 w 9586368"/>
                <a:gd name="connsiteY815" fmla="*/ 5986868 h 6479439"/>
                <a:gd name="connsiteX816" fmla="*/ 6222042 w 9586368"/>
                <a:gd name="connsiteY816" fmla="*/ 5982829 h 6479439"/>
                <a:gd name="connsiteX817" fmla="*/ 6231952 w 9586368"/>
                <a:gd name="connsiteY817" fmla="*/ 5982829 h 6479439"/>
                <a:gd name="connsiteX818" fmla="*/ 6235971 w 9586368"/>
                <a:gd name="connsiteY818" fmla="*/ 5986868 h 6479439"/>
                <a:gd name="connsiteX819" fmla="*/ 6235971 w 9586368"/>
                <a:gd name="connsiteY819" fmla="*/ 5996739 h 6479439"/>
                <a:gd name="connsiteX820" fmla="*/ 6231952 w 9586368"/>
                <a:gd name="connsiteY820" fmla="*/ 6000778 h 6479439"/>
                <a:gd name="connsiteX821" fmla="*/ 6222042 w 9586368"/>
                <a:gd name="connsiteY821" fmla="*/ 6000778 h 6479439"/>
                <a:gd name="connsiteX822" fmla="*/ 6218023 w 9586368"/>
                <a:gd name="connsiteY822" fmla="*/ 5996739 h 6479439"/>
                <a:gd name="connsiteX823" fmla="*/ 6218023 w 9586368"/>
                <a:gd name="connsiteY823" fmla="*/ 5986868 h 6479439"/>
                <a:gd name="connsiteX824" fmla="*/ 5982729 w 9586368"/>
                <a:gd name="connsiteY824" fmla="*/ 5982829 h 6479439"/>
                <a:gd name="connsiteX825" fmla="*/ 5992639 w 9586368"/>
                <a:gd name="connsiteY825" fmla="*/ 5982829 h 6479439"/>
                <a:gd name="connsiteX826" fmla="*/ 5996658 w 9586368"/>
                <a:gd name="connsiteY826" fmla="*/ 5986868 h 6479439"/>
                <a:gd name="connsiteX827" fmla="*/ 5996658 w 9586368"/>
                <a:gd name="connsiteY827" fmla="*/ 5996739 h 6479439"/>
                <a:gd name="connsiteX828" fmla="*/ 5992639 w 9586368"/>
                <a:gd name="connsiteY828" fmla="*/ 6000778 h 6479439"/>
                <a:gd name="connsiteX829" fmla="*/ 5982729 w 9586368"/>
                <a:gd name="connsiteY829" fmla="*/ 6000778 h 6479439"/>
                <a:gd name="connsiteX830" fmla="*/ 5978710 w 9586368"/>
                <a:gd name="connsiteY830" fmla="*/ 5996739 h 6479439"/>
                <a:gd name="connsiteX831" fmla="*/ 5978710 w 9586368"/>
                <a:gd name="connsiteY831" fmla="*/ 5986868 h 6479439"/>
                <a:gd name="connsiteX832" fmla="*/ 5743412 w 9586368"/>
                <a:gd name="connsiteY832" fmla="*/ 5982829 h 6479439"/>
                <a:gd name="connsiteX833" fmla="*/ 5753323 w 9586368"/>
                <a:gd name="connsiteY833" fmla="*/ 5982829 h 6479439"/>
                <a:gd name="connsiteX834" fmla="*/ 5757342 w 9586368"/>
                <a:gd name="connsiteY834" fmla="*/ 5986868 h 6479439"/>
                <a:gd name="connsiteX835" fmla="*/ 5757342 w 9586368"/>
                <a:gd name="connsiteY835" fmla="*/ 5996739 h 6479439"/>
                <a:gd name="connsiteX836" fmla="*/ 5753323 w 9586368"/>
                <a:gd name="connsiteY836" fmla="*/ 6000778 h 6479439"/>
                <a:gd name="connsiteX837" fmla="*/ 5743412 w 9586368"/>
                <a:gd name="connsiteY837" fmla="*/ 6000778 h 6479439"/>
                <a:gd name="connsiteX838" fmla="*/ 5739393 w 9586368"/>
                <a:gd name="connsiteY838" fmla="*/ 5996739 h 6479439"/>
                <a:gd name="connsiteX839" fmla="*/ 5739393 w 9586368"/>
                <a:gd name="connsiteY839" fmla="*/ 5986868 h 6479439"/>
                <a:gd name="connsiteX840" fmla="*/ 5504099 w 9586368"/>
                <a:gd name="connsiteY840" fmla="*/ 5982829 h 6479439"/>
                <a:gd name="connsiteX841" fmla="*/ 5514010 w 9586368"/>
                <a:gd name="connsiteY841" fmla="*/ 5982829 h 6479439"/>
                <a:gd name="connsiteX842" fmla="*/ 5518029 w 9586368"/>
                <a:gd name="connsiteY842" fmla="*/ 5986868 h 6479439"/>
                <a:gd name="connsiteX843" fmla="*/ 5518029 w 9586368"/>
                <a:gd name="connsiteY843" fmla="*/ 5996739 h 6479439"/>
                <a:gd name="connsiteX844" fmla="*/ 5514010 w 9586368"/>
                <a:gd name="connsiteY844" fmla="*/ 6000778 h 6479439"/>
                <a:gd name="connsiteX845" fmla="*/ 5504099 w 9586368"/>
                <a:gd name="connsiteY845" fmla="*/ 6000778 h 6479439"/>
                <a:gd name="connsiteX846" fmla="*/ 5500080 w 9586368"/>
                <a:gd name="connsiteY846" fmla="*/ 5996739 h 6479439"/>
                <a:gd name="connsiteX847" fmla="*/ 5500080 w 9586368"/>
                <a:gd name="connsiteY847" fmla="*/ 5986868 h 6479439"/>
                <a:gd name="connsiteX848" fmla="*/ 5264784 w 9586368"/>
                <a:gd name="connsiteY848" fmla="*/ 5982829 h 6479439"/>
                <a:gd name="connsiteX849" fmla="*/ 5274694 w 9586368"/>
                <a:gd name="connsiteY849" fmla="*/ 5982829 h 6479439"/>
                <a:gd name="connsiteX850" fmla="*/ 5278713 w 9586368"/>
                <a:gd name="connsiteY850" fmla="*/ 5986868 h 6479439"/>
                <a:gd name="connsiteX851" fmla="*/ 5278713 w 9586368"/>
                <a:gd name="connsiteY851" fmla="*/ 5996739 h 6479439"/>
                <a:gd name="connsiteX852" fmla="*/ 5274694 w 9586368"/>
                <a:gd name="connsiteY852" fmla="*/ 6000778 h 6479439"/>
                <a:gd name="connsiteX853" fmla="*/ 5264784 w 9586368"/>
                <a:gd name="connsiteY853" fmla="*/ 6000778 h 6479439"/>
                <a:gd name="connsiteX854" fmla="*/ 5260765 w 9586368"/>
                <a:gd name="connsiteY854" fmla="*/ 5996739 h 6479439"/>
                <a:gd name="connsiteX855" fmla="*/ 5260765 w 9586368"/>
                <a:gd name="connsiteY855" fmla="*/ 5986868 h 6479439"/>
                <a:gd name="connsiteX856" fmla="*/ 5025470 w 9586368"/>
                <a:gd name="connsiteY856" fmla="*/ 5982829 h 6479439"/>
                <a:gd name="connsiteX857" fmla="*/ 5035381 w 9586368"/>
                <a:gd name="connsiteY857" fmla="*/ 5982829 h 6479439"/>
                <a:gd name="connsiteX858" fmla="*/ 5039400 w 9586368"/>
                <a:gd name="connsiteY858" fmla="*/ 5986868 h 6479439"/>
                <a:gd name="connsiteX859" fmla="*/ 5039400 w 9586368"/>
                <a:gd name="connsiteY859" fmla="*/ 5996739 h 6479439"/>
                <a:gd name="connsiteX860" fmla="*/ 5035381 w 9586368"/>
                <a:gd name="connsiteY860" fmla="*/ 6000778 h 6479439"/>
                <a:gd name="connsiteX861" fmla="*/ 5025470 w 9586368"/>
                <a:gd name="connsiteY861" fmla="*/ 6000778 h 6479439"/>
                <a:gd name="connsiteX862" fmla="*/ 5021451 w 9586368"/>
                <a:gd name="connsiteY862" fmla="*/ 5996739 h 6479439"/>
                <a:gd name="connsiteX863" fmla="*/ 5021451 w 9586368"/>
                <a:gd name="connsiteY863" fmla="*/ 5986868 h 6479439"/>
                <a:gd name="connsiteX864" fmla="*/ 4786241 w 9586368"/>
                <a:gd name="connsiteY864" fmla="*/ 5982829 h 6479439"/>
                <a:gd name="connsiteX865" fmla="*/ 4796152 w 9586368"/>
                <a:gd name="connsiteY865" fmla="*/ 5982829 h 6479439"/>
                <a:gd name="connsiteX866" fmla="*/ 4800171 w 9586368"/>
                <a:gd name="connsiteY866" fmla="*/ 5986868 h 6479439"/>
                <a:gd name="connsiteX867" fmla="*/ 4800171 w 9586368"/>
                <a:gd name="connsiteY867" fmla="*/ 5996739 h 6479439"/>
                <a:gd name="connsiteX868" fmla="*/ 4796152 w 9586368"/>
                <a:gd name="connsiteY868" fmla="*/ 6000778 h 6479439"/>
                <a:gd name="connsiteX869" fmla="*/ 4786241 w 9586368"/>
                <a:gd name="connsiteY869" fmla="*/ 6000778 h 6479439"/>
                <a:gd name="connsiteX870" fmla="*/ 4782224 w 9586368"/>
                <a:gd name="connsiteY870" fmla="*/ 5996739 h 6479439"/>
                <a:gd name="connsiteX871" fmla="*/ 4782224 w 9586368"/>
                <a:gd name="connsiteY871" fmla="*/ 5986868 h 6479439"/>
                <a:gd name="connsiteX872" fmla="*/ 4546929 w 9586368"/>
                <a:gd name="connsiteY872" fmla="*/ 5982829 h 6479439"/>
                <a:gd name="connsiteX873" fmla="*/ 4556840 w 9586368"/>
                <a:gd name="connsiteY873" fmla="*/ 5982829 h 6479439"/>
                <a:gd name="connsiteX874" fmla="*/ 4560859 w 9586368"/>
                <a:gd name="connsiteY874" fmla="*/ 5986868 h 6479439"/>
                <a:gd name="connsiteX875" fmla="*/ 4560859 w 9586368"/>
                <a:gd name="connsiteY875" fmla="*/ 5996739 h 6479439"/>
                <a:gd name="connsiteX876" fmla="*/ 4556840 w 9586368"/>
                <a:gd name="connsiteY876" fmla="*/ 6000778 h 6479439"/>
                <a:gd name="connsiteX877" fmla="*/ 4546929 w 9586368"/>
                <a:gd name="connsiteY877" fmla="*/ 6000778 h 6479439"/>
                <a:gd name="connsiteX878" fmla="*/ 4542910 w 9586368"/>
                <a:gd name="connsiteY878" fmla="*/ 5996739 h 6479439"/>
                <a:gd name="connsiteX879" fmla="*/ 4542910 w 9586368"/>
                <a:gd name="connsiteY879" fmla="*/ 5986868 h 6479439"/>
                <a:gd name="connsiteX880" fmla="*/ 4307612 w 9586368"/>
                <a:gd name="connsiteY880" fmla="*/ 5982829 h 6479439"/>
                <a:gd name="connsiteX881" fmla="*/ 4317523 w 9586368"/>
                <a:gd name="connsiteY881" fmla="*/ 5982829 h 6479439"/>
                <a:gd name="connsiteX882" fmla="*/ 4321543 w 9586368"/>
                <a:gd name="connsiteY882" fmla="*/ 5986868 h 6479439"/>
                <a:gd name="connsiteX883" fmla="*/ 4321543 w 9586368"/>
                <a:gd name="connsiteY883" fmla="*/ 5996739 h 6479439"/>
                <a:gd name="connsiteX884" fmla="*/ 4317523 w 9586368"/>
                <a:gd name="connsiteY884" fmla="*/ 6000778 h 6479439"/>
                <a:gd name="connsiteX885" fmla="*/ 4307612 w 9586368"/>
                <a:gd name="connsiteY885" fmla="*/ 6000778 h 6479439"/>
                <a:gd name="connsiteX886" fmla="*/ 4303595 w 9586368"/>
                <a:gd name="connsiteY886" fmla="*/ 5996739 h 6479439"/>
                <a:gd name="connsiteX887" fmla="*/ 4303595 w 9586368"/>
                <a:gd name="connsiteY887" fmla="*/ 5986868 h 6479439"/>
                <a:gd name="connsiteX888" fmla="*/ 4068297 w 9586368"/>
                <a:gd name="connsiteY888" fmla="*/ 5982829 h 6479439"/>
                <a:gd name="connsiteX889" fmla="*/ 4078210 w 9586368"/>
                <a:gd name="connsiteY889" fmla="*/ 5982829 h 6479439"/>
                <a:gd name="connsiteX890" fmla="*/ 4082229 w 9586368"/>
                <a:gd name="connsiteY890" fmla="*/ 5986868 h 6479439"/>
                <a:gd name="connsiteX891" fmla="*/ 4082229 w 9586368"/>
                <a:gd name="connsiteY891" fmla="*/ 5996739 h 6479439"/>
                <a:gd name="connsiteX892" fmla="*/ 4078210 w 9586368"/>
                <a:gd name="connsiteY892" fmla="*/ 6000778 h 6479439"/>
                <a:gd name="connsiteX893" fmla="*/ 4068297 w 9586368"/>
                <a:gd name="connsiteY893" fmla="*/ 6000778 h 6479439"/>
                <a:gd name="connsiteX894" fmla="*/ 4064278 w 9586368"/>
                <a:gd name="connsiteY894" fmla="*/ 5996739 h 6479439"/>
                <a:gd name="connsiteX895" fmla="*/ 4064278 w 9586368"/>
                <a:gd name="connsiteY895" fmla="*/ 5986868 h 6479439"/>
                <a:gd name="connsiteX896" fmla="*/ 3828990 w 9586368"/>
                <a:gd name="connsiteY896" fmla="*/ 5982829 h 6479439"/>
                <a:gd name="connsiteX897" fmla="*/ 3838899 w 9586368"/>
                <a:gd name="connsiteY897" fmla="*/ 5982829 h 6479439"/>
                <a:gd name="connsiteX898" fmla="*/ 3842917 w 9586368"/>
                <a:gd name="connsiteY898" fmla="*/ 5986868 h 6479439"/>
                <a:gd name="connsiteX899" fmla="*/ 3842917 w 9586368"/>
                <a:gd name="connsiteY899" fmla="*/ 5996739 h 6479439"/>
                <a:gd name="connsiteX900" fmla="*/ 3838899 w 9586368"/>
                <a:gd name="connsiteY900" fmla="*/ 6000778 h 6479439"/>
                <a:gd name="connsiteX901" fmla="*/ 3828990 w 9586368"/>
                <a:gd name="connsiteY901" fmla="*/ 6000778 h 6479439"/>
                <a:gd name="connsiteX902" fmla="*/ 3824971 w 9586368"/>
                <a:gd name="connsiteY902" fmla="*/ 5996739 h 6479439"/>
                <a:gd name="connsiteX903" fmla="*/ 3824971 w 9586368"/>
                <a:gd name="connsiteY903" fmla="*/ 5986868 h 6479439"/>
                <a:gd name="connsiteX904" fmla="*/ 3589676 w 9586368"/>
                <a:gd name="connsiteY904" fmla="*/ 5982829 h 6479439"/>
                <a:gd name="connsiteX905" fmla="*/ 3599585 w 9586368"/>
                <a:gd name="connsiteY905" fmla="*/ 5982829 h 6479439"/>
                <a:gd name="connsiteX906" fmla="*/ 3603604 w 9586368"/>
                <a:gd name="connsiteY906" fmla="*/ 5986868 h 6479439"/>
                <a:gd name="connsiteX907" fmla="*/ 3603604 w 9586368"/>
                <a:gd name="connsiteY907" fmla="*/ 5996739 h 6479439"/>
                <a:gd name="connsiteX908" fmla="*/ 3599585 w 9586368"/>
                <a:gd name="connsiteY908" fmla="*/ 6000778 h 6479439"/>
                <a:gd name="connsiteX909" fmla="*/ 3589676 w 9586368"/>
                <a:gd name="connsiteY909" fmla="*/ 6000778 h 6479439"/>
                <a:gd name="connsiteX910" fmla="*/ 3585657 w 9586368"/>
                <a:gd name="connsiteY910" fmla="*/ 5996739 h 6479439"/>
                <a:gd name="connsiteX911" fmla="*/ 3585657 w 9586368"/>
                <a:gd name="connsiteY911" fmla="*/ 5986868 h 6479439"/>
                <a:gd name="connsiteX912" fmla="*/ 3350359 w 9586368"/>
                <a:gd name="connsiteY912" fmla="*/ 5982829 h 6479439"/>
                <a:gd name="connsiteX913" fmla="*/ 3360268 w 9586368"/>
                <a:gd name="connsiteY913" fmla="*/ 5982829 h 6479439"/>
                <a:gd name="connsiteX914" fmla="*/ 3364287 w 9586368"/>
                <a:gd name="connsiteY914" fmla="*/ 5986868 h 6479439"/>
                <a:gd name="connsiteX915" fmla="*/ 3364287 w 9586368"/>
                <a:gd name="connsiteY915" fmla="*/ 5996739 h 6479439"/>
                <a:gd name="connsiteX916" fmla="*/ 3360268 w 9586368"/>
                <a:gd name="connsiteY916" fmla="*/ 6000778 h 6479439"/>
                <a:gd name="connsiteX917" fmla="*/ 3350359 w 9586368"/>
                <a:gd name="connsiteY917" fmla="*/ 6000778 h 6479439"/>
                <a:gd name="connsiteX918" fmla="*/ 3346340 w 9586368"/>
                <a:gd name="connsiteY918" fmla="*/ 5996739 h 6479439"/>
                <a:gd name="connsiteX919" fmla="*/ 3346340 w 9586368"/>
                <a:gd name="connsiteY919" fmla="*/ 5986868 h 6479439"/>
                <a:gd name="connsiteX920" fmla="*/ 3111048 w 9586368"/>
                <a:gd name="connsiteY920" fmla="*/ 5982829 h 6479439"/>
                <a:gd name="connsiteX921" fmla="*/ 3120959 w 9586368"/>
                <a:gd name="connsiteY921" fmla="*/ 5982829 h 6479439"/>
                <a:gd name="connsiteX922" fmla="*/ 3124977 w 9586368"/>
                <a:gd name="connsiteY922" fmla="*/ 5986868 h 6479439"/>
                <a:gd name="connsiteX923" fmla="*/ 3124977 w 9586368"/>
                <a:gd name="connsiteY923" fmla="*/ 5996739 h 6479439"/>
                <a:gd name="connsiteX924" fmla="*/ 3120959 w 9586368"/>
                <a:gd name="connsiteY924" fmla="*/ 6000778 h 6479439"/>
                <a:gd name="connsiteX925" fmla="*/ 3111048 w 9586368"/>
                <a:gd name="connsiteY925" fmla="*/ 6000778 h 6479439"/>
                <a:gd name="connsiteX926" fmla="*/ 3107029 w 9586368"/>
                <a:gd name="connsiteY926" fmla="*/ 5996739 h 6479439"/>
                <a:gd name="connsiteX927" fmla="*/ 3107029 w 9586368"/>
                <a:gd name="connsiteY927" fmla="*/ 5986868 h 6479439"/>
                <a:gd name="connsiteX928" fmla="*/ 2871737 w 9586368"/>
                <a:gd name="connsiteY928" fmla="*/ 5982829 h 6479439"/>
                <a:gd name="connsiteX929" fmla="*/ 2881646 w 9586368"/>
                <a:gd name="connsiteY929" fmla="*/ 5982829 h 6479439"/>
                <a:gd name="connsiteX930" fmla="*/ 2885666 w 9586368"/>
                <a:gd name="connsiteY930" fmla="*/ 5986868 h 6479439"/>
                <a:gd name="connsiteX931" fmla="*/ 2885666 w 9586368"/>
                <a:gd name="connsiteY931" fmla="*/ 5996739 h 6479439"/>
                <a:gd name="connsiteX932" fmla="*/ 2881646 w 9586368"/>
                <a:gd name="connsiteY932" fmla="*/ 6000778 h 6479439"/>
                <a:gd name="connsiteX933" fmla="*/ 2871737 w 9586368"/>
                <a:gd name="connsiteY933" fmla="*/ 6000778 h 6479439"/>
                <a:gd name="connsiteX934" fmla="*/ 2867717 w 9586368"/>
                <a:gd name="connsiteY934" fmla="*/ 5996739 h 6479439"/>
                <a:gd name="connsiteX935" fmla="*/ 2867717 w 9586368"/>
                <a:gd name="connsiteY935" fmla="*/ 5986868 h 6479439"/>
                <a:gd name="connsiteX936" fmla="*/ 2632423 w 9586368"/>
                <a:gd name="connsiteY936" fmla="*/ 5982829 h 6479439"/>
                <a:gd name="connsiteX937" fmla="*/ 2642334 w 9586368"/>
                <a:gd name="connsiteY937" fmla="*/ 5982829 h 6479439"/>
                <a:gd name="connsiteX938" fmla="*/ 2646352 w 9586368"/>
                <a:gd name="connsiteY938" fmla="*/ 5986868 h 6479439"/>
                <a:gd name="connsiteX939" fmla="*/ 2646352 w 9586368"/>
                <a:gd name="connsiteY939" fmla="*/ 5996739 h 6479439"/>
                <a:gd name="connsiteX940" fmla="*/ 2642334 w 9586368"/>
                <a:gd name="connsiteY940" fmla="*/ 6000778 h 6479439"/>
                <a:gd name="connsiteX941" fmla="*/ 2632423 w 9586368"/>
                <a:gd name="connsiteY941" fmla="*/ 6000778 h 6479439"/>
                <a:gd name="connsiteX942" fmla="*/ 2628404 w 9586368"/>
                <a:gd name="connsiteY942" fmla="*/ 5996739 h 6479439"/>
                <a:gd name="connsiteX943" fmla="*/ 2628404 w 9586368"/>
                <a:gd name="connsiteY943" fmla="*/ 5986868 h 6479439"/>
                <a:gd name="connsiteX944" fmla="*/ 2393104 w 9586368"/>
                <a:gd name="connsiteY944" fmla="*/ 5982829 h 6479439"/>
                <a:gd name="connsiteX945" fmla="*/ 2403015 w 9586368"/>
                <a:gd name="connsiteY945" fmla="*/ 5982829 h 6479439"/>
                <a:gd name="connsiteX946" fmla="*/ 2407034 w 9586368"/>
                <a:gd name="connsiteY946" fmla="*/ 5986868 h 6479439"/>
                <a:gd name="connsiteX947" fmla="*/ 2407034 w 9586368"/>
                <a:gd name="connsiteY947" fmla="*/ 5996739 h 6479439"/>
                <a:gd name="connsiteX948" fmla="*/ 2403015 w 9586368"/>
                <a:gd name="connsiteY948" fmla="*/ 6000778 h 6479439"/>
                <a:gd name="connsiteX949" fmla="*/ 2393104 w 9586368"/>
                <a:gd name="connsiteY949" fmla="*/ 6000778 h 6479439"/>
                <a:gd name="connsiteX950" fmla="*/ 2389087 w 9586368"/>
                <a:gd name="connsiteY950" fmla="*/ 5996739 h 6479439"/>
                <a:gd name="connsiteX951" fmla="*/ 2389087 w 9586368"/>
                <a:gd name="connsiteY951" fmla="*/ 5986868 h 6479439"/>
                <a:gd name="connsiteX952" fmla="*/ 721960 w 9586368"/>
                <a:gd name="connsiteY952" fmla="*/ 5982829 h 6479439"/>
                <a:gd name="connsiteX953" fmla="*/ 731869 w 9586368"/>
                <a:gd name="connsiteY953" fmla="*/ 5982829 h 6479439"/>
                <a:gd name="connsiteX954" fmla="*/ 735888 w 9586368"/>
                <a:gd name="connsiteY954" fmla="*/ 5986868 h 6479439"/>
                <a:gd name="connsiteX955" fmla="*/ 735888 w 9586368"/>
                <a:gd name="connsiteY955" fmla="*/ 5996739 h 6479439"/>
                <a:gd name="connsiteX956" fmla="*/ 731869 w 9586368"/>
                <a:gd name="connsiteY956" fmla="*/ 6000778 h 6479439"/>
                <a:gd name="connsiteX957" fmla="*/ 721960 w 9586368"/>
                <a:gd name="connsiteY957" fmla="*/ 6000778 h 6479439"/>
                <a:gd name="connsiteX958" fmla="*/ 717940 w 9586368"/>
                <a:gd name="connsiteY958" fmla="*/ 5996739 h 6479439"/>
                <a:gd name="connsiteX959" fmla="*/ 717940 w 9586368"/>
                <a:gd name="connsiteY959" fmla="*/ 5986868 h 6479439"/>
                <a:gd name="connsiteX960" fmla="*/ 482647 w 9586368"/>
                <a:gd name="connsiteY960" fmla="*/ 5982829 h 6479439"/>
                <a:gd name="connsiteX961" fmla="*/ 492557 w 9586368"/>
                <a:gd name="connsiteY961" fmla="*/ 5982829 h 6479439"/>
                <a:gd name="connsiteX962" fmla="*/ 496576 w 9586368"/>
                <a:gd name="connsiteY962" fmla="*/ 5986868 h 6479439"/>
                <a:gd name="connsiteX963" fmla="*/ 496576 w 9586368"/>
                <a:gd name="connsiteY963" fmla="*/ 5996739 h 6479439"/>
                <a:gd name="connsiteX964" fmla="*/ 492557 w 9586368"/>
                <a:gd name="connsiteY964" fmla="*/ 6000778 h 6479439"/>
                <a:gd name="connsiteX965" fmla="*/ 482647 w 9586368"/>
                <a:gd name="connsiteY965" fmla="*/ 6000778 h 6479439"/>
                <a:gd name="connsiteX966" fmla="*/ 478628 w 9586368"/>
                <a:gd name="connsiteY966" fmla="*/ 5996739 h 6479439"/>
                <a:gd name="connsiteX967" fmla="*/ 478628 w 9586368"/>
                <a:gd name="connsiteY967" fmla="*/ 5986868 h 6479439"/>
                <a:gd name="connsiteX968" fmla="*/ 243334 w 9586368"/>
                <a:gd name="connsiteY968" fmla="*/ 5982829 h 6479439"/>
                <a:gd name="connsiteX969" fmla="*/ 253244 w 9586368"/>
                <a:gd name="connsiteY969" fmla="*/ 5982829 h 6479439"/>
                <a:gd name="connsiteX970" fmla="*/ 257263 w 9586368"/>
                <a:gd name="connsiteY970" fmla="*/ 5986868 h 6479439"/>
                <a:gd name="connsiteX971" fmla="*/ 257263 w 9586368"/>
                <a:gd name="connsiteY971" fmla="*/ 5996739 h 6479439"/>
                <a:gd name="connsiteX972" fmla="*/ 253244 w 9586368"/>
                <a:gd name="connsiteY972" fmla="*/ 6000778 h 6479439"/>
                <a:gd name="connsiteX973" fmla="*/ 243334 w 9586368"/>
                <a:gd name="connsiteY973" fmla="*/ 6000778 h 6479439"/>
                <a:gd name="connsiteX974" fmla="*/ 239315 w 9586368"/>
                <a:gd name="connsiteY974" fmla="*/ 5996739 h 6479439"/>
                <a:gd name="connsiteX975" fmla="*/ 239315 w 9586368"/>
                <a:gd name="connsiteY975" fmla="*/ 5986868 h 6479439"/>
                <a:gd name="connsiteX976" fmla="*/ 4021 w 9586368"/>
                <a:gd name="connsiteY976" fmla="*/ 5982829 h 6479439"/>
                <a:gd name="connsiteX977" fmla="*/ 13931 w 9586368"/>
                <a:gd name="connsiteY977" fmla="*/ 5982829 h 6479439"/>
                <a:gd name="connsiteX978" fmla="*/ 17950 w 9586368"/>
                <a:gd name="connsiteY978" fmla="*/ 5986868 h 6479439"/>
                <a:gd name="connsiteX979" fmla="*/ 17950 w 9586368"/>
                <a:gd name="connsiteY979" fmla="*/ 5996739 h 6479439"/>
                <a:gd name="connsiteX980" fmla="*/ 13931 w 9586368"/>
                <a:gd name="connsiteY980" fmla="*/ 6000778 h 6479439"/>
                <a:gd name="connsiteX981" fmla="*/ 4021 w 9586368"/>
                <a:gd name="connsiteY981" fmla="*/ 6000778 h 6479439"/>
                <a:gd name="connsiteX982" fmla="*/ 1 w 9586368"/>
                <a:gd name="connsiteY982" fmla="*/ 5996739 h 6479439"/>
                <a:gd name="connsiteX983" fmla="*/ 1 w 9586368"/>
                <a:gd name="connsiteY983" fmla="*/ 5986868 h 6479439"/>
                <a:gd name="connsiteX984" fmla="*/ 2157818 w 9586368"/>
                <a:gd name="connsiteY984" fmla="*/ 5743551 h 6479439"/>
                <a:gd name="connsiteX985" fmla="*/ 2167728 w 9586368"/>
                <a:gd name="connsiteY985" fmla="*/ 5743551 h 6479439"/>
                <a:gd name="connsiteX986" fmla="*/ 2171747 w 9586368"/>
                <a:gd name="connsiteY986" fmla="*/ 5747589 h 6479439"/>
                <a:gd name="connsiteX987" fmla="*/ 2171747 w 9586368"/>
                <a:gd name="connsiteY987" fmla="*/ 5757460 h 6479439"/>
                <a:gd name="connsiteX988" fmla="*/ 2167728 w 9586368"/>
                <a:gd name="connsiteY988" fmla="*/ 5761499 h 6479439"/>
                <a:gd name="connsiteX989" fmla="*/ 2157818 w 9586368"/>
                <a:gd name="connsiteY989" fmla="*/ 5761499 h 6479439"/>
                <a:gd name="connsiteX990" fmla="*/ 2153799 w 9586368"/>
                <a:gd name="connsiteY990" fmla="*/ 5757460 h 6479439"/>
                <a:gd name="connsiteX991" fmla="*/ 2153799 w 9586368"/>
                <a:gd name="connsiteY991" fmla="*/ 5747589 h 6479439"/>
                <a:gd name="connsiteX992" fmla="*/ 1918510 w 9586368"/>
                <a:gd name="connsiteY992" fmla="*/ 5743551 h 6479439"/>
                <a:gd name="connsiteX993" fmla="*/ 1928420 w 9586368"/>
                <a:gd name="connsiteY993" fmla="*/ 5743551 h 6479439"/>
                <a:gd name="connsiteX994" fmla="*/ 1932438 w 9586368"/>
                <a:gd name="connsiteY994" fmla="*/ 5747589 h 6479439"/>
                <a:gd name="connsiteX995" fmla="*/ 1932438 w 9586368"/>
                <a:gd name="connsiteY995" fmla="*/ 5757460 h 6479439"/>
                <a:gd name="connsiteX996" fmla="*/ 1928420 w 9586368"/>
                <a:gd name="connsiteY996" fmla="*/ 5761499 h 6479439"/>
                <a:gd name="connsiteX997" fmla="*/ 1918510 w 9586368"/>
                <a:gd name="connsiteY997" fmla="*/ 5761499 h 6479439"/>
                <a:gd name="connsiteX998" fmla="*/ 1914490 w 9586368"/>
                <a:gd name="connsiteY998" fmla="*/ 5757460 h 6479439"/>
                <a:gd name="connsiteX999" fmla="*/ 1914490 w 9586368"/>
                <a:gd name="connsiteY999" fmla="*/ 5747589 h 6479439"/>
                <a:gd name="connsiteX1000" fmla="*/ 1679201 w 9586368"/>
                <a:gd name="connsiteY1000" fmla="*/ 5743551 h 6479439"/>
                <a:gd name="connsiteX1001" fmla="*/ 1689112 w 9586368"/>
                <a:gd name="connsiteY1001" fmla="*/ 5743551 h 6479439"/>
                <a:gd name="connsiteX1002" fmla="*/ 1693131 w 9586368"/>
                <a:gd name="connsiteY1002" fmla="*/ 5747589 h 6479439"/>
                <a:gd name="connsiteX1003" fmla="*/ 1693131 w 9586368"/>
                <a:gd name="connsiteY1003" fmla="*/ 5757460 h 6479439"/>
                <a:gd name="connsiteX1004" fmla="*/ 1689112 w 9586368"/>
                <a:gd name="connsiteY1004" fmla="*/ 5761499 h 6479439"/>
                <a:gd name="connsiteX1005" fmla="*/ 1679201 w 9586368"/>
                <a:gd name="connsiteY1005" fmla="*/ 5761499 h 6479439"/>
                <a:gd name="connsiteX1006" fmla="*/ 1675183 w 9586368"/>
                <a:gd name="connsiteY1006" fmla="*/ 5757460 h 6479439"/>
                <a:gd name="connsiteX1007" fmla="*/ 1675183 w 9586368"/>
                <a:gd name="connsiteY1007" fmla="*/ 5747589 h 6479439"/>
                <a:gd name="connsiteX1008" fmla="*/ 1439886 w 9586368"/>
                <a:gd name="connsiteY1008" fmla="*/ 5743551 h 6479439"/>
                <a:gd name="connsiteX1009" fmla="*/ 1449797 w 9586368"/>
                <a:gd name="connsiteY1009" fmla="*/ 5743551 h 6479439"/>
                <a:gd name="connsiteX1010" fmla="*/ 1453815 w 9586368"/>
                <a:gd name="connsiteY1010" fmla="*/ 5747589 h 6479439"/>
                <a:gd name="connsiteX1011" fmla="*/ 1453815 w 9586368"/>
                <a:gd name="connsiteY1011" fmla="*/ 5757460 h 6479439"/>
                <a:gd name="connsiteX1012" fmla="*/ 1449797 w 9586368"/>
                <a:gd name="connsiteY1012" fmla="*/ 5761499 h 6479439"/>
                <a:gd name="connsiteX1013" fmla="*/ 1439886 w 9586368"/>
                <a:gd name="connsiteY1013" fmla="*/ 5761499 h 6479439"/>
                <a:gd name="connsiteX1014" fmla="*/ 1435868 w 9586368"/>
                <a:gd name="connsiteY1014" fmla="*/ 5757460 h 6479439"/>
                <a:gd name="connsiteX1015" fmla="*/ 1435868 w 9586368"/>
                <a:gd name="connsiteY1015" fmla="*/ 5747589 h 6479439"/>
                <a:gd name="connsiteX1016" fmla="*/ 1200572 w 9586368"/>
                <a:gd name="connsiteY1016" fmla="*/ 5743551 h 6479439"/>
                <a:gd name="connsiteX1017" fmla="*/ 1210482 w 9586368"/>
                <a:gd name="connsiteY1017" fmla="*/ 5743551 h 6479439"/>
                <a:gd name="connsiteX1018" fmla="*/ 1214500 w 9586368"/>
                <a:gd name="connsiteY1018" fmla="*/ 5747589 h 6479439"/>
                <a:gd name="connsiteX1019" fmla="*/ 1214500 w 9586368"/>
                <a:gd name="connsiteY1019" fmla="*/ 5757460 h 6479439"/>
                <a:gd name="connsiteX1020" fmla="*/ 1210482 w 9586368"/>
                <a:gd name="connsiteY1020" fmla="*/ 5761499 h 6479439"/>
                <a:gd name="connsiteX1021" fmla="*/ 1200572 w 9586368"/>
                <a:gd name="connsiteY1021" fmla="*/ 5761499 h 6479439"/>
                <a:gd name="connsiteX1022" fmla="*/ 1196553 w 9586368"/>
                <a:gd name="connsiteY1022" fmla="*/ 5757460 h 6479439"/>
                <a:gd name="connsiteX1023" fmla="*/ 1196553 w 9586368"/>
                <a:gd name="connsiteY1023" fmla="*/ 5747589 h 6479439"/>
                <a:gd name="connsiteX1024" fmla="*/ 961259 w 9586368"/>
                <a:gd name="connsiteY1024" fmla="*/ 5743551 h 6479439"/>
                <a:gd name="connsiteX1025" fmla="*/ 971169 w 9586368"/>
                <a:gd name="connsiteY1025" fmla="*/ 5743551 h 6479439"/>
                <a:gd name="connsiteX1026" fmla="*/ 975188 w 9586368"/>
                <a:gd name="connsiteY1026" fmla="*/ 5747589 h 6479439"/>
                <a:gd name="connsiteX1027" fmla="*/ 975188 w 9586368"/>
                <a:gd name="connsiteY1027" fmla="*/ 5757460 h 6479439"/>
                <a:gd name="connsiteX1028" fmla="*/ 971169 w 9586368"/>
                <a:gd name="connsiteY1028" fmla="*/ 5761499 h 6479439"/>
                <a:gd name="connsiteX1029" fmla="*/ 961259 w 9586368"/>
                <a:gd name="connsiteY1029" fmla="*/ 5761499 h 6479439"/>
                <a:gd name="connsiteX1030" fmla="*/ 957240 w 9586368"/>
                <a:gd name="connsiteY1030" fmla="*/ 5757460 h 6479439"/>
                <a:gd name="connsiteX1031" fmla="*/ 957240 w 9586368"/>
                <a:gd name="connsiteY1031" fmla="*/ 5747589 h 6479439"/>
                <a:gd name="connsiteX1032" fmla="*/ 9572438 w 9586368"/>
                <a:gd name="connsiteY1032" fmla="*/ 5743499 h 6479439"/>
                <a:gd name="connsiteX1033" fmla="*/ 9582349 w 9586368"/>
                <a:gd name="connsiteY1033" fmla="*/ 5743499 h 6479439"/>
                <a:gd name="connsiteX1034" fmla="*/ 9586368 w 9586368"/>
                <a:gd name="connsiteY1034" fmla="*/ 5747537 h 6479439"/>
                <a:gd name="connsiteX1035" fmla="*/ 9586368 w 9586368"/>
                <a:gd name="connsiteY1035" fmla="*/ 5757408 h 6479439"/>
                <a:gd name="connsiteX1036" fmla="*/ 9582349 w 9586368"/>
                <a:gd name="connsiteY1036" fmla="*/ 5761447 h 6479439"/>
                <a:gd name="connsiteX1037" fmla="*/ 9572438 w 9586368"/>
                <a:gd name="connsiteY1037" fmla="*/ 5761447 h 6479439"/>
                <a:gd name="connsiteX1038" fmla="*/ 9568419 w 9586368"/>
                <a:gd name="connsiteY1038" fmla="*/ 5757408 h 6479439"/>
                <a:gd name="connsiteX1039" fmla="*/ 9568419 w 9586368"/>
                <a:gd name="connsiteY1039" fmla="*/ 5747537 h 6479439"/>
                <a:gd name="connsiteX1040" fmla="*/ 9333125 w 9586368"/>
                <a:gd name="connsiteY1040" fmla="*/ 5743499 h 6479439"/>
                <a:gd name="connsiteX1041" fmla="*/ 9343036 w 9586368"/>
                <a:gd name="connsiteY1041" fmla="*/ 5743499 h 6479439"/>
                <a:gd name="connsiteX1042" fmla="*/ 9347055 w 9586368"/>
                <a:gd name="connsiteY1042" fmla="*/ 5747537 h 6479439"/>
                <a:gd name="connsiteX1043" fmla="*/ 9347055 w 9586368"/>
                <a:gd name="connsiteY1043" fmla="*/ 5757408 h 6479439"/>
                <a:gd name="connsiteX1044" fmla="*/ 9343036 w 9586368"/>
                <a:gd name="connsiteY1044" fmla="*/ 5761447 h 6479439"/>
                <a:gd name="connsiteX1045" fmla="*/ 9333125 w 9586368"/>
                <a:gd name="connsiteY1045" fmla="*/ 5761447 h 6479439"/>
                <a:gd name="connsiteX1046" fmla="*/ 9329106 w 9586368"/>
                <a:gd name="connsiteY1046" fmla="*/ 5757408 h 6479439"/>
                <a:gd name="connsiteX1047" fmla="*/ 9329106 w 9586368"/>
                <a:gd name="connsiteY1047" fmla="*/ 5747537 h 6479439"/>
                <a:gd name="connsiteX1048" fmla="*/ 9093811 w 9586368"/>
                <a:gd name="connsiteY1048" fmla="*/ 5743499 h 6479439"/>
                <a:gd name="connsiteX1049" fmla="*/ 9103722 w 9586368"/>
                <a:gd name="connsiteY1049" fmla="*/ 5743499 h 6479439"/>
                <a:gd name="connsiteX1050" fmla="*/ 9107741 w 9586368"/>
                <a:gd name="connsiteY1050" fmla="*/ 5747537 h 6479439"/>
                <a:gd name="connsiteX1051" fmla="*/ 9107741 w 9586368"/>
                <a:gd name="connsiteY1051" fmla="*/ 5757408 h 6479439"/>
                <a:gd name="connsiteX1052" fmla="*/ 9103722 w 9586368"/>
                <a:gd name="connsiteY1052" fmla="*/ 5761447 h 6479439"/>
                <a:gd name="connsiteX1053" fmla="*/ 9093811 w 9586368"/>
                <a:gd name="connsiteY1053" fmla="*/ 5761447 h 6479439"/>
                <a:gd name="connsiteX1054" fmla="*/ 9089792 w 9586368"/>
                <a:gd name="connsiteY1054" fmla="*/ 5757408 h 6479439"/>
                <a:gd name="connsiteX1055" fmla="*/ 9089792 w 9586368"/>
                <a:gd name="connsiteY1055" fmla="*/ 5747537 h 6479439"/>
                <a:gd name="connsiteX1056" fmla="*/ 8854496 w 9586368"/>
                <a:gd name="connsiteY1056" fmla="*/ 5743499 h 6479439"/>
                <a:gd name="connsiteX1057" fmla="*/ 8864407 w 9586368"/>
                <a:gd name="connsiteY1057" fmla="*/ 5743499 h 6479439"/>
                <a:gd name="connsiteX1058" fmla="*/ 8868426 w 9586368"/>
                <a:gd name="connsiteY1058" fmla="*/ 5747537 h 6479439"/>
                <a:gd name="connsiteX1059" fmla="*/ 8868426 w 9586368"/>
                <a:gd name="connsiteY1059" fmla="*/ 5757408 h 6479439"/>
                <a:gd name="connsiteX1060" fmla="*/ 8864407 w 9586368"/>
                <a:gd name="connsiteY1060" fmla="*/ 5761447 h 6479439"/>
                <a:gd name="connsiteX1061" fmla="*/ 8854496 w 9586368"/>
                <a:gd name="connsiteY1061" fmla="*/ 5761447 h 6479439"/>
                <a:gd name="connsiteX1062" fmla="*/ 8850477 w 9586368"/>
                <a:gd name="connsiteY1062" fmla="*/ 5757408 h 6479439"/>
                <a:gd name="connsiteX1063" fmla="*/ 8850477 w 9586368"/>
                <a:gd name="connsiteY1063" fmla="*/ 5747537 h 6479439"/>
                <a:gd name="connsiteX1064" fmla="*/ 8615184 w 9586368"/>
                <a:gd name="connsiteY1064" fmla="*/ 5743499 h 6479439"/>
                <a:gd name="connsiteX1065" fmla="*/ 8625095 w 9586368"/>
                <a:gd name="connsiteY1065" fmla="*/ 5743499 h 6479439"/>
                <a:gd name="connsiteX1066" fmla="*/ 8629114 w 9586368"/>
                <a:gd name="connsiteY1066" fmla="*/ 5747537 h 6479439"/>
                <a:gd name="connsiteX1067" fmla="*/ 8629114 w 9586368"/>
                <a:gd name="connsiteY1067" fmla="*/ 5757408 h 6479439"/>
                <a:gd name="connsiteX1068" fmla="*/ 8625095 w 9586368"/>
                <a:gd name="connsiteY1068" fmla="*/ 5761447 h 6479439"/>
                <a:gd name="connsiteX1069" fmla="*/ 8615184 w 9586368"/>
                <a:gd name="connsiteY1069" fmla="*/ 5761447 h 6479439"/>
                <a:gd name="connsiteX1070" fmla="*/ 8611165 w 9586368"/>
                <a:gd name="connsiteY1070" fmla="*/ 5757408 h 6479439"/>
                <a:gd name="connsiteX1071" fmla="*/ 8611165 w 9586368"/>
                <a:gd name="connsiteY1071" fmla="*/ 5747537 h 6479439"/>
                <a:gd name="connsiteX1072" fmla="*/ 8375869 w 9586368"/>
                <a:gd name="connsiteY1072" fmla="*/ 5743499 h 6479439"/>
                <a:gd name="connsiteX1073" fmla="*/ 8385779 w 9586368"/>
                <a:gd name="connsiteY1073" fmla="*/ 5743499 h 6479439"/>
                <a:gd name="connsiteX1074" fmla="*/ 8389799 w 9586368"/>
                <a:gd name="connsiteY1074" fmla="*/ 5747537 h 6479439"/>
                <a:gd name="connsiteX1075" fmla="*/ 8389799 w 9586368"/>
                <a:gd name="connsiteY1075" fmla="*/ 5757408 h 6479439"/>
                <a:gd name="connsiteX1076" fmla="*/ 8385779 w 9586368"/>
                <a:gd name="connsiteY1076" fmla="*/ 5761447 h 6479439"/>
                <a:gd name="connsiteX1077" fmla="*/ 8375869 w 9586368"/>
                <a:gd name="connsiteY1077" fmla="*/ 5761447 h 6479439"/>
                <a:gd name="connsiteX1078" fmla="*/ 8371850 w 9586368"/>
                <a:gd name="connsiteY1078" fmla="*/ 5757408 h 6479439"/>
                <a:gd name="connsiteX1079" fmla="*/ 8371850 w 9586368"/>
                <a:gd name="connsiteY1079" fmla="*/ 5747537 h 6479439"/>
                <a:gd name="connsiteX1080" fmla="*/ 8136553 w 9586368"/>
                <a:gd name="connsiteY1080" fmla="*/ 5743499 h 6479439"/>
                <a:gd name="connsiteX1081" fmla="*/ 8146464 w 9586368"/>
                <a:gd name="connsiteY1081" fmla="*/ 5743499 h 6479439"/>
                <a:gd name="connsiteX1082" fmla="*/ 8150483 w 9586368"/>
                <a:gd name="connsiteY1082" fmla="*/ 5747537 h 6479439"/>
                <a:gd name="connsiteX1083" fmla="*/ 8150483 w 9586368"/>
                <a:gd name="connsiteY1083" fmla="*/ 5757408 h 6479439"/>
                <a:gd name="connsiteX1084" fmla="*/ 8146464 w 9586368"/>
                <a:gd name="connsiteY1084" fmla="*/ 5761447 h 6479439"/>
                <a:gd name="connsiteX1085" fmla="*/ 8136553 w 9586368"/>
                <a:gd name="connsiteY1085" fmla="*/ 5761447 h 6479439"/>
                <a:gd name="connsiteX1086" fmla="*/ 8132534 w 9586368"/>
                <a:gd name="connsiteY1086" fmla="*/ 5757408 h 6479439"/>
                <a:gd name="connsiteX1087" fmla="*/ 8132534 w 9586368"/>
                <a:gd name="connsiteY1087" fmla="*/ 5747537 h 6479439"/>
                <a:gd name="connsiteX1088" fmla="*/ 7897241 w 9586368"/>
                <a:gd name="connsiteY1088" fmla="*/ 5743499 h 6479439"/>
                <a:gd name="connsiteX1089" fmla="*/ 7907151 w 9586368"/>
                <a:gd name="connsiteY1089" fmla="*/ 5743499 h 6479439"/>
                <a:gd name="connsiteX1090" fmla="*/ 7911170 w 9586368"/>
                <a:gd name="connsiteY1090" fmla="*/ 5747537 h 6479439"/>
                <a:gd name="connsiteX1091" fmla="*/ 7911170 w 9586368"/>
                <a:gd name="connsiteY1091" fmla="*/ 5757408 h 6479439"/>
                <a:gd name="connsiteX1092" fmla="*/ 7907151 w 9586368"/>
                <a:gd name="connsiteY1092" fmla="*/ 5761447 h 6479439"/>
                <a:gd name="connsiteX1093" fmla="*/ 7897241 w 9586368"/>
                <a:gd name="connsiteY1093" fmla="*/ 5761447 h 6479439"/>
                <a:gd name="connsiteX1094" fmla="*/ 7893222 w 9586368"/>
                <a:gd name="connsiteY1094" fmla="*/ 5757408 h 6479439"/>
                <a:gd name="connsiteX1095" fmla="*/ 7893222 w 9586368"/>
                <a:gd name="connsiteY1095" fmla="*/ 5747537 h 6479439"/>
                <a:gd name="connsiteX1096" fmla="*/ 7657926 w 9586368"/>
                <a:gd name="connsiteY1096" fmla="*/ 5743499 h 6479439"/>
                <a:gd name="connsiteX1097" fmla="*/ 7667836 w 9586368"/>
                <a:gd name="connsiteY1097" fmla="*/ 5743499 h 6479439"/>
                <a:gd name="connsiteX1098" fmla="*/ 7671855 w 9586368"/>
                <a:gd name="connsiteY1098" fmla="*/ 5747537 h 6479439"/>
                <a:gd name="connsiteX1099" fmla="*/ 7671855 w 9586368"/>
                <a:gd name="connsiteY1099" fmla="*/ 5757408 h 6479439"/>
                <a:gd name="connsiteX1100" fmla="*/ 7667836 w 9586368"/>
                <a:gd name="connsiteY1100" fmla="*/ 5761447 h 6479439"/>
                <a:gd name="connsiteX1101" fmla="*/ 7657926 w 9586368"/>
                <a:gd name="connsiteY1101" fmla="*/ 5761447 h 6479439"/>
                <a:gd name="connsiteX1102" fmla="*/ 7653906 w 9586368"/>
                <a:gd name="connsiteY1102" fmla="*/ 5757408 h 6479439"/>
                <a:gd name="connsiteX1103" fmla="*/ 7653906 w 9586368"/>
                <a:gd name="connsiteY1103" fmla="*/ 5747537 h 6479439"/>
                <a:gd name="connsiteX1104" fmla="*/ 7418611 w 9586368"/>
                <a:gd name="connsiteY1104" fmla="*/ 5743499 h 6479439"/>
                <a:gd name="connsiteX1105" fmla="*/ 7428521 w 9586368"/>
                <a:gd name="connsiteY1105" fmla="*/ 5743499 h 6479439"/>
                <a:gd name="connsiteX1106" fmla="*/ 7432540 w 9586368"/>
                <a:gd name="connsiteY1106" fmla="*/ 5747537 h 6479439"/>
                <a:gd name="connsiteX1107" fmla="*/ 7432540 w 9586368"/>
                <a:gd name="connsiteY1107" fmla="*/ 5757408 h 6479439"/>
                <a:gd name="connsiteX1108" fmla="*/ 7428521 w 9586368"/>
                <a:gd name="connsiteY1108" fmla="*/ 5761447 h 6479439"/>
                <a:gd name="connsiteX1109" fmla="*/ 7418611 w 9586368"/>
                <a:gd name="connsiteY1109" fmla="*/ 5761447 h 6479439"/>
                <a:gd name="connsiteX1110" fmla="*/ 7414592 w 9586368"/>
                <a:gd name="connsiteY1110" fmla="*/ 5757408 h 6479439"/>
                <a:gd name="connsiteX1111" fmla="*/ 7414592 w 9586368"/>
                <a:gd name="connsiteY1111" fmla="*/ 5747537 h 6479439"/>
                <a:gd name="connsiteX1112" fmla="*/ 7179298 w 9586368"/>
                <a:gd name="connsiteY1112" fmla="*/ 5743499 h 6479439"/>
                <a:gd name="connsiteX1113" fmla="*/ 7189209 w 9586368"/>
                <a:gd name="connsiteY1113" fmla="*/ 5743499 h 6479439"/>
                <a:gd name="connsiteX1114" fmla="*/ 7193228 w 9586368"/>
                <a:gd name="connsiteY1114" fmla="*/ 5747537 h 6479439"/>
                <a:gd name="connsiteX1115" fmla="*/ 7193228 w 9586368"/>
                <a:gd name="connsiteY1115" fmla="*/ 5757408 h 6479439"/>
                <a:gd name="connsiteX1116" fmla="*/ 7189209 w 9586368"/>
                <a:gd name="connsiteY1116" fmla="*/ 5761447 h 6479439"/>
                <a:gd name="connsiteX1117" fmla="*/ 7179298 w 9586368"/>
                <a:gd name="connsiteY1117" fmla="*/ 5761447 h 6479439"/>
                <a:gd name="connsiteX1118" fmla="*/ 7175279 w 9586368"/>
                <a:gd name="connsiteY1118" fmla="*/ 5757408 h 6479439"/>
                <a:gd name="connsiteX1119" fmla="*/ 7175279 w 9586368"/>
                <a:gd name="connsiteY1119" fmla="*/ 5747537 h 6479439"/>
                <a:gd name="connsiteX1120" fmla="*/ 6939983 w 9586368"/>
                <a:gd name="connsiteY1120" fmla="*/ 5743499 h 6479439"/>
                <a:gd name="connsiteX1121" fmla="*/ 6949894 w 9586368"/>
                <a:gd name="connsiteY1121" fmla="*/ 5743499 h 6479439"/>
                <a:gd name="connsiteX1122" fmla="*/ 6953913 w 9586368"/>
                <a:gd name="connsiteY1122" fmla="*/ 5747537 h 6479439"/>
                <a:gd name="connsiteX1123" fmla="*/ 6953913 w 9586368"/>
                <a:gd name="connsiteY1123" fmla="*/ 5757408 h 6479439"/>
                <a:gd name="connsiteX1124" fmla="*/ 6949894 w 9586368"/>
                <a:gd name="connsiteY1124" fmla="*/ 5761447 h 6479439"/>
                <a:gd name="connsiteX1125" fmla="*/ 6939983 w 9586368"/>
                <a:gd name="connsiteY1125" fmla="*/ 5761447 h 6479439"/>
                <a:gd name="connsiteX1126" fmla="*/ 6935964 w 9586368"/>
                <a:gd name="connsiteY1126" fmla="*/ 5757408 h 6479439"/>
                <a:gd name="connsiteX1127" fmla="*/ 6935964 w 9586368"/>
                <a:gd name="connsiteY1127" fmla="*/ 5747537 h 6479439"/>
                <a:gd name="connsiteX1128" fmla="*/ 6700670 w 9586368"/>
                <a:gd name="connsiteY1128" fmla="*/ 5743499 h 6479439"/>
                <a:gd name="connsiteX1129" fmla="*/ 6710581 w 9586368"/>
                <a:gd name="connsiteY1129" fmla="*/ 5743499 h 6479439"/>
                <a:gd name="connsiteX1130" fmla="*/ 6714600 w 9586368"/>
                <a:gd name="connsiteY1130" fmla="*/ 5747537 h 6479439"/>
                <a:gd name="connsiteX1131" fmla="*/ 6714600 w 9586368"/>
                <a:gd name="connsiteY1131" fmla="*/ 5757408 h 6479439"/>
                <a:gd name="connsiteX1132" fmla="*/ 6710581 w 9586368"/>
                <a:gd name="connsiteY1132" fmla="*/ 5761447 h 6479439"/>
                <a:gd name="connsiteX1133" fmla="*/ 6700670 w 9586368"/>
                <a:gd name="connsiteY1133" fmla="*/ 5761447 h 6479439"/>
                <a:gd name="connsiteX1134" fmla="*/ 6696651 w 9586368"/>
                <a:gd name="connsiteY1134" fmla="*/ 5757408 h 6479439"/>
                <a:gd name="connsiteX1135" fmla="*/ 6696651 w 9586368"/>
                <a:gd name="connsiteY1135" fmla="*/ 5747537 h 6479439"/>
                <a:gd name="connsiteX1136" fmla="*/ 6461356 w 9586368"/>
                <a:gd name="connsiteY1136" fmla="*/ 5743499 h 6479439"/>
                <a:gd name="connsiteX1137" fmla="*/ 6471266 w 9586368"/>
                <a:gd name="connsiteY1137" fmla="*/ 5743499 h 6479439"/>
                <a:gd name="connsiteX1138" fmla="*/ 6475285 w 9586368"/>
                <a:gd name="connsiteY1138" fmla="*/ 5747537 h 6479439"/>
                <a:gd name="connsiteX1139" fmla="*/ 6475285 w 9586368"/>
                <a:gd name="connsiteY1139" fmla="*/ 5757408 h 6479439"/>
                <a:gd name="connsiteX1140" fmla="*/ 6471266 w 9586368"/>
                <a:gd name="connsiteY1140" fmla="*/ 5761447 h 6479439"/>
                <a:gd name="connsiteX1141" fmla="*/ 6461356 w 9586368"/>
                <a:gd name="connsiteY1141" fmla="*/ 5761447 h 6479439"/>
                <a:gd name="connsiteX1142" fmla="*/ 6457337 w 9586368"/>
                <a:gd name="connsiteY1142" fmla="*/ 5757408 h 6479439"/>
                <a:gd name="connsiteX1143" fmla="*/ 6457337 w 9586368"/>
                <a:gd name="connsiteY1143" fmla="*/ 5747537 h 6479439"/>
                <a:gd name="connsiteX1144" fmla="*/ 6222042 w 9586368"/>
                <a:gd name="connsiteY1144" fmla="*/ 5743499 h 6479439"/>
                <a:gd name="connsiteX1145" fmla="*/ 6231952 w 9586368"/>
                <a:gd name="connsiteY1145" fmla="*/ 5743499 h 6479439"/>
                <a:gd name="connsiteX1146" fmla="*/ 6235971 w 9586368"/>
                <a:gd name="connsiteY1146" fmla="*/ 5747537 h 6479439"/>
                <a:gd name="connsiteX1147" fmla="*/ 6235971 w 9586368"/>
                <a:gd name="connsiteY1147" fmla="*/ 5757408 h 6479439"/>
                <a:gd name="connsiteX1148" fmla="*/ 6231952 w 9586368"/>
                <a:gd name="connsiteY1148" fmla="*/ 5761447 h 6479439"/>
                <a:gd name="connsiteX1149" fmla="*/ 6222042 w 9586368"/>
                <a:gd name="connsiteY1149" fmla="*/ 5761447 h 6479439"/>
                <a:gd name="connsiteX1150" fmla="*/ 6218023 w 9586368"/>
                <a:gd name="connsiteY1150" fmla="*/ 5757408 h 6479439"/>
                <a:gd name="connsiteX1151" fmla="*/ 6218023 w 9586368"/>
                <a:gd name="connsiteY1151" fmla="*/ 5747537 h 6479439"/>
                <a:gd name="connsiteX1152" fmla="*/ 5982729 w 9586368"/>
                <a:gd name="connsiteY1152" fmla="*/ 5743499 h 6479439"/>
                <a:gd name="connsiteX1153" fmla="*/ 5992639 w 9586368"/>
                <a:gd name="connsiteY1153" fmla="*/ 5743499 h 6479439"/>
                <a:gd name="connsiteX1154" fmla="*/ 5996658 w 9586368"/>
                <a:gd name="connsiteY1154" fmla="*/ 5747537 h 6479439"/>
                <a:gd name="connsiteX1155" fmla="*/ 5996658 w 9586368"/>
                <a:gd name="connsiteY1155" fmla="*/ 5757408 h 6479439"/>
                <a:gd name="connsiteX1156" fmla="*/ 5992639 w 9586368"/>
                <a:gd name="connsiteY1156" fmla="*/ 5761447 h 6479439"/>
                <a:gd name="connsiteX1157" fmla="*/ 5982729 w 9586368"/>
                <a:gd name="connsiteY1157" fmla="*/ 5761447 h 6479439"/>
                <a:gd name="connsiteX1158" fmla="*/ 5978710 w 9586368"/>
                <a:gd name="connsiteY1158" fmla="*/ 5757408 h 6479439"/>
                <a:gd name="connsiteX1159" fmla="*/ 5978710 w 9586368"/>
                <a:gd name="connsiteY1159" fmla="*/ 5747537 h 6479439"/>
                <a:gd name="connsiteX1160" fmla="*/ 5743412 w 9586368"/>
                <a:gd name="connsiteY1160" fmla="*/ 5743499 h 6479439"/>
                <a:gd name="connsiteX1161" fmla="*/ 5753323 w 9586368"/>
                <a:gd name="connsiteY1161" fmla="*/ 5743499 h 6479439"/>
                <a:gd name="connsiteX1162" fmla="*/ 5757342 w 9586368"/>
                <a:gd name="connsiteY1162" fmla="*/ 5747537 h 6479439"/>
                <a:gd name="connsiteX1163" fmla="*/ 5757342 w 9586368"/>
                <a:gd name="connsiteY1163" fmla="*/ 5757408 h 6479439"/>
                <a:gd name="connsiteX1164" fmla="*/ 5753323 w 9586368"/>
                <a:gd name="connsiteY1164" fmla="*/ 5761447 h 6479439"/>
                <a:gd name="connsiteX1165" fmla="*/ 5743412 w 9586368"/>
                <a:gd name="connsiteY1165" fmla="*/ 5761447 h 6479439"/>
                <a:gd name="connsiteX1166" fmla="*/ 5739393 w 9586368"/>
                <a:gd name="connsiteY1166" fmla="*/ 5757408 h 6479439"/>
                <a:gd name="connsiteX1167" fmla="*/ 5739393 w 9586368"/>
                <a:gd name="connsiteY1167" fmla="*/ 5747537 h 6479439"/>
                <a:gd name="connsiteX1168" fmla="*/ 5504099 w 9586368"/>
                <a:gd name="connsiteY1168" fmla="*/ 5743499 h 6479439"/>
                <a:gd name="connsiteX1169" fmla="*/ 5514010 w 9586368"/>
                <a:gd name="connsiteY1169" fmla="*/ 5743499 h 6479439"/>
                <a:gd name="connsiteX1170" fmla="*/ 5518029 w 9586368"/>
                <a:gd name="connsiteY1170" fmla="*/ 5747537 h 6479439"/>
                <a:gd name="connsiteX1171" fmla="*/ 5518029 w 9586368"/>
                <a:gd name="connsiteY1171" fmla="*/ 5757408 h 6479439"/>
                <a:gd name="connsiteX1172" fmla="*/ 5514010 w 9586368"/>
                <a:gd name="connsiteY1172" fmla="*/ 5761447 h 6479439"/>
                <a:gd name="connsiteX1173" fmla="*/ 5504099 w 9586368"/>
                <a:gd name="connsiteY1173" fmla="*/ 5761447 h 6479439"/>
                <a:gd name="connsiteX1174" fmla="*/ 5500080 w 9586368"/>
                <a:gd name="connsiteY1174" fmla="*/ 5757408 h 6479439"/>
                <a:gd name="connsiteX1175" fmla="*/ 5500080 w 9586368"/>
                <a:gd name="connsiteY1175" fmla="*/ 5747537 h 6479439"/>
                <a:gd name="connsiteX1176" fmla="*/ 5264784 w 9586368"/>
                <a:gd name="connsiteY1176" fmla="*/ 5743499 h 6479439"/>
                <a:gd name="connsiteX1177" fmla="*/ 5274694 w 9586368"/>
                <a:gd name="connsiteY1177" fmla="*/ 5743499 h 6479439"/>
                <a:gd name="connsiteX1178" fmla="*/ 5278713 w 9586368"/>
                <a:gd name="connsiteY1178" fmla="*/ 5747537 h 6479439"/>
                <a:gd name="connsiteX1179" fmla="*/ 5278713 w 9586368"/>
                <a:gd name="connsiteY1179" fmla="*/ 5757408 h 6479439"/>
                <a:gd name="connsiteX1180" fmla="*/ 5274694 w 9586368"/>
                <a:gd name="connsiteY1180" fmla="*/ 5761447 h 6479439"/>
                <a:gd name="connsiteX1181" fmla="*/ 5264784 w 9586368"/>
                <a:gd name="connsiteY1181" fmla="*/ 5761447 h 6479439"/>
                <a:gd name="connsiteX1182" fmla="*/ 5260765 w 9586368"/>
                <a:gd name="connsiteY1182" fmla="*/ 5757408 h 6479439"/>
                <a:gd name="connsiteX1183" fmla="*/ 5260765 w 9586368"/>
                <a:gd name="connsiteY1183" fmla="*/ 5747537 h 6479439"/>
                <a:gd name="connsiteX1184" fmla="*/ 5025470 w 9586368"/>
                <a:gd name="connsiteY1184" fmla="*/ 5743499 h 6479439"/>
                <a:gd name="connsiteX1185" fmla="*/ 5035381 w 9586368"/>
                <a:gd name="connsiteY1185" fmla="*/ 5743499 h 6479439"/>
                <a:gd name="connsiteX1186" fmla="*/ 5039400 w 9586368"/>
                <a:gd name="connsiteY1186" fmla="*/ 5747537 h 6479439"/>
                <a:gd name="connsiteX1187" fmla="*/ 5039400 w 9586368"/>
                <a:gd name="connsiteY1187" fmla="*/ 5757408 h 6479439"/>
                <a:gd name="connsiteX1188" fmla="*/ 5035381 w 9586368"/>
                <a:gd name="connsiteY1188" fmla="*/ 5761447 h 6479439"/>
                <a:gd name="connsiteX1189" fmla="*/ 5025470 w 9586368"/>
                <a:gd name="connsiteY1189" fmla="*/ 5761447 h 6479439"/>
                <a:gd name="connsiteX1190" fmla="*/ 5021451 w 9586368"/>
                <a:gd name="connsiteY1190" fmla="*/ 5757408 h 6479439"/>
                <a:gd name="connsiteX1191" fmla="*/ 5021451 w 9586368"/>
                <a:gd name="connsiteY1191" fmla="*/ 5747537 h 6479439"/>
                <a:gd name="connsiteX1192" fmla="*/ 4786241 w 9586368"/>
                <a:gd name="connsiteY1192" fmla="*/ 5743499 h 6479439"/>
                <a:gd name="connsiteX1193" fmla="*/ 4796152 w 9586368"/>
                <a:gd name="connsiteY1193" fmla="*/ 5743499 h 6479439"/>
                <a:gd name="connsiteX1194" fmla="*/ 4800171 w 9586368"/>
                <a:gd name="connsiteY1194" fmla="*/ 5747537 h 6479439"/>
                <a:gd name="connsiteX1195" fmla="*/ 4800171 w 9586368"/>
                <a:gd name="connsiteY1195" fmla="*/ 5757408 h 6479439"/>
                <a:gd name="connsiteX1196" fmla="*/ 4796152 w 9586368"/>
                <a:gd name="connsiteY1196" fmla="*/ 5761447 h 6479439"/>
                <a:gd name="connsiteX1197" fmla="*/ 4786241 w 9586368"/>
                <a:gd name="connsiteY1197" fmla="*/ 5761447 h 6479439"/>
                <a:gd name="connsiteX1198" fmla="*/ 4782224 w 9586368"/>
                <a:gd name="connsiteY1198" fmla="*/ 5757408 h 6479439"/>
                <a:gd name="connsiteX1199" fmla="*/ 4782224 w 9586368"/>
                <a:gd name="connsiteY1199" fmla="*/ 5747537 h 6479439"/>
                <a:gd name="connsiteX1200" fmla="*/ 4546929 w 9586368"/>
                <a:gd name="connsiteY1200" fmla="*/ 5743499 h 6479439"/>
                <a:gd name="connsiteX1201" fmla="*/ 4556840 w 9586368"/>
                <a:gd name="connsiteY1201" fmla="*/ 5743499 h 6479439"/>
                <a:gd name="connsiteX1202" fmla="*/ 4560859 w 9586368"/>
                <a:gd name="connsiteY1202" fmla="*/ 5747537 h 6479439"/>
                <a:gd name="connsiteX1203" fmla="*/ 4560859 w 9586368"/>
                <a:gd name="connsiteY1203" fmla="*/ 5757408 h 6479439"/>
                <a:gd name="connsiteX1204" fmla="*/ 4556840 w 9586368"/>
                <a:gd name="connsiteY1204" fmla="*/ 5761447 h 6479439"/>
                <a:gd name="connsiteX1205" fmla="*/ 4546929 w 9586368"/>
                <a:gd name="connsiteY1205" fmla="*/ 5761447 h 6479439"/>
                <a:gd name="connsiteX1206" fmla="*/ 4542910 w 9586368"/>
                <a:gd name="connsiteY1206" fmla="*/ 5757408 h 6479439"/>
                <a:gd name="connsiteX1207" fmla="*/ 4542910 w 9586368"/>
                <a:gd name="connsiteY1207" fmla="*/ 5747537 h 6479439"/>
                <a:gd name="connsiteX1208" fmla="*/ 4307612 w 9586368"/>
                <a:gd name="connsiteY1208" fmla="*/ 5743499 h 6479439"/>
                <a:gd name="connsiteX1209" fmla="*/ 4317523 w 9586368"/>
                <a:gd name="connsiteY1209" fmla="*/ 5743499 h 6479439"/>
                <a:gd name="connsiteX1210" fmla="*/ 4321543 w 9586368"/>
                <a:gd name="connsiteY1210" fmla="*/ 5747537 h 6479439"/>
                <a:gd name="connsiteX1211" fmla="*/ 4321543 w 9586368"/>
                <a:gd name="connsiteY1211" fmla="*/ 5757408 h 6479439"/>
                <a:gd name="connsiteX1212" fmla="*/ 4317523 w 9586368"/>
                <a:gd name="connsiteY1212" fmla="*/ 5761447 h 6479439"/>
                <a:gd name="connsiteX1213" fmla="*/ 4307612 w 9586368"/>
                <a:gd name="connsiteY1213" fmla="*/ 5761447 h 6479439"/>
                <a:gd name="connsiteX1214" fmla="*/ 4303595 w 9586368"/>
                <a:gd name="connsiteY1214" fmla="*/ 5757408 h 6479439"/>
                <a:gd name="connsiteX1215" fmla="*/ 4303595 w 9586368"/>
                <a:gd name="connsiteY1215" fmla="*/ 5747537 h 6479439"/>
                <a:gd name="connsiteX1216" fmla="*/ 4068297 w 9586368"/>
                <a:gd name="connsiteY1216" fmla="*/ 5743499 h 6479439"/>
                <a:gd name="connsiteX1217" fmla="*/ 4078210 w 9586368"/>
                <a:gd name="connsiteY1217" fmla="*/ 5743499 h 6479439"/>
                <a:gd name="connsiteX1218" fmla="*/ 4082229 w 9586368"/>
                <a:gd name="connsiteY1218" fmla="*/ 5747537 h 6479439"/>
                <a:gd name="connsiteX1219" fmla="*/ 4082229 w 9586368"/>
                <a:gd name="connsiteY1219" fmla="*/ 5757408 h 6479439"/>
                <a:gd name="connsiteX1220" fmla="*/ 4078210 w 9586368"/>
                <a:gd name="connsiteY1220" fmla="*/ 5761447 h 6479439"/>
                <a:gd name="connsiteX1221" fmla="*/ 4068297 w 9586368"/>
                <a:gd name="connsiteY1221" fmla="*/ 5761447 h 6479439"/>
                <a:gd name="connsiteX1222" fmla="*/ 4064278 w 9586368"/>
                <a:gd name="connsiteY1222" fmla="*/ 5757408 h 6479439"/>
                <a:gd name="connsiteX1223" fmla="*/ 4064278 w 9586368"/>
                <a:gd name="connsiteY1223" fmla="*/ 5747537 h 6479439"/>
                <a:gd name="connsiteX1224" fmla="*/ 3828990 w 9586368"/>
                <a:gd name="connsiteY1224" fmla="*/ 5743499 h 6479439"/>
                <a:gd name="connsiteX1225" fmla="*/ 3838899 w 9586368"/>
                <a:gd name="connsiteY1225" fmla="*/ 5743499 h 6479439"/>
                <a:gd name="connsiteX1226" fmla="*/ 3842917 w 9586368"/>
                <a:gd name="connsiteY1226" fmla="*/ 5747537 h 6479439"/>
                <a:gd name="connsiteX1227" fmla="*/ 3842917 w 9586368"/>
                <a:gd name="connsiteY1227" fmla="*/ 5757408 h 6479439"/>
                <a:gd name="connsiteX1228" fmla="*/ 3838899 w 9586368"/>
                <a:gd name="connsiteY1228" fmla="*/ 5761447 h 6479439"/>
                <a:gd name="connsiteX1229" fmla="*/ 3828990 w 9586368"/>
                <a:gd name="connsiteY1229" fmla="*/ 5761447 h 6479439"/>
                <a:gd name="connsiteX1230" fmla="*/ 3824971 w 9586368"/>
                <a:gd name="connsiteY1230" fmla="*/ 5757408 h 6479439"/>
                <a:gd name="connsiteX1231" fmla="*/ 3824971 w 9586368"/>
                <a:gd name="connsiteY1231" fmla="*/ 5747537 h 6479439"/>
                <a:gd name="connsiteX1232" fmla="*/ 3589676 w 9586368"/>
                <a:gd name="connsiteY1232" fmla="*/ 5743499 h 6479439"/>
                <a:gd name="connsiteX1233" fmla="*/ 3599585 w 9586368"/>
                <a:gd name="connsiteY1233" fmla="*/ 5743499 h 6479439"/>
                <a:gd name="connsiteX1234" fmla="*/ 3603604 w 9586368"/>
                <a:gd name="connsiteY1234" fmla="*/ 5747537 h 6479439"/>
                <a:gd name="connsiteX1235" fmla="*/ 3603604 w 9586368"/>
                <a:gd name="connsiteY1235" fmla="*/ 5757408 h 6479439"/>
                <a:gd name="connsiteX1236" fmla="*/ 3599585 w 9586368"/>
                <a:gd name="connsiteY1236" fmla="*/ 5761447 h 6479439"/>
                <a:gd name="connsiteX1237" fmla="*/ 3589676 w 9586368"/>
                <a:gd name="connsiteY1237" fmla="*/ 5761447 h 6479439"/>
                <a:gd name="connsiteX1238" fmla="*/ 3585657 w 9586368"/>
                <a:gd name="connsiteY1238" fmla="*/ 5757408 h 6479439"/>
                <a:gd name="connsiteX1239" fmla="*/ 3585657 w 9586368"/>
                <a:gd name="connsiteY1239" fmla="*/ 5747537 h 6479439"/>
                <a:gd name="connsiteX1240" fmla="*/ 3350359 w 9586368"/>
                <a:gd name="connsiteY1240" fmla="*/ 5743499 h 6479439"/>
                <a:gd name="connsiteX1241" fmla="*/ 3360268 w 9586368"/>
                <a:gd name="connsiteY1241" fmla="*/ 5743499 h 6479439"/>
                <a:gd name="connsiteX1242" fmla="*/ 3364287 w 9586368"/>
                <a:gd name="connsiteY1242" fmla="*/ 5747537 h 6479439"/>
                <a:gd name="connsiteX1243" fmla="*/ 3364287 w 9586368"/>
                <a:gd name="connsiteY1243" fmla="*/ 5757408 h 6479439"/>
                <a:gd name="connsiteX1244" fmla="*/ 3360268 w 9586368"/>
                <a:gd name="connsiteY1244" fmla="*/ 5761447 h 6479439"/>
                <a:gd name="connsiteX1245" fmla="*/ 3350359 w 9586368"/>
                <a:gd name="connsiteY1245" fmla="*/ 5761447 h 6479439"/>
                <a:gd name="connsiteX1246" fmla="*/ 3346340 w 9586368"/>
                <a:gd name="connsiteY1246" fmla="*/ 5757408 h 6479439"/>
                <a:gd name="connsiteX1247" fmla="*/ 3346340 w 9586368"/>
                <a:gd name="connsiteY1247" fmla="*/ 5747537 h 6479439"/>
                <a:gd name="connsiteX1248" fmla="*/ 3111048 w 9586368"/>
                <a:gd name="connsiteY1248" fmla="*/ 5743499 h 6479439"/>
                <a:gd name="connsiteX1249" fmla="*/ 3120959 w 9586368"/>
                <a:gd name="connsiteY1249" fmla="*/ 5743499 h 6479439"/>
                <a:gd name="connsiteX1250" fmla="*/ 3124977 w 9586368"/>
                <a:gd name="connsiteY1250" fmla="*/ 5747537 h 6479439"/>
                <a:gd name="connsiteX1251" fmla="*/ 3124977 w 9586368"/>
                <a:gd name="connsiteY1251" fmla="*/ 5757408 h 6479439"/>
                <a:gd name="connsiteX1252" fmla="*/ 3120959 w 9586368"/>
                <a:gd name="connsiteY1252" fmla="*/ 5761447 h 6479439"/>
                <a:gd name="connsiteX1253" fmla="*/ 3111048 w 9586368"/>
                <a:gd name="connsiteY1253" fmla="*/ 5761447 h 6479439"/>
                <a:gd name="connsiteX1254" fmla="*/ 3107029 w 9586368"/>
                <a:gd name="connsiteY1254" fmla="*/ 5757408 h 6479439"/>
                <a:gd name="connsiteX1255" fmla="*/ 3107029 w 9586368"/>
                <a:gd name="connsiteY1255" fmla="*/ 5747537 h 6479439"/>
                <a:gd name="connsiteX1256" fmla="*/ 2871737 w 9586368"/>
                <a:gd name="connsiteY1256" fmla="*/ 5743499 h 6479439"/>
                <a:gd name="connsiteX1257" fmla="*/ 2881646 w 9586368"/>
                <a:gd name="connsiteY1257" fmla="*/ 5743499 h 6479439"/>
                <a:gd name="connsiteX1258" fmla="*/ 2885666 w 9586368"/>
                <a:gd name="connsiteY1258" fmla="*/ 5747537 h 6479439"/>
                <a:gd name="connsiteX1259" fmla="*/ 2885666 w 9586368"/>
                <a:gd name="connsiteY1259" fmla="*/ 5757408 h 6479439"/>
                <a:gd name="connsiteX1260" fmla="*/ 2881646 w 9586368"/>
                <a:gd name="connsiteY1260" fmla="*/ 5761447 h 6479439"/>
                <a:gd name="connsiteX1261" fmla="*/ 2871737 w 9586368"/>
                <a:gd name="connsiteY1261" fmla="*/ 5761447 h 6479439"/>
                <a:gd name="connsiteX1262" fmla="*/ 2867717 w 9586368"/>
                <a:gd name="connsiteY1262" fmla="*/ 5757408 h 6479439"/>
                <a:gd name="connsiteX1263" fmla="*/ 2867717 w 9586368"/>
                <a:gd name="connsiteY1263" fmla="*/ 5747537 h 6479439"/>
                <a:gd name="connsiteX1264" fmla="*/ 2632423 w 9586368"/>
                <a:gd name="connsiteY1264" fmla="*/ 5743499 h 6479439"/>
                <a:gd name="connsiteX1265" fmla="*/ 2642334 w 9586368"/>
                <a:gd name="connsiteY1265" fmla="*/ 5743499 h 6479439"/>
                <a:gd name="connsiteX1266" fmla="*/ 2646352 w 9586368"/>
                <a:gd name="connsiteY1266" fmla="*/ 5747537 h 6479439"/>
                <a:gd name="connsiteX1267" fmla="*/ 2646352 w 9586368"/>
                <a:gd name="connsiteY1267" fmla="*/ 5757408 h 6479439"/>
                <a:gd name="connsiteX1268" fmla="*/ 2642334 w 9586368"/>
                <a:gd name="connsiteY1268" fmla="*/ 5761447 h 6479439"/>
                <a:gd name="connsiteX1269" fmla="*/ 2632423 w 9586368"/>
                <a:gd name="connsiteY1269" fmla="*/ 5761447 h 6479439"/>
                <a:gd name="connsiteX1270" fmla="*/ 2628404 w 9586368"/>
                <a:gd name="connsiteY1270" fmla="*/ 5757408 h 6479439"/>
                <a:gd name="connsiteX1271" fmla="*/ 2628404 w 9586368"/>
                <a:gd name="connsiteY1271" fmla="*/ 5747537 h 6479439"/>
                <a:gd name="connsiteX1272" fmla="*/ 2393104 w 9586368"/>
                <a:gd name="connsiteY1272" fmla="*/ 5743499 h 6479439"/>
                <a:gd name="connsiteX1273" fmla="*/ 2403015 w 9586368"/>
                <a:gd name="connsiteY1273" fmla="*/ 5743499 h 6479439"/>
                <a:gd name="connsiteX1274" fmla="*/ 2407034 w 9586368"/>
                <a:gd name="connsiteY1274" fmla="*/ 5747537 h 6479439"/>
                <a:gd name="connsiteX1275" fmla="*/ 2407034 w 9586368"/>
                <a:gd name="connsiteY1275" fmla="*/ 5757408 h 6479439"/>
                <a:gd name="connsiteX1276" fmla="*/ 2403015 w 9586368"/>
                <a:gd name="connsiteY1276" fmla="*/ 5761447 h 6479439"/>
                <a:gd name="connsiteX1277" fmla="*/ 2393104 w 9586368"/>
                <a:gd name="connsiteY1277" fmla="*/ 5761447 h 6479439"/>
                <a:gd name="connsiteX1278" fmla="*/ 2389087 w 9586368"/>
                <a:gd name="connsiteY1278" fmla="*/ 5757408 h 6479439"/>
                <a:gd name="connsiteX1279" fmla="*/ 2389087 w 9586368"/>
                <a:gd name="connsiteY1279" fmla="*/ 5747537 h 6479439"/>
                <a:gd name="connsiteX1280" fmla="*/ 721960 w 9586368"/>
                <a:gd name="connsiteY1280" fmla="*/ 5743499 h 6479439"/>
                <a:gd name="connsiteX1281" fmla="*/ 731871 w 9586368"/>
                <a:gd name="connsiteY1281" fmla="*/ 5743499 h 6479439"/>
                <a:gd name="connsiteX1282" fmla="*/ 735889 w 9586368"/>
                <a:gd name="connsiteY1282" fmla="*/ 5747537 h 6479439"/>
                <a:gd name="connsiteX1283" fmla="*/ 735889 w 9586368"/>
                <a:gd name="connsiteY1283" fmla="*/ 5757408 h 6479439"/>
                <a:gd name="connsiteX1284" fmla="*/ 731871 w 9586368"/>
                <a:gd name="connsiteY1284" fmla="*/ 5761447 h 6479439"/>
                <a:gd name="connsiteX1285" fmla="*/ 721960 w 9586368"/>
                <a:gd name="connsiteY1285" fmla="*/ 5761447 h 6479439"/>
                <a:gd name="connsiteX1286" fmla="*/ 717941 w 9586368"/>
                <a:gd name="connsiteY1286" fmla="*/ 5757408 h 6479439"/>
                <a:gd name="connsiteX1287" fmla="*/ 717941 w 9586368"/>
                <a:gd name="connsiteY1287" fmla="*/ 5747537 h 6479439"/>
                <a:gd name="connsiteX1288" fmla="*/ 482648 w 9586368"/>
                <a:gd name="connsiteY1288" fmla="*/ 5743499 h 6479439"/>
                <a:gd name="connsiteX1289" fmla="*/ 492558 w 9586368"/>
                <a:gd name="connsiteY1289" fmla="*/ 5743499 h 6479439"/>
                <a:gd name="connsiteX1290" fmla="*/ 496578 w 9586368"/>
                <a:gd name="connsiteY1290" fmla="*/ 5747537 h 6479439"/>
                <a:gd name="connsiteX1291" fmla="*/ 496578 w 9586368"/>
                <a:gd name="connsiteY1291" fmla="*/ 5757408 h 6479439"/>
                <a:gd name="connsiteX1292" fmla="*/ 492558 w 9586368"/>
                <a:gd name="connsiteY1292" fmla="*/ 5761447 h 6479439"/>
                <a:gd name="connsiteX1293" fmla="*/ 482648 w 9586368"/>
                <a:gd name="connsiteY1293" fmla="*/ 5761447 h 6479439"/>
                <a:gd name="connsiteX1294" fmla="*/ 478629 w 9586368"/>
                <a:gd name="connsiteY1294" fmla="*/ 5757408 h 6479439"/>
                <a:gd name="connsiteX1295" fmla="*/ 478629 w 9586368"/>
                <a:gd name="connsiteY1295" fmla="*/ 5747537 h 6479439"/>
                <a:gd name="connsiteX1296" fmla="*/ 243334 w 9586368"/>
                <a:gd name="connsiteY1296" fmla="*/ 5743499 h 6479439"/>
                <a:gd name="connsiteX1297" fmla="*/ 253245 w 9586368"/>
                <a:gd name="connsiteY1297" fmla="*/ 5743499 h 6479439"/>
                <a:gd name="connsiteX1298" fmla="*/ 257264 w 9586368"/>
                <a:gd name="connsiteY1298" fmla="*/ 5747537 h 6479439"/>
                <a:gd name="connsiteX1299" fmla="*/ 257264 w 9586368"/>
                <a:gd name="connsiteY1299" fmla="*/ 5757408 h 6479439"/>
                <a:gd name="connsiteX1300" fmla="*/ 253245 w 9586368"/>
                <a:gd name="connsiteY1300" fmla="*/ 5761447 h 6479439"/>
                <a:gd name="connsiteX1301" fmla="*/ 243334 w 9586368"/>
                <a:gd name="connsiteY1301" fmla="*/ 5761447 h 6479439"/>
                <a:gd name="connsiteX1302" fmla="*/ 239315 w 9586368"/>
                <a:gd name="connsiteY1302" fmla="*/ 5757408 h 6479439"/>
                <a:gd name="connsiteX1303" fmla="*/ 239315 w 9586368"/>
                <a:gd name="connsiteY1303" fmla="*/ 5747537 h 6479439"/>
                <a:gd name="connsiteX1304" fmla="*/ 4021 w 9586368"/>
                <a:gd name="connsiteY1304" fmla="*/ 5743499 h 6479439"/>
                <a:gd name="connsiteX1305" fmla="*/ 13932 w 9586368"/>
                <a:gd name="connsiteY1305" fmla="*/ 5743499 h 6479439"/>
                <a:gd name="connsiteX1306" fmla="*/ 17950 w 9586368"/>
                <a:gd name="connsiteY1306" fmla="*/ 5747537 h 6479439"/>
                <a:gd name="connsiteX1307" fmla="*/ 17950 w 9586368"/>
                <a:gd name="connsiteY1307" fmla="*/ 5757408 h 6479439"/>
                <a:gd name="connsiteX1308" fmla="*/ 13932 w 9586368"/>
                <a:gd name="connsiteY1308" fmla="*/ 5761447 h 6479439"/>
                <a:gd name="connsiteX1309" fmla="*/ 4021 w 9586368"/>
                <a:gd name="connsiteY1309" fmla="*/ 5761447 h 6479439"/>
                <a:gd name="connsiteX1310" fmla="*/ 2 w 9586368"/>
                <a:gd name="connsiteY1310" fmla="*/ 5757408 h 6479439"/>
                <a:gd name="connsiteX1311" fmla="*/ 2 w 9586368"/>
                <a:gd name="connsiteY1311" fmla="*/ 5747537 h 6479439"/>
                <a:gd name="connsiteX1312" fmla="*/ 9572438 w 9586368"/>
                <a:gd name="connsiteY1312" fmla="*/ 5504220 h 6479439"/>
                <a:gd name="connsiteX1313" fmla="*/ 9582349 w 9586368"/>
                <a:gd name="connsiteY1313" fmla="*/ 5504220 h 6479439"/>
                <a:gd name="connsiteX1314" fmla="*/ 9586368 w 9586368"/>
                <a:gd name="connsiteY1314" fmla="*/ 5508258 h 6479439"/>
                <a:gd name="connsiteX1315" fmla="*/ 9586368 w 9586368"/>
                <a:gd name="connsiteY1315" fmla="*/ 5518129 h 6479439"/>
                <a:gd name="connsiteX1316" fmla="*/ 9582349 w 9586368"/>
                <a:gd name="connsiteY1316" fmla="*/ 5522168 h 6479439"/>
                <a:gd name="connsiteX1317" fmla="*/ 9572438 w 9586368"/>
                <a:gd name="connsiteY1317" fmla="*/ 5522168 h 6479439"/>
                <a:gd name="connsiteX1318" fmla="*/ 9568419 w 9586368"/>
                <a:gd name="connsiteY1318" fmla="*/ 5518129 h 6479439"/>
                <a:gd name="connsiteX1319" fmla="*/ 9568419 w 9586368"/>
                <a:gd name="connsiteY1319" fmla="*/ 5508258 h 6479439"/>
                <a:gd name="connsiteX1320" fmla="*/ 9333125 w 9586368"/>
                <a:gd name="connsiteY1320" fmla="*/ 5504220 h 6479439"/>
                <a:gd name="connsiteX1321" fmla="*/ 9343036 w 9586368"/>
                <a:gd name="connsiteY1321" fmla="*/ 5504220 h 6479439"/>
                <a:gd name="connsiteX1322" fmla="*/ 9347055 w 9586368"/>
                <a:gd name="connsiteY1322" fmla="*/ 5508258 h 6479439"/>
                <a:gd name="connsiteX1323" fmla="*/ 9347055 w 9586368"/>
                <a:gd name="connsiteY1323" fmla="*/ 5518129 h 6479439"/>
                <a:gd name="connsiteX1324" fmla="*/ 9343036 w 9586368"/>
                <a:gd name="connsiteY1324" fmla="*/ 5522168 h 6479439"/>
                <a:gd name="connsiteX1325" fmla="*/ 9333125 w 9586368"/>
                <a:gd name="connsiteY1325" fmla="*/ 5522168 h 6479439"/>
                <a:gd name="connsiteX1326" fmla="*/ 9329106 w 9586368"/>
                <a:gd name="connsiteY1326" fmla="*/ 5518129 h 6479439"/>
                <a:gd name="connsiteX1327" fmla="*/ 9329106 w 9586368"/>
                <a:gd name="connsiteY1327" fmla="*/ 5508258 h 6479439"/>
                <a:gd name="connsiteX1328" fmla="*/ 9093811 w 9586368"/>
                <a:gd name="connsiteY1328" fmla="*/ 5504220 h 6479439"/>
                <a:gd name="connsiteX1329" fmla="*/ 9103722 w 9586368"/>
                <a:gd name="connsiteY1329" fmla="*/ 5504220 h 6479439"/>
                <a:gd name="connsiteX1330" fmla="*/ 9107741 w 9586368"/>
                <a:gd name="connsiteY1330" fmla="*/ 5508258 h 6479439"/>
                <a:gd name="connsiteX1331" fmla="*/ 9107741 w 9586368"/>
                <a:gd name="connsiteY1331" fmla="*/ 5518129 h 6479439"/>
                <a:gd name="connsiteX1332" fmla="*/ 9103722 w 9586368"/>
                <a:gd name="connsiteY1332" fmla="*/ 5522168 h 6479439"/>
                <a:gd name="connsiteX1333" fmla="*/ 9093811 w 9586368"/>
                <a:gd name="connsiteY1333" fmla="*/ 5522168 h 6479439"/>
                <a:gd name="connsiteX1334" fmla="*/ 9089792 w 9586368"/>
                <a:gd name="connsiteY1334" fmla="*/ 5518129 h 6479439"/>
                <a:gd name="connsiteX1335" fmla="*/ 9089792 w 9586368"/>
                <a:gd name="connsiteY1335" fmla="*/ 5508258 h 6479439"/>
                <a:gd name="connsiteX1336" fmla="*/ 8854496 w 9586368"/>
                <a:gd name="connsiteY1336" fmla="*/ 5504220 h 6479439"/>
                <a:gd name="connsiteX1337" fmla="*/ 8864407 w 9586368"/>
                <a:gd name="connsiteY1337" fmla="*/ 5504220 h 6479439"/>
                <a:gd name="connsiteX1338" fmla="*/ 8868426 w 9586368"/>
                <a:gd name="connsiteY1338" fmla="*/ 5508258 h 6479439"/>
                <a:gd name="connsiteX1339" fmla="*/ 8868426 w 9586368"/>
                <a:gd name="connsiteY1339" fmla="*/ 5518129 h 6479439"/>
                <a:gd name="connsiteX1340" fmla="*/ 8864407 w 9586368"/>
                <a:gd name="connsiteY1340" fmla="*/ 5522168 h 6479439"/>
                <a:gd name="connsiteX1341" fmla="*/ 8854496 w 9586368"/>
                <a:gd name="connsiteY1341" fmla="*/ 5522168 h 6479439"/>
                <a:gd name="connsiteX1342" fmla="*/ 8850477 w 9586368"/>
                <a:gd name="connsiteY1342" fmla="*/ 5518129 h 6479439"/>
                <a:gd name="connsiteX1343" fmla="*/ 8850477 w 9586368"/>
                <a:gd name="connsiteY1343" fmla="*/ 5508258 h 6479439"/>
                <a:gd name="connsiteX1344" fmla="*/ 8615184 w 9586368"/>
                <a:gd name="connsiteY1344" fmla="*/ 5504220 h 6479439"/>
                <a:gd name="connsiteX1345" fmla="*/ 8625095 w 9586368"/>
                <a:gd name="connsiteY1345" fmla="*/ 5504220 h 6479439"/>
                <a:gd name="connsiteX1346" fmla="*/ 8629114 w 9586368"/>
                <a:gd name="connsiteY1346" fmla="*/ 5508258 h 6479439"/>
                <a:gd name="connsiteX1347" fmla="*/ 8629114 w 9586368"/>
                <a:gd name="connsiteY1347" fmla="*/ 5518129 h 6479439"/>
                <a:gd name="connsiteX1348" fmla="*/ 8625095 w 9586368"/>
                <a:gd name="connsiteY1348" fmla="*/ 5522168 h 6479439"/>
                <a:gd name="connsiteX1349" fmla="*/ 8615184 w 9586368"/>
                <a:gd name="connsiteY1349" fmla="*/ 5522168 h 6479439"/>
                <a:gd name="connsiteX1350" fmla="*/ 8611165 w 9586368"/>
                <a:gd name="connsiteY1350" fmla="*/ 5518129 h 6479439"/>
                <a:gd name="connsiteX1351" fmla="*/ 8611165 w 9586368"/>
                <a:gd name="connsiteY1351" fmla="*/ 5508258 h 6479439"/>
                <a:gd name="connsiteX1352" fmla="*/ 8375869 w 9586368"/>
                <a:gd name="connsiteY1352" fmla="*/ 5504220 h 6479439"/>
                <a:gd name="connsiteX1353" fmla="*/ 8385779 w 9586368"/>
                <a:gd name="connsiteY1353" fmla="*/ 5504220 h 6479439"/>
                <a:gd name="connsiteX1354" fmla="*/ 8389799 w 9586368"/>
                <a:gd name="connsiteY1354" fmla="*/ 5508258 h 6479439"/>
                <a:gd name="connsiteX1355" fmla="*/ 8389799 w 9586368"/>
                <a:gd name="connsiteY1355" fmla="*/ 5518129 h 6479439"/>
                <a:gd name="connsiteX1356" fmla="*/ 8385779 w 9586368"/>
                <a:gd name="connsiteY1356" fmla="*/ 5522168 h 6479439"/>
                <a:gd name="connsiteX1357" fmla="*/ 8375869 w 9586368"/>
                <a:gd name="connsiteY1357" fmla="*/ 5522168 h 6479439"/>
                <a:gd name="connsiteX1358" fmla="*/ 8371850 w 9586368"/>
                <a:gd name="connsiteY1358" fmla="*/ 5518129 h 6479439"/>
                <a:gd name="connsiteX1359" fmla="*/ 8371850 w 9586368"/>
                <a:gd name="connsiteY1359" fmla="*/ 5508258 h 6479439"/>
                <a:gd name="connsiteX1360" fmla="*/ 8136553 w 9586368"/>
                <a:gd name="connsiteY1360" fmla="*/ 5504220 h 6479439"/>
                <a:gd name="connsiteX1361" fmla="*/ 8146464 w 9586368"/>
                <a:gd name="connsiteY1361" fmla="*/ 5504220 h 6479439"/>
                <a:gd name="connsiteX1362" fmla="*/ 8150483 w 9586368"/>
                <a:gd name="connsiteY1362" fmla="*/ 5508258 h 6479439"/>
                <a:gd name="connsiteX1363" fmla="*/ 8150483 w 9586368"/>
                <a:gd name="connsiteY1363" fmla="*/ 5518129 h 6479439"/>
                <a:gd name="connsiteX1364" fmla="*/ 8146464 w 9586368"/>
                <a:gd name="connsiteY1364" fmla="*/ 5522168 h 6479439"/>
                <a:gd name="connsiteX1365" fmla="*/ 8136553 w 9586368"/>
                <a:gd name="connsiteY1365" fmla="*/ 5522168 h 6479439"/>
                <a:gd name="connsiteX1366" fmla="*/ 8132534 w 9586368"/>
                <a:gd name="connsiteY1366" fmla="*/ 5518129 h 6479439"/>
                <a:gd name="connsiteX1367" fmla="*/ 8132534 w 9586368"/>
                <a:gd name="connsiteY1367" fmla="*/ 5508258 h 6479439"/>
                <a:gd name="connsiteX1368" fmla="*/ 7897241 w 9586368"/>
                <a:gd name="connsiteY1368" fmla="*/ 5504220 h 6479439"/>
                <a:gd name="connsiteX1369" fmla="*/ 7907151 w 9586368"/>
                <a:gd name="connsiteY1369" fmla="*/ 5504220 h 6479439"/>
                <a:gd name="connsiteX1370" fmla="*/ 7911170 w 9586368"/>
                <a:gd name="connsiteY1370" fmla="*/ 5508258 h 6479439"/>
                <a:gd name="connsiteX1371" fmla="*/ 7911170 w 9586368"/>
                <a:gd name="connsiteY1371" fmla="*/ 5518129 h 6479439"/>
                <a:gd name="connsiteX1372" fmla="*/ 7907151 w 9586368"/>
                <a:gd name="connsiteY1372" fmla="*/ 5522168 h 6479439"/>
                <a:gd name="connsiteX1373" fmla="*/ 7897241 w 9586368"/>
                <a:gd name="connsiteY1373" fmla="*/ 5522168 h 6479439"/>
                <a:gd name="connsiteX1374" fmla="*/ 7893222 w 9586368"/>
                <a:gd name="connsiteY1374" fmla="*/ 5518129 h 6479439"/>
                <a:gd name="connsiteX1375" fmla="*/ 7893222 w 9586368"/>
                <a:gd name="connsiteY1375" fmla="*/ 5508258 h 6479439"/>
                <a:gd name="connsiteX1376" fmla="*/ 7657926 w 9586368"/>
                <a:gd name="connsiteY1376" fmla="*/ 5504220 h 6479439"/>
                <a:gd name="connsiteX1377" fmla="*/ 7667836 w 9586368"/>
                <a:gd name="connsiteY1377" fmla="*/ 5504220 h 6479439"/>
                <a:gd name="connsiteX1378" fmla="*/ 7671855 w 9586368"/>
                <a:gd name="connsiteY1378" fmla="*/ 5508258 h 6479439"/>
                <a:gd name="connsiteX1379" fmla="*/ 7671855 w 9586368"/>
                <a:gd name="connsiteY1379" fmla="*/ 5518129 h 6479439"/>
                <a:gd name="connsiteX1380" fmla="*/ 7667836 w 9586368"/>
                <a:gd name="connsiteY1380" fmla="*/ 5522168 h 6479439"/>
                <a:gd name="connsiteX1381" fmla="*/ 7657926 w 9586368"/>
                <a:gd name="connsiteY1381" fmla="*/ 5522168 h 6479439"/>
                <a:gd name="connsiteX1382" fmla="*/ 7653906 w 9586368"/>
                <a:gd name="connsiteY1382" fmla="*/ 5518129 h 6479439"/>
                <a:gd name="connsiteX1383" fmla="*/ 7653906 w 9586368"/>
                <a:gd name="connsiteY1383" fmla="*/ 5508258 h 6479439"/>
                <a:gd name="connsiteX1384" fmla="*/ 7418611 w 9586368"/>
                <a:gd name="connsiteY1384" fmla="*/ 5504220 h 6479439"/>
                <a:gd name="connsiteX1385" fmla="*/ 7428521 w 9586368"/>
                <a:gd name="connsiteY1385" fmla="*/ 5504220 h 6479439"/>
                <a:gd name="connsiteX1386" fmla="*/ 7432540 w 9586368"/>
                <a:gd name="connsiteY1386" fmla="*/ 5508258 h 6479439"/>
                <a:gd name="connsiteX1387" fmla="*/ 7432540 w 9586368"/>
                <a:gd name="connsiteY1387" fmla="*/ 5518129 h 6479439"/>
                <a:gd name="connsiteX1388" fmla="*/ 7428521 w 9586368"/>
                <a:gd name="connsiteY1388" fmla="*/ 5522168 h 6479439"/>
                <a:gd name="connsiteX1389" fmla="*/ 7418611 w 9586368"/>
                <a:gd name="connsiteY1389" fmla="*/ 5522168 h 6479439"/>
                <a:gd name="connsiteX1390" fmla="*/ 7414592 w 9586368"/>
                <a:gd name="connsiteY1390" fmla="*/ 5518129 h 6479439"/>
                <a:gd name="connsiteX1391" fmla="*/ 7414592 w 9586368"/>
                <a:gd name="connsiteY1391" fmla="*/ 5508258 h 6479439"/>
                <a:gd name="connsiteX1392" fmla="*/ 7179298 w 9586368"/>
                <a:gd name="connsiteY1392" fmla="*/ 5504220 h 6479439"/>
                <a:gd name="connsiteX1393" fmla="*/ 7189209 w 9586368"/>
                <a:gd name="connsiteY1393" fmla="*/ 5504220 h 6479439"/>
                <a:gd name="connsiteX1394" fmla="*/ 7193228 w 9586368"/>
                <a:gd name="connsiteY1394" fmla="*/ 5508258 h 6479439"/>
                <a:gd name="connsiteX1395" fmla="*/ 7193228 w 9586368"/>
                <a:gd name="connsiteY1395" fmla="*/ 5518129 h 6479439"/>
                <a:gd name="connsiteX1396" fmla="*/ 7189209 w 9586368"/>
                <a:gd name="connsiteY1396" fmla="*/ 5522168 h 6479439"/>
                <a:gd name="connsiteX1397" fmla="*/ 7179298 w 9586368"/>
                <a:gd name="connsiteY1397" fmla="*/ 5522168 h 6479439"/>
                <a:gd name="connsiteX1398" fmla="*/ 7175279 w 9586368"/>
                <a:gd name="connsiteY1398" fmla="*/ 5518129 h 6479439"/>
                <a:gd name="connsiteX1399" fmla="*/ 7175279 w 9586368"/>
                <a:gd name="connsiteY1399" fmla="*/ 5508258 h 6479439"/>
                <a:gd name="connsiteX1400" fmla="*/ 6939983 w 9586368"/>
                <a:gd name="connsiteY1400" fmla="*/ 5504220 h 6479439"/>
                <a:gd name="connsiteX1401" fmla="*/ 6949894 w 9586368"/>
                <a:gd name="connsiteY1401" fmla="*/ 5504220 h 6479439"/>
                <a:gd name="connsiteX1402" fmla="*/ 6953913 w 9586368"/>
                <a:gd name="connsiteY1402" fmla="*/ 5508258 h 6479439"/>
                <a:gd name="connsiteX1403" fmla="*/ 6953913 w 9586368"/>
                <a:gd name="connsiteY1403" fmla="*/ 5518129 h 6479439"/>
                <a:gd name="connsiteX1404" fmla="*/ 6949894 w 9586368"/>
                <a:gd name="connsiteY1404" fmla="*/ 5522168 h 6479439"/>
                <a:gd name="connsiteX1405" fmla="*/ 6939983 w 9586368"/>
                <a:gd name="connsiteY1405" fmla="*/ 5522168 h 6479439"/>
                <a:gd name="connsiteX1406" fmla="*/ 6935964 w 9586368"/>
                <a:gd name="connsiteY1406" fmla="*/ 5518129 h 6479439"/>
                <a:gd name="connsiteX1407" fmla="*/ 6935964 w 9586368"/>
                <a:gd name="connsiteY1407" fmla="*/ 5508258 h 6479439"/>
                <a:gd name="connsiteX1408" fmla="*/ 6700670 w 9586368"/>
                <a:gd name="connsiteY1408" fmla="*/ 5504220 h 6479439"/>
                <a:gd name="connsiteX1409" fmla="*/ 6710581 w 9586368"/>
                <a:gd name="connsiteY1409" fmla="*/ 5504220 h 6479439"/>
                <a:gd name="connsiteX1410" fmla="*/ 6714600 w 9586368"/>
                <a:gd name="connsiteY1410" fmla="*/ 5508258 h 6479439"/>
                <a:gd name="connsiteX1411" fmla="*/ 6714600 w 9586368"/>
                <a:gd name="connsiteY1411" fmla="*/ 5518129 h 6479439"/>
                <a:gd name="connsiteX1412" fmla="*/ 6710581 w 9586368"/>
                <a:gd name="connsiteY1412" fmla="*/ 5522168 h 6479439"/>
                <a:gd name="connsiteX1413" fmla="*/ 6700670 w 9586368"/>
                <a:gd name="connsiteY1413" fmla="*/ 5522168 h 6479439"/>
                <a:gd name="connsiteX1414" fmla="*/ 6696651 w 9586368"/>
                <a:gd name="connsiteY1414" fmla="*/ 5518129 h 6479439"/>
                <a:gd name="connsiteX1415" fmla="*/ 6696651 w 9586368"/>
                <a:gd name="connsiteY1415" fmla="*/ 5508258 h 6479439"/>
                <a:gd name="connsiteX1416" fmla="*/ 6461356 w 9586368"/>
                <a:gd name="connsiteY1416" fmla="*/ 5504220 h 6479439"/>
                <a:gd name="connsiteX1417" fmla="*/ 6471266 w 9586368"/>
                <a:gd name="connsiteY1417" fmla="*/ 5504220 h 6479439"/>
                <a:gd name="connsiteX1418" fmla="*/ 6475285 w 9586368"/>
                <a:gd name="connsiteY1418" fmla="*/ 5508258 h 6479439"/>
                <a:gd name="connsiteX1419" fmla="*/ 6475285 w 9586368"/>
                <a:gd name="connsiteY1419" fmla="*/ 5518129 h 6479439"/>
                <a:gd name="connsiteX1420" fmla="*/ 6471266 w 9586368"/>
                <a:gd name="connsiteY1420" fmla="*/ 5522168 h 6479439"/>
                <a:gd name="connsiteX1421" fmla="*/ 6461356 w 9586368"/>
                <a:gd name="connsiteY1421" fmla="*/ 5522168 h 6479439"/>
                <a:gd name="connsiteX1422" fmla="*/ 6457337 w 9586368"/>
                <a:gd name="connsiteY1422" fmla="*/ 5518129 h 6479439"/>
                <a:gd name="connsiteX1423" fmla="*/ 6457337 w 9586368"/>
                <a:gd name="connsiteY1423" fmla="*/ 5508258 h 6479439"/>
                <a:gd name="connsiteX1424" fmla="*/ 6222042 w 9586368"/>
                <a:gd name="connsiteY1424" fmla="*/ 5504220 h 6479439"/>
                <a:gd name="connsiteX1425" fmla="*/ 6231952 w 9586368"/>
                <a:gd name="connsiteY1425" fmla="*/ 5504220 h 6479439"/>
                <a:gd name="connsiteX1426" fmla="*/ 6235971 w 9586368"/>
                <a:gd name="connsiteY1426" fmla="*/ 5508258 h 6479439"/>
                <a:gd name="connsiteX1427" fmla="*/ 6235971 w 9586368"/>
                <a:gd name="connsiteY1427" fmla="*/ 5518129 h 6479439"/>
                <a:gd name="connsiteX1428" fmla="*/ 6231952 w 9586368"/>
                <a:gd name="connsiteY1428" fmla="*/ 5522168 h 6479439"/>
                <a:gd name="connsiteX1429" fmla="*/ 6222042 w 9586368"/>
                <a:gd name="connsiteY1429" fmla="*/ 5522168 h 6479439"/>
                <a:gd name="connsiteX1430" fmla="*/ 6218023 w 9586368"/>
                <a:gd name="connsiteY1430" fmla="*/ 5518129 h 6479439"/>
                <a:gd name="connsiteX1431" fmla="*/ 6218023 w 9586368"/>
                <a:gd name="connsiteY1431" fmla="*/ 5508258 h 6479439"/>
                <a:gd name="connsiteX1432" fmla="*/ 5982729 w 9586368"/>
                <a:gd name="connsiteY1432" fmla="*/ 5504220 h 6479439"/>
                <a:gd name="connsiteX1433" fmla="*/ 5992639 w 9586368"/>
                <a:gd name="connsiteY1433" fmla="*/ 5504220 h 6479439"/>
                <a:gd name="connsiteX1434" fmla="*/ 5996658 w 9586368"/>
                <a:gd name="connsiteY1434" fmla="*/ 5508258 h 6479439"/>
                <a:gd name="connsiteX1435" fmla="*/ 5996658 w 9586368"/>
                <a:gd name="connsiteY1435" fmla="*/ 5518129 h 6479439"/>
                <a:gd name="connsiteX1436" fmla="*/ 5992639 w 9586368"/>
                <a:gd name="connsiteY1436" fmla="*/ 5522168 h 6479439"/>
                <a:gd name="connsiteX1437" fmla="*/ 5982729 w 9586368"/>
                <a:gd name="connsiteY1437" fmla="*/ 5522168 h 6479439"/>
                <a:gd name="connsiteX1438" fmla="*/ 5978710 w 9586368"/>
                <a:gd name="connsiteY1438" fmla="*/ 5518129 h 6479439"/>
                <a:gd name="connsiteX1439" fmla="*/ 5978710 w 9586368"/>
                <a:gd name="connsiteY1439" fmla="*/ 5508258 h 6479439"/>
                <a:gd name="connsiteX1440" fmla="*/ 5743412 w 9586368"/>
                <a:gd name="connsiteY1440" fmla="*/ 5504220 h 6479439"/>
                <a:gd name="connsiteX1441" fmla="*/ 5753323 w 9586368"/>
                <a:gd name="connsiteY1441" fmla="*/ 5504220 h 6479439"/>
                <a:gd name="connsiteX1442" fmla="*/ 5757342 w 9586368"/>
                <a:gd name="connsiteY1442" fmla="*/ 5508258 h 6479439"/>
                <a:gd name="connsiteX1443" fmla="*/ 5757342 w 9586368"/>
                <a:gd name="connsiteY1443" fmla="*/ 5518129 h 6479439"/>
                <a:gd name="connsiteX1444" fmla="*/ 5753323 w 9586368"/>
                <a:gd name="connsiteY1444" fmla="*/ 5522168 h 6479439"/>
                <a:gd name="connsiteX1445" fmla="*/ 5743412 w 9586368"/>
                <a:gd name="connsiteY1445" fmla="*/ 5522168 h 6479439"/>
                <a:gd name="connsiteX1446" fmla="*/ 5739393 w 9586368"/>
                <a:gd name="connsiteY1446" fmla="*/ 5518129 h 6479439"/>
                <a:gd name="connsiteX1447" fmla="*/ 5739393 w 9586368"/>
                <a:gd name="connsiteY1447" fmla="*/ 5508258 h 6479439"/>
                <a:gd name="connsiteX1448" fmla="*/ 5504099 w 9586368"/>
                <a:gd name="connsiteY1448" fmla="*/ 5504220 h 6479439"/>
                <a:gd name="connsiteX1449" fmla="*/ 5514010 w 9586368"/>
                <a:gd name="connsiteY1449" fmla="*/ 5504220 h 6479439"/>
                <a:gd name="connsiteX1450" fmla="*/ 5518029 w 9586368"/>
                <a:gd name="connsiteY1450" fmla="*/ 5508258 h 6479439"/>
                <a:gd name="connsiteX1451" fmla="*/ 5518029 w 9586368"/>
                <a:gd name="connsiteY1451" fmla="*/ 5518129 h 6479439"/>
                <a:gd name="connsiteX1452" fmla="*/ 5514010 w 9586368"/>
                <a:gd name="connsiteY1452" fmla="*/ 5522168 h 6479439"/>
                <a:gd name="connsiteX1453" fmla="*/ 5504099 w 9586368"/>
                <a:gd name="connsiteY1453" fmla="*/ 5522168 h 6479439"/>
                <a:gd name="connsiteX1454" fmla="*/ 5500080 w 9586368"/>
                <a:gd name="connsiteY1454" fmla="*/ 5518129 h 6479439"/>
                <a:gd name="connsiteX1455" fmla="*/ 5500080 w 9586368"/>
                <a:gd name="connsiteY1455" fmla="*/ 5508258 h 6479439"/>
                <a:gd name="connsiteX1456" fmla="*/ 5264784 w 9586368"/>
                <a:gd name="connsiteY1456" fmla="*/ 5504220 h 6479439"/>
                <a:gd name="connsiteX1457" fmla="*/ 5274694 w 9586368"/>
                <a:gd name="connsiteY1457" fmla="*/ 5504220 h 6479439"/>
                <a:gd name="connsiteX1458" fmla="*/ 5278713 w 9586368"/>
                <a:gd name="connsiteY1458" fmla="*/ 5508258 h 6479439"/>
                <a:gd name="connsiteX1459" fmla="*/ 5278713 w 9586368"/>
                <a:gd name="connsiteY1459" fmla="*/ 5518129 h 6479439"/>
                <a:gd name="connsiteX1460" fmla="*/ 5274694 w 9586368"/>
                <a:gd name="connsiteY1460" fmla="*/ 5522168 h 6479439"/>
                <a:gd name="connsiteX1461" fmla="*/ 5264784 w 9586368"/>
                <a:gd name="connsiteY1461" fmla="*/ 5522168 h 6479439"/>
                <a:gd name="connsiteX1462" fmla="*/ 5260765 w 9586368"/>
                <a:gd name="connsiteY1462" fmla="*/ 5518129 h 6479439"/>
                <a:gd name="connsiteX1463" fmla="*/ 5260765 w 9586368"/>
                <a:gd name="connsiteY1463" fmla="*/ 5508258 h 6479439"/>
                <a:gd name="connsiteX1464" fmla="*/ 5025470 w 9586368"/>
                <a:gd name="connsiteY1464" fmla="*/ 5504220 h 6479439"/>
                <a:gd name="connsiteX1465" fmla="*/ 5035381 w 9586368"/>
                <a:gd name="connsiteY1465" fmla="*/ 5504220 h 6479439"/>
                <a:gd name="connsiteX1466" fmla="*/ 5039400 w 9586368"/>
                <a:gd name="connsiteY1466" fmla="*/ 5508258 h 6479439"/>
                <a:gd name="connsiteX1467" fmla="*/ 5039400 w 9586368"/>
                <a:gd name="connsiteY1467" fmla="*/ 5518129 h 6479439"/>
                <a:gd name="connsiteX1468" fmla="*/ 5035381 w 9586368"/>
                <a:gd name="connsiteY1468" fmla="*/ 5522168 h 6479439"/>
                <a:gd name="connsiteX1469" fmla="*/ 5025470 w 9586368"/>
                <a:gd name="connsiteY1469" fmla="*/ 5522168 h 6479439"/>
                <a:gd name="connsiteX1470" fmla="*/ 5021451 w 9586368"/>
                <a:gd name="connsiteY1470" fmla="*/ 5518129 h 6479439"/>
                <a:gd name="connsiteX1471" fmla="*/ 5021451 w 9586368"/>
                <a:gd name="connsiteY1471" fmla="*/ 5508258 h 6479439"/>
                <a:gd name="connsiteX1472" fmla="*/ 4786241 w 9586368"/>
                <a:gd name="connsiteY1472" fmla="*/ 5504220 h 6479439"/>
                <a:gd name="connsiteX1473" fmla="*/ 4796152 w 9586368"/>
                <a:gd name="connsiteY1473" fmla="*/ 5504220 h 6479439"/>
                <a:gd name="connsiteX1474" fmla="*/ 4800171 w 9586368"/>
                <a:gd name="connsiteY1474" fmla="*/ 5508258 h 6479439"/>
                <a:gd name="connsiteX1475" fmla="*/ 4800171 w 9586368"/>
                <a:gd name="connsiteY1475" fmla="*/ 5518129 h 6479439"/>
                <a:gd name="connsiteX1476" fmla="*/ 4796152 w 9586368"/>
                <a:gd name="connsiteY1476" fmla="*/ 5522168 h 6479439"/>
                <a:gd name="connsiteX1477" fmla="*/ 4786241 w 9586368"/>
                <a:gd name="connsiteY1477" fmla="*/ 5522168 h 6479439"/>
                <a:gd name="connsiteX1478" fmla="*/ 4782224 w 9586368"/>
                <a:gd name="connsiteY1478" fmla="*/ 5518129 h 6479439"/>
                <a:gd name="connsiteX1479" fmla="*/ 4782224 w 9586368"/>
                <a:gd name="connsiteY1479" fmla="*/ 5508258 h 6479439"/>
                <a:gd name="connsiteX1480" fmla="*/ 4546929 w 9586368"/>
                <a:gd name="connsiteY1480" fmla="*/ 5504220 h 6479439"/>
                <a:gd name="connsiteX1481" fmla="*/ 4556840 w 9586368"/>
                <a:gd name="connsiteY1481" fmla="*/ 5504220 h 6479439"/>
                <a:gd name="connsiteX1482" fmla="*/ 4560859 w 9586368"/>
                <a:gd name="connsiteY1482" fmla="*/ 5508258 h 6479439"/>
                <a:gd name="connsiteX1483" fmla="*/ 4560859 w 9586368"/>
                <a:gd name="connsiteY1483" fmla="*/ 5518129 h 6479439"/>
                <a:gd name="connsiteX1484" fmla="*/ 4556840 w 9586368"/>
                <a:gd name="connsiteY1484" fmla="*/ 5522168 h 6479439"/>
                <a:gd name="connsiteX1485" fmla="*/ 4546929 w 9586368"/>
                <a:gd name="connsiteY1485" fmla="*/ 5522168 h 6479439"/>
                <a:gd name="connsiteX1486" fmla="*/ 4542910 w 9586368"/>
                <a:gd name="connsiteY1486" fmla="*/ 5518129 h 6479439"/>
                <a:gd name="connsiteX1487" fmla="*/ 4542910 w 9586368"/>
                <a:gd name="connsiteY1487" fmla="*/ 5508258 h 6479439"/>
                <a:gd name="connsiteX1488" fmla="*/ 4307612 w 9586368"/>
                <a:gd name="connsiteY1488" fmla="*/ 5504220 h 6479439"/>
                <a:gd name="connsiteX1489" fmla="*/ 4317523 w 9586368"/>
                <a:gd name="connsiteY1489" fmla="*/ 5504220 h 6479439"/>
                <a:gd name="connsiteX1490" fmla="*/ 4321543 w 9586368"/>
                <a:gd name="connsiteY1490" fmla="*/ 5508258 h 6479439"/>
                <a:gd name="connsiteX1491" fmla="*/ 4321543 w 9586368"/>
                <a:gd name="connsiteY1491" fmla="*/ 5518129 h 6479439"/>
                <a:gd name="connsiteX1492" fmla="*/ 4317523 w 9586368"/>
                <a:gd name="connsiteY1492" fmla="*/ 5522168 h 6479439"/>
                <a:gd name="connsiteX1493" fmla="*/ 4307612 w 9586368"/>
                <a:gd name="connsiteY1493" fmla="*/ 5522168 h 6479439"/>
                <a:gd name="connsiteX1494" fmla="*/ 4303595 w 9586368"/>
                <a:gd name="connsiteY1494" fmla="*/ 5518129 h 6479439"/>
                <a:gd name="connsiteX1495" fmla="*/ 4303595 w 9586368"/>
                <a:gd name="connsiteY1495" fmla="*/ 5508258 h 6479439"/>
                <a:gd name="connsiteX1496" fmla="*/ 4068297 w 9586368"/>
                <a:gd name="connsiteY1496" fmla="*/ 5504220 h 6479439"/>
                <a:gd name="connsiteX1497" fmla="*/ 4078210 w 9586368"/>
                <a:gd name="connsiteY1497" fmla="*/ 5504220 h 6479439"/>
                <a:gd name="connsiteX1498" fmla="*/ 4082229 w 9586368"/>
                <a:gd name="connsiteY1498" fmla="*/ 5508258 h 6479439"/>
                <a:gd name="connsiteX1499" fmla="*/ 4082229 w 9586368"/>
                <a:gd name="connsiteY1499" fmla="*/ 5518129 h 6479439"/>
                <a:gd name="connsiteX1500" fmla="*/ 4078210 w 9586368"/>
                <a:gd name="connsiteY1500" fmla="*/ 5522168 h 6479439"/>
                <a:gd name="connsiteX1501" fmla="*/ 4068297 w 9586368"/>
                <a:gd name="connsiteY1501" fmla="*/ 5522168 h 6479439"/>
                <a:gd name="connsiteX1502" fmla="*/ 4064278 w 9586368"/>
                <a:gd name="connsiteY1502" fmla="*/ 5518129 h 6479439"/>
                <a:gd name="connsiteX1503" fmla="*/ 4064278 w 9586368"/>
                <a:gd name="connsiteY1503" fmla="*/ 5508258 h 6479439"/>
                <a:gd name="connsiteX1504" fmla="*/ 3828990 w 9586368"/>
                <a:gd name="connsiteY1504" fmla="*/ 5504220 h 6479439"/>
                <a:gd name="connsiteX1505" fmla="*/ 3838899 w 9586368"/>
                <a:gd name="connsiteY1505" fmla="*/ 5504220 h 6479439"/>
                <a:gd name="connsiteX1506" fmla="*/ 3842917 w 9586368"/>
                <a:gd name="connsiteY1506" fmla="*/ 5508258 h 6479439"/>
                <a:gd name="connsiteX1507" fmla="*/ 3842917 w 9586368"/>
                <a:gd name="connsiteY1507" fmla="*/ 5518129 h 6479439"/>
                <a:gd name="connsiteX1508" fmla="*/ 3838899 w 9586368"/>
                <a:gd name="connsiteY1508" fmla="*/ 5522168 h 6479439"/>
                <a:gd name="connsiteX1509" fmla="*/ 3828990 w 9586368"/>
                <a:gd name="connsiteY1509" fmla="*/ 5522168 h 6479439"/>
                <a:gd name="connsiteX1510" fmla="*/ 3824971 w 9586368"/>
                <a:gd name="connsiteY1510" fmla="*/ 5518129 h 6479439"/>
                <a:gd name="connsiteX1511" fmla="*/ 3824971 w 9586368"/>
                <a:gd name="connsiteY1511" fmla="*/ 5508258 h 6479439"/>
                <a:gd name="connsiteX1512" fmla="*/ 3589676 w 9586368"/>
                <a:gd name="connsiteY1512" fmla="*/ 5504220 h 6479439"/>
                <a:gd name="connsiteX1513" fmla="*/ 3599585 w 9586368"/>
                <a:gd name="connsiteY1513" fmla="*/ 5504220 h 6479439"/>
                <a:gd name="connsiteX1514" fmla="*/ 3603604 w 9586368"/>
                <a:gd name="connsiteY1514" fmla="*/ 5508258 h 6479439"/>
                <a:gd name="connsiteX1515" fmla="*/ 3603604 w 9586368"/>
                <a:gd name="connsiteY1515" fmla="*/ 5518129 h 6479439"/>
                <a:gd name="connsiteX1516" fmla="*/ 3599585 w 9586368"/>
                <a:gd name="connsiteY1516" fmla="*/ 5522168 h 6479439"/>
                <a:gd name="connsiteX1517" fmla="*/ 3589676 w 9586368"/>
                <a:gd name="connsiteY1517" fmla="*/ 5522168 h 6479439"/>
                <a:gd name="connsiteX1518" fmla="*/ 3585657 w 9586368"/>
                <a:gd name="connsiteY1518" fmla="*/ 5518129 h 6479439"/>
                <a:gd name="connsiteX1519" fmla="*/ 3585657 w 9586368"/>
                <a:gd name="connsiteY1519" fmla="*/ 5508258 h 6479439"/>
                <a:gd name="connsiteX1520" fmla="*/ 3350359 w 9586368"/>
                <a:gd name="connsiteY1520" fmla="*/ 5504220 h 6479439"/>
                <a:gd name="connsiteX1521" fmla="*/ 3360268 w 9586368"/>
                <a:gd name="connsiteY1521" fmla="*/ 5504220 h 6479439"/>
                <a:gd name="connsiteX1522" fmla="*/ 3364287 w 9586368"/>
                <a:gd name="connsiteY1522" fmla="*/ 5508258 h 6479439"/>
                <a:gd name="connsiteX1523" fmla="*/ 3364287 w 9586368"/>
                <a:gd name="connsiteY1523" fmla="*/ 5518129 h 6479439"/>
                <a:gd name="connsiteX1524" fmla="*/ 3360268 w 9586368"/>
                <a:gd name="connsiteY1524" fmla="*/ 5522168 h 6479439"/>
                <a:gd name="connsiteX1525" fmla="*/ 3350359 w 9586368"/>
                <a:gd name="connsiteY1525" fmla="*/ 5522168 h 6479439"/>
                <a:gd name="connsiteX1526" fmla="*/ 3346340 w 9586368"/>
                <a:gd name="connsiteY1526" fmla="*/ 5518129 h 6479439"/>
                <a:gd name="connsiteX1527" fmla="*/ 3346340 w 9586368"/>
                <a:gd name="connsiteY1527" fmla="*/ 5508258 h 6479439"/>
                <a:gd name="connsiteX1528" fmla="*/ 3111048 w 9586368"/>
                <a:gd name="connsiteY1528" fmla="*/ 5504220 h 6479439"/>
                <a:gd name="connsiteX1529" fmla="*/ 3120959 w 9586368"/>
                <a:gd name="connsiteY1529" fmla="*/ 5504220 h 6479439"/>
                <a:gd name="connsiteX1530" fmla="*/ 3124977 w 9586368"/>
                <a:gd name="connsiteY1530" fmla="*/ 5508258 h 6479439"/>
                <a:gd name="connsiteX1531" fmla="*/ 3124977 w 9586368"/>
                <a:gd name="connsiteY1531" fmla="*/ 5518129 h 6479439"/>
                <a:gd name="connsiteX1532" fmla="*/ 3120959 w 9586368"/>
                <a:gd name="connsiteY1532" fmla="*/ 5522168 h 6479439"/>
                <a:gd name="connsiteX1533" fmla="*/ 3111048 w 9586368"/>
                <a:gd name="connsiteY1533" fmla="*/ 5522168 h 6479439"/>
                <a:gd name="connsiteX1534" fmla="*/ 3107029 w 9586368"/>
                <a:gd name="connsiteY1534" fmla="*/ 5518129 h 6479439"/>
                <a:gd name="connsiteX1535" fmla="*/ 3107029 w 9586368"/>
                <a:gd name="connsiteY1535" fmla="*/ 5508258 h 6479439"/>
                <a:gd name="connsiteX1536" fmla="*/ 2871737 w 9586368"/>
                <a:gd name="connsiteY1536" fmla="*/ 5504220 h 6479439"/>
                <a:gd name="connsiteX1537" fmla="*/ 2881646 w 9586368"/>
                <a:gd name="connsiteY1537" fmla="*/ 5504220 h 6479439"/>
                <a:gd name="connsiteX1538" fmla="*/ 2885666 w 9586368"/>
                <a:gd name="connsiteY1538" fmla="*/ 5508258 h 6479439"/>
                <a:gd name="connsiteX1539" fmla="*/ 2885666 w 9586368"/>
                <a:gd name="connsiteY1539" fmla="*/ 5518129 h 6479439"/>
                <a:gd name="connsiteX1540" fmla="*/ 2881646 w 9586368"/>
                <a:gd name="connsiteY1540" fmla="*/ 5522168 h 6479439"/>
                <a:gd name="connsiteX1541" fmla="*/ 2871737 w 9586368"/>
                <a:gd name="connsiteY1541" fmla="*/ 5522168 h 6479439"/>
                <a:gd name="connsiteX1542" fmla="*/ 2867717 w 9586368"/>
                <a:gd name="connsiteY1542" fmla="*/ 5518129 h 6479439"/>
                <a:gd name="connsiteX1543" fmla="*/ 2867717 w 9586368"/>
                <a:gd name="connsiteY1543" fmla="*/ 5508258 h 6479439"/>
                <a:gd name="connsiteX1544" fmla="*/ 2632423 w 9586368"/>
                <a:gd name="connsiteY1544" fmla="*/ 5504220 h 6479439"/>
                <a:gd name="connsiteX1545" fmla="*/ 2642334 w 9586368"/>
                <a:gd name="connsiteY1545" fmla="*/ 5504220 h 6479439"/>
                <a:gd name="connsiteX1546" fmla="*/ 2646352 w 9586368"/>
                <a:gd name="connsiteY1546" fmla="*/ 5508258 h 6479439"/>
                <a:gd name="connsiteX1547" fmla="*/ 2646352 w 9586368"/>
                <a:gd name="connsiteY1547" fmla="*/ 5518129 h 6479439"/>
                <a:gd name="connsiteX1548" fmla="*/ 2642334 w 9586368"/>
                <a:gd name="connsiteY1548" fmla="*/ 5522168 h 6479439"/>
                <a:gd name="connsiteX1549" fmla="*/ 2632423 w 9586368"/>
                <a:gd name="connsiteY1549" fmla="*/ 5522168 h 6479439"/>
                <a:gd name="connsiteX1550" fmla="*/ 2628404 w 9586368"/>
                <a:gd name="connsiteY1550" fmla="*/ 5518129 h 6479439"/>
                <a:gd name="connsiteX1551" fmla="*/ 2628404 w 9586368"/>
                <a:gd name="connsiteY1551" fmla="*/ 5508258 h 6479439"/>
                <a:gd name="connsiteX1552" fmla="*/ 2393104 w 9586368"/>
                <a:gd name="connsiteY1552" fmla="*/ 5504220 h 6479439"/>
                <a:gd name="connsiteX1553" fmla="*/ 2403015 w 9586368"/>
                <a:gd name="connsiteY1553" fmla="*/ 5504220 h 6479439"/>
                <a:gd name="connsiteX1554" fmla="*/ 2407034 w 9586368"/>
                <a:gd name="connsiteY1554" fmla="*/ 5508258 h 6479439"/>
                <a:gd name="connsiteX1555" fmla="*/ 2407034 w 9586368"/>
                <a:gd name="connsiteY1555" fmla="*/ 5518129 h 6479439"/>
                <a:gd name="connsiteX1556" fmla="*/ 2403015 w 9586368"/>
                <a:gd name="connsiteY1556" fmla="*/ 5522168 h 6479439"/>
                <a:gd name="connsiteX1557" fmla="*/ 2393104 w 9586368"/>
                <a:gd name="connsiteY1557" fmla="*/ 5522168 h 6479439"/>
                <a:gd name="connsiteX1558" fmla="*/ 2389087 w 9586368"/>
                <a:gd name="connsiteY1558" fmla="*/ 5518129 h 6479439"/>
                <a:gd name="connsiteX1559" fmla="*/ 2389087 w 9586368"/>
                <a:gd name="connsiteY1559" fmla="*/ 5508258 h 6479439"/>
                <a:gd name="connsiteX1560" fmla="*/ 2157818 w 9586368"/>
                <a:gd name="connsiteY1560" fmla="*/ 5504220 h 6479439"/>
                <a:gd name="connsiteX1561" fmla="*/ 2167728 w 9586368"/>
                <a:gd name="connsiteY1561" fmla="*/ 5504220 h 6479439"/>
                <a:gd name="connsiteX1562" fmla="*/ 2171748 w 9586368"/>
                <a:gd name="connsiteY1562" fmla="*/ 5508258 h 6479439"/>
                <a:gd name="connsiteX1563" fmla="*/ 2171748 w 9586368"/>
                <a:gd name="connsiteY1563" fmla="*/ 5518129 h 6479439"/>
                <a:gd name="connsiteX1564" fmla="*/ 2167728 w 9586368"/>
                <a:gd name="connsiteY1564" fmla="*/ 5522168 h 6479439"/>
                <a:gd name="connsiteX1565" fmla="*/ 2157818 w 9586368"/>
                <a:gd name="connsiteY1565" fmla="*/ 5522168 h 6479439"/>
                <a:gd name="connsiteX1566" fmla="*/ 2153799 w 9586368"/>
                <a:gd name="connsiteY1566" fmla="*/ 5518129 h 6479439"/>
                <a:gd name="connsiteX1567" fmla="*/ 2153799 w 9586368"/>
                <a:gd name="connsiteY1567" fmla="*/ 5508258 h 6479439"/>
                <a:gd name="connsiteX1568" fmla="*/ 1918510 w 9586368"/>
                <a:gd name="connsiteY1568" fmla="*/ 5504220 h 6479439"/>
                <a:gd name="connsiteX1569" fmla="*/ 1928420 w 9586368"/>
                <a:gd name="connsiteY1569" fmla="*/ 5504220 h 6479439"/>
                <a:gd name="connsiteX1570" fmla="*/ 1932438 w 9586368"/>
                <a:gd name="connsiteY1570" fmla="*/ 5508258 h 6479439"/>
                <a:gd name="connsiteX1571" fmla="*/ 1932438 w 9586368"/>
                <a:gd name="connsiteY1571" fmla="*/ 5518129 h 6479439"/>
                <a:gd name="connsiteX1572" fmla="*/ 1928420 w 9586368"/>
                <a:gd name="connsiteY1572" fmla="*/ 5522168 h 6479439"/>
                <a:gd name="connsiteX1573" fmla="*/ 1918510 w 9586368"/>
                <a:gd name="connsiteY1573" fmla="*/ 5522168 h 6479439"/>
                <a:gd name="connsiteX1574" fmla="*/ 1914490 w 9586368"/>
                <a:gd name="connsiteY1574" fmla="*/ 5518129 h 6479439"/>
                <a:gd name="connsiteX1575" fmla="*/ 1914490 w 9586368"/>
                <a:gd name="connsiteY1575" fmla="*/ 5508258 h 6479439"/>
                <a:gd name="connsiteX1576" fmla="*/ 1679202 w 9586368"/>
                <a:gd name="connsiteY1576" fmla="*/ 5504220 h 6479439"/>
                <a:gd name="connsiteX1577" fmla="*/ 1689112 w 9586368"/>
                <a:gd name="connsiteY1577" fmla="*/ 5504220 h 6479439"/>
                <a:gd name="connsiteX1578" fmla="*/ 1693132 w 9586368"/>
                <a:gd name="connsiteY1578" fmla="*/ 5508258 h 6479439"/>
                <a:gd name="connsiteX1579" fmla="*/ 1693132 w 9586368"/>
                <a:gd name="connsiteY1579" fmla="*/ 5518129 h 6479439"/>
                <a:gd name="connsiteX1580" fmla="*/ 1689112 w 9586368"/>
                <a:gd name="connsiteY1580" fmla="*/ 5522168 h 6479439"/>
                <a:gd name="connsiteX1581" fmla="*/ 1679202 w 9586368"/>
                <a:gd name="connsiteY1581" fmla="*/ 5522168 h 6479439"/>
                <a:gd name="connsiteX1582" fmla="*/ 1675184 w 9586368"/>
                <a:gd name="connsiteY1582" fmla="*/ 5518129 h 6479439"/>
                <a:gd name="connsiteX1583" fmla="*/ 1675184 w 9586368"/>
                <a:gd name="connsiteY1583" fmla="*/ 5508258 h 6479439"/>
                <a:gd name="connsiteX1584" fmla="*/ 1439887 w 9586368"/>
                <a:gd name="connsiteY1584" fmla="*/ 5504220 h 6479439"/>
                <a:gd name="connsiteX1585" fmla="*/ 1449797 w 9586368"/>
                <a:gd name="connsiteY1585" fmla="*/ 5504220 h 6479439"/>
                <a:gd name="connsiteX1586" fmla="*/ 1453815 w 9586368"/>
                <a:gd name="connsiteY1586" fmla="*/ 5508258 h 6479439"/>
                <a:gd name="connsiteX1587" fmla="*/ 1453815 w 9586368"/>
                <a:gd name="connsiteY1587" fmla="*/ 5518129 h 6479439"/>
                <a:gd name="connsiteX1588" fmla="*/ 1449797 w 9586368"/>
                <a:gd name="connsiteY1588" fmla="*/ 5522168 h 6479439"/>
                <a:gd name="connsiteX1589" fmla="*/ 1439887 w 9586368"/>
                <a:gd name="connsiteY1589" fmla="*/ 5522168 h 6479439"/>
                <a:gd name="connsiteX1590" fmla="*/ 1435869 w 9586368"/>
                <a:gd name="connsiteY1590" fmla="*/ 5518129 h 6479439"/>
                <a:gd name="connsiteX1591" fmla="*/ 1435869 w 9586368"/>
                <a:gd name="connsiteY1591" fmla="*/ 5508258 h 6479439"/>
                <a:gd name="connsiteX1592" fmla="*/ 1200572 w 9586368"/>
                <a:gd name="connsiteY1592" fmla="*/ 5504220 h 6479439"/>
                <a:gd name="connsiteX1593" fmla="*/ 1210483 w 9586368"/>
                <a:gd name="connsiteY1593" fmla="*/ 5504220 h 6479439"/>
                <a:gd name="connsiteX1594" fmla="*/ 1214501 w 9586368"/>
                <a:gd name="connsiteY1594" fmla="*/ 5508258 h 6479439"/>
                <a:gd name="connsiteX1595" fmla="*/ 1214501 w 9586368"/>
                <a:gd name="connsiteY1595" fmla="*/ 5518129 h 6479439"/>
                <a:gd name="connsiteX1596" fmla="*/ 1210483 w 9586368"/>
                <a:gd name="connsiteY1596" fmla="*/ 5522168 h 6479439"/>
                <a:gd name="connsiteX1597" fmla="*/ 1200572 w 9586368"/>
                <a:gd name="connsiteY1597" fmla="*/ 5522168 h 6479439"/>
                <a:gd name="connsiteX1598" fmla="*/ 1196554 w 9586368"/>
                <a:gd name="connsiteY1598" fmla="*/ 5518129 h 6479439"/>
                <a:gd name="connsiteX1599" fmla="*/ 1196554 w 9586368"/>
                <a:gd name="connsiteY1599" fmla="*/ 5508258 h 6479439"/>
                <a:gd name="connsiteX1600" fmla="*/ 961260 w 9586368"/>
                <a:gd name="connsiteY1600" fmla="*/ 5504220 h 6479439"/>
                <a:gd name="connsiteX1601" fmla="*/ 971169 w 9586368"/>
                <a:gd name="connsiteY1601" fmla="*/ 5504220 h 6479439"/>
                <a:gd name="connsiteX1602" fmla="*/ 975189 w 9586368"/>
                <a:gd name="connsiteY1602" fmla="*/ 5508258 h 6479439"/>
                <a:gd name="connsiteX1603" fmla="*/ 975189 w 9586368"/>
                <a:gd name="connsiteY1603" fmla="*/ 5518129 h 6479439"/>
                <a:gd name="connsiteX1604" fmla="*/ 971169 w 9586368"/>
                <a:gd name="connsiteY1604" fmla="*/ 5522168 h 6479439"/>
                <a:gd name="connsiteX1605" fmla="*/ 961260 w 9586368"/>
                <a:gd name="connsiteY1605" fmla="*/ 5522168 h 6479439"/>
                <a:gd name="connsiteX1606" fmla="*/ 957241 w 9586368"/>
                <a:gd name="connsiteY1606" fmla="*/ 5518129 h 6479439"/>
                <a:gd name="connsiteX1607" fmla="*/ 957241 w 9586368"/>
                <a:gd name="connsiteY1607" fmla="*/ 5508258 h 6479439"/>
                <a:gd name="connsiteX1608" fmla="*/ 721961 w 9586368"/>
                <a:gd name="connsiteY1608" fmla="*/ 5504220 h 6479439"/>
                <a:gd name="connsiteX1609" fmla="*/ 731871 w 9586368"/>
                <a:gd name="connsiteY1609" fmla="*/ 5504220 h 6479439"/>
                <a:gd name="connsiteX1610" fmla="*/ 735890 w 9586368"/>
                <a:gd name="connsiteY1610" fmla="*/ 5508258 h 6479439"/>
                <a:gd name="connsiteX1611" fmla="*/ 735890 w 9586368"/>
                <a:gd name="connsiteY1611" fmla="*/ 5518129 h 6479439"/>
                <a:gd name="connsiteX1612" fmla="*/ 731871 w 9586368"/>
                <a:gd name="connsiteY1612" fmla="*/ 5522168 h 6479439"/>
                <a:gd name="connsiteX1613" fmla="*/ 721961 w 9586368"/>
                <a:gd name="connsiteY1613" fmla="*/ 5522168 h 6479439"/>
                <a:gd name="connsiteX1614" fmla="*/ 717942 w 9586368"/>
                <a:gd name="connsiteY1614" fmla="*/ 5518129 h 6479439"/>
                <a:gd name="connsiteX1615" fmla="*/ 717942 w 9586368"/>
                <a:gd name="connsiteY1615" fmla="*/ 5508258 h 6479439"/>
                <a:gd name="connsiteX1616" fmla="*/ 482649 w 9586368"/>
                <a:gd name="connsiteY1616" fmla="*/ 5504220 h 6479439"/>
                <a:gd name="connsiteX1617" fmla="*/ 492559 w 9586368"/>
                <a:gd name="connsiteY1617" fmla="*/ 5504220 h 6479439"/>
                <a:gd name="connsiteX1618" fmla="*/ 496578 w 9586368"/>
                <a:gd name="connsiteY1618" fmla="*/ 5508258 h 6479439"/>
                <a:gd name="connsiteX1619" fmla="*/ 496578 w 9586368"/>
                <a:gd name="connsiteY1619" fmla="*/ 5518129 h 6479439"/>
                <a:gd name="connsiteX1620" fmla="*/ 492559 w 9586368"/>
                <a:gd name="connsiteY1620" fmla="*/ 5522168 h 6479439"/>
                <a:gd name="connsiteX1621" fmla="*/ 482649 w 9586368"/>
                <a:gd name="connsiteY1621" fmla="*/ 5522168 h 6479439"/>
                <a:gd name="connsiteX1622" fmla="*/ 478630 w 9586368"/>
                <a:gd name="connsiteY1622" fmla="*/ 5518129 h 6479439"/>
                <a:gd name="connsiteX1623" fmla="*/ 478630 w 9586368"/>
                <a:gd name="connsiteY1623" fmla="*/ 5508258 h 6479439"/>
                <a:gd name="connsiteX1624" fmla="*/ 243335 w 9586368"/>
                <a:gd name="connsiteY1624" fmla="*/ 5504220 h 6479439"/>
                <a:gd name="connsiteX1625" fmla="*/ 253245 w 9586368"/>
                <a:gd name="connsiteY1625" fmla="*/ 5504220 h 6479439"/>
                <a:gd name="connsiteX1626" fmla="*/ 257264 w 9586368"/>
                <a:gd name="connsiteY1626" fmla="*/ 5508258 h 6479439"/>
                <a:gd name="connsiteX1627" fmla="*/ 257264 w 9586368"/>
                <a:gd name="connsiteY1627" fmla="*/ 5518129 h 6479439"/>
                <a:gd name="connsiteX1628" fmla="*/ 253245 w 9586368"/>
                <a:gd name="connsiteY1628" fmla="*/ 5522168 h 6479439"/>
                <a:gd name="connsiteX1629" fmla="*/ 243335 w 9586368"/>
                <a:gd name="connsiteY1629" fmla="*/ 5522168 h 6479439"/>
                <a:gd name="connsiteX1630" fmla="*/ 239316 w 9586368"/>
                <a:gd name="connsiteY1630" fmla="*/ 5518129 h 6479439"/>
                <a:gd name="connsiteX1631" fmla="*/ 239316 w 9586368"/>
                <a:gd name="connsiteY1631" fmla="*/ 5508258 h 6479439"/>
                <a:gd name="connsiteX1632" fmla="*/ 4022 w 9586368"/>
                <a:gd name="connsiteY1632" fmla="*/ 5504220 h 6479439"/>
                <a:gd name="connsiteX1633" fmla="*/ 13932 w 9586368"/>
                <a:gd name="connsiteY1633" fmla="*/ 5504220 h 6479439"/>
                <a:gd name="connsiteX1634" fmla="*/ 17951 w 9586368"/>
                <a:gd name="connsiteY1634" fmla="*/ 5508258 h 6479439"/>
                <a:gd name="connsiteX1635" fmla="*/ 17951 w 9586368"/>
                <a:gd name="connsiteY1635" fmla="*/ 5518129 h 6479439"/>
                <a:gd name="connsiteX1636" fmla="*/ 13932 w 9586368"/>
                <a:gd name="connsiteY1636" fmla="*/ 5522168 h 6479439"/>
                <a:gd name="connsiteX1637" fmla="*/ 4022 w 9586368"/>
                <a:gd name="connsiteY1637" fmla="*/ 5522168 h 6479439"/>
                <a:gd name="connsiteX1638" fmla="*/ 3 w 9586368"/>
                <a:gd name="connsiteY1638" fmla="*/ 5518129 h 6479439"/>
                <a:gd name="connsiteX1639" fmla="*/ 3 w 9586368"/>
                <a:gd name="connsiteY1639" fmla="*/ 5508258 h 6479439"/>
                <a:gd name="connsiteX1640" fmla="*/ 2157818 w 9586368"/>
                <a:gd name="connsiteY1640" fmla="*/ 5264940 h 6479439"/>
                <a:gd name="connsiteX1641" fmla="*/ 2167729 w 9586368"/>
                <a:gd name="connsiteY1641" fmla="*/ 5264940 h 6479439"/>
                <a:gd name="connsiteX1642" fmla="*/ 2171748 w 9586368"/>
                <a:gd name="connsiteY1642" fmla="*/ 5268978 h 6479439"/>
                <a:gd name="connsiteX1643" fmla="*/ 2171748 w 9586368"/>
                <a:gd name="connsiteY1643" fmla="*/ 5278849 h 6479439"/>
                <a:gd name="connsiteX1644" fmla="*/ 2167729 w 9586368"/>
                <a:gd name="connsiteY1644" fmla="*/ 5282888 h 6479439"/>
                <a:gd name="connsiteX1645" fmla="*/ 2157818 w 9586368"/>
                <a:gd name="connsiteY1645" fmla="*/ 5282888 h 6479439"/>
                <a:gd name="connsiteX1646" fmla="*/ 2153799 w 9586368"/>
                <a:gd name="connsiteY1646" fmla="*/ 5278849 h 6479439"/>
                <a:gd name="connsiteX1647" fmla="*/ 2153799 w 9586368"/>
                <a:gd name="connsiteY1647" fmla="*/ 5268978 h 6479439"/>
                <a:gd name="connsiteX1648" fmla="*/ 1918510 w 9586368"/>
                <a:gd name="connsiteY1648" fmla="*/ 5264940 h 6479439"/>
                <a:gd name="connsiteX1649" fmla="*/ 1928420 w 9586368"/>
                <a:gd name="connsiteY1649" fmla="*/ 5264940 h 6479439"/>
                <a:gd name="connsiteX1650" fmla="*/ 1932438 w 9586368"/>
                <a:gd name="connsiteY1650" fmla="*/ 5268978 h 6479439"/>
                <a:gd name="connsiteX1651" fmla="*/ 1932438 w 9586368"/>
                <a:gd name="connsiteY1651" fmla="*/ 5278849 h 6479439"/>
                <a:gd name="connsiteX1652" fmla="*/ 1928420 w 9586368"/>
                <a:gd name="connsiteY1652" fmla="*/ 5282888 h 6479439"/>
                <a:gd name="connsiteX1653" fmla="*/ 1918510 w 9586368"/>
                <a:gd name="connsiteY1653" fmla="*/ 5282888 h 6479439"/>
                <a:gd name="connsiteX1654" fmla="*/ 1914492 w 9586368"/>
                <a:gd name="connsiteY1654" fmla="*/ 5278849 h 6479439"/>
                <a:gd name="connsiteX1655" fmla="*/ 1914492 w 9586368"/>
                <a:gd name="connsiteY1655" fmla="*/ 5268978 h 6479439"/>
                <a:gd name="connsiteX1656" fmla="*/ 1679204 w 9586368"/>
                <a:gd name="connsiteY1656" fmla="*/ 5264940 h 6479439"/>
                <a:gd name="connsiteX1657" fmla="*/ 1689113 w 9586368"/>
                <a:gd name="connsiteY1657" fmla="*/ 5264940 h 6479439"/>
                <a:gd name="connsiteX1658" fmla="*/ 1693132 w 9586368"/>
                <a:gd name="connsiteY1658" fmla="*/ 5268978 h 6479439"/>
                <a:gd name="connsiteX1659" fmla="*/ 1693132 w 9586368"/>
                <a:gd name="connsiteY1659" fmla="*/ 5278849 h 6479439"/>
                <a:gd name="connsiteX1660" fmla="*/ 1689113 w 9586368"/>
                <a:gd name="connsiteY1660" fmla="*/ 5282888 h 6479439"/>
                <a:gd name="connsiteX1661" fmla="*/ 1679204 w 9586368"/>
                <a:gd name="connsiteY1661" fmla="*/ 5282888 h 6479439"/>
                <a:gd name="connsiteX1662" fmla="*/ 1675184 w 9586368"/>
                <a:gd name="connsiteY1662" fmla="*/ 5278849 h 6479439"/>
                <a:gd name="connsiteX1663" fmla="*/ 1675184 w 9586368"/>
                <a:gd name="connsiteY1663" fmla="*/ 5268978 h 6479439"/>
                <a:gd name="connsiteX1664" fmla="*/ 1439889 w 9586368"/>
                <a:gd name="connsiteY1664" fmla="*/ 5264940 h 6479439"/>
                <a:gd name="connsiteX1665" fmla="*/ 1449798 w 9586368"/>
                <a:gd name="connsiteY1665" fmla="*/ 5264940 h 6479439"/>
                <a:gd name="connsiteX1666" fmla="*/ 1453817 w 9586368"/>
                <a:gd name="connsiteY1666" fmla="*/ 5268978 h 6479439"/>
                <a:gd name="connsiteX1667" fmla="*/ 1453817 w 9586368"/>
                <a:gd name="connsiteY1667" fmla="*/ 5278849 h 6479439"/>
                <a:gd name="connsiteX1668" fmla="*/ 1449798 w 9586368"/>
                <a:gd name="connsiteY1668" fmla="*/ 5282888 h 6479439"/>
                <a:gd name="connsiteX1669" fmla="*/ 1439889 w 9586368"/>
                <a:gd name="connsiteY1669" fmla="*/ 5282888 h 6479439"/>
                <a:gd name="connsiteX1670" fmla="*/ 1435869 w 9586368"/>
                <a:gd name="connsiteY1670" fmla="*/ 5278849 h 6479439"/>
                <a:gd name="connsiteX1671" fmla="*/ 1435869 w 9586368"/>
                <a:gd name="connsiteY1671" fmla="*/ 5268978 h 6479439"/>
                <a:gd name="connsiteX1672" fmla="*/ 1200573 w 9586368"/>
                <a:gd name="connsiteY1672" fmla="*/ 5264940 h 6479439"/>
                <a:gd name="connsiteX1673" fmla="*/ 1210483 w 9586368"/>
                <a:gd name="connsiteY1673" fmla="*/ 5264940 h 6479439"/>
                <a:gd name="connsiteX1674" fmla="*/ 1214502 w 9586368"/>
                <a:gd name="connsiteY1674" fmla="*/ 5268978 h 6479439"/>
                <a:gd name="connsiteX1675" fmla="*/ 1214502 w 9586368"/>
                <a:gd name="connsiteY1675" fmla="*/ 5278849 h 6479439"/>
                <a:gd name="connsiteX1676" fmla="*/ 1210483 w 9586368"/>
                <a:gd name="connsiteY1676" fmla="*/ 5282888 h 6479439"/>
                <a:gd name="connsiteX1677" fmla="*/ 1200573 w 9586368"/>
                <a:gd name="connsiteY1677" fmla="*/ 5282888 h 6479439"/>
                <a:gd name="connsiteX1678" fmla="*/ 1196554 w 9586368"/>
                <a:gd name="connsiteY1678" fmla="*/ 5278849 h 6479439"/>
                <a:gd name="connsiteX1679" fmla="*/ 1196554 w 9586368"/>
                <a:gd name="connsiteY1679" fmla="*/ 5268978 h 6479439"/>
                <a:gd name="connsiteX1680" fmla="*/ 961260 w 9586368"/>
                <a:gd name="connsiteY1680" fmla="*/ 5264940 h 6479439"/>
                <a:gd name="connsiteX1681" fmla="*/ 971171 w 9586368"/>
                <a:gd name="connsiteY1681" fmla="*/ 5264940 h 6479439"/>
                <a:gd name="connsiteX1682" fmla="*/ 975189 w 9586368"/>
                <a:gd name="connsiteY1682" fmla="*/ 5268978 h 6479439"/>
                <a:gd name="connsiteX1683" fmla="*/ 975189 w 9586368"/>
                <a:gd name="connsiteY1683" fmla="*/ 5278849 h 6479439"/>
                <a:gd name="connsiteX1684" fmla="*/ 971171 w 9586368"/>
                <a:gd name="connsiteY1684" fmla="*/ 5282888 h 6479439"/>
                <a:gd name="connsiteX1685" fmla="*/ 961260 w 9586368"/>
                <a:gd name="connsiteY1685" fmla="*/ 5282888 h 6479439"/>
                <a:gd name="connsiteX1686" fmla="*/ 957241 w 9586368"/>
                <a:gd name="connsiteY1686" fmla="*/ 5278849 h 6479439"/>
                <a:gd name="connsiteX1687" fmla="*/ 957241 w 9586368"/>
                <a:gd name="connsiteY1687" fmla="*/ 5268978 h 6479439"/>
                <a:gd name="connsiteX1688" fmla="*/ 9572438 w 9586368"/>
                <a:gd name="connsiteY1688" fmla="*/ 5264889 h 6479439"/>
                <a:gd name="connsiteX1689" fmla="*/ 9582349 w 9586368"/>
                <a:gd name="connsiteY1689" fmla="*/ 5264889 h 6479439"/>
                <a:gd name="connsiteX1690" fmla="*/ 9586368 w 9586368"/>
                <a:gd name="connsiteY1690" fmla="*/ 5268928 h 6479439"/>
                <a:gd name="connsiteX1691" fmla="*/ 9586368 w 9586368"/>
                <a:gd name="connsiteY1691" fmla="*/ 5278799 h 6479439"/>
                <a:gd name="connsiteX1692" fmla="*/ 9582349 w 9586368"/>
                <a:gd name="connsiteY1692" fmla="*/ 5282838 h 6479439"/>
                <a:gd name="connsiteX1693" fmla="*/ 9572438 w 9586368"/>
                <a:gd name="connsiteY1693" fmla="*/ 5282838 h 6479439"/>
                <a:gd name="connsiteX1694" fmla="*/ 9568419 w 9586368"/>
                <a:gd name="connsiteY1694" fmla="*/ 5278799 h 6479439"/>
                <a:gd name="connsiteX1695" fmla="*/ 9568419 w 9586368"/>
                <a:gd name="connsiteY1695" fmla="*/ 5268928 h 6479439"/>
                <a:gd name="connsiteX1696" fmla="*/ 9333125 w 9586368"/>
                <a:gd name="connsiteY1696" fmla="*/ 5264889 h 6479439"/>
                <a:gd name="connsiteX1697" fmla="*/ 9343036 w 9586368"/>
                <a:gd name="connsiteY1697" fmla="*/ 5264889 h 6479439"/>
                <a:gd name="connsiteX1698" fmla="*/ 9347055 w 9586368"/>
                <a:gd name="connsiteY1698" fmla="*/ 5268928 h 6479439"/>
                <a:gd name="connsiteX1699" fmla="*/ 9347055 w 9586368"/>
                <a:gd name="connsiteY1699" fmla="*/ 5278799 h 6479439"/>
                <a:gd name="connsiteX1700" fmla="*/ 9343036 w 9586368"/>
                <a:gd name="connsiteY1700" fmla="*/ 5282838 h 6479439"/>
                <a:gd name="connsiteX1701" fmla="*/ 9333125 w 9586368"/>
                <a:gd name="connsiteY1701" fmla="*/ 5282838 h 6479439"/>
                <a:gd name="connsiteX1702" fmla="*/ 9329106 w 9586368"/>
                <a:gd name="connsiteY1702" fmla="*/ 5278799 h 6479439"/>
                <a:gd name="connsiteX1703" fmla="*/ 9329106 w 9586368"/>
                <a:gd name="connsiteY1703" fmla="*/ 5268928 h 6479439"/>
                <a:gd name="connsiteX1704" fmla="*/ 9093811 w 9586368"/>
                <a:gd name="connsiteY1704" fmla="*/ 5264889 h 6479439"/>
                <a:gd name="connsiteX1705" fmla="*/ 9103722 w 9586368"/>
                <a:gd name="connsiteY1705" fmla="*/ 5264889 h 6479439"/>
                <a:gd name="connsiteX1706" fmla="*/ 9107741 w 9586368"/>
                <a:gd name="connsiteY1706" fmla="*/ 5268928 h 6479439"/>
                <a:gd name="connsiteX1707" fmla="*/ 9107741 w 9586368"/>
                <a:gd name="connsiteY1707" fmla="*/ 5278799 h 6479439"/>
                <a:gd name="connsiteX1708" fmla="*/ 9103722 w 9586368"/>
                <a:gd name="connsiteY1708" fmla="*/ 5282838 h 6479439"/>
                <a:gd name="connsiteX1709" fmla="*/ 9093811 w 9586368"/>
                <a:gd name="connsiteY1709" fmla="*/ 5282838 h 6479439"/>
                <a:gd name="connsiteX1710" fmla="*/ 9089792 w 9586368"/>
                <a:gd name="connsiteY1710" fmla="*/ 5278799 h 6479439"/>
                <a:gd name="connsiteX1711" fmla="*/ 9089792 w 9586368"/>
                <a:gd name="connsiteY1711" fmla="*/ 5268928 h 6479439"/>
                <a:gd name="connsiteX1712" fmla="*/ 8854496 w 9586368"/>
                <a:gd name="connsiteY1712" fmla="*/ 5264889 h 6479439"/>
                <a:gd name="connsiteX1713" fmla="*/ 8864407 w 9586368"/>
                <a:gd name="connsiteY1713" fmla="*/ 5264889 h 6479439"/>
                <a:gd name="connsiteX1714" fmla="*/ 8868426 w 9586368"/>
                <a:gd name="connsiteY1714" fmla="*/ 5268928 h 6479439"/>
                <a:gd name="connsiteX1715" fmla="*/ 8868426 w 9586368"/>
                <a:gd name="connsiteY1715" fmla="*/ 5278799 h 6479439"/>
                <a:gd name="connsiteX1716" fmla="*/ 8864407 w 9586368"/>
                <a:gd name="connsiteY1716" fmla="*/ 5282838 h 6479439"/>
                <a:gd name="connsiteX1717" fmla="*/ 8854496 w 9586368"/>
                <a:gd name="connsiteY1717" fmla="*/ 5282838 h 6479439"/>
                <a:gd name="connsiteX1718" fmla="*/ 8850477 w 9586368"/>
                <a:gd name="connsiteY1718" fmla="*/ 5278799 h 6479439"/>
                <a:gd name="connsiteX1719" fmla="*/ 8850477 w 9586368"/>
                <a:gd name="connsiteY1719" fmla="*/ 5268928 h 6479439"/>
                <a:gd name="connsiteX1720" fmla="*/ 8615184 w 9586368"/>
                <a:gd name="connsiteY1720" fmla="*/ 5264889 h 6479439"/>
                <a:gd name="connsiteX1721" fmla="*/ 8625095 w 9586368"/>
                <a:gd name="connsiteY1721" fmla="*/ 5264889 h 6479439"/>
                <a:gd name="connsiteX1722" fmla="*/ 8629114 w 9586368"/>
                <a:gd name="connsiteY1722" fmla="*/ 5268928 h 6479439"/>
                <a:gd name="connsiteX1723" fmla="*/ 8629114 w 9586368"/>
                <a:gd name="connsiteY1723" fmla="*/ 5278799 h 6479439"/>
                <a:gd name="connsiteX1724" fmla="*/ 8625095 w 9586368"/>
                <a:gd name="connsiteY1724" fmla="*/ 5282838 h 6479439"/>
                <a:gd name="connsiteX1725" fmla="*/ 8615184 w 9586368"/>
                <a:gd name="connsiteY1725" fmla="*/ 5282838 h 6479439"/>
                <a:gd name="connsiteX1726" fmla="*/ 8611165 w 9586368"/>
                <a:gd name="connsiteY1726" fmla="*/ 5278799 h 6479439"/>
                <a:gd name="connsiteX1727" fmla="*/ 8611165 w 9586368"/>
                <a:gd name="connsiteY1727" fmla="*/ 5268928 h 6479439"/>
                <a:gd name="connsiteX1728" fmla="*/ 8375869 w 9586368"/>
                <a:gd name="connsiteY1728" fmla="*/ 5264889 h 6479439"/>
                <a:gd name="connsiteX1729" fmla="*/ 8385779 w 9586368"/>
                <a:gd name="connsiteY1729" fmla="*/ 5264889 h 6479439"/>
                <a:gd name="connsiteX1730" fmla="*/ 8389799 w 9586368"/>
                <a:gd name="connsiteY1730" fmla="*/ 5268928 h 6479439"/>
                <a:gd name="connsiteX1731" fmla="*/ 8389799 w 9586368"/>
                <a:gd name="connsiteY1731" fmla="*/ 5278799 h 6479439"/>
                <a:gd name="connsiteX1732" fmla="*/ 8385779 w 9586368"/>
                <a:gd name="connsiteY1732" fmla="*/ 5282838 h 6479439"/>
                <a:gd name="connsiteX1733" fmla="*/ 8375869 w 9586368"/>
                <a:gd name="connsiteY1733" fmla="*/ 5282838 h 6479439"/>
                <a:gd name="connsiteX1734" fmla="*/ 8371850 w 9586368"/>
                <a:gd name="connsiteY1734" fmla="*/ 5278799 h 6479439"/>
                <a:gd name="connsiteX1735" fmla="*/ 8371850 w 9586368"/>
                <a:gd name="connsiteY1735" fmla="*/ 5268928 h 6479439"/>
                <a:gd name="connsiteX1736" fmla="*/ 8136553 w 9586368"/>
                <a:gd name="connsiteY1736" fmla="*/ 5264889 h 6479439"/>
                <a:gd name="connsiteX1737" fmla="*/ 8146464 w 9586368"/>
                <a:gd name="connsiteY1737" fmla="*/ 5264889 h 6479439"/>
                <a:gd name="connsiteX1738" fmla="*/ 8150483 w 9586368"/>
                <a:gd name="connsiteY1738" fmla="*/ 5268928 h 6479439"/>
                <a:gd name="connsiteX1739" fmla="*/ 8150483 w 9586368"/>
                <a:gd name="connsiteY1739" fmla="*/ 5278799 h 6479439"/>
                <a:gd name="connsiteX1740" fmla="*/ 8146464 w 9586368"/>
                <a:gd name="connsiteY1740" fmla="*/ 5282838 h 6479439"/>
                <a:gd name="connsiteX1741" fmla="*/ 8136553 w 9586368"/>
                <a:gd name="connsiteY1741" fmla="*/ 5282838 h 6479439"/>
                <a:gd name="connsiteX1742" fmla="*/ 8132534 w 9586368"/>
                <a:gd name="connsiteY1742" fmla="*/ 5278799 h 6479439"/>
                <a:gd name="connsiteX1743" fmla="*/ 8132534 w 9586368"/>
                <a:gd name="connsiteY1743" fmla="*/ 5268928 h 6479439"/>
                <a:gd name="connsiteX1744" fmla="*/ 7897241 w 9586368"/>
                <a:gd name="connsiteY1744" fmla="*/ 5264889 h 6479439"/>
                <a:gd name="connsiteX1745" fmla="*/ 7907151 w 9586368"/>
                <a:gd name="connsiteY1745" fmla="*/ 5264889 h 6479439"/>
                <a:gd name="connsiteX1746" fmla="*/ 7911170 w 9586368"/>
                <a:gd name="connsiteY1746" fmla="*/ 5268928 h 6479439"/>
                <a:gd name="connsiteX1747" fmla="*/ 7911170 w 9586368"/>
                <a:gd name="connsiteY1747" fmla="*/ 5278799 h 6479439"/>
                <a:gd name="connsiteX1748" fmla="*/ 7907151 w 9586368"/>
                <a:gd name="connsiteY1748" fmla="*/ 5282838 h 6479439"/>
                <a:gd name="connsiteX1749" fmla="*/ 7897241 w 9586368"/>
                <a:gd name="connsiteY1749" fmla="*/ 5282838 h 6479439"/>
                <a:gd name="connsiteX1750" fmla="*/ 7893222 w 9586368"/>
                <a:gd name="connsiteY1750" fmla="*/ 5278799 h 6479439"/>
                <a:gd name="connsiteX1751" fmla="*/ 7893222 w 9586368"/>
                <a:gd name="connsiteY1751" fmla="*/ 5268928 h 6479439"/>
                <a:gd name="connsiteX1752" fmla="*/ 7657926 w 9586368"/>
                <a:gd name="connsiteY1752" fmla="*/ 5264889 h 6479439"/>
                <a:gd name="connsiteX1753" fmla="*/ 7667836 w 9586368"/>
                <a:gd name="connsiteY1753" fmla="*/ 5264889 h 6479439"/>
                <a:gd name="connsiteX1754" fmla="*/ 7671855 w 9586368"/>
                <a:gd name="connsiteY1754" fmla="*/ 5268928 h 6479439"/>
                <a:gd name="connsiteX1755" fmla="*/ 7671855 w 9586368"/>
                <a:gd name="connsiteY1755" fmla="*/ 5278799 h 6479439"/>
                <a:gd name="connsiteX1756" fmla="*/ 7667836 w 9586368"/>
                <a:gd name="connsiteY1756" fmla="*/ 5282838 h 6479439"/>
                <a:gd name="connsiteX1757" fmla="*/ 7657926 w 9586368"/>
                <a:gd name="connsiteY1757" fmla="*/ 5282838 h 6479439"/>
                <a:gd name="connsiteX1758" fmla="*/ 7653906 w 9586368"/>
                <a:gd name="connsiteY1758" fmla="*/ 5278799 h 6479439"/>
                <a:gd name="connsiteX1759" fmla="*/ 7653906 w 9586368"/>
                <a:gd name="connsiteY1759" fmla="*/ 5268928 h 6479439"/>
                <a:gd name="connsiteX1760" fmla="*/ 7418611 w 9586368"/>
                <a:gd name="connsiteY1760" fmla="*/ 5264889 h 6479439"/>
                <a:gd name="connsiteX1761" fmla="*/ 7428521 w 9586368"/>
                <a:gd name="connsiteY1761" fmla="*/ 5264889 h 6479439"/>
                <a:gd name="connsiteX1762" fmla="*/ 7432540 w 9586368"/>
                <a:gd name="connsiteY1762" fmla="*/ 5268928 h 6479439"/>
                <a:gd name="connsiteX1763" fmla="*/ 7432540 w 9586368"/>
                <a:gd name="connsiteY1763" fmla="*/ 5278799 h 6479439"/>
                <a:gd name="connsiteX1764" fmla="*/ 7428521 w 9586368"/>
                <a:gd name="connsiteY1764" fmla="*/ 5282838 h 6479439"/>
                <a:gd name="connsiteX1765" fmla="*/ 7418611 w 9586368"/>
                <a:gd name="connsiteY1765" fmla="*/ 5282838 h 6479439"/>
                <a:gd name="connsiteX1766" fmla="*/ 7414592 w 9586368"/>
                <a:gd name="connsiteY1766" fmla="*/ 5278799 h 6479439"/>
                <a:gd name="connsiteX1767" fmla="*/ 7414592 w 9586368"/>
                <a:gd name="connsiteY1767" fmla="*/ 5268928 h 6479439"/>
                <a:gd name="connsiteX1768" fmla="*/ 7179298 w 9586368"/>
                <a:gd name="connsiteY1768" fmla="*/ 5264889 h 6479439"/>
                <a:gd name="connsiteX1769" fmla="*/ 7189209 w 9586368"/>
                <a:gd name="connsiteY1769" fmla="*/ 5264889 h 6479439"/>
                <a:gd name="connsiteX1770" fmla="*/ 7193228 w 9586368"/>
                <a:gd name="connsiteY1770" fmla="*/ 5268928 h 6479439"/>
                <a:gd name="connsiteX1771" fmla="*/ 7193228 w 9586368"/>
                <a:gd name="connsiteY1771" fmla="*/ 5278799 h 6479439"/>
                <a:gd name="connsiteX1772" fmla="*/ 7189209 w 9586368"/>
                <a:gd name="connsiteY1772" fmla="*/ 5282838 h 6479439"/>
                <a:gd name="connsiteX1773" fmla="*/ 7179298 w 9586368"/>
                <a:gd name="connsiteY1773" fmla="*/ 5282838 h 6479439"/>
                <a:gd name="connsiteX1774" fmla="*/ 7175279 w 9586368"/>
                <a:gd name="connsiteY1774" fmla="*/ 5278799 h 6479439"/>
                <a:gd name="connsiteX1775" fmla="*/ 7175279 w 9586368"/>
                <a:gd name="connsiteY1775" fmla="*/ 5268928 h 6479439"/>
                <a:gd name="connsiteX1776" fmla="*/ 6939983 w 9586368"/>
                <a:gd name="connsiteY1776" fmla="*/ 5264889 h 6479439"/>
                <a:gd name="connsiteX1777" fmla="*/ 6949894 w 9586368"/>
                <a:gd name="connsiteY1777" fmla="*/ 5264889 h 6479439"/>
                <a:gd name="connsiteX1778" fmla="*/ 6953913 w 9586368"/>
                <a:gd name="connsiteY1778" fmla="*/ 5268928 h 6479439"/>
                <a:gd name="connsiteX1779" fmla="*/ 6953913 w 9586368"/>
                <a:gd name="connsiteY1779" fmla="*/ 5278799 h 6479439"/>
                <a:gd name="connsiteX1780" fmla="*/ 6949894 w 9586368"/>
                <a:gd name="connsiteY1780" fmla="*/ 5282838 h 6479439"/>
                <a:gd name="connsiteX1781" fmla="*/ 6939983 w 9586368"/>
                <a:gd name="connsiteY1781" fmla="*/ 5282838 h 6479439"/>
                <a:gd name="connsiteX1782" fmla="*/ 6935964 w 9586368"/>
                <a:gd name="connsiteY1782" fmla="*/ 5278799 h 6479439"/>
                <a:gd name="connsiteX1783" fmla="*/ 6935964 w 9586368"/>
                <a:gd name="connsiteY1783" fmla="*/ 5268928 h 6479439"/>
                <a:gd name="connsiteX1784" fmla="*/ 6700670 w 9586368"/>
                <a:gd name="connsiteY1784" fmla="*/ 5264889 h 6479439"/>
                <a:gd name="connsiteX1785" fmla="*/ 6710581 w 9586368"/>
                <a:gd name="connsiteY1785" fmla="*/ 5264889 h 6479439"/>
                <a:gd name="connsiteX1786" fmla="*/ 6714600 w 9586368"/>
                <a:gd name="connsiteY1786" fmla="*/ 5268928 h 6479439"/>
                <a:gd name="connsiteX1787" fmla="*/ 6714600 w 9586368"/>
                <a:gd name="connsiteY1787" fmla="*/ 5278799 h 6479439"/>
                <a:gd name="connsiteX1788" fmla="*/ 6710581 w 9586368"/>
                <a:gd name="connsiteY1788" fmla="*/ 5282838 h 6479439"/>
                <a:gd name="connsiteX1789" fmla="*/ 6700670 w 9586368"/>
                <a:gd name="connsiteY1789" fmla="*/ 5282838 h 6479439"/>
                <a:gd name="connsiteX1790" fmla="*/ 6696651 w 9586368"/>
                <a:gd name="connsiteY1790" fmla="*/ 5278799 h 6479439"/>
                <a:gd name="connsiteX1791" fmla="*/ 6696651 w 9586368"/>
                <a:gd name="connsiteY1791" fmla="*/ 5268928 h 6479439"/>
                <a:gd name="connsiteX1792" fmla="*/ 6461356 w 9586368"/>
                <a:gd name="connsiteY1792" fmla="*/ 5264889 h 6479439"/>
                <a:gd name="connsiteX1793" fmla="*/ 6471266 w 9586368"/>
                <a:gd name="connsiteY1793" fmla="*/ 5264889 h 6479439"/>
                <a:gd name="connsiteX1794" fmla="*/ 6475285 w 9586368"/>
                <a:gd name="connsiteY1794" fmla="*/ 5268928 h 6479439"/>
                <a:gd name="connsiteX1795" fmla="*/ 6475285 w 9586368"/>
                <a:gd name="connsiteY1795" fmla="*/ 5278799 h 6479439"/>
                <a:gd name="connsiteX1796" fmla="*/ 6471266 w 9586368"/>
                <a:gd name="connsiteY1796" fmla="*/ 5282838 h 6479439"/>
                <a:gd name="connsiteX1797" fmla="*/ 6461356 w 9586368"/>
                <a:gd name="connsiteY1797" fmla="*/ 5282838 h 6479439"/>
                <a:gd name="connsiteX1798" fmla="*/ 6457337 w 9586368"/>
                <a:gd name="connsiteY1798" fmla="*/ 5278799 h 6479439"/>
                <a:gd name="connsiteX1799" fmla="*/ 6457337 w 9586368"/>
                <a:gd name="connsiteY1799" fmla="*/ 5268928 h 6479439"/>
                <a:gd name="connsiteX1800" fmla="*/ 6222042 w 9586368"/>
                <a:gd name="connsiteY1800" fmla="*/ 5264889 h 6479439"/>
                <a:gd name="connsiteX1801" fmla="*/ 6231952 w 9586368"/>
                <a:gd name="connsiteY1801" fmla="*/ 5264889 h 6479439"/>
                <a:gd name="connsiteX1802" fmla="*/ 6235971 w 9586368"/>
                <a:gd name="connsiteY1802" fmla="*/ 5268928 h 6479439"/>
                <a:gd name="connsiteX1803" fmla="*/ 6235971 w 9586368"/>
                <a:gd name="connsiteY1803" fmla="*/ 5278799 h 6479439"/>
                <a:gd name="connsiteX1804" fmla="*/ 6231952 w 9586368"/>
                <a:gd name="connsiteY1804" fmla="*/ 5282838 h 6479439"/>
                <a:gd name="connsiteX1805" fmla="*/ 6222042 w 9586368"/>
                <a:gd name="connsiteY1805" fmla="*/ 5282838 h 6479439"/>
                <a:gd name="connsiteX1806" fmla="*/ 6218023 w 9586368"/>
                <a:gd name="connsiteY1806" fmla="*/ 5278799 h 6479439"/>
                <a:gd name="connsiteX1807" fmla="*/ 6218023 w 9586368"/>
                <a:gd name="connsiteY1807" fmla="*/ 5268928 h 6479439"/>
                <a:gd name="connsiteX1808" fmla="*/ 5982729 w 9586368"/>
                <a:gd name="connsiteY1808" fmla="*/ 5264889 h 6479439"/>
                <a:gd name="connsiteX1809" fmla="*/ 5992639 w 9586368"/>
                <a:gd name="connsiteY1809" fmla="*/ 5264889 h 6479439"/>
                <a:gd name="connsiteX1810" fmla="*/ 5996658 w 9586368"/>
                <a:gd name="connsiteY1810" fmla="*/ 5268928 h 6479439"/>
                <a:gd name="connsiteX1811" fmla="*/ 5996658 w 9586368"/>
                <a:gd name="connsiteY1811" fmla="*/ 5278799 h 6479439"/>
                <a:gd name="connsiteX1812" fmla="*/ 5992639 w 9586368"/>
                <a:gd name="connsiteY1812" fmla="*/ 5282838 h 6479439"/>
                <a:gd name="connsiteX1813" fmla="*/ 5982729 w 9586368"/>
                <a:gd name="connsiteY1813" fmla="*/ 5282838 h 6479439"/>
                <a:gd name="connsiteX1814" fmla="*/ 5978710 w 9586368"/>
                <a:gd name="connsiteY1814" fmla="*/ 5278799 h 6479439"/>
                <a:gd name="connsiteX1815" fmla="*/ 5978710 w 9586368"/>
                <a:gd name="connsiteY1815" fmla="*/ 5268928 h 6479439"/>
                <a:gd name="connsiteX1816" fmla="*/ 5743412 w 9586368"/>
                <a:gd name="connsiteY1816" fmla="*/ 5264889 h 6479439"/>
                <a:gd name="connsiteX1817" fmla="*/ 5753323 w 9586368"/>
                <a:gd name="connsiteY1817" fmla="*/ 5264889 h 6479439"/>
                <a:gd name="connsiteX1818" fmla="*/ 5757342 w 9586368"/>
                <a:gd name="connsiteY1818" fmla="*/ 5268928 h 6479439"/>
                <a:gd name="connsiteX1819" fmla="*/ 5757342 w 9586368"/>
                <a:gd name="connsiteY1819" fmla="*/ 5278799 h 6479439"/>
                <a:gd name="connsiteX1820" fmla="*/ 5753323 w 9586368"/>
                <a:gd name="connsiteY1820" fmla="*/ 5282838 h 6479439"/>
                <a:gd name="connsiteX1821" fmla="*/ 5743412 w 9586368"/>
                <a:gd name="connsiteY1821" fmla="*/ 5282838 h 6479439"/>
                <a:gd name="connsiteX1822" fmla="*/ 5739393 w 9586368"/>
                <a:gd name="connsiteY1822" fmla="*/ 5278799 h 6479439"/>
                <a:gd name="connsiteX1823" fmla="*/ 5739393 w 9586368"/>
                <a:gd name="connsiteY1823" fmla="*/ 5268928 h 6479439"/>
                <a:gd name="connsiteX1824" fmla="*/ 5504099 w 9586368"/>
                <a:gd name="connsiteY1824" fmla="*/ 5264889 h 6479439"/>
                <a:gd name="connsiteX1825" fmla="*/ 5514010 w 9586368"/>
                <a:gd name="connsiteY1825" fmla="*/ 5264889 h 6479439"/>
                <a:gd name="connsiteX1826" fmla="*/ 5518029 w 9586368"/>
                <a:gd name="connsiteY1826" fmla="*/ 5268928 h 6479439"/>
                <a:gd name="connsiteX1827" fmla="*/ 5518029 w 9586368"/>
                <a:gd name="connsiteY1827" fmla="*/ 5278799 h 6479439"/>
                <a:gd name="connsiteX1828" fmla="*/ 5514010 w 9586368"/>
                <a:gd name="connsiteY1828" fmla="*/ 5282838 h 6479439"/>
                <a:gd name="connsiteX1829" fmla="*/ 5504099 w 9586368"/>
                <a:gd name="connsiteY1829" fmla="*/ 5282838 h 6479439"/>
                <a:gd name="connsiteX1830" fmla="*/ 5500080 w 9586368"/>
                <a:gd name="connsiteY1830" fmla="*/ 5278799 h 6479439"/>
                <a:gd name="connsiteX1831" fmla="*/ 5500080 w 9586368"/>
                <a:gd name="connsiteY1831" fmla="*/ 5268928 h 6479439"/>
                <a:gd name="connsiteX1832" fmla="*/ 5264784 w 9586368"/>
                <a:gd name="connsiteY1832" fmla="*/ 5264889 h 6479439"/>
                <a:gd name="connsiteX1833" fmla="*/ 5274694 w 9586368"/>
                <a:gd name="connsiteY1833" fmla="*/ 5264889 h 6479439"/>
                <a:gd name="connsiteX1834" fmla="*/ 5278713 w 9586368"/>
                <a:gd name="connsiteY1834" fmla="*/ 5268928 h 6479439"/>
                <a:gd name="connsiteX1835" fmla="*/ 5278713 w 9586368"/>
                <a:gd name="connsiteY1835" fmla="*/ 5278799 h 6479439"/>
                <a:gd name="connsiteX1836" fmla="*/ 5274694 w 9586368"/>
                <a:gd name="connsiteY1836" fmla="*/ 5282838 h 6479439"/>
                <a:gd name="connsiteX1837" fmla="*/ 5264784 w 9586368"/>
                <a:gd name="connsiteY1837" fmla="*/ 5282838 h 6479439"/>
                <a:gd name="connsiteX1838" fmla="*/ 5260765 w 9586368"/>
                <a:gd name="connsiteY1838" fmla="*/ 5278799 h 6479439"/>
                <a:gd name="connsiteX1839" fmla="*/ 5260765 w 9586368"/>
                <a:gd name="connsiteY1839" fmla="*/ 5268928 h 6479439"/>
                <a:gd name="connsiteX1840" fmla="*/ 5025470 w 9586368"/>
                <a:gd name="connsiteY1840" fmla="*/ 5264889 h 6479439"/>
                <a:gd name="connsiteX1841" fmla="*/ 5035381 w 9586368"/>
                <a:gd name="connsiteY1841" fmla="*/ 5264889 h 6479439"/>
                <a:gd name="connsiteX1842" fmla="*/ 5039400 w 9586368"/>
                <a:gd name="connsiteY1842" fmla="*/ 5268928 h 6479439"/>
                <a:gd name="connsiteX1843" fmla="*/ 5039400 w 9586368"/>
                <a:gd name="connsiteY1843" fmla="*/ 5278799 h 6479439"/>
                <a:gd name="connsiteX1844" fmla="*/ 5035381 w 9586368"/>
                <a:gd name="connsiteY1844" fmla="*/ 5282838 h 6479439"/>
                <a:gd name="connsiteX1845" fmla="*/ 5025470 w 9586368"/>
                <a:gd name="connsiteY1845" fmla="*/ 5282838 h 6479439"/>
                <a:gd name="connsiteX1846" fmla="*/ 5021451 w 9586368"/>
                <a:gd name="connsiteY1846" fmla="*/ 5278799 h 6479439"/>
                <a:gd name="connsiteX1847" fmla="*/ 5021451 w 9586368"/>
                <a:gd name="connsiteY1847" fmla="*/ 5268928 h 6479439"/>
                <a:gd name="connsiteX1848" fmla="*/ 4786241 w 9586368"/>
                <a:gd name="connsiteY1848" fmla="*/ 5264889 h 6479439"/>
                <a:gd name="connsiteX1849" fmla="*/ 4796152 w 9586368"/>
                <a:gd name="connsiteY1849" fmla="*/ 5264889 h 6479439"/>
                <a:gd name="connsiteX1850" fmla="*/ 4800171 w 9586368"/>
                <a:gd name="connsiteY1850" fmla="*/ 5268928 h 6479439"/>
                <a:gd name="connsiteX1851" fmla="*/ 4800171 w 9586368"/>
                <a:gd name="connsiteY1851" fmla="*/ 5278799 h 6479439"/>
                <a:gd name="connsiteX1852" fmla="*/ 4796152 w 9586368"/>
                <a:gd name="connsiteY1852" fmla="*/ 5282838 h 6479439"/>
                <a:gd name="connsiteX1853" fmla="*/ 4786241 w 9586368"/>
                <a:gd name="connsiteY1853" fmla="*/ 5282838 h 6479439"/>
                <a:gd name="connsiteX1854" fmla="*/ 4782224 w 9586368"/>
                <a:gd name="connsiteY1854" fmla="*/ 5278799 h 6479439"/>
                <a:gd name="connsiteX1855" fmla="*/ 4782224 w 9586368"/>
                <a:gd name="connsiteY1855" fmla="*/ 5268928 h 6479439"/>
                <a:gd name="connsiteX1856" fmla="*/ 4546929 w 9586368"/>
                <a:gd name="connsiteY1856" fmla="*/ 5264889 h 6479439"/>
                <a:gd name="connsiteX1857" fmla="*/ 4556840 w 9586368"/>
                <a:gd name="connsiteY1857" fmla="*/ 5264889 h 6479439"/>
                <a:gd name="connsiteX1858" fmla="*/ 4560859 w 9586368"/>
                <a:gd name="connsiteY1858" fmla="*/ 5268928 h 6479439"/>
                <a:gd name="connsiteX1859" fmla="*/ 4560859 w 9586368"/>
                <a:gd name="connsiteY1859" fmla="*/ 5278799 h 6479439"/>
                <a:gd name="connsiteX1860" fmla="*/ 4556840 w 9586368"/>
                <a:gd name="connsiteY1860" fmla="*/ 5282838 h 6479439"/>
                <a:gd name="connsiteX1861" fmla="*/ 4546929 w 9586368"/>
                <a:gd name="connsiteY1861" fmla="*/ 5282838 h 6479439"/>
                <a:gd name="connsiteX1862" fmla="*/ 4542910 w 9586368"/>
                <a:gd name="connsiteY1862" fmla="*/ 5278799 h 6479439"/>
                <a:gd name="connsiteX1863" fmla="*/ 4542910 w 9586368"/>
                <a:gd name="connsiteY1863" fmla="*/ 5268928 h 6479439"/>
                <a:gd name="connsiteX1864" fmla="*/ 4307612 w 9586368"/>
                <a:gd name="connsiteY1864" fmla="*/ 5264889 h 6479439"/>
                <a:gd name="connsiteX1865" fmla="*/ 4317523 w 9586368"/>
                <a:gd name="connsiteY1865" fmla="*/ 5264889 h 6479439"/>
                <a:gd name="connsiteX1866" fmla="*/ 4321543 w 9586368"/>
                <a:gd name="connsiteY1866" fmla="*/ 5268928 h 6479439"/>
                <a:gd name="connsiteX1867" fmla="*/ 4321543 w 9586368"/>
                <a:gd name="connsiteY1867" fmla="*/ 5278799 h 6479439"/>
                <a:gd name="connsiteX1868" fmla="*/ 4317523 w 9586368"/>
                <a:gd name="connsiteY1868" fmla="*/ 5282838 h 6479439"/>
                <a:gd name="connsiteX1869" fmla="*/ 4307612 w 9586368"/>
                <a:gd name="connsiteY1869" fmla="*/ 5282838 h 6479439"/>
                <a:gd name="connsiteX1870" fmla="*/ 4303595 w 9586368"/>
                <a:gd name="connsiteY1870" fmla="*/ 5278799 h 6479439"/>
                <a:gd name="connsiteX1871" fmla="*/ 4303595 w 9586368"/>
                <a:gd name="connsiteY1871" fmla="*/ 5268928 h 6479439"/>
                <a:gd name="connsiteX1872" fmla="*/ 4068297 w 9586368"/>
                <a:gd name="connsiteY1872" fmla="*/ 5264889 h 6479439"/>
                <a:gd name="connsiteX1873" fmla="*/ 4078210 w 9586368"/>
                <a:gd name="connsiteY1873" fmla="*/ 5264889 h 6479439"/>
                <a:gd name="connsiteX1874" fmla="*/ 4082229 w 9586368"/>
                <a:gd name="connsiteY1874" fmla="*/ 5268928 h 6479439"/>
                <a:gd name="connsiteX1875" fmla="*/ 4082229 w 9586368"/>
                <a:gd name="connsiteY1875" fmla="*/ 5278799 h 6479439"/>
                <a:gd name="connsiteX1876" fmla="*/ 4078210 w 9586368"/>
                <a:gd name="connsiteY1876" fmla="*/ 5282838 h 6479439"/>
                <a:gd name="connsiteX1877" fmla="*/ 4068297 w 9586368"/>
                <a:gd name="connsiteY1877" fmla="*/ 5282838 h 6479439"/>
                <a:gd name="connsiteX1878" fmla="*/ 4064278 w 9586368"/>
                <a:gd name="connsiteY1878" fmla="*/ 5278799 h 6479439"/>
                <a:gd name="connsiteX1879" fmla="*/ 4064278 w 9586368"/>
                <a:gd name="connsiteY1879" fmla="*/ 5268928 h 6479439"/>
                <a:gd name="connsiteX1880" fmla="*/ 3828990 w 9586368"/>
                <a:gd name="connsiteY1880" fmla="*/ 5264889 h 6479439"/>
                <a:gd name="connsiteX1881" fmla="*/ 3838899 w 9586368"/>
                <a:gd name="connsiteY1881" fmla="*/ 5264889 h 6479439"/>
                <a:gd name="connsiteX1882" fmla="*/ 3842917 w 9586368"/>
                <a:gd name="connsiteY1882" fmla="*/ 5268928 h 6479439"/>
                <a:gd name="connsiteX1883" fmla="*/ 3842917 w 9586368"/>
                <a:gd name="connsiteY1883" fmla="*/ 5278799 h 6479439"/>
                <a:gd name="connsiteX1884" fmla="*/ 3838899 w 9586368"/>
                <a:gd name="connsiteY1884" fmla="*/ 5282838 h 6479439"/>
                <a:gd name="connsiteX1885" fmla="*/ 3828990 w 9586368"/>
                <a:gd name="connsiteY1885" fmla="*/ 5282838 h 6479439"/>
                <a:gd name="connsiteX1886" fmla="*/ 3824971 w 9586368"/>
                <a:gd name="connsiteY1886" fmla="*/ 5278799 h 6479439"/>
                <a:gd name="connsiteX1887" fmla="*/ 3824971 w 9586368"/>
                <a:gd name="connsiteY1887" fmla="*/ 5268928 h 6479439"/>
                <a:gd name="connsiteX1888" fmla="*/ 3589676 w 9586368"/>
                <a:gd name="connsiteY1888" fmla="*/ 5264889 h 6479439"/>
                <a:gd name="connsiteX1889" fmla="*/ 3599585 w 9586368"/>
                <a:gd name="connsiteY1889" fmla="*/ 5264889 h 6479439"/>
                <a:gd name="connsiteX1890" fmla="*/ 3603604 w 9586368"/>
                <a:gd name="connsiteY1890" fmla="*/ 5268928 h 6479439"/>
                <a:gd name="connsiteX1891" fmla="*/ 3603604 w 9586368"/>
                <a:gd name="connsiteY1891" fmla="*/ 5278799 h 6479439"/>
                <a:gd name="connsiteX1892" fmla="*/ 3599585 w 9586368"/>
                <a:gd name="connsiteY1892" fmla="*/ 5282838 h 6479439"/>
                <a:gd name="connsiteX1893" fmla="*/ 3589676 w 9586368"/>
                <a:gd name="connsiteY1893" fmla="*/ 5282838 h 6479439"/>
                <a:gd name="connsiteX1894" fmla="*/ 3585657 w 9586368"/>
                <a:gd name="connsiteY1894" fmla="*/ 5278799 h 6479439"/>
                <a:gd name="connsiteX1895" fmla="*/ 3585657 w 9586368"/>
                <a:gd name="connsiteY1895" fmla="*/ 5268928 h 6479439"/>
                <a:gd name="connsiteX1896" fmla="*/ 3350359 w 9586368"/>
                <a:gd name="connsiteY1896" fmla="*/ 5264889 h 6479439"/>
                <a:gd name="connsiteX1897" fmla="*/ 3360268 w 9586368"/>
                <a:gd name="connsiteY1897" fmla="*/ 5264889 h 6479439"/>
                <a:gd name="connsiteX1898" fmla="*/ 3364287 w 9586368"/>
                <a:gd name="connsiteY1898" fmla="*/ 5268928 h 6479439"/>
                <a:gd name="connsiteX1899" fmla="*/ 3364287 w 9586368"/>
                <a:gd name="connsiteY1899" fmla="*/ 5278799 h 6479439"/>
                <a:gd name="connsiteX1900" fmla="*/ 3360268 w 9586368"/>
                <a:gd name="connsiteY1900" fmla="*/ 5282838 h 6479439"/>
                <a:gd name="connsiteX1901" fmla="*/ 3350359 w 9586368"/>
                <a:gd name="connsiteY1901" fmla="*/ 5282838 h 6479439"/>
                <a:gd name="connsiteX1902" fmla="*/ 3346340 w 9586368"/>
                <a:gd name="connsiteY1902" fmla="*/ 5278799 h 6479439"/>
                <a:gd name="connsiteX1903" fmla="*/ 3346340 w 9586368"/>
                <a:gd name="connsiteY1903" fmla="*/ 5268928 h 6479439"/>
                <a:gd name="connsiteX1904" fmla="*/ 3111048 w 9586368"/>
                <a:gd name="connsiteY1904" fmla="*/ 5264889 h 6479439"/>
                <a:gd name="connsiteX1905" fmla="*/ 3120959 w 9586368"/>
                <a:gd name="connsiteY1905" fmla="*/ 5264889 h 6479439"/>
                <a:gd name="connsiteX1906" fmla="*/ 3124977 w 9586368"/>
                <a:gd name="connsiteY1906" fmla="*/ 5268928 h 6479439"/>
                <a:gd name="connsiteX1907" fmla="*/ 3124977 w 9586368"/>
                <a:gd name="connsiteY1907" fmla="*/ 5278799 h 6479439"/>
                <a:gd name="connsiteX1908" fmla="*/ 3120959 w 9586368"/>
                <a:gd name="connsiteY1908" fmla="*/ 5282838 h 6479439"/>
                <a:gd name="connsiteX1909" fmla="*/ 3111048 w 9586368"/>
                <a:gd name="connsiteY1909" fmla="*/ 5282838 h 6479439"/>
                <a:gd name="connsiteX1910" fmla="*/ 3107029 w 9586368"/>
                <a:gd name="connsiteY1910" fmla="*/ 5278799 h 6479439"/>
                <a:gd name="connsiteX1911" fmla="*/ 3107029 w 9586368"/>
                <a:gd name="connsiteY1911" fmla="*/ 5268928 h 6479439"/>
                <a:gd name="connsiteX1912" fmla="*/ 2871737 w 9586368"/>
                <a:gd name="connsiteY1912" fmla="*/ 5264889 h 6479439"/>
                <a:gd name="connsiteX1913" fmla="*/ 2881646 w 9586368"/>
                <a:gd name="connsiteY1913" fmla="*/ 5264889 h 6479439"/>
                <a:gd name="connsiteX1914" fmla="*/ 2885666 w 9586368"/>
                <a:gd name="connsiteY1914" fmla="*/ 5268928 h 6479439"/>
                <a:gd name="connsiteX1915" fmla="*/ 2885666 w 9586368"/>
                <a:gd name="connsiteY1915" fmla="*/ 5278799 h 6479439"/>
                <a:gd name="connsiteX1916" fmla="*/ 2881646 w 9586368"/>
                <a:gd name="connsiteY1916" fmla="*/ 5282838 h 6479439"/>
                <a:gd name="connsiteX1917" fmla="*/ 2871737 w 9586368"/>
                <a:gd name="connsiteY1917" fmla="*/ 5282838 h 6479439"/>
                <a:gd name="connsiteX1918" fmla="*/ 2867717 w 9586368"/>
                <a:gd name="connsiteY1918" fmla="*/ 5278799 h 6479439"/>
                <a:gd name="connsiteX1919" fmla="*/ 2867717 w 9586368"/>
                <a:gd name="connsiteY1919" fmla="*/ 5268928 h 6479439"/>
                <a:gd name="connsiteX1920" fmla="*/ 2632423 w 9586368"/>
                <a:gd name="connsiteY1920" fmla="*/ 5264889 h 6479439"/>
                <a:gd name="connsiteX1921" fmla="*/ 2642334 w 9586368"/>
                <a:gd name="connsiteY1921" fmla="*/ 5264889 h 6479439"/>
                <a:gd name="connsiteX1922" fmla="*/ 2646352 w 9586368"/>
                <a:gd name="connsiteY1922" fmla="*/ 5268928 h 6479439"/>
                <a:gd name="connsiteX1923" fmla="*/ 2646352 w 9586368"/>
                <a:gd name="connsiteY1923" fmla="*/ 5278799 h 6479439"/>
                <a:gd name="connsiteX1924" fmla="*/ 2642334 w 9586368"/>
                <a:gd name="connsiteY1924" fmla="*/ 5282838 h 6479439"/>
                <a:gd name="connsiteX1925" fmla="*/ 2632423 w 9586368"/>
                <a:gd name="connsiteY1925" fmla="*/ 5282838 h 6479439"/>
                <a:gd name="connsiteX1926" fmla="*/ 2628404 w 9586368"/>
                <a:gd name="connsiteY1926" fmla="*/ 5278799 h 6479439"/>
                <a:gd name="connsiteX1927" fmla="*/ 2628404 w 9586368"/>
                <a:gd name="connsiteY1927" fmla="*/ 5268928 h 6479439"/>
                <a:gd name="connsiteX1928" fmla="*/ 2393104 w 9586368"/>
                <a:gd name="connsiteY1928" fmla="*/ 5264889 h 6479439"/>
                <a:gd name="connsiteX1929" fmla="*/ 2403015 w 9586368"/>
                <a:gd name="connsiteY1929" fmla="*/ 5264889 h 6479439"/>
                <a:gd name="connsiteX1930" fmla="*/ 2407034 w 9586368"/>
                <a:gd name="connsiteY1930" fmla="*/ 5268928 h 6479439"/>
                <a:gd name="connsiteX1931" fmla="*/ 2407034 w 9586368"/>
                <a:gd name="connsiteY1931" fmla="*/ 5278799 h 6479439"/>
                <a:gd name="connsiteX1932" fmla="*/ 2403015 w 9586368"/>
                <a:gd name="connsiteY1932" fmla="*/ 5282838 h 6479439"/>
                <a:gd name="connsiteX1933" fmla="*/ 2393104 w 9586368"/>
                <a:gd name="connsiteY1933" fmla="*/ 5282838 h 6479439"/>
                <a:gd name="connsiteX1934" fmla="*/ 2389087 w 9586368"/>
                <a:gd name="connsiteY1934" fmla="*/ 5278799 h 6479439"/>
                <a:gd name="connsiteX1935" fmla="*/ 2389087 w 9586368"/>
                <a:gd name="connsiteY1935" fmla="*/ 5268928 h 6479439"/>
                <a:gd name="connsiteX1936" fmla="*/ 721961 w 9586368"/>
                <a:gd name="connsiteY1936" fmla="*/ 5264889 h 6479439"/>
                <a:gd name="connsiteX1937" fmla="*/ 731872 w 9586368"/>
                <a:gd name="connsiteY1937" fmla="*/ 5264889 h 6479439"/>
                <a:gd name="connsiteX1938" fmla="*/ 735891 w 9586368"/>
                <a:gd name="connsiteY1938" fmla="*/ 5268928 h 6479439"/>
                <a:gd name="connsiteX1939" fmla="*/ 735891 w 9586368"/>
                <a:gd name="connsiteY1939" fmla="*/ 5278799 h 6479439"/>
                <a:gd name="connsiteX1940" fmla="*/ 731872 w 9586368"/>
                <a:gd name="connsiteY1940" fmla="*/ 5282838 h 6479439"/>
                <a:gd name="connsiteX1941" fmla="*/ 721961 w 9586368"/>
                <a:gd name="connsiteY1941" fmla="*/ 5282838 h 6479439"/>
                <a:gd name="connsiteX1942" fmla="*/ 717943 w 9586368"/>
                <a:gd name="connsiteY1942" fmla="*/ 5278799 h 6479439"/>
                <a:gd name="connsiteX1943" fmla="*/ 717943 w 9586368"/>
                <a:gd name="connsiteY1943" fmla="*/ 5268928 h 6479439"/>
                <a:gd name="connsiteX1944" fmla="*/ 482649 w 9586368"/>
                <a:gd name="connsiteY1944" fmla="*/ 5264889 h 6479439"/>
                <a:gd name="connsiteX1945" fmla="*/ 492560 w 9586368"/>
                <a:gd name="connsiteY1945" fmla="*/ 5264889 h 6479439"/>
                <a:gd name="connsiteX1946" fmla="*/ 496579 w 9586368"/>
                <a:gd name="connsiteY1946" fmla="*/ 5268928 h 6479439"/>
                <a:gd name="connsiteX1947" fmla="*/ 496579 w 9586368"/>
                <a:gd name="connsiteY1947" fmla="*/ 5278799 h 6479439"/>
                <a:gd name="connsiteX1948" fmla="*/ 492560 w 9586368"/>
                <a:gd name="connsiteY1948" fmla="*/ 5282838 h 6479439"/>
                <a:gd name="connsiteX1949" fmla="*/ 482649 w 9586368"/>
                <a:gd name="connsiteY1949" fmla="*/ 5282838 h 6479439"/>
                <a:gd name="connsiteX1950" fmla="*/ 478630 w 9586368"/>
                <a:gd name="connsiteY1950" fmla="*/ 5278799 h 6479439"/>
                <a:gd name="connsiteX1951" fmla="*/ 478630 w 9586368"/>
                <a:gd name="connsiteY1951" fmla="*/ 5268928 h 6479439"/>
                <a:gd name="connsiteX1952" fmla="*/ 243336 w 9586368"/>
                <a:gd name="connsiteY1952" fmla="*/ 5264889 h 6479439"/>
                <a:gd name="connsiteX1953" fmla="*/ 253246 w 9586368"/>
                <a:gd name="connsiteY1953" fmla="*/ 5264889 h 6479439"/>
                <a:gd name="connsiteX1954" fmla="*/ 257265 w 9586368"/>
                <a:gd name="connsiteY1954" fmla="*/ 5268928 h 6479439"/>
                <a:gd name="connsiteX1955" fmla="*/ 257265 w 9586368"/>
                <a:gd name="connsiteY1955" fmla="*/ 5278799 h 6479439"/>
                <a:gd name="connsiteX1956" fmla="*/ 253246 w 9586368"/>
                <a:gd name="connsiteY1956" fmla="*/ 5282838 h 6479439"/>
                <a:gd name="connsiteX1957" fmla="*/ 243336 w 9586368"/>
                <a:gd name="connsiteY1957" fmla="*/ 5282838 h 6479439"/>
                <a:gd name="connsiteX1958" fmla="*/ 239317 w 9586368"/>
                <a:gd name="connsiteY1958" fmla="*/ 5278799 h 6479439"/>
                <a:gd name="connsiteX1959" fmla="*/ 239317 w 9586368"/>
                <a:gd name="connsiteY1959" fmla="*/ 5268928 h 6479439"/>
                <a:gd name="connsiteX1960" fmla="*/ 4022 w 9586368"/>
                <a:gd name="connsiteY1960" fmla="*/ 5264889 h 6479439"/>
                <a:gd name="connsiteX1961" fmla="*/ 13933 w 9586368"/>
                <a:gd name="connsiteY1961" fmla="*/ 5264889 h 6479439"/>
                <a:gd name="connsiteX1962" fmla="*/ 17952 w 9586368"/>
                <a:gd name="connsiteY1962" fmla="*/ 5268928 h 6479439"/>
                <a:gd name="connsiteX1963" fmla="*/ 17952 w 9586368"/>
                <a:gd name="connsiteY1963" fmla="*/ 5278799 h 6479439"/>
                <a:gd name="connsiteX1964" fmla="*/ 13933 w 9586368"/>
                <a:gd name="connsiteY1964" fmla="*/ 5282838 h 6479439"/>
                <a:gd name="connsiteX1965" fmla="*/ 4022 w 9586368"/>
                <a:gd name="connsiteY1965" fmla="*/ 5282838 h 6479439"/>
                <a:gd name="connsiteX1966" fmla="*/ 3 w 9586368"/>
                <a:gd name="connsiteY1966" fmla="*/ 5278799 h 6479439"/>
                <a:gd name="connsiteX1967" fmla="*/ 3 w 9586368"/>
                <a:gd name="connsiteY1967" fmla="*/ 5268928 h 6479439"/>
                <a:gd name="connsiteX1968" fmla="*/ 2157819 w 9586368"/>
                <a:gd name="connsiteY1968" fmla="*/ 5025610 h 6479439"/>
                <a:gd name="connsiteX1969" fmla="*/ 2167729 w 9586368"/>
                <a:gd name="connsiteY1969" fmla="*/ 5025610 h 6479439"/>
                <a:gd name="connsiteX1970" fmla="*/ 2171748 w 9586368"/>
                <a:gd name="connsiteY1970" fmla="*/ 5029648 h 6479439"/>
                <a:gd name="connsiteX1971" fmla="*/ 2171748 w 9586368"/>
                <a:gd name="connsiteY1971" fmla="*/ 5039519 h 6479439"/>
                <a:gd name="connsiteX1972" fmla="*/ 2167729 w 9586368"/>
                <a:gd name="connsiteY1972" fmla="*/ 5043558 h 6479439"/>
                <a:gd name="connsiteX1973" fmla="*/ 2157819 w 9586368"/>
                <a:gd name="connsiteY1973" fmla="*/ 5043558 h 6479439"/>
                <a:gd name="connsiteX1974" fmla="*/ 2153800 w 9586368"/>
                <a:gd name="connsiteY1974" fmla="*/ 5039519 h 6479439"/>
                <a:gd name="connsiteX1975" fmla="*/ 2153800 w 9586368"/>
                <a:gd name="connsiteY1975" fmla="*/ 5029648 h 6479439"/>
                <a:gd name="connsiteX1976" fmla="*/ 1918510 w 9586368"/>
                <a:gd name="connsiteY1976" fmla="*/ 5025610 h 6479439"/>
                <a:gd name="connsiteX1977" fmla="*/ 1928420 w 9586368"/>
                <a:gd name="connsiteY1977" fmla="*/ 5025610 h 6479439"/>
                <a:gd name="connsiteX1978" fmla="*/ 1932440 w 9586368"/>
                <a:gd name="connsiteY1978" fmla="*/ 5029648 h 6479439"/>
                <a:gd name="connsiteX1979" fmla="*/ 1932440 w 9586368"/>
                <a:gd name="connsiteY1979" fmla="*/ 5039519 h 6479439"/>
                <a:gd name="connsiteX1980" fmla="*/ 1928420 w 9586368"/>
                <a:gd name="connsiteY1980" fmla="*/ 5043558 h 6479439"/>
                <a:gd name="connsiteX1981" fmla="*/ 1918510 w 9586368"/>
                <a:gd name="connsiteY1981" fmla="*/ 5043558 h 6479439"/>
                <a:gd name="connsiteX1982" fmla="*/ 1914492 w 9586368"/>
                <a:gd name="connsiteY1982" fmla="*/ 5039519 h 6479439"/>
                <a:gd name="connsiteX1983" fmla="*/ 1914492 w 9586368"/>
                <a:gd name="connsiteY1983" fmla="*/ 5029648 h 6479439"/>
                <a:gd name="connsiteX1984" fmla="*/ 1679204 w 9586368"/>
                <a:gd name="connsiteY1984" fmla="*/ 5025610 h 6479439"/>
                <a:gd name="connsiteX1985" fmla="*/ 1689115 w 9586368"/>
                <a:gd name="connsiteY1985" fmla="*/ 5025610 h 6479439"/>
                <a:gd name="connsiteX1986" fmla="*/ 1693133 w 9586368"/>
                <a:gd name="connsiteY1986" fmla="*/ 5029648 h 6479439"/>
                <a:gd name="connsiteX1987" fmla="*/ 1693133 w 9586368"/>
                <a:gd name="connsiteY1987" fmla="*/ 5039519 h 6479439"/>
                <a:gd name="connsiteX1988" fmla="*/ 1689115 w 9586368"/>
                <a:gd name="connsiteY1988" fmla="*/ 5043558 h 6479439"/>
                <a:gd name="connsiteX1989" fmla="*/ 1679204 w 9586368"/>
                <a:gd name="connsiteY1989" fmla="*/ 5043558 h 6479439"/>
                <a:gd name="connsiteX1990" fmla="*/ 1675185 w 9586368"/>
                <a:gd name="connsiteY1990" fmla="*/ 5039519 h 6479439"/>
                <a:gd name="connsiteX1991" fmla="*/ 1675185 w 9586368"/>
                <a:gd name="connsiteY1991" fmla="*/ 5029648 h 6479439"/>
                <a:gd name="connsiteX1992" fmla="*/ 1439889 w 9586368"/>
                <a:gd name="connsiteY1992" fmla="*/ 5025610 h 6479439"/>
                <a:gd name="connsiteX1993" fmla="*/ 1449798 w 9586368"/>
                <a:gd name="connsiteY1993" fmla="*/ 5025610 h 6479439"/>
                <a:gd name="connsiteX1994" fmla="*/ 1453818 w 9586368"/>
                <a:gd name="connsiteY1994" fmla="*/ 5029648 h 6479439"/>
                <a:gd name="connsiteX1995" fmla="*/ 1453818 w 9586368"/>
                <a:gd name="connsiteY1995" fmla="*/ 5039519 h 6479439"/>
                <a:gd name="connsiteX1996" fmla="*/ 1449798 w 9586368"/>
                <a:gd name="connsiteY1996" fmla="*/ 5043558 h 6479439"/>
                <a:gd name="connsiteX1997" fmla="*/ 1439889 w 9586368"/>
                <a:gd name="connsiteY1997" fmla="*/ 5043558 h 6479439"/>
                <a:gd name="connsiteX1998" fmla="*/ 1435870 w 9586368"/>
                <a:gd name="connsiteY1998" fmla="*/ 5039519 h 6479439"/>
                <a:gd name="connsiteX1999" fmla="*/ 1435870 w 9586368"/>
                <a:gd name="connsiteY1999" fmla="*/ 5029648 h 6479439"/>
                <a:gd name="connsiteX2000" fmla="*/ 1200573 w 9586368"/>
                <a:gd name="connsiteY2000" fmla="*/ 5025610 h 6479439"/>
                <a:gd name="connsiteX2001" fmla="*/ 1210484 w 9586368"/>
                <a:gd name="connsiteY2001" fmla="*/ 5025610 h 6479439"/>
                <a:gd name="connsiteX2002" fmla="*/ 1214502 w 9586368"/>
                <a:gd name="connsiteY2002" fmla="*/ 5029648 h 6479439"/>
                <a:gd name="connsiteX2003" fmla="*/ 1214502 w 9586368"/>
                <a:gd name="connsiteY2003" fmla="*/ 5039519 h 6479439"/>
                <a:gd name="connsiteX2004" fmla="*/ 1210484 w 9586368"/>
                <a:gd name="connsiteY2004" fmla="*/ 5043558 h 6479439"/>
                <a:gd name="connsiteX2005" fmla="*/ 1200573 w 9586368"/>
                <a:gd name="connsiteY2005" fmla="*/ 5043558 h 6479439"/>
                <a:gd name="connsiteX2006" fmla="*/ 1196555 w 9586368"/>
                <a:gd name="connsiteY2006" fmla="*/ 5039519 h 6479439"/>
                <a:gd name="connsiteX2007" fmla="*/ 1196555 w 9586368"/>
                <a:gd name="connsiteY2007" fmla="*/ 5029648 h 6479439"/>
                <a:gd name="connsiteX2008" fmla="*/ 961261 w 9586368"/>
                <a:gd name="connsiteY2008" fmla="*/ 5025610 h 6479439"/>
                <a:gd name="connsiteX2009" fmla="*/ 971171 w 9586368"/>
                <a:gd name="connsiteY2009" fmla="*/ 5025610 h 6479439"/>
                <a:gd name="connsiteX2010" fmla="*/ 975190 w 9586368"/>
                <a:gd name="connsiteY2010" fmla="*/ 5029648 h 6479439"/>
                <a:gd name="connsiteX2011" fmla="*/ 975190 w 9586368"/>
                <a:gd name="connsiteY2011" fmla="*/ 5039519 h 6479439"/>
                <a:gd name="connsiteX2012" fmla="*/ 971171 w 9586368"/>
                <a:gd name="connsiteY2012" fmla="*/ 5043558 h 6479439"/>
                <a:gd name="connsiteX2013" fmla="*/ 961261 w 9586368"/>
                <a:gd name="connsiteY2013" fmla="*/ 5043558 h 6479439"/>
                <a:gd name="connsiteX2014" fmla="*/ 957242 w 9586368"/>
                <a:gd name="connsiteY2014" fmla="*/ 5039519 h 6479439"/>
                <a:gd name="connsiteX2015" fmla="*/ 957242 w 9586368"/>
                <a:gd name="connsiteY2015" fmla="*/ 5029648 h 6479439"/>
                <a:gd name="connsiteX2016" fmla="*/ 9572438 w 9586368"/>
                <a:gd name="connsiteY2016" fmla="*/ 5025558 h 6479439"/>
                <a:gd name="connsiteX2017" fmla="*/ 9582349 w 9586368"/>
                <a:gd name="connsiteY2017" fmla="*/ 5025558 h 6479439"/>
                <a:gd name="connsiteX2018" fmla="*/ 9586368 w 9586368"/>
                <a:gd name="connsiteY2018" fmla="*/ 5029597 h 6479439"/>
                <a:gd name="connsiteX2019" fmla="*/ 9586368 w 9586368"/>
                <a:gd name="connsiteY2019" fmla="*/ 5039468 h 6479439"/>
                <a:gd name="connsiteX2020" fmla="*/ 9582349 w 9586368"/>
                <a:gd name="connsiteY2020" fmla="*/ 5043507 h 6479439"/>
                <a:gd name="connsiteX2021" fmla="*/ 9572438 w 9586368"/>
                <a:gd name="connsiteY2021" fmla="*/ 5043507 h 6479439"/>
                <a:gd name="connsiteX2022" fmla="*/ 9568419 w 9586368"/>
                <a:gd name="connsiteY2022" fmla="*/ 5039468 h 6479439"/>
                <a:gd name="connsiteX2023" fmla="*/ 9568419 w 9586368"/>
                <a:gd name="connsiteY2023" fmla="*/ 5029597 h 6479439"/>
                <a:gd name="connsiteX2024" fmla="*/ 9333125 w 9586368"/>
                <a:gd name="connsiteY2024" fmla="*/ 5025558 h 6479439"/>
                <a:gd name="connsiteX2025" fmla="*/ 9343036 w 9586368"/>
                <a:gd name="connsiteY2025" fmla="*/ 5025558 h 6479439"/>
                <a:gd name="connsiteX2026" fmla="*/ 9347055 w 9586368"/>
                <a:gd name="connsiteY2026" fmla="*/ 5029597 h 6479439"/>
                <a:gd name="connsiteX2027" fmla="*/ 9347055 w 9586368"/>
                <a:gd name="connsiteY2027" fmla="*/ 5039468 h 6479439"/>
                <a:gd name="connsiteX2028" fmla="*/ 9343036 w 9586368"/>
                <a:gd name="connsiteY2028" fmla="*/ 5043507 h 6479439"/>
                <a:gd name="connsiteX2029" fmla="*/ 9333125 w 9586368"/>
                <a:gd name="connsiteY2029" fmla="*/ 5043507 h 6479439"/>
                <a:gd name="connsiteX2030" fmla="*/ 9329106 w 9586368"/>
                <a:gd name="connsiteY2030" fmla="*/ 5039468 h 6479439"/>
                <a:gd name="connsiteX2031" fmla="*/ 9329106 w 9586368"/>
                <a:gd name="connsiteY2031" fmla="*/ 5029597 h 6479439"/>
                <a:gd name="connsiteX2032" fmla="*/ 9093811 w 9586368"/>
                <a:gd name="connsiteY2032" fmla="*/ 5025558 h 6479439"/>
                <a:gd name="connsiteX2033" fmla="*/ 9103722 w 9586368"/>
                <a:gd name="connsiteY2033" fmla="*/ 5025558 h 6479439"/>
                <a:gd name="connsiteX2034" fmla="*/ 9107741 w 9586368"/>
                <a:gd name="connsiteY2034" fmla="*/ 5029597 h 6479439"/>
                <a:gd name="connsiteX2035" fmla="*/ 9107741 w 9586368"/>
                <a:gd name="connsiteY2035" fmla="*/ 5039468 h 6479439"/>
                <a:gd name="connsiteX2036" fmla="*/ 9103722 w 9586368"/>
                <a:gd name="connsiteY2036" fmla="*/ 5043507 h 6479439"/>
                <a:gd name="connsiteX2037" fmla="*/ 9093811 w 9586368"/>
                <a:gd name="connsiteY2037" fmla="*/ 5043507 h 6479439"/>
                <a:gd name="connsiteX2038" fmla="*/ 9089792 w 9586368"/>
                <a:gd name="connsiteY2038" fmla="*/ 5039468 h 6479439"/>
                <a:gd name="connsiteX2039" fmla="*/ 9089792 w 9586368"/>
                <a:gd name="connsiteY2039" fmla="*/ 5029597 h 6479439"/>
                <a:gd name="connsiteX2040" fmla="*/ 8854496 w 9586368"/>
                <a:gd name="connsiteY2040" fmla="*/ 5025558 h 6479439"/>
                <a:gd name="connsiteX2041" fmla="*/ 8864407 w 9586368"/>
                <a:gd name="connsiteY2041" fmla="*/ 5025558 h 6479439"/>
                <a:gd name="connsiteX2042" fmla="*/ 8868426 w 9586368"/>
                <a:gd name="connsiteY2042" fmla="*/ 5029597 h 6479439"/>
                <a:gd name="connsiteX2043" fmla="*/ 8868426 w 9586368"/>
                <a:gd name="connsiteY2043" fmla="*/ 5039468 h 6479439"/>
                <a:gd name="connsiteX2044" fmla="*/ 8864407 w 9586368"/>
                <a:gd name="connsiteY2044" fmla="*/ 5043507 h 6479439"/>
                <a:gd name="connsiteX2045" fmla="*/ 8854496 w 9586368"/>
                <a:gd name="connsiteY2045" fmla="*/ 5043507 h 6479439"/>
                <a:gd name="connsiteX2046" fmla="*/ 8850477 w 9586368"/>
                <a:gd name="connsiteY2046" fmla="*/ 5039468 h 6479439"/>
                <a:gd name="connsiteX2047" fmla="*/ 8850477 w 9586368"/>
                <a:gd name="connsiteY2047" fmla="*/ 5029597 h 6479439"/>
                <a:gd name="connsiteX2048" fmla="*/ 8615184 w 9586368"/>
                <a:gd name="connsiteY2048" fmla="*/ 5025558 h 6479439"/>
                <a:gd name="connsiteX2049" fmla="*/ 8625095 w 9586368"/>
                <a:gd name="connsiteY2049" fmla="*/ 5025558 h 6479439"/>
                <a:gd name="connsiteX2050" fmla="*/ 8629114 w 9586368"/>
                <a:gd name="connsiteY2050" fmla="*/ 5029597 h 6479439"/>
                <a:gd name="connsiteX2051" fmla="*/ 8629114 w 9586368"/>
                <a:gd name="connsiteY2051" fmla="*/ 5039468 h 6479439"/>
                <a:gd name="connsiteX2052" fmla="*/ 8625095 w 9586368"/>
                <a:gd name="connsiteY2052" fmla="*/ 5043507 h 6479439"/>
                <a:gd name="connsiteX2053" fmla="*/ 8615184 w 9586368"/>
                <a:gd name="connsiteY2053" fmla="*/ 5043507 h 6479439"/>
                <a:gd name="connsiteX2054" fmla="*/ 8611165 w 9586368"/>
                <a:gd name="connsiteY2054" fmla="*/ 5039468 h 6479439"/>
                <a:gd name="connsiteX2055" fmla="*/ 8611165 w 9586368"/>
                <a:gd name="connsiteY2055" fmla="*/ 5029597 h 6479439"/>
                <a:gd name="connsiteX2056" fmla="*/ 8375869 w 9586368"/>
                <a:gd name="connsiteY2056" fmla="*/ 5025558 h 6479439"/>
                <a:gd name="connsiteX2057" fmla="*/ 8385779 w 9586368"/>
                <a:gd name="connsiteY2057" fmla="*/ 5025558 h 6479439"/>
                <a:gd name="connsiteX2058" fmla="*/ 8389799 w 9586368"/>
                <a:gd name="connsiteY2058" fmla="*/ 5029597 h 6479439"/>
                <a:gd name="connsiteX2059" fmla="*/ 8389799 w 9586368"/>
                <a:gd name="connsiteY2059" fmla="*/ 5039468 h 6479439"/>
                <a:gd name="connsiteX2060" fmla="*/ 8385779 w 9586368"/>
                <a:gd name="connsiteY2060" fmla="*/ 5043507 h 6479439"/>
                <a:gd name="connsiteX2061" fmla="*/ 8375869 w 9586368"/>
                <a:gd name="connsiteY2061" fmla="*/ 5043507 h 6479439"/>
                <a:gd name="connsiteX2062" fmla="*/ 8371850 w 9586368"/>
                <a:gd name="connsiteY2062" fmla="*/ 5039468 h 6479439"/>
                <a:gd name="connsiteX2063" fmla="*/ 8371850 w 9586368"/>
                <a:gd name="connsiteY2063" fmla="*/ 5029597 h 6479439"/>
                <a:gd name="connsiteX2064" fmla="*/ 8136553 w 9586368"/>
                <a:gd name="connsiteY2064" fmla="*/ 5025558 h 6479439"/>
                <a:gd name="connsiteX2065" fmla="*/ 8146464 w 9586368"/>
                <a:gd name="connsiteY2065" fmla="*/ 5025558 h 6479439"/>
                <a:gd name="connsiteX2066" fmla="*/ 8150483 w 9586368"/>
                <a:gd name="connsiteY2066" fmla="*/ 5029597 h 6479439"/>
                <a:gd name="connsiteX2067" fmla="*/ 8150483 w 9586368"/>
                <a:gd name="connsiteY2067" fmla="*/ 5039468 h 6479439"/>
                <a:gd name="connsiteX2068" fmla="*/ 8146464 w 9586368"/>
                <a:gd name="connsiteY2068" fmla="*/ 5043507 h 6479439"/>
                <a:gd name="connsiteX2069" fmla="*/ 8136553 w 9586368"/>
                <a:gd name="connsiteY2069" fmla="*/ 5043507 h 6479439"/>
                <a:gd name="connsiteX2070" fmla="*/ 8132534 w 9586368"/>
                <a:gd name="connsiteY2070" fmla="*/ 5039468 h 6479439"/>
                <a:gd name="connsiteX2071" fmla="*/ 8132534 w 9586368"/>
                <a:gd name="connsiteY2071" fmla="*/ 5029597 h 6479439"/>
                <a:gd name="connsiteX2072" fmla="*/ 7897241 w 9586368"/>
                <a:gd name="connsiteY2072" fmla="*/ 5025558 h 6479439"/>
                <a:gd name="connsiteX2073" fmla="*/ 7907151 w 9586368"/>
                <a:gd name="connsiteY2073" fmla="*/ 5025558 h 6479439"/>
                <a:gd name="connsiteX2074" fmla="*/ 7911170 w 9586368"/>
                <a:gd name="connsiteY2074" fmla="*/ 5029597 h 6479439"/>
                <a:gd name="connsiteX2075" fmla="*/ 7911170 w 9586368"/>
                <a:gd name="connsiteY2075" fmla="*/ 5039468 h 6479439"/>
                <a:gd name="connsiteX2076" fmla="*/ 7907151 w 9586368"/>
                <a:gd name="connsiteY2076" fmla="*/ 5043507 h 6479439"/>
                <a:gd name="connsiteX2077" fmla="*/ 7897241 w 9586368"/>
                <a:gd name="connsiteY2077" fmla="*/ 5043507 h 6479439"/>
                <a:gd name="connsiteX2078" fmla="*/ 7893222 w 9586368"/>
                <a:gd name="connsiteY2078" fmla="*/ 5039468 h 6479439"/>
                <a:gd name="connsiteX2079" fmla="*/ 7893222 w 9586368"/>
                <a:gd name="connsiteY2079" fmla="*/ 5029597 h 6479439"/>
                <a:gd name="connsiteX2080" fmla="*/ 7657926 w 9586368"/>
                <a:gd name="connsiteY2080" fmla="*/ 5025558 h 6479439"/>
                <a:gd name="connsiteX2081" fmla="*/ 7667836 w 9586368"/>
                <a:gd name="connsiteY2081" fmla="*/ 5025558 h 6479439"/>
                <a:gd name="connsiteX2082" fmla="*/ 7671855 w 9586368"/>
                <a:gd name="connsiteY2082" fmla="*/ 5029597 h 6479439"/>
                <a:gd name="connsiteX2083" fmla="*/ 7671855 w 9586368"/>
                <a:gd name="connsiteY2083" fmla="*/ 5039468 h 6479439"/>
                <a:gd name="connsiteX2084" fmla="*/ 7667836 w 9586368"/>
                <a:gd name="connsiteY2084" fmla="*/ 5043507 h 6479439"/>
                <a:gd name="connsiteX2085" fmla="*/ 7657926 w 9586368"/>
                <a:gd name="connsiteY2085" fmla="*/ 5043507 h 6479439"/>
                <a:gd name="connsiteX2086" fmla="*/ 7653906 w 9586368"/>
                <a:gd name="connsiteY2086" fmla="*/ 5039468 h 6479439"/>
                <a:gd name="connsiteX2087" fmla="*/ 7653906 w 9586368"/>
                <a:gd name="connsiteY2087" fmla="*/ 5029597 h 6479439"/>
                <a:gd name="connsiteX2088" fmla="*/ 7418611 w 9586368"/>
                <a:gd name="connsiteY2088" fmla="*/ 5025558 h 6479439"/>
                <a:gd name="connsiteX2089" fmla="*/ 7428521 w 9586368"/>
                <a:gd name="connsiteY2089" fmla="*/ 5025558 h 6479439"/>
                <a:gd name="connsiteX2090" fmla="*/ 7432540 w 9586368"/>
                <a:gd name="connsiteY2090" fmla="*/ 5029597 h 6479439"/>
                <a:gd name="connsiteX2091" fmla="*/ 7432540 w 9586368"/>
                <a:gd name="connsiteY2091" fmla="*/ 5039468 h 6479439"/>
                <a:gd name="connsiteX2092" fmla="*/ 7428521 w 9586368"/>
                <a:gd name="connsiteY2092" fmla="*/ 5043507 h 6479439"/>
                <a:gd name="connsiteX2093" fmla="*/ 7418611 w 9586368"/>
                <a:gd name="connsiteY2093" fmla="*/ 5043507 h 6479439"/>
                <a:gd name="connsiteX2094" fmla="*/ 7414592 w 9586368"/>
                <a:gd name="connsiteY2094" fmla="*/ 5039468 h 6479439"/>
                <a:gd name="connsiteX2095" fmla="*/ 7414592 w 9586368"/>
                <a:gd name="connsiteY2095" fmla="*/ 5029597 h 6479439"/>
                <a:gd name="connsiteX2096" fmla="*/ 7179298 w 9586368"/>
                <a:gd name="connsiteY2096" fmla="*/ 5025558 h 6479439"/>
                <a:gd name="connsiteX2097" fmla="*/ 7189209 w 9586368"/>
                <a:gd name="connsiteY2097" fmla="*/ 5025558 h 6479439"/>
                <a:gd name="connsiteX2098" fmla="*/ 7193228 w 9586368"/>
                <a:gd name="connsiteY2098" fmla="*/ 5029597 h 6479439"/>
                <a:gd name="connsiteX2099" fmla="*/ 7193228 w 9586368"/>
                <a:gd name="connsiteY2099" fmla="*/ 5039468 h 6479439"/>
                <a:gd name="connsiteX2100" fmla="*/ 7189209 w 9586368"/>
                <a:gd name="connsiteY2100" fmla="*/ 5043507 h 6479439"/>
                <a:gd name="connsiteX2101" fmla="*/ 7179298 w 9586368"/>
                <a:gd name="connsiteY2101" fmla="*/ 5043507 h 6479439"/>
                <a:gd name="connsiteX2102" fmla="*/ 7175279 w 9586368"/>
                <a:gd name="connsiteY2102" fmla="*/ 5039468 h 6479439"/>
                <a:gd name="connsiteX2103" fmla="*/ 7175279 w 9586368"/>
                <a:gd name="connsiteY2103" fmla="*/ 5029597 h 6479439"/>
                <a:gd name="connsiteX2104" fmla="*/ 6939983 w 9586368"/>
                <a:gd name="connsiteY2104" fmla="*/ 5025558 h 6479439"/>
                <a:gd name="connsiteX2105" fmla="*/ 6949894 w 9586368"/>
                <a:gd name="connsiteY2105" fmla="*/ 5025558 h 6479439"/>
                <a:gd name="connsiteX2106" fmla="*/ 6953913 w 9586368"/>
                <a:gd name="connsiteY2106" fmla="*/ 5029597 h 6479439"/>
                <a:gd name="connsiteX2107" fmla="*/ 6953913 w 9586368"/>
                <a:gd name="connsiteY2107" fmla="*/ 5039468 h 6479439"/>
                <a:gd name="connsiteX2108" fmla="*/ 6949894 w 9586368"/>
                <a:gd name="connsiteY2108" fmla="*/ 5043507 h 6479439"/>
                <a:gd name="connsiteX2109" fmla="*/ 6939983 w 9586368"/>
                <a:gd name="connsiteY2109" fmla="*/ 5043507 h 6479439"/>
                <a:gd name="connsiteX2110" fmla="*/ 6935964 w 9586368"/>
                <a:gd name="connsiteY2110" fmla="*/ 5039468 h 6479439"/>
                <a:gd name="connsiteX2111" fmla="*/ 6935964 w 9586368"/>
                <a:gd name="connsiteY2111" fmla="*/ 5029597 h 6479439"/>
                <a:gd name="connsiteX2112" fmla="*/ 6700670 w 9586368"/>
                <a:gd name="connsiteY2112" fmla="*/ 5025558 h 6479439"/>
                <a:gd name="connsiteX2113" fmla="*/ 6710581 w 9586368"/>
                <a:gd name="connsiteY2113" fmla="*/ 5025558 h 6479439"/>
                <a:gd name="connsiteX2114" fmla="*/ 6714600 w 9586368"/>
                <a:gd name="connsiteY2114" fmla="*/ 5029597 h 6479439"/>
                <a:gd name="connsiteX2115" fmla="*/ 6714600 w 9586368"/>
                <a:gd name="connsiteY2115" fmla="*/ 5039468 h 6479439"/>
                <a:gd name="connsiteX2116" fmla="*/ 6710581 w 9586368"/>
                <a:gd name="connsiteY2116" fmla="*/ 5043507 h 6479439"/>
                <a:gd name="connsiteX2117" fmla="*/ 6700670 w 9586368"/>
                <a:gd name="connsiteY2117" fmla="*/ 5043507 h 6479439"/>
                <a:gd name="connsiteX2118" fmla="*/ 6696651 w 9586368"/>
                <a:gd name="connsiteY2118" fmla="*/ 5039468 h 6479439"/>
                <a:gd name="connsiteX2119" fmla="*/ 6696651 w 9586368"/>
                <a:gd name="connsiteY2119" fmla="*/ 5029597 h 6479439"/>
                <a:gd name="connsiteX2120" fmla="*/ 6461356 w 9586368"/>
                <a:gd name="connsiteY2120" fmla="*/ 5025558 h 6479439"/>
                <a:gd name="connsiteX2121" fmla="*/ 6471266 w 9586368"/>
                <a:gd name="connsiteY2121" fmla="*/ 5025558 h 6479439"/>
                <a:gd name="connsiteX2122" fmla="*/ 6475285 w 9586368"/>
                <a:gd name="connsiteY2122" fmla="*/ 5029597 h 6479439"/>
                <a:gd name="connsiteX2123" fmla="*/ 6475285 w 9586368"/>
                <a:gd name="connsiteY2123" fmla="*/ 5039468 h 6479439"/>
                <a:gd name="connsiteX2124" fmla="*/ 6471266 w 9586368"/>
                <a:gd name="connsiteY2124" fmla="*/ 5043507 h 6479439"/>
                <a:gd name="connsiteX2125" fmla="*/ 6461356 w 9586368"/>
                <a:gd name="connsiteY2125" fmla="*/ 5043507 h 6479439"/>
                <a:gd name="connsiteX2126" fmla="*/ 6457337 w 9586368"/>
                <a:gd name="connsiteY2126" fmla="*/ 5039468 h 6479439"/>
                <a:gd name="connsiteX2127" fmla="*/ 6457337 w 9586368"/>
                <a:gd name="connsiteY2127" fmla="*/ 5029597 h 6479439"/>
                <a:gd name="connsiteX2128" fmla="*/ 6222042 w 9586368"/>
                <a:gd name="connsiteY2128" fmla="*/ 5025558 h 6479439"/>
                <a:gd name="connsiteX2129" fmla="*/ 6231952 w 9586368"/>
                <a:gd name="connsiteY2129" fmla="*/ 5025558 h 6479439"/>
                <a:gd name="connsiteX2130" fmla="*/ 6235971 w 9586368"/>
                <a:gd name="connsiteY2130" fmla="*/ 5029597 h 6479439"/>
                <a:gd name="connsiteX2131" fmla="*/ 6235971 w 9586368"/>
                <a:gd name="connsiteY2131" fmla="*/ 5039468 h 6479439"/>
                <a:gd name="connsiteX2132" fmla="*/ 6231952 w 9586368"/>
                <a:gd name="connsiteY2132" fmla="*/ 5043507 h 6479439"/>
                <a:gd name="connsiteX2133" fmla="*/ 6222042 w 9586368"/>
                <a:gd name="connsiteY2133" fmla="*/ 5043507 h 6479439"/>
                <a:gd name="connsiteX2134" fmla="*/ 6218023 w 9586368"/>
                <a:gd name="connsiteY2134" fmla="*/ 5039468 h 6479439"/>
                <a:gd name="connsiteX2135" fmla="*/ 6218023 w 9586368"/>
                <a:gd name="connsiteY2135" fmla="*/ 5029597 h 6479439"/>
                <a:gd name="connsiteX2136" fmla="*/ 5982729 w 9586368"/>
                <a:gd name="connsiteY2136" fmla="*/ 5025558 h 6479439"/>
                <a:gd name="connsiteX2137" fmla="*/ 5992639 w 9586368"/>
                <a:gd name="connsiteY2137" fmla="*/ 5025558 h 6479439"/>
                <a:gd name="connsiteX2138" fmla="*/ 5996658 w 9586368"/>
                <a:gd name="connsiteY2138" fmla="*/ 5029597 h 6479439"/>
                <a:gd name="connsiteX2139" fmla="*/ 5996658 w 9586368"/>
                <a:gd name="connsiteY2139" fmla="*/ 5039468 h 6479439"/>
                <a:gd name="connsiteX2140" fmla="*/ 5992639 w 9586368"/>
                <a:gd name="connsiteY2140" fmla="*/ 5043507 h 6479439"/>
                <a:gd name="connsiteX2141" fmla="*/ 5982729 w 9586368"/>
                <a:gd name="connsiteY2141" fmla="*/ 5043507 h 6479439"/>
                <a:gd name="connsiteX2142" fmla="*/ 5978710 w 9586368"/>
                <a:gd name="connsiteY2142" fmla="*/ 5039468 h 6479439"/>
                <a:gd name="connsiteX2143" fmla="*/ 5978710 w 9586368"/>
                <a:gd name="connsiteY2143" fmla="*/ 5029597 h 6479439"/>
                <a:gd name="connsiteX2144" fmla="*/ 5743412 w 9586368"/>
                <a:gd name="connsiteY2144" fmla="*/ 5025558 h 6479439"/>
                <a:gd name="connsiteX2145" fmla="*/ 5753323 w 9586368"/>
                <a:gd name="connsiteY2145" fmla="*/ 5025558 h 6479439"/>
                <a:gd name="connsiteX2146" fmla="*/ 5757342 w 9586368"/>
                <a:gd name="connsiteY2146" fmla="*/ 5029597 h 6479439"/>
                <a:gd name="connsiteX2147" fmla="*/ 5757342 w 9586368"/>
                <a:gd name="connsiteY2147" fmla="*/ 5039468 h 6479439"/>
                <a:gd name="connsiteX2148" fmla="*/ 5753323 w 9586368"/>
                <a:gd name="connsiteY2148" fmla="*/ 5043507 h 6479439"/>
                <a:gd name="connsiteX2149" fmla="*/ 5743412 w 9586368"/>
                <a:gd name="connsiteY2149" fmla="*/ 5043507 h 6479439"/>
                <a:gd name="connsiteX2150" fmla="*/ 5739393 w 9586368"/>
                <a:gd name="connsiteY2150" fmla="*/ 5039468 h 6479439"/>
                <a:gd name="connsiteX2151" fmla="*/ 5739393 w 9586368"/>
                <a:gd name="connsiteY2151" fmla="*/ 5029597 h 6479439"/>
                <a:gd name="connsiteX2152" fmla="*/ 5504099 w 9586368"/>
                <a:gd name="connsiteY2152" fmla="*/ 5025558 h 6479439"/>
                <a:gd name="connsiteX2153" fmla="*/ 5514010 w 9586368"/>
                <a:gd name="connsiteY2153" fmla="*/ 5025558 h 6479439"/>
                <a:gd name="connsiteX2154" fmla="*/ 5518029 w 9586368"/>
                <a:gd name="connsiteY2154" fmla="*/ 5029597 h 6479439"/>
                <a:gd name="connsiteX2155" fmla="*/ 5518029 w 9586368"/>
                <a:gd name="connsiteY2155" fmla="*/ 5039468 h 6479439"/>
                <a:gd name="connsiteX2156" fmla="*/ 5514010 w 9586368"/>
                <a:gd name="connsiteY2156" fmla="*/ 5043507 h 6479439"/>
                <a:gd name="connsiteX2157" fmla="*/ 5504099 w 9586368"/>
                <a:gd name="connsiteY2157" fmla="*/ 5043507 h 6479439"/>
                <a:gd name="connsiteX2158" fmla="*/ 5500080 w 9586368"/>
                <a:gd name="connsiteY2158" fmla="*/ 5039468 h 6479439"/>
                <a:gd name="connsiteX2159" fmla="*/ 5500080 w 9586368"/>
                <a:gd name="connsiteY2159" fmla="*/ 5029597 h 6479439"/>
                <a:gd name="connsiteX2160" fmla="*/ 5264784 w 9586368"/>
                <a:gd name="connsiteY2160" fmla="*/ 5025558 h 6479439"/>
                <a:gd name="connsiteX2161" fmla="*/ 5274694 w 9586368"/>
                <a:gd name="connsiteY2161" fmla="*/ 5025558 h 6479439"/>
                <a:gd name="connsiteX2162" fmla="*/ 5278713 w 9586368"/>
                <a:gd name="connsiteY2162" fmla="*/ 5029597 h 6479439"/>
                <a:gd name="connsiteX2163" fmla="*/ 5278713 w 9586368"/>
                <a:gd name="connsiteY2163" fmla="*/ 5039468 h 6479439"/>
                <a:gd name="connsiteX2164" fmla="*/ 5274694 w 9586368"/>
                <a:gd name="connsiteY2164" fmla="*/ 5043507 h 6479439"/>
                <a:gd name="connsiteX2165" fmla="*/ 5264784 w 9586368"/>
                <a:gd name="connsiteY2165" fmla="*/ 5043507 h 6479439"/>
                <a:gd name="connsiteX2166" fmla="*/ 5260765 w 9586368"/>
                <a:gd name="connsiteY2166" fmla="*/ 5039468 h 6479439"/>
                <a:gd name="connsiteX2167" fmla="*/ 5260765 w 9586368"/>
                <a:gd name="connsiteY2167" fmla="*/ 5029597 h 6479439"/>
                <a:gd name="connsiteX2168" fmla="*/ 5025470 w 9586368"/>
                <a:gd name="connsiteY2168" fmla="*/ 5025558 h 6479439"/>
                <a:gd name="connsiteX2169" fmla="*/ 5035381 w 9586368"/>
                <a:gd name="connsiteY2169" fmla="*/ 5025558 h 6479439"/>
                <a:gd name="connsiteX2170" fmla="*/ 5039400 w 9586368"/>
                <a:gd name="connsiteY2170" fmla="*/ 5029597 h 6479439"/>
                <a:gd name="connsiteX2171" fmla="*/ 5039400 w 9586368"/>
                <a:gd name="connsiteY2171" fmla="*/ 5039468 h 6479439"/>
                <a:gd name="connsiteX2172" fmla="*/ 5035381 w 9586368"/>
                <a:gd name="connsiteY2172" fmla="*/ 5043507 h 6479439"/>
                <a:gd name="connsiteX2173" fmla="*/ 5025470 w 9586368"/>
                <a:gd name="connsiteY2173" fmla="*/ 5043507 h 6479439"/>
                <a:gd name="connsiteX2174" fmla="*/ 5021451 w 9586368"/>
                <a:gd name="connsiteY2174" fmla="*/ 5039468 h 6479439"/>
                <a:gd name="connsiteX2175" fmla="*/ 5021451 w 9586368"/>
                <a:gd name="connsiteY2175" fmla="*/ 5029597 h 6479439"/>
                <a:gd name="connsiteX2176" fmla="*/ 4786241 w 9586368"/>
                <a:gd name="connsiteY2176" fmla="*/ 5025558 h 6479439"/>
                <a:gd name="connsiteX2177" fmla="*/ 4796152 w 9586368"/>
                <a:gd name="connsiteY2177" fmla="*/ 5025558 h 6479439"/>
                <a:gd name="connsiteX2178" fmla="*/ 4800171 w 9586368"/>
                <a:gd name="connsiteY2178" fmla="*/ 5029597 h 6479439"/>
                <a:gd name="connsiteX2179" fmla="*/ 4800171 w 9586368"/>
                <a:gd name="connsiteY2179" fmla="*/ 5039468 h 6479439"/>
                <a:gd name="connsiteX2180" fmla="*/ 4796152 w 9586368"/>
                <a:gd name="connsiteY2180" fmla="*/ 5043507 h 6479439"/>
                <a:gd name="connsiteX2181" fmla="*/ 4786241 w 9586368"/>
                <a:gd name="connsiteY2181" fmla="*/ 5043507 h 6479439"/>
                <a:gd name="connsiteX2182" fmla="*/ 4782224 w 9586368"/>
                <a:gd name="connsiteY2182" fmla="*/ 5039468 h 6479439"/>
                <a:gd name="connsiteX2183" fmla="*/ 4782224 w 9586368"/>
                <a:gd name="connsiteY2183" fmla="*/ 5029597 h 6479439"/>
                <a:gd name="connsiteX2184" fmla="*/ 4546929 w 9586368"/>
                <a:gd name="connsiteY2184" fmla="*/ 5025558 h 6479439"/>
                <a:gd name="connsiteX2185" fmla="*/ 4556840 w 9586368"/>
                <a:gd name="connsiteY2185" fmla="*/ 5025558 h 6479439"/>
                <a:gd name="connsiteX2186" fmla="*/ 4560859 w 9586368"/>
                <a:gd name="connsiteY2186" fmla="*/ 5029597 h 6479439"/>
                <a:gd name="connsiteX2187" fmla="*/ 4560859 w 9586368"/>
                <a:gd name="connsiteY2187" fmla="*/ 5039468 h 6479439"/>
                <a:gd name="connsiteX2188" fmla="*/ 4556840 w 9586368"/>
                <a:gd name="connsiteY2188" fmla="*/ 5043507 h 6479439"/>
                <a:gd name="connsiteX2189" fmla="*/ 4546929 w 9586368"/>
                <a:gd name="connsiteY2189" fmla="*/ 5043507 h 6479439"/>
                <a:gd name="connsiteX2190" fmla="*/ 4542910 w 9586368"/>
                <a:gd name="connsiteY2190" fmla="*/ 5039468 h 6479439"/>
                <a:gd name="connsiteX2191" fmla="*/ 4542910 w 9586368"/>
                <a:gd name="connsiteY2191" fmla="*/ 5029597 h 6479439"/>
                <a:gd name="connsiteX2192" fmla="*/ 4307612 w 9586368"/>
                <a:gd name="connsiteY2192" fmla="*/ 5025558 h 6479439"/>
                <a:gd name="connsiteX2193" fmla="*/ 4317523 w 9586368"/>
                <a:gd name="connsiteY2193" fmla="*/ 5025558 h 6479439"/>
                <a:gd name="connsiteX2194" fmla="*/ 4321543 w 9586368"/>
                <a:gd name="connsiteY2194" fmla="*/ 5029597 h 6479439"/>
                <a:gd name="connsiteX2195" fmla="*/ 4321543 w 9586368"/>
                <a:gd name="connsiteY2195" fmla="*/ 5039468 h 6479439"/>
                <a:gd name="connsiteX2196" fmla="*/ 4317523 w 9586368"/>
                <a:gd name="connsiteY2196" fmla="*/ 5043507 h 6479439"/>
                <a:gd name="connsiteX2197" fmla="*/ 4307612 w 9586368"/>
                <a:gd name="connsiteY2197" fmla="*/ 5043507 h 6479439"/>
                <a:gd name="connsiteX2198" fmla="*/ 4303595 w 9586368"/>
                <a:gd name="connsiteY2198" fmla="*/ 5039468 h 6479439"/>
                <a:gd name="connsiteX2199" fmla="*/ 4303595 w 9586368"/>
                <a:gd name="connsiteY2199" fmla="*/ 5029597 h 6479439"/>
                <a:gd name="connsiteX2200" fmla="*/ 4068297 w 9586368"/>
                <a:gd name="connsiteY2200" fmla="*/ 5025558 h 6479439"/>
                <a:gd name="connsiteX2201" fmla="*/ 4078210 w 9586368"/>
                <a:gd name="connsiteY2201" fmla="*/ 5025558 h 6479439"/>
                <a:gd name="connsiteX2202" fmla="*/ 4082229 w 9586368"/>
                <a:gd name="connsiteY2202" fmla="*/ 5029597 h 6479439"/>
                <a:gd name="connsiteX2203" fmla="*/ 4082229 w 9586368"/>
                <a:gd name="connsiteY2203" fmla="*/ 5039468 h 6479439"/>
                <a:gd name="connsiteX2204" fmla="*/ 4078210 w 9586368"/>
                <a:gd name="connsiteY2204" fmla="*/ 5043507 h 6479439"/>
                <a:gd name="connsiteX2205" fmla="*/ 4068297 w 9586368"/>
                <a:gd name="connsiteY2205" fmla="*/ 5043507 h 6479439"/>
                <a:gd name="connsiteX2206" fmla="*/ 4064278 w 9586368"/>
                <a:gd name="connsiteY2206" fmla="*/ 5039468 h 6479439"/>
                <a:gd name="connsiteX2207" fmla="*/ 4064278 w 9586368"/>
                <a:gd name="connsiteY2207" fmla="*/ 5029597 h 6479439"/>
                <a:gd name="connsiteX2208" fmla="*/ 3828990 w 9586368"/>
                <a:gd name="connsiteY2208" fmla="*/ 5025558 h 6479439"/>
                <a:gd name="connsiteX2209" fmla="*/ 3838899 w 9586368"/>
                <a:gd name="connsiteY2209" fmla="*/ 5025558 h 6479439"/>
                <a:gd name="connsiteX2210" fmla="*/ 3842917 w 9586368"/>
                <a:gd name="connsiteY2210" fmla="*/ 5029597 h 6479439"/>
                <a:gd name="connsiteX2211" fmla="*/ 3842917 w 9586368"/>
                <a:gd name="connsiteY2211" fmla="*/ 5039468 h 6479439"/>
                <a:gd name="connsiteX2212" fmla="*/ 3838899 w 9586368"/>
                <a:gd name="connsiteY2212" fmla="*/ 5043507 h 6479439"/>
                <a:gd name="connsiteX2213" fmla="*/ 3828990 w 9586368"/>
                <a:gd name="connsiteY2213" fmla="*/ 5043507 h 6479439"/>
                <a:gd name="connsiteX2214" fmla="*/ 3824971 w 9586368"/>
                <a:gd name="connsiteY2214" fmla="*/ 5039468 h 6479439"/>
                <a:gd name="connsiteX2215" fmla="*/ 3824971 w 9586368"/>
                <a:gd name="connsiteY2215" fmla="*/ 5029597 h 6479439"/>
                <a:gd name="connsiteX2216" fmla="*/ 3589676 w 9586368"/>
                <a:gd name="connsiteY2216" fmla="*/ 5025558 h 6479439"/>
                <a:gd name="connsiteX2217" fmla="*/ 3599585 w 9586368"/>
                <a:gd name="connsiteY2217" fmla="*/ 5025558 h 6479439"/>
                <a:gd name="connsiteX2218" fmla="*/ 3603604 w 9586368"/>
                <a:gd name="connsiteY2218" fmla="*/ 5029597 h 6479439"/>
                <a:gd name="connsiteX2219" fmla="*/ 3603604 w 9586368"/>
                <a:gd name="connsiteY2219" fmla="*/ 5039468 h 6479439"/>
                <a:gd name="connsiteX2220" fmla="*/ 3599585 w 9586368"/>
                <a:gd name="connsiteY2220" fmla="*/ 5043507 h 6479439"/>
                <a:gd name="connsiteX2221" fmla="*/ 3589676 w 9586368"/>
                <a:gd name="connsiteY2221" fmla="*/ 5043507 h 6479439"/>
                <a:gd name="connsiteX2222" fmla="*/ 3585657 w 9586368"/>
                <a:gd name="connsiteY2222" fmla="*/ 5039468 h 6479439"/>
                <a:gd name="connsiteX2223" fmla="*/ 3585657 w 9586368"/>
                <a:gd name="connsiteY2223" fmla="*/ 5029597 h 6479439"/>
                <a:gd name="connsiteX2224" fmla="*/ 3350359 w 9586368"/>
                <a:gd name="connsiteY2224" fmla="*/ 5025558 h 6479439"/>
                <a:gd name="connsiteX2225" fmla="*/ 3360268 w 9586368"/>
                <a:gd name="connsiteY2225" fmla="*/ 5025558 h 6479439"/>
                <a:gd name="connsiteX2226" fmla="*/ 3364287 w 9586368"/>
                <a:gd name="connsiteY2226" fmla="*/ 5029597 h 6479439"/>
                <a:gd name="connsiteX2227" fmla="*/ 3364287 w 9586368"/>
                <a:gd name="connsiteY2227" fmla="*/ 5039468 h 6479439"/>
                <a:gd name="connsiteX2228" fmla="*/ 3360268 w 9586368"/>
                <a:gd name="connsiteY2228" fmla="*/ 5043507 h 6479439"/>
                <a:gd name="connsiteX2229" fmla="*/ 3350359 w 9586368"/>
                <a:gd name="connsiteY2229" fmla="*/ 5043507 h 6479439"/>
                <a:gd name="connsiteX2230" fmla="*/ 3346340 w 9586368"/>
                <a:gd name="connsiteY2230" fmla="*/ 5039468 h 6479439"/>
                <a:gd name="connsiteX2231" fmla="*/ 3346340 w 9586368"/>
                <a:gd name="connsiteY2231" fmla="*/ 5029597 h 6479439"/>
                <a:gd name="connsiteX2232" fmla="*/ 3111048 w 9586368"/>
                <a:gd name="connsiteY2232" fmla="*/ 5025558 h 6479439"/>
                <a:gd name="connsiteX2233" fmla="*/ 3120959 w 9586368"/>
                <a:gd name="connsiteY2233" fmla="*/ 5025558 h 6479439"/>
                <a:gd name="connsiteX2234" fmla="*/ 3124977 w 9586368"/>
                <a:gd name="connsiteY2234" fmla="*/ 5029597 h 6479439"/>
                <a:gd name="connsiteX2235" fmla="*/ 3124977 w 9586368"/>
                <a:gd name="connsiteY2235" fmla="*/ 5039468 h 6479439"/>
                <a:gd name="connsiteX2236" fmla="*/ 3120959 w 9586368"/>
                <a:gd name="connsiteY2236" fmla="*/ 5043507 h 6479439"/>
                <a:gd name="connsiteX2237" fmla="*/ 3111048 w 9586368"/>
                <a:gd name="connsiteY2237" fmla="*/ 5043507 h 6479439"/>
                <a:gd name="connsiteX2238" fmla="*/ 3107029 w 9586368"/>
                <a:gd name="connsiteY2238" fmla="*/ 5039468 h 6479439"/>
                <a:gd name="connsiteX2239" fmla="*/ 3107029 w 9586368"/>
                <a:gd name="connsiteY2239" fmla="*/ 5029597 h 6479439"/>
                <a:gd name="connsiteX2240" fmla="*/ 2871737 w 9586368"/>
                <a:gd name="connsiteY2240" fmla="*/ 5025558 h 6479439"/>
                <a:gd name="connsiteX2241" fmla="*/ 2881646 w 9586368"/>
                <a:gd name="connsiteY2241" fmla="*/ 5025558 h 6479439"/>
                <a:gd name="connsiteX2242" fmla="*/ 2885666 w 9586368"/>
                <a:gd name="connsiteY2242" fmla="*/ 5029597 h 6479439"/>
                <a:gd name="connsiteX2243" fmla="*/ 2885666 w 9586368"/>
                <a:gd name="connsiteY2243" fmla="*/ 5039468 h 6479439"/>
                <a:gd name="connsiteX2244" fmla="*/ 2881646 w 9586368"/>
                <a:gd name="connsiteY2244" fmla="*/ 5043507 h 6479439"/>
                <a:gd name="connsiteX2245" fmla="*/ 2871737 w 9586368"/>
                <a:gd name="connsiteY2245" fmla="*/ 5043507 h 6479439"/>
                <a:gd name="connsiteX2246" fmla="*/ 2867717 w 9586368"/>
                <a:gd name="connsiteY2246" fmla="*/ 5039468 h 6479439"/>
                <a:gd name="connsiteX2247" fmla="*/ 2867717 w 9586368"/>
                <a:gd name="connsiteY2247" fmla="*/ 5029597 h 6479439"/>
                <a:gd name="connsiteX2248" fmla="*/ 2632423 w 9586368"/>
                <a:gd name="connsiteY2248" fmla="*/ 5025558 h 6479439"/>
                <a:gd name="connsiteX2249" fmla="*/ 2642334 w 9586368"/>
                <a:gd name="connsiteY2249" fmla="*/ 5025558 h 6479439"/>
                <a:gd name="connsiteX2250" fmla="*/ 2646352 w 9586368"/>
                <a:gd name="connsiteY2250" fmla="*/ 5029597 h 6479439"/>
                <a:gd name="connsiteX2251" fmla="*/ 2646352 w 9586368"/>
                <a:gd name="connsiteY2251" fmla="*/ 5039468 h 6479439"/>
                <a:gd name="connsiteX2252" fmla="*/ 2642334 w 9586368"/>
                <a:gd name="connsiteY2252" fmla="*/ 5043507 h 6479439"/>
                <a:gd name="connsiteX2253" fmla="*/ 2632423 w 9586368"/>
                <a:gd name="connsiteY2253" fmla="*/ 5043507 h 6479439"/>
                <a:gd name="connsiteX2254" fmla="*/ 2628404 w 9586368"/>
                <a:gd name="connsiteY2254" fmla="*/ 5039468 h 6479439"/>
                <a:gd name="connsiteX2255" fmla="*/ 2628404 w 9586368"/>
                <a:gd name="connsiteY2255" fmla="*/ 5029597 h 6479439"/>
                <a:gd name="connsiteX2256" fmla="*/ 2393104 w 9586368"/>
                <a:gd name="connsiteY2256" fmla="*/ 5025558 h 6479439"/>
                <a:gd name="connsiteX2257" fmla="*/ 2403015 w 9586368"/>
                <a:gd name="connsiteY2257" fmla="*/ 5025558 h 6479439"/>
                <a:gd name="connsiteX2258" fmla="*/ 2407034 w 9586368"/>
                <a:gd name="connsiteY2258" fmla="*/ 5029597 h 6479439"/>
                <a:gd name="connsiteX2259" fmla="*/ 2407034 w 9586368"/>
                <a:gd name="connsiteY2259" fmla="*/ 5039468 h 6479439"/>
                <a:gd name="connsiteX2260" fmla="*/ 2403015 w 9586368"/>
                <a:gd name="connsiteY2260" fmla="*/ 5043507 h 6479439"/>
                <a:gd name="connsiteX2261" fmla="*/ 2393104 w 9586368"/>
                <a:gd name="connsiteY2261" fmla="*/ 5043507 h 6479439"/>
                <a:gd name="connsiteX2262" fmla="*/ 2389087 w 9586368"/>
                <a:gd name="connsiteY2262" fmla="*/ 5039468 h 6479439"/>
                <a:gd name="connsiteX2263" fmla="*/ 2389087 w 9586368"/>
                <a:gd name="connsiteY2263" fmla="*/ 5029597 h 6479439"/>
                <a:gd name="connsiteX2264" fmla="*/ 721962 w 9586368"/>
                <a:gd name="connsiteY2264" fmla="*/ 5025558 h 6479439"/>
                <a:gd name="connsiteX2265" fmla="*/ 731872 w 9586368"/>
                <a:gd name="connsiteY2265" fmla="*/ 5025558 h 6479439"/>
                <a:gd name="connsiteX2266" fmla="*/ 735891 w 9586368"/>
                <a:gd name="connsiteY2266" fmla="*/ 5029597 h 6479439"/>
                <a:gd name="connsiteX2267" fmla="*/ 735891 w 9586368"/>
                <a:gd name="connsiteY2267" fmla="*/ 5039468 h 6479439"/>
                <a:gd name="connsiteX2268" fmla="*/ 731872 w 9586368"/>
                <a:gd name="connsiteY2268" fmla="*/ 5043507 h 6479439"/>
                <a:gd name="connsiteX2269" fmla="*/ 721962 w 9586368"/>
                <a:gd name="connsiteY2269" fmla="*/ 5043507 h 6479439"/>
                <a:gd name="connsiteX2270" fmla="*/ 717944 w 9586368"/>
                <a:gd name="connsiteY2270" fmla="*/ 5039468 h 6479439"/>
                <a:gd name="connsiteX2271" fmla="*/ 717944 w 9586368"/>
                <a:gd name="connsiteY2271" fmla="*/ 5029597 h 6479439"/>
                <a:gd name="connsiteX2272" fmla="*/ 482650 w 9586368"/>
                <a:gd name="connsiteY2272" fmla="*/ 5025558 h 6479439"/>
                <a:gd name="connsiteX2273" fmla="*/ 492560 w 9586368"/>
                <a:gd name="connsiteY2273" fmla="*/ 5025558 h 6479439"/>
                <a:gd name="connsiteX2274" fmla="*/ 496580 w 9586368"/>
                <a:gd name="connsiteY2274" fmla="*/ 5029597 h 6479439"/>
                <a:gd name="connsiteX2275" fmla="*/ 496580 w 9586368"/>
                <a:gd name="connsiteY2275" fmla="*/ 5039468 h 6479439"/>
                <a:gd name="connsiteX2276" fmla="*/ 492560 w 9586368"/>
                <a:gd name="connsiteY2276" fmla="*/ 5043507 h 6479439"/>
                <a:gd name="connsiteX2277" fmla="*/ 482650 w 9586368"/>
                <a:gd name="connsiteY2277" fmla="*/ 5043507 h 6479439"/>
                <a:gd name="connsiteX2278" fmla="*/ 478631 w 9586368"/>
                <a:gd name="connsiteY2278" fmla="*/ 5039468 h 6479439"/>
                <a:gd name="connsiteX2279" fmla="*/ 478631 w 9586368"/>
                <a:gd name="connsiteY2279" fmla="*/ 5029597 h 6479439"/>
                <a:gd name="connsiteX2280" fmla="*/ 243336 w 9586368"/>
                <a:gd name="connsiteY2280" fmla="*/ 5025558 h 6479439"/>
                <a:gd name="connsiteX2281" fmla="*/ 253247 w 9586368"/>
                <a:gd name="connsiteY2281" fmla="*/ 5025558 h 6479439"/>
                <a:gd name="connsiteX2282" fmla="*/ 257266 w 9586368"/>
                <a:gd name="connsiteY2282" fmla="*/ 5029597 h 6479439"/>
                <a:gd name="connsiteX2283" fmla="*/ 257266 w 9586368"/>
                <a:gd name="connsiteY2283" fmla="*/ 5039468 h 6479439"/>
                <a:gd name="connsiteX2284" fmla="*/ 253247 w 9586368"/>
                <a:gd name="connsiteY2284" fmla="*/ 5043507 h 6479439"/>
                <a:gd name="connsiteX2285" fmla="*/ 243336 w 9586368"/>
                <a:gd name="connsiteY2285" fmla="*/ 5043507 h 6479439"/>
                <a:gd name="connsiteX2286" fmla="*/ 239317 w 9586368"/>
                <a:gd name="connsiteY2286" fmla="*/ 5039468 h 6479439"/>
                <a:gd name="connsiteX2287" fmla="*/ 239317 w 9586368"/>
                <a:gd name="connsiteY2287" fmla="*/ 5029597 h 6479439"/>
                <a:gd name="connsiteX2288" fmla="*/ 4024 w 9586368"/>
                <a:gd name="connsiteY2288" fmla="*/ 5025558 h 6479439"/>
                <a:gd name="connsiteX2289" fmla="*/ 13933 w 9586368"/>
                <a:gd name="connsiteY2289" fmla="*/ 5025558 h 6479439"/>
                <a:gd name="connsiteX2290" fmla="*/ 17952 w 9586368"/>
                <a:gd name="connsiteY2290" fmla="*/ 5029597 h 6479439"/>
                <a:gd name="connsiteX2291" fmla="*/ 17952 w 9586368"/>
                <a:gd name="connsiteY2291" fmla="*/ 5039468 h 6479439"/>
                <a:gd name="connsiteX2292" fmla="*/ 13933 w 9586368"/>
                <a:gd name="connsiteY2292" fmla="*/ 5043507 h 6479439"/>
                <a:gd name="connsiteX2293" fmla="*/ 4024 w 9586368"/>
                <a:gd name="connsiteY2293" fmla="*/ 5043507 h 6479439"/>
                <a:gd name="connsiteX2294" fmla="*/ 4 w 9586368"/>
                <a:gd name="connsiteY2294" fmla="*/ 5039468 h 6479439"/>
                <a:gd name="connsiteX2295" fmla="*/ 4 w 9586368"/>
                <a:gd name="connsiteY2295" fmla="*/ 5029597 h 6479439"/>
                <a:gd name="connsiteX2296" fmla="*/ 9572438 w 9586368"/>
                <a:gd name="connsiteY2296" fmla="*/ 4786279 h 6479439"/>
                <a:gd name="connsiteX2297" fmla="*/ 9582349 w 9586368"/>
                <a:gd name="connsiteY2297" fmla="*/ 4786279 h 6479439"/>
                <a:gd name="connsiteX2298" fmla="*/ 9586368 w 9586368"/>
                <a:gd name="connsiteY2298" fmla="*/ 4790317 h 6479439"/>
                <a:gd name="connsiteX2299" fmla="*/ 9586368 w 9586368"/>
                <a:gd name="connsiteY2299" fmla="*/ 4800188 h 6479439"/>
                <a:gd name="connsiteX2300" fmla="*/ 9582349 w 9586368"/>
                <a:gd name="connsiteY2300" fmla="*/ 4804227 h 6479439"/>
                <a:gd name="connsiteX2301" fmla="*/ 9572438 w 9586368"/>
                <a:gd name="connsiteY2301" fmla="*/ 4804227 h 6479439"/>
                <a:gd name="connsiteX2302" fmla="*/ 9568419 w 9586368"/>
                <a:gd name="connsiteY2302" fmla="*/ 4800188 h 6479439"/>
                <a:gd name="connsiteX2303" fmla="*/ 9568419 w 9586368"/>
                <a:gd name="connsiteY2303" fmla="*/ 4790317 h 6479439"/>
                <a:gd name="connsiteX2304" fmla="*/ 9333125 w 9586368"/>
                <a:gd name="connsiteY2304" fmla="*/ 4786279 h 6479439"/>
                <a:gd name="connsiteX2305" fmla="*/ 9343036 w 9586368"/>
                <a:gd name="connsiteY2305" fmla="*/ 4786279 h 6479439"/>
                <a:gd name="connsiteX2306" fmla="*/ 9347055 w 9586368"/>
                <a:gd name="connsiteY2306" fmla="*/ 4790317 h 6479439"/>
                <a:gd name="connsiteX2307" fmla="*/ 9347055 w 9586368"/>
                <a:gd name="connsiteY2307" fmla="*/ 4800188 h 6479439"/>
                <a:gd name="connsiteX2308" fmla="*/ 9343036 w 9586368"/>
                <a:gd name="connsiteY2308" fmla="*/ 4804227 h 6479439"/>
                <a:gd name="connsiteX2309" fmla="*/ 9333125 w 9586368"/>
                <a:gd name="connsiteY2309" fmla="*/ 4804227 h 6479439"/>
                <a:gd name="connsiteX2310" fmla="*/ 9329106 w 9586368"/>
                <a:gd name="connsiteY2310" fmla="*/ 4800188 h 6479439"/>
                <a:gd name="connsiteX2311" fmla="*/ 9329106 w 9586368"/>
                <a:gd name="connsiteY2311" fmla="*/ 4790317 h 6479439"/>
                <a:gd name="connsiteX2312" fmla="*/ 9093811 w 9586368"/>
                <a:gd name="connsiteY2312" fmla="*/ 4786279 h 6479439"/>
                <a:gd name="connsiteX2313" fmla="*/ 9103722 w 9586368"/>
                <a:gd name="connsiteY2313" fmla="*/ 4786279 h 6479439"/>
                <a:gd name="connsiteX2314" fmla="*/ 9107741 w 9586368"/>
                <a:gd name="connsiteY2314" fmla="*/ 4790317 h 6479439"/>
                <a:gd name="connsiteX2315" fmla="*/ 9107741 w 9586368"/>
                <a:gd name="connsiteY2315" fmla="*/ 4800188 h 6479439"/>
                <a:gd name="connsiteX2316" fmla="*/ 9103722 w 9586368"/>
                <a:gd name="connsiteY2316" fmla="*/ 4804227 h 6479439"/>
                <a:gd name="connsiteX2317" fmla="*/ 9093811 w 9586368"/>
                <a:gd name="connsiteY2317" fmla="*/ 4804227 h 6479439"/>
                <a:gd name="connsiteX2318" fmla="*/ 9089792 w 9586368"/>
                <a:gd name="connsiteY2318" fmla="*/ 4800188 h 6479439"/>
                <a:gd name="connsiteX2319" fmla="*/ 9089792 w 9586368"/>
                <a:gd name="connsiteY2319" fmla="*/ 4790317 h 6479439"/>
                <a:gd name="connsiteX2320" fmla="*/ 8854496 w 9586368"/>
                <a:gd name="connsiteY2320" fmla="*/ 4786279 h 6479439"/>
                <a:gd name="connsiteX2321" fmla="*/ 8864407 w 9586368"/>
                <a:gd name="connsiteY2321" fmla="*/ 4786279 h 6479439"/>
                <a:gd name="connsiteX2322" fmla="*/ 8868426 w 9586368"/>
                <a:gd name="connsiteY2322" fmla="*/ 4790317 h 6479439"/>
                <a:gd name="connsiteX2323" fmla="*/ 8868426 w 9586368"/>
                <a:gd name="connsiteY2323" fmla="*/ 4800188 h 6479439"/>
                <a:gd name="connsiteX2324" fmla="*/ 8864407 w 9586368"/>
                <a:gd name="connsiteY2324" fmla="*/ 4804227 h 6479439"/>
                <a:gd name="connsiteX2325" fmla="*/ 8854496 w 9586368"/>
                <a:gd name="connsiteY2325" fmla="*/ 4804227 h 6479439"/>
                <a:gd name="connsiteX2326" fmla="*/ 8850477 w 9586368"/>
                <a:gd name="connsiteY2326" fmla="*/ 4800188 h 6479439"/>
                <a:gd name="connsiteX2327" fmla="*/ 8850477 w 9586368"/>
                <a:gd name="connsiteY2327" fmla="*/ 4790317 h 6479439"/>
                <a:gd name="connsiteX2328" fmla="*/ 8615184 w 9586368"/>
                <a:gd name="connsiteY2328" fmla="*/ 4786279 h 6479439"/>
                <a:gd name="connsiteX2329" fmla="*/ 8625095 w 9586368"/>
                <a:gd name="connsiteY2329" fmla="*/ 4786279 h 6479439"/>
                <a:gd name="connsiteX2330" fmla="*/ 8629114 w 9586368"/>
                <a:gd name="connsiteY2330" fmla="*/ 4790317 h 6479439"/>
                <a:gd name="connsiteX2331" fmla="*/ 8629114 w 9586368"/>
                <a:gd name="connsiteY2331" fmla="*/ 4800188 h 6479439"/>
                <a:gd name="connsiteX2332" fmla="*/ 8625095 w 9586368"/>
                <a:gd name="connsiteY2332" fmla="*/ 4804227 h 6479439"/>
                <a:gd name="connsiteX2333" fmla="*/ 8615184 w 9586368"/>
                <a:gd name="connsiteY2333" fmla="*/ 4804227 h 6479439"/>
                <a:gd name="connsiteX2334" fmla="*/ 8611165 w 9586368"/>
                <a:gd name="connsiteY2334" fmla="*/ 4800188 h 6479439"/>
                <a:gd name="connsiteX2335" fmla="*/ 8611165 w 9586368"/>
                <a:gd name="connsiteY2335" fmla="*/ 4790317 h 6479439"/>
                <a:gd name="connsiteX2336" fmla="*/ 8375869 w 9586368"/>
                <a:gd name="connsiteY2336" fmla="*/ 4786279 h 6479439"/>
                <a:gd name="connsiteX2337" fmla="*/ 8385779 w 9586368"/>
                <a:gd name="connsiteY2337" fmla="*/ 4786279 h 6479439"/>
                <a:gd name="connsiteX2338" fmla="*/ 8389799 w 9586368"/>
                <a:gd name="connsiteY2338" fmla="*/ 4790317 h 6479439"/>
                <a:gd name="connsiteX2339" fmla="*/ 8389799 w 9586368"/>
                <a:gd name="connsiteY2339" fmla="*/ 4800188 h 6479439"/>
                <a:gd name="connsiteX2340" fmla="*/ 8385779 w 9586368"/>
                <a:gd name="connsiteY2340" fmla="*/ 4804227 h 6479439"/>
                <a:gd name="connsiteX2341" fmla="*/ 8375869 w 9586368"/>
                <a:gd name="connsiteY2341" fmla="*/ 4804227 h 6479439"/>
                <a:gd name="connsiteX2342" fmla="*/ 8371850 w 9586368"/>
                <a:gd name="connsiteY2342" fmla="*/ 4800188 h 6479439"/>
                <a:gd name="connsiteX2343" fmla="*/ 8371850 w 9586368"/>
                <a:gd name="connsiteY2343" fmla="*/ 4790317 h 6479439"/>
                <a:gd name="connsiteX2344" fmla="*/ 8136553 w 9586368"/>
                <a:gd name="connsiteY2344" fmla="*/ 4786279 h 6479439"/>
                <a:gd name="connsiteX2345" fmla="*/ 8146464 w 9586368"/>
                <a:gd name="connsiteY2345" fmla="*/ 4786279 h 6479439"/>
                <a:gd name="connsiteX2346" fmla="*/ 8150483 w 9586368"/>
                <a:gd name="connsiteY2346" fmla="*/ 4790317 h 6479439"/>
                <a:gd name="connsiteX2347" fmla="*/ 8150483 w 9586368"/>
                <a:gd name="connsiteY2347" fmla="*/ 4800188 h 6479439"/>
                <a:gd name="connsiteX2348" fmla="*/ 8146464 w 9586368"/>
                <a:gd name="connsiteY2348" fmla="*/ 4804227 h 6479439"/>
                <a:gd name="connsiteX2349" fmla="*/ 8136553 w 9586368"/>
                <a:gd name="connsiteY2349" fmla="*/ 4804227 h 6479439"/>
                <a:gd name="connsiteX2350" fmla="*/ 8132534 w 9586368"/>
                <a:gd name="connsiteY2350" fmla="*/ 4800188 h 6479439"/>
                <a:gd name="connsiteX2351" fmla="*/ 8132534 w 9586368"/>
                <a:gd name="connsiteY2351" fmla="*/ 4790317 h 6479439"/>
                <a:gd name="connsiteX2352" fmla="*/ 7897241 w 9586368"/>
                <a:gd name="connsiteY2352" fmla="*/ 4786279 h 6479439"/>
                <a:gd name="connsiteX2353" fmla="*/ 7907151 w 9586368"/>
                <a:gd name="connsiteY2353" fmla="*/ 4786279 h 6479439"/>
                <a:gd name="connsiteX2354" fmla="*/ 7911170 w 9586368"/>
                <a:gd name="connsiteY2354" fmla="*/ 4790317 h 6479439"/>
                <a:gd name="connsiteX2355" fmla="*/ 7911170 w 9586368"/>
                <a:gd name="connsiteY2355" fmla="*/ 4800188 h 6479439"/>
                <a:gd name="connsiteX2356" fmla="*/ 7907151 w 9586368"/>
                <a:gd name="connsiteY2356" fmla="*/ 4804227 h 6479439"/>
                <a:gd name="connsiteX2357" fmla="*/ 7897241 w 9586368"/>
                <a:gd name="connsiteY2357" fmla="*/ 4804227 h 6479439"/>
                <a:gd name="connsiteX2358" fmla="*/ 7893222 w 9586368"/>
                <a:gd name="connsiteY2358" fmla="*/ 4800188 h 6479439"/>
                <a:gd name="connsiteX2359" fmla="*/ 7893222 w 9586368"/>
                <a:gd name="connsiteY2359" fmla="*/ 4790317 h 6479439"/>
                <a:gd name="connsiteX2360" fmla="*/ 7657926 w 9586368"/>
                <a:gd name="connsiteY2360" fmla="*/ 4786279 h 6479439"/>
                <a:gd name="connsiteX2361" fmla="*/ 7667836 w 9586368"/>
                <a:gd name="connsiteY2361" fmla="*/ 4786279 h 6479439"/>
                <a:gd name="connsiteX2362" fmla="*/ 7671855 w 9586368"/>
                <a:gd name="connsiteY2362" fmla="*/ 4790317 h 6479439"/>
                <a:gd name="connsiteX2363" fmla="*/ 7671855 w 9586368"/>
                <a:gd name="connsiteY2363" fmla="*/ 4800188 h 6479439"/>
                <a:gd name="connsiteX2364" fmla="*/ 7667836 w 9586368"/>
                <a:gd name="connsiteY2364" fmla="*/ 4804227 h 6479439"/>
                <a:gd name="connsiteX2365" fmla="*/ 7657926 w 9586368"/>
                <a:gd name="connsiteY2365" fmla="*/ 4804227 h 6479439"/>
                <a:gd name="connsiteX2366" fmla="*/ 7653906 w 9586368"/>
                <a:gd name="connsiteY2366" fmla="*/ 4800188 h 6479439"/>
                <a:gd name="connsiteX2367" fmla="*/ 7653906 w 9586368"/>
                <a:gd name="connsiteY2367" fmla="*/ 4790317 h 6479439"/>
                <a:gd name="connsiteX2368" fmla="*/ 7418611 w 9586368"/>
                <a:gd name="connsiteY2368" fmla="*/ 4786279 h 6479439"/>
                <a:gd name="connsiteX2369" fmla="*/ 7428521 w 9586368"/>
                <a:gd name="connsiteY2369" fmla="*/ 4786279 h 6479439"/>
                <a:gd name="connsiteX2370" fmla="*/ 7432540 w 9586368"/>
                <a:gd name="connsiteY2370" fmla="*/ 4790317 h 6479439"/>
                <a:gd name="connsiteX2371" fmla="*/ 7432540 w 9586368"/>
                <a:gd name="connsiteY2371" fmla="*/ 4800188 h 6479439"/>
                <a:gd name="connsiteX2372" fmla="*/ 7428521 w 9586368"/>
                <a:gd name="connsiteY2372" fmla="*/ 4804227 h 6479439"/>
                <a:gd name="connsiteX2373" fmla="*/ 7418611 w 9586368"/>
                <a:gd name="connsiteY2373" fmla="*/ 4804227 h 6479439"/>
                <a:gd name="connsiteX2374" fmla="*/ 7414592 w 9586368"/>
                <a:gd name="connsiteY2374" fmla="*/ 4800188 h 6479439"/>
                <a:gd name="connsiteX2375" fmla="*/ 7414592 w 9586368"/>
                <a:gd name="connsiteY2375" fmla="*/ 4790317 h 6479439"/>
                <a:gd name="connsiteX2376" fmla="*/ 7179298 w 9586368"/>
                <a:gd name="connsiteY2376" fmla="*/ 4786279 h 6479439"/>
                <a:gd name="connsiteX2377" fmla="*/ 7189209 w 9586368"/>
                <a:gd name="connsiteY2377" fmla="*/ 4786279 h 6479439"/>
                <a:gd name="connsiteX2378" fmla="*/ 7193228 w 9586368"/>
                <a:gd name="connsiteY2378" fmla="*/ 4790317 h 6479439"/>
                <a:gd name="connsiteX2379" fmla="*/ 7193228 w 9586368"/>
                <a:gd name="connsiteY2379" fmla="*/ 4800188 h 6479439"/>
                <a:gd name="connsiteX2380" fmla="*/ 7189209 w 9586368"/>
                <a:gd name="connsiteY2380" fmla="*/ 4804227 h 6479439"/>
                <a:gd name="connsiteX2381" fmla="*/ 7179298 w 9586368"/>
                <a:gd name="connsiteY2381" fmla="*/ 4804227 h 6479439"/>
                <a:gd name="connsiteX2382" fmla="*/ 7175279 w 9586368"/>
                <a:gd name="connsiteY2382" fmla="*/ 4800188 h 6479439"/>
                <a:gd name="connsiteX2383" fmla="*/ 7175279 w 9586368"/>
                <a:gd name="connsiteY2383" fmla="*/ 4790317 h 6479439"/>
                <a:gd name="connsiteX2384" fmla="*/ 6939983 w 9586368"/>
                <a:gd name="connsiteY2384" fmla="*/ 4786279 h 6479439"/>
                <a:gd name="connsiteX2385" fmla="*/ 6949894 w 9586368"/>
                <a:gd name="connsiteY2385" fmla="*/ 4786279 h 6479439"/>
                <a:gd name="connsiteX2386" fmla="*/ 6953913 w 9586368"/>
                <a:gd name="connsiteY2386" fmla="*/ 4790317 h 6479439"/>
                <a:gd name="connsiteX2387" fmla="*/ 6953913 w 9586368"/>
                <a:gd name="connsiteY2387" fmla="*/ 4800188 h 6479439"/>
                <a:gd name="connsiteX2388" fmla="*/ 6949894 w 9586368"/>
                <a:gd name="connsiteY2388" fmla="*/ 4804227 h 6479439"/>
                <a:gd name="connsiteX2389" fmla="*/ 6939983 w 9586368"/>
                <a:gd name="connsiteY2389" fmla="*/ 4804227 h 6479439"/>
                <a:gd name="connsiteX2390" fmla="*/ 6935964 w 9586368"/>
                <a:gd name="connsiteY2390" fmla="*/ 4800188 h 6479439"/>
                <a:gd name="connsiteX2391" fmla="*/ 6935964 w 9586368"/>
                <a:gd name="connsiteY2391" fmla="*/ 4790317 h 6479439"/>
                <a:gd name="connsiteX2392" fmla="*/ 6700670 w 9586368"/>
                <a:gd name="connsiteY2392" fmla="*/ 4786279 h 6479439"/>
                <a:gd name="connsiteX2393" fmla="*/ 6710581 w 9586368"/>
                <a:gd name="connsiteY2393" fmla="*/ 4786279 h 6479439"/>
                <a:gd name="connsiteX2394" fmla="*/ 6714600 w 9586368"/>
                <a:gd name="connsiteY2394" fmla="*/ 4790317 h 6479439"/>
                <a:gd name="connsiteX2395" fmla="*/ 6714600 w 9586368"/>
                <a:gd name="connsiteY2395" fmla="*/ 4800188 h 6479439"/>
                <a:gd name="connsiteX2396" fmla="*/ 6710581 w 9586368"/>
                <a:gd name="connsiteY2396" fmla="*/ 4804227 h 6479439"/>
                <a:gd name="connsiteX2397" fmla="*/ 6700670 w 9586368"/>
                <a:gd name="connsiteY2397" fmla="*/ 4804227 h 6479439"/>
                <a:gd name="connsiteX2398" fmla="*/ 6696651 w 9586368"/>
                <a:gd name="connsiteY2398" fmla="*/ 4800188 h 6479439"/>
                <a:gd name="connsiteX2399" fmla="*/ 6696651 w 9586368"/>
                <a:gd name="connsiteY2399" fmla="*/ 4790317 h 6479439"/>
                <a:gd name="connsiteX2400" fmla="*/ 6461356 w 9586368"/>
                <a:gd name="connsiteY2400" fmla="*/ 4786279 h 6479439"/>
                <a:gd name="connsiteX2401" fmla="*/ 6471266 w 9586368"/>
                <a:gd name="connsiteY2401" fmla="*/ 4786279 h 6479439"/>
                <a:gd name="connsiteX2402" fmla="*/ 6475285 w 9586368"/>
                <a:gd name="connsiteY2402" fmla="*/ 4790317 h 6479439"/>
                <a:gd name="connsiteX2403" fmla="*/ 6475285 w 9586368"/>
                <a:gd name="connsiteY2403" fmla="*/ 4800188 h 6479439"/>
                <a:gd name="connsiteX2404" fmla="*/ 6471266 w 9586368"/>
                <a:gd name="connsiteY2404" fmla="*/ 4804227 h 6479439"/>
                <a:gd name="connsiteX2405" fmla="*/ 6461356 w 9586368"/>
                <a:gd name="connsiteY2405" fmla="*/ 4804227 h 6479439"/>
                <a:gd name="connsiteX2406" fmla="*/ 6457337 w 9586368"/>
                <a:gd name="connsiteY2406" fmla="*/ 4800188 h 6479439"/>
                <a:gd name="connsiteX2407" fmla="*/ 6457337 w 9586368"/>
                <a:gd name="connsiteY2407" fmla="*/ 4790317 h 6479439"/>
                <a:gd name="connsiteX2408" fmla="*/ 6222042 w 9586368"/>
                <a:gd name="connsiteY2408" fmla="*/ 4786279 h 6479439"/>
                <a:gd name="connsiteX2409" fmla="*/ 6231952 w 9586368"/>
                <a:gd name="connsiteY2409" fmla="*/ 4786279 h 6479439"/>
                <a:gd name="connsiteX2410" fmla="*/ 6235971 w 9586368"/>
                <a:gd name="connsiteY2410" fmla="*/ 4790317 h 6479439"/>
                <a:gd name="connsiteX2411" fmla="*/ 6235971 w 9586368"/>
                <a:gd name="connsiteY2411" fmla="*/ 4800188 h 6479439"/>
                <a:gd name="connsiteX2412" fmla="*/ 6231952 w 9586368"/>
                <a:gd name="connsiteY2412" fmla="*/ 4804227 h 6479439"/>
                <a:gd name="connsiteX2413" fmla="*/ 6222042 w 9586368"/>
                <a:gd name="connsiteY2413" fmla="*/ 4804227 h 6479439"/>
                <a:gd name="connsiteX2414" fmla="*/ 6218023 w 9586368"/>
                <a:gd name="connsiteY2414" fmla="*/ 4800188 h 6479439"/>
                <a:gd name="connsiteX2415" fmla="*/ 6218023 w 9586368"/>
                <a:gd name="connsiteY2415" fmla="*/ 4790317 h 6479439"/>
                <a:gd name="connsiteX2416" fmla="*/ 5982729 w 9586368"/>
                <a:gd name="connsiteY2416" fmla="*/ 4786279 h 6479439"/>
                <a:gd name="connsiteX2417" fmla="*/ 5992639 w 9586368"/>
                <a:gd name="connsiteY2417" fmla="*/ 4786279 h 6479439"/>
                <a:gd name="connsiteX2418" fmla="*/ 5996658 w 9586368"/>
                <a:gd name="connsiteY2418" fmla="*/ 4790317 h 6479439"/>
                <a:gd name="connsiteX2419" fmla="*/ 5996658 w 9586368"/>
                <a:gd name="connsiteY2419" fmla="*/ 4800188 h 6479439"/>
                <a:gd name="connsiteX2420" fmla="*/ 5992639 w 9586368"/>
                <a:gd name="connsiteY2420" fmla="*/ 4804227 h 6479439"/>
                <a:gd name="connsiteX2421" fmla="*/ 5982729 w 9586368"/>
                <a:gd name="connsiteY2421" fmla="*/ 4804227 h 6479439"/>
                <a:gd name="connsiteX2422" fmla="*/ 5978710 w 9586368"/>
                <a:gd name="connsiteY2422" fmla="*/ 4800188 h 6479439"/>
                <a:gd name="connsiteX2423" fmla="*/ 5978710 w 9586368"/>
                <a:gd name="connsiteY2423" fmla="*/ 4790317 h 6479439"/>
                <a:gd name="connsiteX2424" fmla="*/ 5743412 w 9586368"/>
                <a:gd name="connsiteY2424" fmla="*/ 4786279 h 6479439"/>
                <a:gd name="connsiteX2425" fmla="*/ 5753323 w 9586368"/>
                <a:gd name="connsiteY2425" fmla="*/ 4786279 h 6479439"/>
                <a:gd name="connsiteX2426" fmla="*/ 5757342 w 9586368"/>
                <a:gd name="connsiteY2426" fmla="*/ 4790317 h 6479439"/>
                <a:gd name="connsiteX2427" fmla="*/ 5757342 w 9586368"/>
                <a:gd name="connsiteY2427" fmla="*/ 4800188 h 6479439"/>
                <a:gd name="connsiteX2428" fmla="*/ 5753323 w 9586368"/>
                <a:gd name="connsiteY2428" fmla="*/ 4804227 h 6479439"/>
                <a:gd name="connsiteX2429" fmla="*/ 5743412 w 9586368"/>
                <a:gd name="connsiteY2429" fmla="*/ 4804227 h 6479439"/>
                <a:gd name="connsiteX2430" fmla="*/ 5739393 w 9586368"/>
                <a:gd name="connsiteY2430" fmla="*/ 4800188 h 6479439"/>
                <a:gd name="connsiteX2431" fmla="*/ 5739393 w 9586368"/>
                <a:gd name="connsiteY2431" fmla="*/ 4790317 h 6479439"/>
                <a:gd name="connsiteX2432" fmla="*/ 5504099 w 9586368"/>
                <a:gd name="connsiteY2432" fmla="*/ 4786279 h 6479439"/>
                <a:gd name="connsiteX2433" fmla="*/ 5514010 w 9586368"/>
                <a:gd name="connsiteY2433" fmla="*/ 4786279 h 6479439"/>
                <a:gd name="connsiteX2434" fmla="*/ 5518029 w 9586368"/>
                <a:gd name="connsiteY2434" fmla="*/ 4790317 h 6479439"/>
                <a:gd name="connsiteX2435" fmla="*/ 5518029 w 9586368"/>
                <a:gd name="connsiteY2435" fmla="*/ 4800188 h 6479439"/>
                <a:gd name="connsiteX2436" fmla="*/ 5514010 w 9586368"/>
                <a:gd name="connsiteY2436" fmla="*/ 4804227 h 6479439"/>
                <a:gd name="connsiteX2437" fmla="*/ 5504099 w 9586368"/>
                <a:gd name="connsiteY2437" fmla="*/ 4804227 h 6479439"/>
                <a:gd name="connsiteX2438" fmla="*/ 5500080 w 9586368"/>
                <a:gd name="connsiteY2438" fmla="*/ 4800188 h 6479439"/>
                <a:gd name="connsiteX2439" fmla="*/ 5500080 w 9586368"/>
                <a:gd name="connsiteY2439" fmla="*/ 4790317 h 6479439"/>
                <a:gd name="connsiteX2440" fmla="*/ 5264784 w 9586368"/>
                <a:gd name="connsiteY2440" fmla="*/ 4786279 h 6479439"/>
                <a:gd name="connsiteX2441" fmla="*/ 5274694 w 9586368"/>
                <a:gd name="connsiteY2441" fmla="*/ 4786279 h 6479439"/>
                <a:gd name="connsiteX2442" fmla="*/ 5278713 w 9586368"/>
                <a:gd name="connsiteY2442" fmla="*/ 4790317 h 6479439"/>
                <a:gd name="connsiteX2443" fmla="*/ 5278713 w 9586368"/>
                <a:gd name="connsiteY2443" fmla="*/ 4800188 h 6479439"/>
                <a:gd name="connsiteX2444" fmla="*/ 5274694 w 9586368"/>
                <a:gd name="connsiteY2444" fmla="*/ 4804227 h 6479439"/>
                <a:gd name="connsiteX2445" fmla="*/ 5264784 w 9586368"/>
                <a:gd name="connsiteY2445" fmla="*/ 4804227 h 6479439"/>
                <a:gd name="connsiteX2446" fmla="*/ 5260765 w 9586368"/>
                <a:gd name="connsiteY2446" fmla="*/ 4800188 h 6479439"/>
                <a:gd name="connsiteX2447" fmla="*/ 5260765 w 9586368"/>
                <a:gd name="connsiteY2447" fmla="*/ 4790317 h 6479439"/>
                <a:gd name="connsiteX2448" fmla="*/ 5025470 w 9586368"/>
                <a:gd name="connsiteY2448" fmla="*/ 4786279 h 6479439"/>
                <a:gd name="connsiteX2449" fmla="*/ 5035381 w 9586368"/>
                <a:gd name="connsiteY2449" fmla="*/ 4786279 h 6479439"/>
                <a:gd name="connsiteX2450" fmla="*/ 5039400 w 9586368"/>
                <a:gd name="connsiteY2450" fmla="*/ 4790317 h 6479439"/>
                <a:gd name="connsiteX2451" fmla="*/ 5039400 w 9586368"/>
                <a:gd name="connsiteY2451" fmla="*/ 4800188 h 6479439"/>
                <a:gd name="connsiteX2452" fmla="*/ 5035381 w 9586368"/>
                <a:gd name="connsiteY2452" fmla="*/ 4804227 h 6479439"/>
                <a:gd name="connsiteX2453" fmla="*/ 5025470 w 9586368"/>
                <a:gd name="connsiteY2453" fmla="*/ 4804227 h 6479439"/>
                <a:gd name="connsiteX2454" fmla="*/ 5021451 w 9586368"/>
                <a:gd name="connsiteY2454" fmla="*/ 4800188 h 6479439"/>
                <a:gd name="connsiteX2455" fmla="*/ 5021451 w 9586368"/>
                <a:gd name="connsiteY2455" fmla="*/ 4790317 h 6479439"/>
                <a:gd name="connsiteX2456" fmla="*/ 4786241 w 9586368"/>
                <a:gd name="connsiteY2456" fmla="*/ 4786279 h 6479439"/>
                <a:gd name="connsiteX2457" fmla="*/ 4796152 w 9586368"/>
                <a:gd name="connsiteY2457" fmla="*/ 4786279 h 6479439"/>
                <a:gd name="connsiteX2458" fmla="*/ 4800171 w 9586368"/>
                <a:gd name="connsiteY2458" fmla="*/ 4790317 h 6479439"/>
                <a:gd name="connsiteX2459" fmla="*/ 4800171 w 9586368"/>
                <a:gd name="connsiteY2459" fmla="*/ 4800188 h 6479439"/>
                <a:gd name="connsiteX2460" fmla="*/ 4796152 w 9586368"/>
                <a:gd name="connsiteY2460" fmla="*/ 4804227 h 6479439"/>
                <a:gd name="connsiteX2461" fmla="*/ 4786241 w 9586368"/>
                <a:gd name="connsiteY2461" fmla="*/ 4804227 h 6479439"/>
                <a:gd name="connsiteX2462" fmla="*/ 4782224 w 9586368"/>
                <a:gd name="connsiteY2462" fmla="*/ 4800188 h 6479439"/>
                <a:gd name="connsiteX2463" fmla="*/ 4782224 w 9586368"/>
                <a:gd name="connsiteY2463" fmla="*/ 4790317 h 6479439"/>
                <a:gd name="connsiteX2464" fmla="*/ 4546929 w 9586368"/>
                <a:gd name="connsiteY2464" fmla="*/ 4786279 h 6479439"/>
                <a:gd name="connsiteX2465" fmla="*/ 4556840 w 9586368"/>
                <a:gd name="connsiteY2465" fmla="*/ 4786279 h 6479439"/>
                <a:gd name="connsiteX2466" fmla="*/ 4560859 w 9586368"/>
                <a:gd name="connsiteY2466" fmla="*/ 4790317 h 6479439"/>
                <a:gd name="connsiteX2467" fmla="*/ 4560859 w 9586368"/>
                <a:gd name="connsiteY2467" fmla="*/ 4800188 h 6479439"/>
                <a:gd name="connsiteX2468" fmla="*/ 4556840 w 9586368"/>
                <a:gd name="connsiteY2468" fmla="*/ 4804227 h 6479439"/>
                <a:gd name="connsiteX2469" fmla="*/ 4546929 w 9586368"/>
                <a:gd name="connsiteY2469" fmla="*/ 4804227 h 6479439"/>
                <a:gd name="connsiteX2470" fmla="*/ 4542910 w 9586368"/>
                <a:gd name="connsiteY2470" fmla="*/ 4800188 h 6479439"/>
                <a:gd name="connsiteX2471" fmla="*/ 4542910 w 9586368"/>
                <a:gd name="connsiteY2471" fmla="*/ 4790317 h 6479439"/>
                <a:gd name="connsiteX2472" fmla="*/ 4307612 w 9586368"/>
                <a:gd name="connsiteY2472" fmla="*/ 4786279 h 6479439"/>
                <a:gd name="connsiteX2473" fmla="*/ 4317523 w 9586368"/>
                <a:gd name="connsiteY2473" fmla="*/ 4786279 h 6479439"/>
                <a:gd name="connsiteX2474" fmla="*/ 4321543 w 9586368"/>
                <a:gd name="connsiteY2474" fmla="*/ 4790317 h 6479439"/>
                <a:gd name="connsiteX2475" fmla="*/ 4321543 w 9586368"/>
                <a:gd name="connsiteY2475" fmla="*/ 4800188 h 6479439"/>
                <a:gd name="connsiteX2476" fmla="*/ 4317523 w 9586368"/>
                <a:gd name="connsiteY2476" fmla="*/ 4804227 h 6479439"/>
                <a:gd name="connsiteX2477" fmla="*/ 4307612 w 9586368"/>
                <a:gd name="connsiteY2477" fmla="*/ 4804227 h 6479439"/>
                <a:gd name="connsiteX2478" fmla="*/ 4303595 w 9586368"/>
                <a:gd name="connsiteY2478" fmla="*/ 4800188 h 6479439"/>
                <a:gd name="connsiteX2479" fmla="*/ 4303595 w 9586368"/>
                <a:gd name="connsiteY2479" fmla="*/ 4790317 h 6479439"/>
                <a:gd name="connsiteX2480" fmla="*/ 4068297 w 9586368"/>
                <a:gd name="connsiteY2480" fmla="*/ 4786279 h 6479439"/>
                <a:gd name="connsiteX2481" fmla="*/ 4078210 w 9586368"/>
                <a:gd name="connsiteY2481" fmla="*/ 4786279 h 6479439"/>
                <a:gd name="connsiteX2482" fmla="*/ 4082229 w 9586368"/>
                <a:gd name="connsiteY2482" fmla="*/ 4790317 h 6479439"/>
                <a:gd name="connsiteX2483" fmla="*/ 4082229 w 9586368"/>
                <a:gd name="connsiteY2483" fmla="*/ 4800188 h 6479439"/>
                <a:gd name="connsiteX2484" fmla="*/ 4078210 w 9586368"/>
                <a:gd name="connsiteY2484" fmla="*/ 4804227 h 6479439"/>
                <a:gd name="connsiteX2485" fmla="*/ 4068297 w 9586368"/>
                <a:gd name="connsiteY2485" fmla="*/ 4804227 h 6479439"/>
                <a:gd name="connsiteX2486" fmla="*/ 4064278 w 9586368"/>
                <a:gd name="connsiteY2486" fmla="*/ 4800188 h 6479439"/>
                <a:gd name="connsiteX2487" fmla="*/ 4064278 w 9586368"/>
                <a:gd name="connsiteY2487" fmla="*/ 4790317 h 6479439"/>
                <a:gd name="connsiteX2488" fmla="*/ 3828990 w 9586368"/>
                <a:gd name="connsiteY2488" fmla="*/ 4786279 h 6479439"/>
                <a:gd name="connsiteX2489" fmla="*/ 3838899 w 9586368"/>
                <a:gd name="connsiteY2489" fmla="*/ 4786279 h 6479439"/>
                <a:gd name="connsiteX2490" fmla="*/ 3842917 w 9586368"/>
                <a:gd name="connsiteY2490" fmla="*/ 4790317 h 6479439"/>
                <a:gd name="connsiteX2491" fmla="*/ 3842917 w 9586368"/>
                <a:gd name="connsiteY2491" fmla="*/ 4800188 h 6479439"/>
                <a:gd name="connsiteX2492" fmla="*/ 3838899 w 9586368"/>
                <a:gd name="connsiteY2492" fmla="*/ 4804227 h 6479439"/>
                <a:gd name="connsiteX2493" fmla="*/ 3828990 w 9586368"/>
                <a:gd name="connsiteY2493" fmla="*/ 4804227 h 6479439"/>
                <a:gd name="connsiteX2494" fmla="*/ 3824971 w 9586368"/>
                <a:gd name="connsiteY2494" fmla="*/ 4800188 h 6479439"/>
                <a:gd name="connsiteX2495" fmla="*/ 3824971 w 9586368"/>
                <a:gd name="connsiteY2495" fmla="*/ 4790317 h 6479439"/>
                <a:gd name="connsiteX2496" fmla="*/ 3589676 w 9586368"/>
                <a:gd name="connsiteY2496" fmla="*/ 4786279 h 6479439"/>
                <a:gd name="connsiteX2497" fmla="*/ 3599585 w 9586368"/>
                <a:gd name="connsiteY2497" fmla="*/ 4786279 h 6479439"/>
                <a:gd name="connsiteX2498" fmla="*/ 3603604 w 9586368"/>
                <a:gd name="connsiteY2498" fmla="*/ 4790317 h 6479439"/>
                <a:gd name="connsiteX2499" fmla="*/ 3603604 w 9586368"/>
                <a:gd name="connsiteY2499" fmla="*/ 4800188 h 6479439"/>
                <a:gd name="connsiteX2500" fmla="*/ 3599585 w 9586368"/>
                <a:gd name="connsiteY2500" fmla="*/ 4804227 h 6479439"/>
                <a:gd name="connsiteX2501" fmla="*/ 3589676 w 9586368"/>
                <a:gd name="connsiteY2501" fmla="*/ 4804227 h 6479439"/>
                <a:gd name="connsiteX2502" fmla="*/ 3585657 w 9586368"/>
                <a:gd name="connsiteY2502" fmla="*/ 4800188 h 6479439"/>
                <a:gd name="connsiteX2503" fmla="*/ 3585657 w 9586368"/>
                <a:gd name="connsiteY2503" fmla="*/ 4790317 h 6479439"/>
                <a:gd name="connsiteX2504" fmla="*/ 3350359 w 9586368"/>
                <a:gd name="connsiteY2504" fmla="*/ 4786279 h 6479439"/>
                <a:gd name="connsiteX2505" fmla="*/ 3360268 w 9586368"/>
                <a:gd name="connsiteY2505" fmla="*/ 4786279 h 6479439"/>
                <a:gd name="connsiteX2506" fmla="*/ 3364287 w 9586368"/>
                <a:gd name="connsiteY2506" fmla="*/ 4790317 h 6479439"/>
                <a:gd name="connsiteX2507" fmla="*/ 3364287 w 9586368"/>
                <a:gd name="connsiteY2507" fmla="*/ 4800188 h 6479439"/>
                <a:gd name="connsiteX2508" fmla="*/ 3360268 w 9586368"/>
                <a:gd name="connsiteY2508" fmla="*/ 4804227 h 6479439"/>
                <a:gd name="connsiteX2509" fmla="*/ 3350359 w 9586368"/>
                <a:gd name="connsiteY2509" fmla="*/ 4804227 h 6479439"/>
                <a:gd name="connsiteX2510" fmla="*/ 3346340 w 9586368"/>
                <a:gd name="connsiteY2510" fmla="*/ 4800188 h 6479439"/>
                <a:gd name="connsiteX2511" fmla="*/ 3346340 w 9586368"/>
                <a:gd name="connsiteY2511" fmla="*/ 4790317 h 6479439"/>
                <a:gd name="connsiteX2512" fmla="*/ 3111048 w 9586368"/>
                <a:gd name="connsiteY2512" fmla="*/ 4786279 h 6479439"/>
                <a:gd name="connsiteX2513" fmla="*/ 3120959 w 9586368"/>
                <a:gd name="connsiteY2513" fmla="*/ 4786279 h 6479439"/>
                <a:gd name="connsiteX2514" fmla="*/ 3124977 w 9586368"/>
                <a:gd name="connsiteY2514" fmla="*/ 4790317 h 6479439"/>
                <a:gd name="connsiteX2515" fmla="*/ 3124977 w 9586368"/>
                <a:gd name="connsiteY2515" fmla="*/ 4800188 h 6479439"/>
                <a:gd name="connsiteX2516" fmla="*/ 3120959 w 9586368"/>
                <a:gd name="connsiteY2516" fmla="*/ 4804227 h 6479439"/>
                <a:gd name="connsiteX2517" fmla="*/ 3111048 w 9586368"/>
                <a:gd name="connsiteY2517" fmla="*/ 4804227 h 6479439"/>
                <a:gd name="connsiteX2518" fmla="*/ 3107029 w 9586368"/>
                <a:gd name="connsiteY2518" fmla="*/ 4800188 h 6479439"/>
                <a:gd name="connsiteX2519" fmla="*/ 3107029 w 9586368"/>
                <a:gd name="connsiteY2519" fmla="*/ 4790317 h 6479439"/>
                <a:gd name="connsiteX2520" fmla="*/ 2871737 w 9586368"/>
                <a:gd name="connsiteY2520" fmla="*/ 4786279 h 6479439"/>
                <a:gd name="connsiteX2521" fmla="*/ 2881646 w 9586368"/>
                <a:gd name="connsiteY2521" fmla="*/ 4786279 h 6479439"/>
                <a:gd name="connsiteX2522" fmla="*/ 2885666 w 9586368"/>
                <a:gd name="connsiteY2522" fmla="*/ 4790317 h 6479439"/>
                <a:gd name="connsiteX2523" fmla="*/ 2885666 w 9586368"/>
                <a:gd name="connsiteY2523" fmla="*/ 4800188 h 6479439"/>
                <a:gd name="connsiteX2524" fmla="*/ 2881646 w 9586368"/>
                <a:gd name="connsiteY2524" fmla="*/ 4804227 h 6479439"/>
                <a:gd name="connsiteX2525" fmla="*/ 2871737 w 9586368"/>
                <a:gd name="connsiteY2525" fmla="*/ 4804227 h 6479439"/>
                <a:gd name="connsiteX2526" fmla="*/ 2867717 w 9586368"/>
                <a:gd name="connsiteY2526" fmla="*/ 4800188 h 6479439"/>
                <a:gd name="connsiteX2527" fmla="*/ 2867717 w 9586368"/>
                <a:gd name="connsiteY2527" fmla="*/ 4790317 h 6479439"/>
                <a:gd name="connsiteX2528" fmla="*/ 2632423 w 9586368"/>
                <a:gd name="connsiteY2528" fmla="*/ 4786279 h 6479439"/>
                <a:gd name="connsiteX2529" fmla="*/ 2642334 w 9586368"/>
                <a:gd name="connsiteY2529" fmla="*/ 4786279 h 6479439"/>
                <a:gd name="connsiteX2530" fmla="*/ 2646352 w 9586368"/>
                <a:gd name="connsiteY2530" fmla="*/ 4790317 h 6479439"/>
                <a:gd name="connsiteX2531" fmla="*/ 2646352 w 9586368"/>
                <a:gd name="connsiteY2531" fmla="*/ 4800188 h 6479439"/>
                <a:gd name="connsiteX2532" fmla="*/ 2642334 w 9586368"/>
                <a:gd name="connsiteY2532" fmla="*/ 4804227 h 6479439"/>
                <a:gd name="connsiteX2533" fmla="*/ 2632423 w 9586368"/>
                <a:gd name="connsiteY2533" fmla="*/ 4804227 h 6479439"/>
                <a:gd name="connsiteX2534" fmla="*/ 2628404 w 9586368"/>
                <a:gd name="connsiteY2534" fmla="*/ 4800188 h 6479439"/>
                <a:gd name="connsiteX2535" fmla="*/ 2628404 w 9586368"/>
                <a:gd name="connsiteY2535" fmla="*/ 4790317 h 6479439"/>
                <a:gd name="connsiteX2536" fmla="*/ 2393104 w 9586368"/>
                <a:gd name="connsiteY2536" fmla="*/ 4786279 h 6479439"/>
                <a:gd name="connsiteX2537" fmla="*/ 2403015 w 9586368"/>
                <a:gd name="connsiteY2537" fmla="*/ 4786279 h 6479439"/>
                <a:gd name="connsiteX2538" fmla="*/ 2407034 w 9586368"/>
                <a:gd name="connsiteY2538" fmla="*/ 4790317 h 6479439"/>
                <a:gd name="connsiteX2539" fmla="*/ 2407034 w 9586368"/>
                <a:gd name="connsiteY2539" fmla="*/ 4800188 h 6479439"/>
                <a:gd name="connsiteX2540" fmla="*/ 2403015 w 9586368"/>
                <a:gd name="connsiteY2540" fmla="*/ 4804227 h 6479439"/>
                <a:gd name="connsiteX2541" fmla="*/ 2393104 w 9586368"/>
                <a:gd name="connsiteY2541" fmla="*/ 4804227 h 6479439"/>
                <a:gd name="connsiteX2542" fmla="*/ 2389087 w 9586368"/>
                <a:gd name="connsiteY2542" fmla="*/ 4800188 h 6479439"/>
                <a:gd name="connsiteX2543" fmla="*/ 2389087 w 9586368"/>
                <a:gd name="connsiteY2543" fmla="*/ 4790317 h 6479439"/>
                <a:gd name="connsiteX2544" fmla="*/ 2157819 w 9586368"/>
                <a:gd name="connsiteY2544" fmla="*/ 4786279 h 6479439"/>
                <a:gd name="connsiteX2545" fmla="*/ 2167729 w 9586368"/>
                <a:gd name="connsiteY2545" fmla="*/ 4786279 h 6479439"/>
                <a:gd name="connsiteX2546" fmla="*/ 2171748 w 9586368"/>
                <a:gd name="connsiteY2546" fmla="*/ 4790317 h 6479439"/>
                <a:gd name="connsiteX2547" fmla="*/ 2171748 w 9586368"/>
                <a:gd name="connsiteY2547" fmla="*/ 4800188 h 6479439"/>
                <a:gd name="connsiteX2548" fmla="*/ 2167729 w 9586368"/>
                <a:gd name="connsiteY2548" fmla="*/ 4804227 h 6479439"/>
                <a:gd name="connsiteX2549" fmla="*/ 2157819 w 9586368"/>
                <a:gd name="connsiteY2549" fmla="*/ 4804227 h 6479439"/>
                <a:gd name="connsiteX2550" fmla="*/ 2153800 w 9586368"/>
                <a:gd name="connsiteY2550" fmla="*/ 4800188 h 6479439"/>
                <a:gd name="connsiteX2551" fmla="*/ 2153800 w 9586368"/>
                <a:gd name="connsiteY2551" fmla="*/ 4790317 h 6479439"/>
                <a:gd name="connsiteX2552" fmla="*/ 1918510 w 9586368"/>
                <a:gd name="connsiteY2552" fmla="*/ 4786279 h 6479439"/>
                <a:gd name="connsiteX2553" fmla="*/ 1928420 w 9586368"/>
                <a:gd name="connsiteY2553" fmla="*/ 4786279 h 6479439"/>
                <a:gd name="connsiteX2554" fmla="*/ 1932440 w 9586368"/>
                <a:gd name="connsiteY2554" fmla="*/ 4790317 h 6479439"/>
                <a:gd name="connsiteX2555" fmla="*/ 1932440 w 9586368"/>
                <a:gd name="connsiteY2555" fmla="*/ 4800188 h 6479439"/>
                <a:gd name="connsiteX2556" fmla="*/ 1928420 w 9586368"/>
                <a:gd name="connsiteY2556" fmla="*/ 4804227 h 6479439"/>
                <a:gd name="connsiteX2557" fmla="*/ 1918510 w 9586368"/>
                <a:gd name="connsiteY2557" fmla="*/ 4804227 h 6479439"/>
                <a:gd name="connsiteX2558" fmla="*/ 1914492 w 9586368"/>
                <a:gd name="connsiteY2558" fmla="*/ 4800188 h 6479439"/>
                <a:gd name="connsiteX2559" fmla="*/ 1914492 w 9586368"/>
                <a:gd name="connsiteY2559" fmla="*/ 4790317 h 6479439"/>
                <a:gd name="connsiteX2560" fmla="*/ 1679205 w 9586368"/>
                <a:gd name="connsiteY2560" fmla="*/ 4786279 h 6479439"/>
                <a:gd name="connsiteX2561" fmla="*/ 1689115 w 9586368"/>
                <a:gd name="connsiteY2561" fmla="*/ 4786279 h 6479439"/>
                <a:gd name="connsiteX2562" fmla="*/ 1693134 w 9586368"/>
                <a:gd name="connsiteY2562" fmla="*/ 4790317 h 6479439"/>
                <a:gd name="connsiteX2563" fmla="*/ 1693134 w 9586368"/>
                <a:gd name="connsiteY2563" fmla="*/ 4800188 h 6479439"/>
                <a:gd name="connsiteX2564" fmla="*/ 1689115 w 9586368"/>
                <a:gd name="connsiteY2564" fmla="*/ 4804227 h 6479439"/>
                <a:gd name="connsiteX2565" fmla="*/ 1679205 w 9586368"/>
                <a:gd name="connsiteY2565" fmla="*/ 4804227 h 6479439"/>
                <a:gd name="connsiteX2566" fmla="*/ 1675187 w 9586368"/>
                <a:gd name="connsiteY2566" fmla="*/ 4800188 h 6479439"/>
                <a:gd name="connsiteX2567" fmla="*/ 1675187 w 9586368"/>
                <a:gd name="connsiteY2567" fmla="*/ 4790317 h 6479439"/>
                <a:gd name="connsiteX2568" fmla="*/ 1439890 w 9586368"/>
                <a:gd name="connsiteY2568" fmla="*/ 4786279 h 6479439"/>
                <a:gd name="connsiteX2569" fmla="*/ 1449800 w 9586368"/>
                <a:gd name="connsiteY2569" fmla="*/ 4786279 h 6479439"/>
                <a:gd name="connsiteX2570" fmla="*/ 1453818 w 9586368"/>
                <a:gd name="connsiteY2570" fmla="*/ 4790317 h 6479439"/>
                <a:gd name="connsiteX2571" fmla="*/ 1453818 w 9586368"/>
                <a:gd name="connsiteY2571" fmla="*/ 4800188 h 6479439"/>
                <a:gd name="connsiteX2572" fmla="*/ 1449800 w 9586368"/>
                <a:gd name="connsiteY2572" fmla="*/ 4804227 h 6479439"/>
                <a:gd name="connsiteX2573" fmla="*/ 1439890 w 9586368"/>
                <a:gd name="connsiteY2573" fmla="*/ 4804227 h 6479439"/>
                <a:gd name="connsiteX2574" fmla="*/ 1435870 w 9586368"/>
                <a:gd name="connsiteY2574" fmla="*/ 4800188 h 6479439"/>
                <a:gd name="connsiteX2575" fmla="*/ 1435870 w 9586368"/>
                <a:gd name="connsiteY2575" fmla="*/ 4790317 h 6479439"/>
                <a:gd name="connsiteX2576" fmla="*/ 1200574 w 9586368"/>
                <a:gd name="connsiteY2576" fmla="*/ 4786279 h 6479439"/>
                <a:gd name="connsiteX2577" fmla="*/ 1210484 w 9586368"/>
                <a:gd name="connsiteY2577" fmla="*/ 4786279 h 6479439"/>
                <a:gd name="connsiteX2578" fmla="*/ 1214503 w 9586368"/>
                <a:gd name="connsiteY2578" fmla="*/ 4790317 h 6479439"/>
                <a:gd name="connsiteX2579" fmla="*/ 1214503 w 9586368"/>
                <a:gd name="connsiteY2579" fmla="*/ 4800188 h 6479439"/>
                <a:gd name="connsiteX2580" fmla="*/ 1210484 w 9586368"/>
                <a:gd name="connsiteY2580" fmla="*/ 4804227 h 6479439"/>
                <a:gd name="connsiteX2581" fmla="*/ 1200574 w 9586368"/>
                <a:gd name="connsiteY2581" fmla="*/ 4804227 h 6479439"/>
                <a:gd name="connsiteX2582" fmla="*/ 1196555 w 9586368"/>
                <a:gd name="connsiteY2582" fmla="*/ 4800188 h 6479439"/>
                <a:gd name="connsiteX2583" fmla="*/ 1196555 w 9586368"/>
                <a:gd name="connsiteY2583" fmla="*/ 4790317 h 6479439"/>
                <a:gd name="connsiteX2584" fmla="*/ 961262 w 9586368"/>
                <a:gd name="connsiteY2584" fmla="*/ 4786279 h 6479439"/>
                <a:gd name="connsiteX2585" fmla="*/ 971172 w 9586368"/>
                <a:gd name="connsiteY2585" fmla="*/ 4786279 h 6479439"/>
                <a:gd name="connsiteX2586" fmla="*/ 975190 w 9586368"/>
                <a:gd name="connsiteY2586" fmla="*/ 4790317 h 6479439"/>
                <a:gd name="connsiteX2587" fmla="*/ 975190 w 9586368"/>
                <a:gd name="connsiteY2587" fmla="*/ 4800188 h 6479439"/>
                <a:gd name="connsiteX2588" fmla="*/ 971172 w 9586368"/>
                <a:gd name="connsiteY2588" fmla="*/ 4804227 h 6479439"/>
                <a:gd name="connsiteX2589" fmla="*/ 961262 w 9586368"/>
                <a:gd name="connsiteY2589" fmla="*/ 4804227 h 6479439"/>
                <a:gd name="connsiteX2590" fmla="*/ 957242 w 9586368"/>
                <a:gd name="connsiteY2590" fmla="*/ 4800188 h 6479439"/>
                <a:gd name="connsiteX2591" fmla="*/ 957242 w 9586368"/>
                <a:gd name="connsiteY2591" fmla="*/ 4790317 h 6479439"/>
                <a:gd name="connsiteX2592" fmla="*/ 721963 w 9586368"/>
                <a:gd name="connsiteY2592" fmla="*/ 4786279 h 6479439"/>
                <a:gd name="connsiteX2593" fmla="*/ 731873 w 9586368"/>
                <a:gd name="connsiteY2593" fmla="*/ 4786279 h 6479439"/>
                <a:gd name="connsiteX2594" fmla="*/ 735892 w 9586368"/>
                <a:gd name="connsiteY2594" fmla="*/ 4790317 h 6479439"/>
                <a:gd name="connsiteX2595" fmla="*/ 735892 w 9586368"/>
                <a:gd name="connsiteY2595" fmla="*/ 4800188 h 6479439"/>
                <a:gd name="connsiteX2596" fmla="*/ 731873 w 9586368"/>
                <a:gd name="connsiteY2596" fmla="*/ 4804227 h 6479439"/>
                <a:gd name="connsiteX2597" fmla="*/ 721963 w 9586368"/>
                <a:gd name="connsiteY2597" fmla="*/ 4804227 h 6479439"/>
                <a:gd name="connsiteX2598" fmla="*/ 717944 w 9586368"/>
                <a:gd name="connsiteY2598" fmla="*/ 4800188 h 6479439"/>
                <a:gd name="connsiteX2599" fmla="*/ 717944 w 9586368"/>
                <a:gd name="connsiteY2599" fmla="*/ 4790317 h 6479439"/>
                <a:gd name="connsiteX2600" fmla="*/ 482651 w 9586368"/>
                <a:gd name="connsiteY2600" fmla="*/ 4786279 h 6479439"/>
                <a:gd name="connsiteX2601" fmla="*/ 492561 w 9586368"/>
                <a:gd name="connsiteY2601" fmla="*/ 4786279 h 6479439"/>
                <a:gd name="connsiteX2602" fmla="*/ 496580 w 9586368"/>
                <a:gd name="connsiteY2602" fmla="*/ 4790317 h 6479439"/>
                <a:gd name="connsiteX2603" fmla="*/ 496580 w 9586368"/>
                <a:gd name="connsiteY2603" fmla="*/ 4800188 h 6479439"/>
                <a:gd name="connsiteX2604" fmla="*/ 492561 w 9586368"/>
                <a:gd name="connsiteY2604" fmla="*/ 4804227 h 6479439"/>
                <a:gd name="connsiteX2605" fmla="*/ 482651 w 9586368"/>
                <a:gd name="connsiteY2605" fmla="*/ 4804227 h 6479439"/>
                <a:gd name="connsiteX2606" fmla="*/ 478632 w 9586368"/>
                <a:gd name="connsiteY2606" fmla="*/ 4800188 h 6479439"/>
                <a:gd name="connsiteX2607" fmla="*/ 478632 w 9586368"/>
                <a:gd name="connsiteY2607" fmla="*/ 4790317 h 6479439"/>
                <a:gd name="connsiteX2608" fmla="*/ 243338 w 9586368"/>
                <a:gd name="connsiteY2608" fmla="*/ 4786279 h 6479439"/>
                <a:gd name="connsiteX2609" fmla="*/ 253247 w 9586368"/>
                <a:gd name="connsiteY2609" fmla="*/ 4786279 h 6479439"/>
                <a:gd name="connsiteX2610" fmla="*/ 257266 w 9586368"/>
                <a:gd name="connsiteY2610" fmla="*/ 4790317 h 6479439"/>
                <a:gd name="connsiteX2611" fmla="*/ 257266 w 9586368"/>
                <a:gd name="connsiteY2611" fmla="*/ 4800188 h 6479439"/>
                <a:gd name="connsiteX2612" fmla="*/ 253247 w 9586368"/>
                <a:gd name="connsiteY2612" fmla="*/ 4804227 h 6479439"/>
                <a:gd name="connsiteX2613" fmla="*/ 243338 w 9586368"/>
                <a:gd name="connsiteY2613" fmla="*/ 4804227 h 6479439"/>
                <a:gd name="connsiteX2614" fmla="*/ 239318 w 9586368"/>
                <a:gd name="connsiteY2614" fmla="*/ 4800188 h 6479439"/>
                <a:gd name="connsiteX2615" fmla="*/ 239318 w 9586368"/>
                <a:gd name="connsiteY2615" fmla="*/ 4790317 h 6479439"/>
                <a:gd name="connsiteX2616" fmla="*/ 4024 w 9586368"/>
                <a:gd name="connsiteY2616" fmla="*/ 4786279 h 6479439"/>
                <a:gd name="connsiteX2617" fmla="*/ 13934 w 9586368"/>
                <a:gd name="connsiteY2617" fmla="*/ 4786279 h 6479439"/>
                <a:gd name="connsiteX2618" fmla="*/ 17954 w 9586368"/>
                <a:gd name="connsiteY2618" fmla="*/ 4790317 h 6479439"/>
                <a:gd name="connsiteX2619" fmla="*/ 17954 w 9586368"/>
                <a:gd name="connsiteY2619" fmla="*/ 4800188 h 6479439"/>
                <a:gd name="connsiteX2620" fmla="*/ 13934 w 9586368"/>
                <a:gd name="connsiteY2620" fmla="*/ 4804227 h 6479439"/>
                <a:gd name="connsiteX2621" fmla="*/ 4024 w 9586368"/>
                <a:gd name="connsiteY2621" fmla="*/ 4804227 h 6479439"/>
                <a:gd name="connsiteX2622" fmla="*/ 5 w 9586368"/>
                <a:gd name="connsiteY2622" fmla="*/ 4800188 h 6479439"/>
                <a:gd name="connsiteX2623" fmla="*/ 5 w 9586368"/>
                <a:gd name="connsiteY2623" fmla="*/ 4790317 h 6479439"/>
                <a:gd name="connsiteX2624" fmla="*/ 2157819 w 9586368"/>
                <a:gd name="connsiteY2624" fmla="*/ 4546999 h 6479439"/>
                <a:gd name="connsiteX2625" fmla="*/ 2167729 w 9586368"/>
                <a:gd name="connsiteY2625" fmla="*/ 4546999 h 6479439"/>
                <a:gd name="connsiteX2626" fmla="*/ 2171748 w 9586368"/>
                <a:gd name="connsiteY2626" fmla="*/ 4551038 h 6479439"/>
                <a:gd name="connsiteX2627" fmla="*/ 2171748 w 9586368"/>
                <a:gd name="connsiteY2627" fmla="*/ 4560909 h 6479439"/>
                <a:gd name="connsiteX2628" fmla="*/ 2167729 w 9586368"/>
                <a:gd name="connsiteY2628" fmla="*/ 4564948 h 6479439"/>
                <a:gd name="connsiteX2629" fmla="*/ 2157819 w 9586368"/>
                <a:gd name="connsiteY2629" fmla="*/ 4564948 h 6479439"/>
                <a:gd name="connsiteX2630" fmla="*/ 2153801 w 9586368"/>
                <a:gd name="connsiteY2630" fmla="*/ 4560909 h 6479439"/>
                <a:gd name="connsiteX2631" fmla="*/ 2153801 w 9586368"/>
                <a:gd name="connsiteY2631" fmla="*/ 4551038 h 6479439"/>
                <a:gd name="connsiteX2632" fmla="*/ 1918510 w 9586368"/>
                <a:gd name="connsiteY2632" fmla="*/ 4546999 h 6479439"/>
                <a:gd name="connsiteX2633" fmla="*/ 1928421 w 9586368"/>
                <a:gd name="connsiteY2633" fmla="*/ 4546999 h 6479439"/>
                <a:gd name="connsiteX2634" fmla="*/ 1932440 w 9586368"/>
                <a:gd name="connsiteY2634" fmla="*/ 4551038 h 6479439"/>
                <a:gd name="connsiteX2635" fmla="*/ 1932440 w 9586368"/>
                <a:gd name="connsiteY2635" fmla="*/ 4560909 h 6479439"/>
                <a:gd name="connsiteX2636" fmla="*/ 1928421 w 9586368"/>
                <a:gd name="connsiteY2636" fmla="*/ 4564948 h 6479439"/>
                <a:gd name="connsiteX2637" fmla="*/ 1918510 w 9586368"/>
                <a:gd name="connsiteY2637" fmla="*/ 4564948 h 6479439"/>
                <a:gd name="connsiteX2638" fmla="*/ 1914492 w 9586368"/>
                <a:gd name="connsiteY2638" fmla="*/ 4560909 h 6479439"/>
                <a:gd name="connsiteX2639" fmla="*/ 1914492 w 9586368"/>
                <a:gd name="connsiteY2639" fmla="*/ 4551038 h 6479439"/>
                <a:gd name="connsiteX2640" fmla="*/ 1679206 w 9586368"/>
                <a:gd name="connsiteY2640" fmla="*/ 4546999 h 6479439"/>
                <a:gd name="connsiteX2641" fmla="*/ 1689116 w 9586368"/>
                <a:gd name="connsiteY2641" fmla="*/ 4546999 h 6479439"/>
                <a:gd name="connsiteX2642" fmla="*/ 1693134 w 9586368"/>
                <a:gd name="connsiteY2642" fmla="*/ 4551038 h 6479439"/>
                <a:gd name="connsiteX2643" fmla="*/ 1693134 w 9586368"/>
                <a:gd name="connsiteY2643" fmla="*/ 4560909 h 6479439"/>
                <a:gd name="connsiteX2644" fmla="*/ 1689116 w 9586368"/>
                <a:gd name="connsiteY2644" fmla="*/ 4564948 h 6479439"/>
                <a:gd name="connsiteX2645" fmla="*/ 1679206 w 9586368"/>
                <a:gd name="connsiteY2645" fmla="*/ 4564948 h 6479439"/>
                <a:gd name="connsiteX2646" fmla="*/ 1675187 w 9586368"/>
                <a:gd name="connsiteY2646" fmla="*/ 4560909 h 6479439"/>
                <a:gd name="connsiteX2647" fmla="*/ 1675187 w 9586368"/>
                <a:gd name="connsiteY2647" fmla="*/ 4551038 h 6479439"/>
                <a:gd name="connsiteX2648" fmla="*/ 1439890 w 9586368"/>
                <a:gd name="connsiteY2648" fmla="*/ 4546999 h 6479439"/>
                <a:gd name="connsiteX2649" fmla="*/ 1449800 w 9586368"/>
                <a:gd name="connsiteY2649" fmla="*/ 4546999 h 6479439"/>
                <a:gd name="connsiteX2650" fmla="*/ 1453819 w 9586368"/>
                <a:gd name="connsiteY2650" fmla="*/ 4551038 h 6479439"/>
                <a:gd name="connsiteX2651" fmla="*/ 1453819 w 9586368"/>
                <a:gd name="connsiteY2651" fmla="*/ 4560909 h 6479439"/>
                <a:gd name="connsiteX2652" fmla="*/ 1449800 w 9586368"/>
                <a:gd name="connsiteY2652" fmla="*/ 4564948 h 6479439"/>
                <a:gd name="connsiteX2653" fmla="*/ 1439890 w 9586368"/>
                <a:gd name="connsiteY2653" fmla="*/ 4564948 h 6479439"/>
                <a:gd name="connsiteX2654" fmla="*/ 1435871 w 9586368"/>
                <a:gd name="connsiteY2654" fmla="*/ 4560909 h 6479439"/>
                <a:gd name="connsiteX2655" fmla="*/ 1435871 w 9586368"/>
                <a:gd name="connsiteY2655" fmla="*/ 4551038 h 6479439"/>
                <a:gd name="connsiteX2656" fmla="*/ 1200575 w 9586368"/>
                <a:gd name="connsiteY2656" fmla="*/ 4546999 h 6479439"/>
                <a:gd name="connsiteX2657" fmla="*/ 1210485 w 9586368"/>
                <a:gd name="connsiteY2657" fmla="*/ 4546999 h 6479439"/>
                <a:gd name="connsiteX2658" fmla="*/ 1214504 w 9586368"/>
                <a:gd name="connsiteY2658" fmla="*/ 4551038 h 6479439"/>
                <a:gd name="connsiteX2659" fmla="*/ 1214504 w 9586368"/>
                <a:gd name="connsiteY2659" fmla="*/ 4560909 h 6479439"/>
                <a:gd name="connsiteX2660" fmla="*/ 1210485 w 9586368"/>
                <a:gd name="connsiteY2660" fmla="*/ 4564948 h 6479439"/>
                <a:gd name="connsiteX2661" fmla="*/ 1200575 w 9586368"/>
                <a:gd name="connsiteY2661" fmla="*/ 4564948 h 6479439"/>
                <a:gd name="connsiteX2662" fmla="*/ 1196556 w 9586368"/>
                <a:gd name="connsiteY2662" fmla="*/ 4560909 h 6479439"/>
                <a:gd name="connsiteX2663" fmla="*/ 1196556 w 9586368"/>
                <a:gd name="connsiteY2663" fmla="*/ 4551038 h 6479439"/>
                <a:gd name="connsiteX2664" fmla="*/ 961262 w 9586368"/>
                <a:gd name="connsiteY2664" fmla="*/ 4546999 h 6479439"/>
                <a:gd name="connsiteX2665" fmla="*/ 971172 w 9586368"/>
                <a:gd name="connsiteY2665" fmla="*/ 4546999 h 6479439"/>
                <a:gd name="connsiteX2666" fmla="*/ 975191 w 9586368"/>
                <a:gd name="connsiteY2666" fmla="*/ 4551038 h 6479439"/>
                <a:gd name="connsiteX2667" fmla="*/ 975191 w 9586368"/>
                <a:gd name="connsiteY2667" fmla="*/ 4560909 h 6479439"/>
                <a:gd name="connsiteX2668" fmla="*/ 971172 w 9586368"/>
                <a:gd name="connsiteY2668" fmla="*/ 4564948 h 6479439"/>
                <a:gd name="connsiteX2669" fmla="*/ 961262 w 9586368"/>
                <a:gd name="connsiteY2669" fmla="*/ 4564948 h 6479439"/>
                <a:gd name="connsiteX2670" fmla="*/ 957243 w 9586368"/>
                <a:gd name="connsiteY2670" fmla="*/ 4560909 h 6479439"/>
                <a:gd name="connsiteX2671" fmla="*/ 957243 w 9586368"/>
                <a:gd name="connsiteY2671" fmla="*/ 4551038 h 6479439"/>
                <a:gd name="connsiteX2672" fmla="*/ 9572438 w 9586368"/>
                <a:gd name="connsiteY2672" fmla="*/ 4546948 h 6479439"/>
                <a:gd name="connsiteX2673" fmla="*/ 9582349 w 9586368"/>
                <a:gd name="connsiteY2673" fmla="*/ 4546948 h 6479439"/>
                <a:gd name="connsiteX2674" fmla="*/ 9586368 w 9586368"/>
                <a:gd name="connsiteY2674" fmla="*/ 4550987 h 6479439"/>
                <a:gd name="connsiteX2675" fmla="*/ 9586368 w 9586368"/>
                <a:gd name="connsiteY2675" fmla="*/ 4560858 h 6479439"/>
                <a:gd name="connsiteX2676" fmla="*/ 9582349 w 9586368"/>
                <a:gd name="connsiteY2676" fmla="*/ 4564897 h 6479439"/>
                <a:gd name="connsiteX2677" fmla="*/ 9572438 w 9586368"/>
                <a:gd name="connsiteY2677" fmla="*/ 4564897 h 6479439"/>
                <a:gd name="connsiteX2678" fmla="*/ 9568419 w 9586368"/>
                <a:gd name="connsiteY2678" fmla="*/ 4560858 h 6479439"/>
                <a:gd name="connsiteX2679" fmla="*/ 9568419 w 9586368"/>
                <a:gd name="connsiteY2679" fmla="*/ 4550987 h 6479439"/>
                <a:gd name="connsiteX2680" fmla="*/ 9333125 w 9586368"/>
                <a:gd name="connsiteY2680" fmla="*/ 4546948 h 6479439"/>
                <a:gd name="connsiteX2681" fmla="*/ 9343036 w 9586368"/>
                <a:gd name="connsiteY2681" fmla="*/ 4546948 h 6479439"/>
                <a:gd name="connsiteX2682" fmla="*/ 9347055 w 9586368"/>
                <a:gd name="connsiteY2682" fmla="*/ 4550987 h 6479439"/>
                <a:gd name="connsiteX2683" fmla="*/ 9347055 w 9586368"/>
                <a:gd name="connsiteY2683" fmla="*/ 4560858 h 6479439"/>
                <a:gd name="connsiteX2684" fmla="*/ 9343036 w 9586368"/>
                <a:gd name="connsiteY2684" fmla="*/ 4564897 h 6479439"/>
                <a:gd name="connsiteX2685" fmla="*/ 9333125 w 9586368"/>
                <a:gd name="connsiteY2685" fmla="*/ 4564897 h 6479439"/>
                <a:gd name="connsiteX2686" fmla="*/ 9329106 w 9586368"/>
                <a:gd name="connsiteY2686" fmla="*/ 4560858 h 6479439"/>
                <a:gd name="connsiteX2687" fmla="*/ 9329106 w 9586368"/>
                <a:gd name="connsiteY2687" fmla="*/ 4550987 h 6479439"/>
                <a:gd name="connsiteX2688" fmla="*/ 9093811 w 9586368"/>
                <a:gd name="connsiteY2688" fmla="*/ 4546948 h 6479439"/>
                <a:gd name="connsiteX2689" fmla="*/ 9103722 w 9586368"/>
                <a:gd name="connsiteY2689" fmla="*/ 4546948 h 6479439"/>
                <a:gd name="connsiteX2690" fmla="*/ 9107741 w 9586368"/>
                <a:gd name="connsiteY2690" fmla="*/ 4550987 h 6479439"/>
                <a:gd name="connsiteX2691" fmla="*/ 9107741 w 9586368"/>
                <a:gd name="connsiteY2691" fmla="*/ 4560858 h 6479439"/>
                <a:gd name="connsiteX2692" fmla="*/ 9103722 w 9586368"/>
                <a:gd name="connsiteY2692" fmla="*/ 4564897 h 6479439"/>
                <a:gd name="connsiteX2693" fmla="*/ 9093811 w 9586368"/>
                <a:gd name="connsiteY2693" fmla="*/ 4564897 h 6479439"/>
                <a:gd name="connsiteX2694" fmla="*/ 9089792 w 9586368"/>
                <a:gd name="connsiteY2694" fmla="*/ 4560858 h 6479439"/>
                <a:gd name="connsiteX2695" fmla="*/ 9089792 w 9586368"/>
                <a:gd name="connsiteY2695" fmla="*/ 4550987 h 6479439"/>
                <a:gd name="connsiteX2696" fmla="*/ 8854496 w 9586368"/>
                <a:gd name="connsiteY2696" fmla="*/ 4546948 h 6479439"/>
                <a:gd name="connsiteX2697" fmla="*/ 8864407 w 9586368"/>
                <a:gd name="connsiteY2697" fmla="*/ 4546948 h 6479439"/>
                <a:gd name="connsiteX2698" fmla="*/ 8868426 w 9586368"/>
                <a:gd name="connsiteY2698" fmla="*/ 4550987 h 6479439"/>
                <a:gd name="connsiteX2699" fmla="*/ 8868426 w 9586368"/>
                <a:gd name="connsiteY2699" fmla="*/ 4560858 h 6479439"/>
                <a:gd name="connsiteX2700" fmla="*/ 8864407 w 9586368"/>
                <a:gd name="connsiteY2700" fmla="*/ 4564897 h 6479439"/>
                <a:gd name="connsiteX2701" fmla="*/ 8854496 w 9586368"/>
                <a:gd name="connsiteY2701" fmla="*/ 4564897 h 6479439"/>
                <a:gd name="connsiteX2702" fmla="*/ 8850477 w 9586368"/>
                <a:gd name="connsiteY2702" fmla="*/ 4560858 h 6479439"/>
                <a:gd name="connsiteX2703" fmla="*/ 8850477 w 9586368"/>
                <a:gd name="connsiteY2703" fmla="*/ 4550987 h 6479439"/>
                <a:gd name="connsiteX2704" fmla="*/ 8615184 w 9586368"/>
                <a:gd name="connsiteY2704" fmla="*/ 4546948 h 6479439"/>
                <a:gd name="connsiteX2705" fmla="*/ 8625095 w 9586368"/>
                <a:gd name="connsiteY2705" fmla="*/ 4546948 h 6479439"/>
                <a:gd name="connsiteX2706" fmla="*/ 8629114 w 9586368"/>
                <a:gd name="connsiteY2706" fmla="*/ 4550987 h 6479439"/>
                <a:gd name="connsiteX2707" fmla="*/ 8629114 w 9586368"/>
                <a:gd name="connsiteY2707" fmla="*/ 4560858 h 6479439"/>
                <a:gd name="connsiteX2708" fmla="*/ 8625095 w 9586368"/>
                <a:gd name="connsiteY2708" fmla="*/ 4564897 h 6479439"/>
                <a:gd name="connsiteX2709" fmla="*/ 8615184 w 9586368"/>
                <a:gd name="connsiteY2709" fmla="*/ 4564897 h 6479439"/>
                <a:gd name="connsiteX2710" fmla="*/ 8611165 w 9586368"/>
                <a:gd name="connsiteY2710" fmla="*/ 4560858 h 6479439"/>
                <a:gd name="connsiteX2711" fmla="*/ 8611165 w 9586368"/>
                <a:gd name="connsiteY2711" fmla="*/ 4550987 h 6479439"/>
                <a:gd name="connsiteX2712" fmla="*/ 8375869 w 9586368"/>
                <a:gd name="connsiteY2712" fmla="*/ 4546948 h 6479439"/>
                <a:gd name="connsiteX2713" fmla="*/ 8385779 w 9586368"/>
                <a:gd name="connsiteY2713" fmla="*/ 4546948 h 6479439"/>
                <a:gd name="connsiteX2714" fmla="*/ 8389799 w 9586368"/>
                <a:gd name="connsiteY2714" fmla="*/ 4550987 h 6479439"/>
                <a:gd name="connsiteX2715" fmla="*/ 8389799 w 9586368"/>
                <a:gd name="connsiteY2715" fmla="*/ 4560858 h 6479439"/>
                <a:gd name="connsiteX2716" fmla="*/ 8385779 w 9586368"/>
                <a:gd name="connsiteY2716" fmla="*/ 4564897 h 6479439"/>
                <a:gd name="connsiteX2717" fmla="*/ 8375869 w 9586368"/>
                <a:gd name="connsiteY2717" fmla="*/ 4564897 h 6479439"/>
                <a:gd name="connsiteX2718" fmla="*/ 8371850 w 9586368"/>
                <a:gd name="connsiteY2718" fmla="*/ 4560858 h 6479439"/>
                <a:gd name="connsiteX2719" fmla="*/ 8371850 w 9586368"/>
                <a:gd name="connsiteY2719" fmla="*/ 4550987 h 6479439"/>
                <a:gd name="connsiteX2720" fmla="*/ 8136553 w 9586368"/>
                <a:gd name="connsiteY2720" fmla="*/ 4546948 h 6479439"/>
                <a:gd name="connsiteX2721" fmla="*/ 8146464 w 9586368"/>
                <a:gd name="connsiteY2721" fmla="*/ 4546948 h 6479439"/>
                <a:gd name="connsiteX2722" fmla="*/ 8150483 w 9586368"/>
                <a:gd name="connsiteY2722" fmla="*/ 4550987 h 6479439"/>
                <a:gd name="connsiteX2723" fmla="*/ 8150483 w 9586368"/>
                <a:gd name="connsiteY2723" fmla="*/ 4560858 h 6479439"/>
                <a:gd name="connsiteX2724" fmla="*/ 8146464 w 9586368"/>
                <a:gd name="connsiteY2724" fmla="*/ 4564897 h 6479439"/>
                <a:gd name="connsiteX2725" fmla="*/ 8136553 w 9586368"/>
                <a:gd name="connsiteY2725" fmla="*/ 4564897 h 6479439"/>
                <a:gd name="connsiteX2726" fmla="*/ 8132534 w 9586368"/>
                <a:gd name="connsiteY2726" fmla="*/ 4560858 h 6479439"/>
                <a:gd name="connsiteX2727" fmla="*/ 8132534 w 9586368"/>
                <a:gd name="connsiteY2727" fmla="*/ 4550987 h 6479439"/>
                <a:gd name="connsiteX2728" fmla="*/ 7897241 w 9586368"/>
                <a:gd name="connsiteY2728" fmla="*/ 4546948 h 6479439"/>
                <a:gd name="connsiteX2729" fmla="*/ 7907151 w 9586368"/>
                <a:gd name="connsiteY2729" fmla="*/ 4546948 h 6479439"/>
                <a:gd name="connsiteX2730" fmla="*/ 7911170 w 9586368"/>
                <a:gd name="connsiteY2730" fmla="*/ 4550987 h 6479439"/>
                <a:gd name="connsiteX2731" fmla="*/ 7911170 w 9586368"/>
                <a:gd name="connsiteY2731" fmla="*/ 4560858 h 6479439"/>
                <a:gd name="connsiteX2732" fmla="*/ 7907151 w 9586368"/>
                <a:gd name="connsiteY2732" fmla="*/ 4564897 h 6479439"/>
                <a:gd name="connsiteX2733" fmla="*/ 7897241 w 9586368"/>
                <a:gd name="connsiteY2733" fmla="*/ 4564897 h 6479439"/>
                <a:gd name="connsiteX2734" fmla="*/ 7893222 w 9586368"/>
                <a:gd name="connsiteY2734" fmla="*/ 4560858 h 6479439"/>
                <a:gd name="connsiteX2735" fmla="*/ 7893222 w 9586368"/>
                <a:gd name="connsiteY2735" fmla="*/ 4550987 h 6479439"/>
                <a:gd name="connsiteX2736" fmla="*/ 7657926 w 9586368"/>
                <a:gd name="connsiteY2736" fmla="*/ 4546948 h 6479439"/>
                <a:gd name="connsiteX2737" fmla="*/ 7667836 w 9586368"/>
                <a:gd name="connsiteY2737" fmla="*/ 4546948 h 6479439"/>
                <a:gd name="connsiteX2738" fmla="*/ 7671855 w 9586368"/>
                <a:gd name="connsiteY2738" fmla="*/ 4550987 h 6479439"/>
                <a:gd name="connsiteX2739" fmla="*/ 7671855 w 9586368"/>
                <a:gd name="connsiteY2739" fmla="*/ 4560858 h 6479439"/>
                <a:gd name="connsiteX2740" fmla="*/ 7667836 w 9586368"/>
                <a:gd name="connsiteY2740" fmla="*/ 4564897 h 6479439"/>
                <a:gd name="connsiteX2741" fmla="*/ 7657926 w 9586368"/>
                <a:gd name="connsiteY2741" fmla="*/ 4564897 h 6479439"/>
                <a:gd name="connsiteX2742" fmla="*/ 7653906 w 9586368"/>
                <a:gd name="connsiteY2742" fmla="*/ 4560858 h 6479439"/>
                <a:gd name="connsiteX2743" fmla="*/ 7653906 w 9586368"/>
                <a:gd name="connsiteY2743" fmla="*/ 4550987 h 6479439"/>
                <a:gd name="connsiteX2744" fmla="*/ 7418611 w 9586368"/>
                <a:gd name="connsiteY2744" fmla="*/ 4546948 h 6479439"/>
                <a:gd name="connsiteX2745" fmla="*/ 7428521 w 9586368"/>
                <a:gd name="connsiteY2745" fmla="*/ 4546948 h 6479439"/>
                <a:gd name="connsiteX2746" fmla="*/ 7432540 w 9586368"/>
                <a:gd name="connsiteY2746" fmla="*/ 4550987 h 6479439"/>
                <a:gd name="connsiteX2747" fmla="*/ 7432540 w 9586368"/>
                <a:gd name="connsiteY2747" fmla="*/ 4560858 h 6479439"/>
                <a:gd name="connsiteX2748" fmla="*/ 7428521 w 9586368"/>
                <a:gd name="connsiteY2748" fmla="*/ 4564897 h 6479439"/>
                <a:gd name="connsiteX2749" fmla="*/ 7418611 w 9586368"/>
                <a:gd name="connsiteY2749" fmla="*/ 4564897 h 6479439"/>
                <a:gd name="connsiteX2750" fmla="*/ 7414592 w 9586368"/>
                <a:gd name="connsiteY2750" fmla="*/ 4560858 h 6479439"/>
                <a:gd name="connsiteX2751" fmla="*/ 7414592 w 9586368"/>
                <a:gd name="connsiteY2751" fmla="*/ 4550987 h 6479439"/>
                <a:gd name="connsiteX2752" fmla="*/ 7179298 w 9586368"/>
                <a:gd name="connsiteY2752" fmla="*/ 4546948 h 6479439"/>
                <a:gd name="connsiteX2753" fmla="*/ 7189209 w 9586368"/>
                <a:gd name="connsiteY2753" fmla="*/ 4546948 h 6479439"/>
                <a:gd name="connsiteX2754" fmla="*/ 7193228 w 9586368"/>
                <a:gd name="connsiteY2754" fmla="*/ 4550987 h 6479439"/>
                <a:gd name="connsiteX2755" fmla="*/ 7193228 w 9586368"/>
                <a:gd name="connsiteY2755" fmla="*/ 4560858 h 6479439"/>
                <a:gd name="connsiteX2756" fmla="*/ 7189209 w 9586368"/>
                <a:gd name="connsiteY2756" fmla="*/ 4564897 h 6479439"/>
                <a:gd name="connsiteX2757" fmla="*/ 7179298 w 9586368"/>
                <a:gd name="connsiteY2757" fmla="*/ 4564897 h 6479439"/>
                <a:gd name="connsiteX2758" fmla="*/ 7175279 w 9586368"/>
                <a:gd name="connsiteY2758" fmla="*/ 4560858 h 6479439"/>
                <a:gd name="connsiteX2759" fmla="*/ 7175279 w 9586368"/>
                <a:gd name="connsiteY2759" fmla="*/ 4550987 h 6479439"/>
                <a:gd name="connsiteX2760" fmla="*/ 6939983 w 9586368"/>
                <a:gd name="connsiteY2760" fmla="*/ 4546948 h 6479439"/>
                <a:gd name="connsiteX2761" fmla="*/ 6949894 w 9586368"/>
                <a:gd name="connsiteY2761" fmla="*/ 4546948 h 6479439"/>
                <a:gd name="connsiteX2762" fmla="*/ 6953913 w 9586368"/>
                <a:gd name="connsiteY2762" fmla="*/ 4550987 h 6479439"/>
                <a:gd name="connsiteX2763" fmla="*/ 6953913 w 9586368"/>
                <a:gd name="connsiteY2763" fmla="*/ 4560858 h 6479439"/>
                <a:gd name="connsiteX2764" fmla="*/ 6949894 w 9586368"/>
                <a:gd name="connsiteY2764" fmla="*/ 4564897 h 6479439"/>
                <a:gd name="connsiteX2765" fmla="*/ 6939983 w 9586368"/>
                <a:gd name="connsiteY2765" fmla="*/ 4564897 h 6479439"/>
                <a:gd name="connsiteX2766" fmla="*/ 6935964 w 9586368"/>
                <a:gd name="connsiteY2766" fmla="*/ 4560858 h 6479439"/>
                <a:gd name="connsiteX2767" fmla="*/ 6935964 w 9586368"/>
                <a:gd name="connsiteY2767" fmla="*/ 4550987 h 6479439"/>
                <a:gd name="connsiteX2768" fmla="*/ 6700670 w 9586368"/>
                <a:gd name="connsiteY2768" fmla="*/ 4546948 h 6479439"/>
                <a:gd name="connsiteX2769" fmla="*/ 6710581 w 9586368"/>
                <a:gd name="connsiteY2769" fmla="*/ 4546948 h 6479439"/>
                <a:gd name="connsiteX2770" fmla="*/ 6714600 w 9586368"/>
                <a:gd name="connsiteY2770" fmla="*/ 4550987 h 6479439"/>
                <a:gd name="connsiteX2771" fmla="*/ 6714600 w 9586368"/>
                <a:gd name="connsiteY2771" fmla="*/ 4560858 h 6479439"/>
                <a:gd name="connsiteX2772" fmla="*/ 6710581 w 9586368"/>
                <a:gd name="connsiteY2772" fmla="*/ 4564897 h 6479439"/>
                <a:gd name="connsiteX2773" fmla="*/ 6700670 w 9586368"/>
                <a:gd name="connsiteY2773" fmla="*/ 4564897 h 6479439"/>
                <a:gd name="connsiteX2774" fmla="*/ 6696651 w 9586368"/>
                <a:gd name="connsiteY2774" fmla="*/ 4560858 h 6479439"/>
                <a:gd name="connsiteX2775" fmla="*/ 6696651 w 9586368"/>
                <a:gd name="connsiteY2775" fmla="*/ 4550987 h 6479439"/>
                <a:gd name="connsiteX2776" fmla="*/ 6461356 w 9586368"/>
                <a:gd name="connsiteY2776" fmla="*/ 4546948 h 6479439"/>
                <a:gd name="connsiteX2777" fmla="*/ 6471266 w 9586368"/>
                <a:gd name="connsiteY2777" fmla="*/ 4546948 h 6479439"/>
                <a:gd name="connsiteX2778" fmla="*/ 6475285 w 9586368"/>
                <a:gd name="connsiteY2778" fmla="*/ 4550987 h 6479439"/>
                <a:gd name="connsiteX2779" fmla="*/ 6475285 w 9586368"/>
                <a:gd name="connsiteY2779" fmla="*/ 4560858 h 6479439"/>
                <a:gd name="connsiteX2780" fmla="*/ 6471266 w 9586368"/>
                <a:gd name="connsiteY2780" fmla="*/ 4564897 h 6479439"/>
                <a:gd name="connsiteX2781" fmla="*/ 6461356 w 9586368"/>
                <a:gd name="connsiteY2781" fmla="*/ 4564897 h 6479439"/>
                <a:gd name="connsiteX2782" fmla="*/ 6457337 w 9586368"/>
                <a:gd name="connsiteY2782" fmla="*/ 4560858 h 6479439"/>
                <a:gd name="connsiteX2783" fmla="*/ 6457337 w 9586368"/>
                <a:gd name="connsiteY2783" fmla="*/ 4550987 h 6479439"/>
                <a:gd name="connsiteX2784" fmla="*/ 6222042 w 9586368"/>
                <a:gd name="connsiteY2784" fmla="*/ 4546948 h 6479439"/>
                <a:gd name="connsiteX2785" fmla="*/ 6231952 w 9586368"/>
                <a:gd name="connsiteY2785" fmla="*/ 4546948 h 6479439"/>
                <a:gd name="connsiteX2786" fmla="*/ 6235971 w 9586368"/>
                <a:gd name="connsiteY2786" fmla="*/ 4550987 h 6479439"/>
                <a:gd name="connsiteX2787" fmla="*/ 6235971 w 9586368"/>
                <a:gd name="connsiteY2787" fmla="*/ 4560858 h 6479439"/>
                <a:gd name="connsiteX2788" fmla="*/ 6231952 w 9586368"/>
                <a:gd name="connsiteY2788" fmla="*/ 4564897 h 6479439"/>
                <a:gd name="connsiteX2789" fmla="*/ 6222042 w 9586368"/>
                <a:gd name="connsiteY2789" fmla="*/ 4564897 h 6479439"/>
                <a:gd name="connsiteX2790" fmla="*/ 6218023 w 9586368"/>
                <a:gd name="connsiteY2790" fmla="*/ 4560858 h 6479439"/>
                <a:gd name="connsiteX2791" fmla="*/ 6218023 w 9586368"/>
                <a:gd name="connsiteY2791" fmla="*/ 4550987 h 6479439"/>
                <a:gd name="connsiteX2792" fmla="*/ 5982729 w 9586368"/>
                <a:gd name="connsiteY2792" fmla="*/ 4546948 h 6479439"/>
                <a:gd name="connsiteX2793" fmla="*/ 5992639 w 9586368"/>
                <a:gd name="connsiteY2793" fmla="*/ 4546948 h 6479439"/>
                <a:gd name="connsiteX2794" fmla="*/ 5996658 w 9586368"/>
                <a:gd name="connsiteY2794" fmla="*/ 4550987 h 6479439"/>
                <a:gd name="connsiteX2795" fmla="*/ 5996658 w 9586368"/>
                <a:gd name="connsiteY2795" fmla="*/ 4560858 h 6479439"/>
                <a:gd name="connsiteX2796" fmla="*/ 5992639 w 9586368"/>
                <a:gd name="connsiteY2796" fmla="*/ 4564897 h 6479439"/>
                <a:gd name="connsiteX2797" fmla="*/ 5982729 w 9586368"/>
                <a:gd name="connsiteY2797" fmla="*/ 4564897 h 6479439"/>
                <a:gd name="connsiteX2798" fmla="*/ 5978710 w 9586368"/>
                <a:gd name="connsiteY2798" fmla="*/ 4560858 h 6479439"/>
                <a:gd name="connsiteX2799" fmla="*/ 5978710 w 9586368"/>
                <a:gd name="connsiteY2799" fmla="*/ 4550987 h 6479439"/>
                <a:gd name="connsiteX2800" fmla="*/ 5743412 w 9586368"/>
                <a:gd name="connsiteY2800" fmla="*/ 4546948 h 6479439"/>
                <a:gd name="connsiteX2801" fmla="*/ 5753323 w 9586368"/>
                <a:gd name="connsiteY2801" fmla="*/ 4546948 h 6479439"/>
                <a:gd name="connsiteX2802" fmla="*/ 5757342 w 9586368"/>
                <a:gd name="connsiteY2802" fmla="*/ 4550987 h 6479439"/>
                <a:gd name="connsiteX2803" fmla="*/ 5757342 w 9586368"/>
                <a:gd name="connsiteY2803" fmla="*/ 4560858 h 6479439"/>
                <a:gd name="connsiteX2804" fmla="*/ 5753323 w 9586368"/>
                <a:gd name="connsiteY2804" fmla="*/ 4564897 h 6479439"/>
                <a:gd name="connsiteX2805" fmla="*/ 5743412 w 9586368"/>
                <a:gd name="connsiteY2805" fmla="*/ 4564897 h 6479439"/>
                <a:gd name="connsiteX2806" fmla="*/ 5739393 w 9586368"/>
                <a:gd name="connsiteY2806" fmla="*/ 4560858 h 6479439"/>
                <a:gd name="connsiteX2807" fmla="*/ 5739393 w 9586368"/>
                <a:gd name="connsiteY2807" fmla="*/ 4550987 h 6479439"/>
                <a:gd name="connsiteX2808" fmla="*/ 5504099 w 9586368"/>
                <a:gd name="connsiteY2808" fmla="*/ 4546948 h 6479439"/>
                <a:gd name="connsiteX2809" fmla="*/ 5514010 w 9586368"/>
                <a:gd name="connsiteY2809" fmla="*/ 4546948 h 6479439"/>
                <a:gd name="connsiteX2810" fmla="*/ 5518029 w 9586368"/>
                <a:gd name="connsiteY2810" fmla="*/ 4550987 h 6479439"/>
                <a:gd name="connsiteX2811" fmla="*/ 5518029 w 9586368"/>
                <a:gd name="connsiteY2811" fmla="*/ 4560858 h 6479439"/>
                <a:gd name="connsiteX2812" fmla="*/ 5514010 w 9586368"/>
                <a:gd name="connsiteY2812" fmla="*/ 4564897 h 6479439"/>
                <a:gd name="connsiteX2813" fmla="*/ 5504099 w 9586368"/>
                <a:gd name="connsiteY2813" fmla="*/ 4564897 h 6479439"/>
                <a:gd name="connsiteX2814" fmla="*/ 5500080 w 9586368"/>
                <a:gd name="connsiteY2814" fmla="*/ 4560858 h 6479439"/>
                <a:gd name="connsiteX2815" fmla="*/ 5500080 w 9586368"/>
                <a:gd name="connsiteY2815" fmla="*/ 4550987 h 6479439"/>
                <a:gd name="connsiteX2816" fmla="*/ 5264784 w 9586368"/>
                <a:gd name="connsiteY2816" fmla="*/ 4546948 h 6479439"/>
                <a:gd name="connsiteX2817" fmla="*/ 5274694 w 9586368"/>
                <a:gd name="connsiteY2817" fmla="*/ 4546948 h 6479439"/>
                <a:gd name="connsiteX2818" fmla="*/ 5278713 w 9586368"/>
                <a:gd name="connsiteY2818" fmla="*/ 4550987 h 6479439"/>
                <a:gd name="connsiteX2819" fmla="*/ 5278713 w 9586368"/>
                <a:gd name="connsiteY2819" fmla="*/ 4560858 h 6479439"/>
                <a:gd name="connsiteX2820" fmla="*/ 5274694 w 9586368"/>
                <a:gd name="connsiteY2820" fmla="*/ 4564897 h 6479439"/>
                <a:gd name="connsiteX2821" fmla="*/ 5264784 w 9586368"/>
                <a:gd name="connsiteY2821" fmla="*/ 4564897 h 6479439"/>
                <a:gd name="connsiteX2822" fmla="*/ 5260765 w 9586368"/>
                <a:gd name="connsiteY2822" fmla="*/ 4560858 h 6479439"/>
                <a:gd name="connsiteX2823" fmla="*/ 5260765 w 9586368"/>
                <a:gd name="connsiteY2823" fmla="*/ 4550987 h 6479439"/>
                <a:gd name="connsiteX2824" fmla="*/ 5025470 w 9586368"/>
                <a:gd name="connsiteY2824" fmla="*/ 4546948 h 6479439"/>
                <a:gd name="connsiteX2825" fmla="*/ 5035381 w 9586368"/>
                <a:gd name="connsiteY2825" fmla="*/ 4546948 h 6479439"/>
                <a:gd name="connsiteX2826" fmla="*/ 5039400 w 9586368"/>
                <a:gd name="connsiteY2826" fmla="*/ 4550987 h 6479439"/>
                <a:gd name="connsiteX2827" fmla="*/ 5039400 w 9586368"/>
                <a:gd name="connsiteY2827" fmla="*/ 4560858 h 6479439"/>
                <a:gd name="connsiteX2828" fmla="*/ 5035381 w 9586368"/>
                <a:gd name="connsiteY2828" fmla="*/ 4564897 h 6479439"/>
                <a:gd name="connsiteX2829" fmla="*/ 5025470 w 9586368"/>
                <a:gd name="connsiteY2829" fmla="*/ 4564897 h 6479439"/>
                <a:gd name="connsiteX2830" fmla="*/ 5021451 w 9586368"/>
                <a:gd name="connsiteY2830" fmla="*/ 4560858 h 6479439"/>
                <a:gd name="connsiteX2831" fmla="*/ 5021451 w 9586368"/>
                <a:gd name="connsiteY2831" fmla="*/ 4550987 h 6479439"/>
                <a:gd name="connsiteX2832" fmla="*/ 4786241 w 9586368"/>
                <a:gd name="connsiteY2832" fmla="*/ 4546948 h 6479439"/>
                <a:gd name="connsiteX2833" fmla="*/ 4796152 w 9586368"/>
                <a:gd name="connsiteY2833" fmla="*/ 4546948 h 6479439"/>
                <a:gd name="connsiteX2834" fmla="*/ 4800171 w 9586368"/>
                <a:gd name="connsiteY2834" fmla="*/ 4550987 h 6479439"/>
                <a:gd name="connsiteX2835" fmla="*/ 4800171 w 9586368"/>
                <a:gd name="connsiteY2835" fmla="*/ 4560858 h 6479439"/>
                <a:gd name="connsiteX2836" fmla="*/ 4796152 w 9586368"/>
                <a:gd name="connsiteY2836" fmla="*/ 4564897 h 6479439"/>
                <a:gd name="connsiteX2837" fmla="*/ 4786241 w 9586368"/>
                <a:gd name="connsiteY2837" fmla="*/ 4564897 h 6479439"/>
                <a:gd name="connsiteX2838" fmla="*/ 4782224 w 9586368"/>
                <a:gd name="connsiteY2838" fmla="*/ 4560858 h 6479439"/>
                <a:gd name="connsiteX2839" fmla="*/ 4782224 w 9586368"/>
                <a:gd name="connsiteY2839" fmla="*/ 4550987 h 6479439"/>
                <a:gd name="connsiteX2840" fmla="*/ 4546929 w 9586368"/>
                <a:gd name="connsiteY2840" fmla="*/ 4546948 h 6479439"/>
                <a:gd name="connsiteX2841" fmla="*/ 4556840 w 9586368"/>
                <a:gd name="connsiteY2841" fmla="*/ 4546948 h 6479439"/>
                <a:gd name="connsiteX2842" fmla="*/ 4560859 w 9586368"/>
                <a:gd name="connsiteY2842" fmla="*/ 4550987 h 6479439"/>
                <a:gd name="connsiteX2843" fmla="*/ 4560859 w 9586368"/>
                <a:gd name="connsiteY2843" fmla="*/ 4560858 h 6479439"/>
                <a:gd name="connsiteX2844" fmla="*/ 4556840 w 9586368"/>
                <a:gd name="connsiteY2844" fmla="*/ 4564897 h 6479439"/>
                <a:gd name="connsiteX2845" fmla="*/ 4546929 w 9586368"/>
                <a:gd name="connsiteY2845" fmla="*/ 4564897 h 6479439"/>
                <a:gd name="connsiteX2846" fmla="*/ 4542910 w 9586368"/>
                <a:gd name="connsiteY2846" fmla="*/ 4560858 h 6479439"/>
                <a:gd name="connsiteX2847" fmla="*/ 4542910 w 9586368"/>
                <a:gd name="connsiteY2847" fmla="*/ 4550987 h 6479439"/>
                <a:gd name="connsiteX2848" fmla="*/ 4307612 w 9586368"/>
                <a:gd name="connsiteY2848" fmla="*/ 4546948 h 6479439"/>
                <a:gd name="connsiteX2849" fmla="*/ 4317523 w 9586368"/>
                <a:gd name="connsiteY2849" fmla="*/ 4546948 h 6479439"/>
                <a:gd name="connsiteX2850" fmla="*/ 4321543 w 9586368"/>
                <a:gd name="connsiteY2850" fmla="*/ 4550987 h 6479439"/>
                <a:gd name="connsiteX2851" fmla="*/ 4321543 w 9586368"/>
                <a:gd name="connsiteY2851" fmla="*/ 4560858 h 6479439"/>
                <a:gd name="connsiteX2852" fmla="*/ 4317523 w 9586368"/>
                <a:gd name="connsiteY2852" fmla="*/ 4564897 h 6479439"/>
                <a:gd name="connsiteX2853" fmla="*/ 4307612 w 9586368"/>
                <a:gd name="connsiteY2853" fmla="*/ 4564897 h 6479439"/>
                <a:gd name="connsiteX2854" fmla="*/ 4303595 w 9586368"/>
                <a:gd name="connsiteY2854" fmla="*/ 4560858 h 6479439"/>
                <a:gd name="connsiteX2855" fmla="*/ 4303595 w 9586368"/>
                <a:gd name="connsiteY2855" fmla="*/ 4550987 h 6479439"/>
                <a:gd name="connsiteX2856" fmla="*/ 4068297 w 9586368"/>
                <a:gd name="connsiteY2856" fmla="*/ 4546948 h 6479439"/>
                <a:gd name="connsiteX2857" fmla="*/ 4078210 w 9586368"/>
                <a:gd name="connsiteY2857" fmla="*/ 4546948 h 6479439"/>
                <a:gd name="connsiteX2858" fmla="*/ 4082229 w 9586368"/>
                <a:gd name="connsiteY2858" fmla="*/ 4550987 h 6479439"/>
                <a:gd name="connsiteX2859" fmla="*/ 4082229 w 9586368"/>
                <a:gd name="connsiteY2859" fmla="*/ 4560858 h 6479439"/>
                <a:gd name="connsiteX2860" fmla="*/ 4078210 w 9586368"/>
                <a:gd name="connsiteY2860" fmla="*/ 4564897 h 6479439"/>
                <a:gd name="connsiteX2861" fmla="*/ 4068297 w 9586368"/>
                <a:gd name="connsiteY2861" fmla="*/ 4564897 h 6479439"/>
                <a:gd name="connsiteX2862" fmla="*/ 4064278 w 9586368"/>
                <a:gd name="connsiteY2862" fmla="*/ 4560858 h 6479439"/>
                <a:gd name="connsiteX2863" fmla="*/ 4064278 w 9586368"/>
                <a:gd name="connsiteY2863" fmla="*/ 4550987 h 6479439"/>
                <a:gd name="connsiteX2864" fmla="*/ 3828990 w 9586368"/>
                <a:gd name="connsiteY2864" fmla="*/ 4546948 h 6479439"/>
                <a:gd name="connsiteX2865" fmla="*/ 3838899 w 9586368"/>
                <a:gd name="connsiteY2865" fmla="*/ 4546948 h 6479439"/>
                <a:gd name="connsiteX2866" fmla="*/ 3842917 w 9586368"/>
                <a:gd name="connsiteY2866" fmla="*/ 4550987 h 6479439"/>
                <a:gd name="connsiteX2867" fmla="*/ 3842917 w 9586368"/>
                <a:gd name="connsiteY2867" fmla="*/ 4560858 h 6479439"/>
                <a:gd name="connsiteX2868" fmla="*/ 3838899 w 9586368"/>
                <a:gd name="connsiteY2868" fmla="*/ 4564897 h 6479439"/>
                <a:gd name="connsiteX2869" fmla="*/ 3828990 w 9586368"/>
                <a:gd name="connsiteY2869" fmla="*/ 4564897 h 6479439"/>
                <a:gd name="connsiteX2870" fmla="*/ 3824971 w 9586368"/>
                <a:gd name="connsiteY2870" fmla="*/ 4560858 h 6479439"/>
                <a:gd name="connsiteX2871" fmla="*/ 3824971 w 9586368"/>
                <a:gd name="connsiteY2871" fmla="*/ 4550987 h 6479439"/>
                <a:gd name="connsiteX2872" fmla="*/ 3589676 w 9586368"/>
                <a:gd name="connsiteY2872" fmla="*/ 4546948 h 6479439"/>
                <a:gd name="connsiteX2873" fmla="*/ 3599585 w 9586368"/>
                <a:gd name="connsiteY2873" fmla="*/ 4546948 h 6479439"/>
                <a:gd name="connsiteX2874" fmla="*/ 3603604 w 9586368"/>
                <a:gd name="connsiteY2874" fmla="*/ 4550987 h 6479439"/>
                <a:gd name="connsiteX2875" fmla="*/ 3603604 w 9586368"/>
                <a:gd name="connsiteY2875" fmla="*/ 4560858 h 6479439"/>
                <a:gd name="connsiteX2876" fmla="*/ 3599585 w 9586368"/>
                <a:gd name="connsiteY2876" fmla="*/ 4564897 h 6479439"/>
                <a:gd name="connsiteX2877" fmla="*/ 3589676 w 9586368"/>
                <a:gd name="connsiteY2877" fmla="*/ 4564897 h 6479439"/>
                <a:gd name="connsiteX2878" fmla="*/ 3585657 w 9586368"/>
                <a:gd name="connsiteY2878" fmla="*/ 4560858 h 6479439"/>
                <a:gd name="connsiteX2879" fmla="*/ 3585657 w 9586368"/>
                <a:gd name="connsiteY2879" fmla="*/ 4550987 h 6479439"/>
                <a:gd name="connsiteX2880" fmla="*/ 3350359 w 9586368"/>
                <a:gd name="connsiteY2880" fmla="*/ 4546948 h 6479439"/>
                <a:gd name="connsiteX2881" fmla="*/ 3360268 w 9586368"/>
                <a:gd name="connsiteY2881" fmla="*/ 4546948 h 6479439"/>
                <a:gd name="connsiteX2882" fmla="*/ 3364287 w 9586368"/>
                <a:gd name="connsiteY2882" fmla="*/ 4550987 h 6479439"/>
                <a:gd name="connsiteX2883" fmla="*/ 3364287 w 9586368"/>
                <a:gd name="connsiteY2883" fmla="*/ 4560858 h 6479439"/>
                <a:gd name="connsiteX2884" fmla="*/ 3360268 w 9586368"/>
                <a:gd name="connsiteY2884" fmla="*/ 4564897 h 6479439"/>
                <a:gd name="connsiteX2885" fmla="*/ 3350359 w 9586368"/>
                <a:gd name="connsiteY2885" fmla="*/ 4564897 h 6479439"/>
                <a:gd name="connsiteX2886" fmla="*/ 3346340 w 9586368"/>
                <a:gd name="connsiteY2886" fmla="*/ 4560858 h 6479439"/>
                <a:gd name="connsiteX2887" fmla="*/ 3346340 w 9586368"/>
                <a:gd name="connsiteY2887" fmla="*/ 4550987 h 6479439"/>
                <a:gd name="connsiteX2888" fmla="*/ 3111048 w 9586368"/>
                <a:gd name="connsiteY2888" fmla="*/ 4546948 h 6479439"/>
                <a:gd name="connsiteX2889" fmla="*/ 3120959 w 9586368"/>
                <a:gd name="connsiteY2889" fmla="*/ 4546948 h 6479439"/>
                <a:gd name="connsiteX2890" fmla="*/ 3124977 w 9586368"/>
                <a:gd name="connsiteY2890" fmla="*/ 4550987 h 6479439"/>
                <a:gd name="connsiteX2891" fmla="*/ 3124977 w 9586368"/>
                <a:gd name="connsiteY2891" fmla="*/ 4560858 h 6479439"/>
                <a:gd name="connsiteX2892" fmla="*/ 3120959 w 9586368"/>
                <a:gd name="connsiteY2892" fmla="*/ 4564897 h 6479439"/>
                <a:gd name="connsiteX2893" fmla="*/ 3111048 w 9586368"/>
                <a:gd name="connsiteY2893" fmla="*/ 4564897 h 6479439"/>
                <a:gd name="connsiteX2894" fmla="*/ 3107029 w 9586368"/>
                <a:gd name="connsiteY2894" fmla="*/ 4560858 h 6479439"/>
                <a:gd name="connsiteX2895" fmla="*/ 3107029 w 9586368"/>
                <a:gd name="connsiteY2895" fmla="*/ 4550987 h 6479439"/>
                <a:gd name="connsiteX2896" fmla="*/ 2871737 w 9586368"/>
                <a:gd name="connsiteY2896" fmla="*/ 4546948 h 6479439"/>
                <a:gd name="connsiteX2897" fmla="*/ 2881646 w 9586368"/>
                <a:gd name="connsiteY2897" fmla="*/ 4546948 h 6479439"/>
                <a:gd name="connsiteX2898" fmla="*/ 2885666 w 9586368"/>
                <a:gd name="connsiteY2898" fmla="*/ 4550987 h 6479439"/>
                <a:gd name="connsiteX2899" fmla="*/ 2885666 w 9586368"/>
                <a:gd name="connsiteY2899" fmla="*/ 4560858 h 6479439"/>
                <a:gd name="connsiteX2900" fmla="*/ 2881646 w 9586368"/>
                <a:gd name="connsiteY2900" fmla="*/ 4564897 h 6479439"/>
                <a:gd name="connsiteX2901" fmla="*/ 2871737 w 9586368"/>
                <a:gd name="connsiteY2901" fmla="*/ 4564897 h 6479439"/>
                <a:gd name="connsiteX2902" fmla="*/ 2867717 w 9586368"/>
                <a:gd name="connsiteY2902" fmla="*/ 4560858 h 6479439"/>
                <a:gd name="connsiteX2903" fmla="*/ 2867717 w 9586368"/>
                <a:gd name="connsiteY2903" fmla="*/ 4550987 h 6479439"/>
                <a:gd name="connsiteX2904" fmla="*/ 2632423 w 9586368"/>
                <a:gd name="connsiteY2904" fmla="*/ 4546948 h 6479439"/>
                <a:gd name="connsiteX2905" fmla="*/ 2642334 w 9586368"/>
                <a:gd name="connsiteY2905" fmla="*/ 4546948 h 6479439"/>
                <a:gd name="connsiteX2906" fmla="*/ 2646352 w 9586368"/>
                <a:gd name="connsiteY2906" fmla="*/ 4550987 h 6479439"/>
                <a:gd name="connsiteX2907" fmla="*/ 2646352 w 9586368"/>
                <a:gd name="connsiteY2907" fmla="*/ 4560858 h 6479439"/>
                <a:gd name="connsiteX2908" fmla="*/ 2642334 w 9586368"/>
                <a:gd name="connsiteY2908" fmla="*/ 4564897 h 6479439"/>
                <a:gd name="connsiteX2909" fmla="*/ 2632423 w 9586368"/>
                <a:gd name="connsiteY2909" fmla="*/ 4564897 h 6479439"/>
                <a:gd name="connsiteX2910" fmla="*/ 2628404 w 9586368"/>
                <a:gd name="connsiteY2910" fmla="*/ 4560858 h 6479439"/>
                <a:gd name="connsiteX2911" fmla="*/ 2628404 w 9586368"/>
                <a:gd name="connsiteY2911" fmla="*/ 4550987 h 6479439"/>
                <a:gd name="connsiteX2912" fmla="*/ 2393104 w 9586368"/>
                <a:gd name="connsiteY2912" fmla="*/ 4546948 h 6479439"/>
                <a:gd name="connsiteX2913" fmla="*/ 2403015 w 9586368"/>
                <a:gd name="connsiteY2913" fmla="*/ 4546948 h 6479439"/>
                <a:gd name="connsiteX2914" fmla="*/ 2407034 w 9586368"/>
                <a:gd name="connsiteY2914" fmla="*/ 4550987 h 6479439"/>
                <a:gd name="connsiteX2915" fmla="*/ 2407034 w 9586368"/>
                <a:gd name="connsiteY2915" fmla="*/ 4560858 h 6479439"/>
                <a:gd name="connsiteX2916" fmla="*/ 2403015 w 9586368"/>
                <a:gd name="connsiteY2916" fmla="*/ 4564897 h 6479439"/>
                <a:gd name="connsiteX2917" fmla="*/ 2393104 w 9586368"/>
                <a:gd name="connsiteY2917" fmla="*/ 4564897 h 6479439"/>
                <a:gd name="connsiteX2918" fmla="*/ 2389087 w 9586368"/>
                <a:gd name="connsiteY2918" fmla="*/ 4560858 h 6479439"/>
                <a:gd name="connsiteX2919" fmla="*/ 2389087 w 9586368"/>
                <a:gd name="connsiteY2919" fmla="*/ 4550987 h 6479439"/>
                <a:gd name="connsiteX2920" fmla="*/ 721964 w 9586368"/>
                <a:gd name="connsiteY2920" fmla="*/ 4546948 h 6479439"/>
                <a:gd name="connsiteX2921" fmla="*/ 731874 w 9586368"/>
                <a:gd name="connsiteY2921" fmla="*/ 4546948 h 6479439"/>
                <a:gd name="connsiteX2922" fmla="*/ 735893 w 9586368"/>
                <a:gd name="connsiteY2922" fmla="*/ 4550987 h 6479439"/>
                <a:gd name="connsiteX2923" fmla="*/ 735893 w 9586368"/>
                <a:gd name="connsiteY2923" fmla="*/ 4560858 h 6479439"/>
                <a:gd name="connsiteX2924" fmla="*/ 731874 w 9586368"/>
                <a:gd name="connsiteY2924" fmla="*/ 4564897 h 6479439"/>
                <a:gd name="connsiteX2925" fmla="*/ 721964 w 9586368"/>
                <a:gd name="connsiteY2925" fmla="*/ 4564897 h 6479439"/>
                <a:gd name="connsiteX2926" fmla="*/ 717945 w 9586368"/>
                <a:gd name="connsiteY2926" fmla="*/ 4560858 h 6479439"/>
                <a:gd name="connsiteX2927" fmla="*/ 717945 w 9586368"/>
                <a:gd name="connsiteY2927" fmla="*/ 4550987 h 6479439"/>
                <a:gd name="connsiteX2928" fmla="*/ 482651 w 9586368"/>
                <a:gd name="connsiteY2928" fmla="*/ 4546948 h 6479439"/>
                <a:gd name="connsiteX2929" fmla="*/ 492562 w 9586368"/>
                <a:gd name="connsiteY2929" fmla="*/ 4546948 h 6479439"/>
                <a:gd name="connsiteX2930" fmla="*/ 496581 w 9586368"/>
                <a:gd name="connsiteY2930" fmla="*/ 4550987 h 6479439"/>
                <a:gd name="connsiteX2931" fmla="*/ 496581 w 9586368"/>
                <a:gd name="connsiteY2931" fmla="*/ 4560858 h 6479439"/>
                <a:gd name="connsiteX2932" fmla="*/ 492562 w 9586368"/>
                <a:gd name="connsiteY2932" fmla="*/ 4564897 h 6479439"/>
                <a:gd name="connsiteX2933" fmla="*/ 482651 w 9586368"/>
                <a:gd name="connsiteY2933" fmla="*/ 4564897 h 6479439"/>
                <a:gd name="connsiteX2934" fmla="*/ 478632 w 9586368"/>
                <a:gd name="connsiteY2934" fmla="*/ 4560858 h 6479439"/>
                <a:gd name="connsiteX2935" fmla="*/ 478632 w 9586368"/>
                <a:gd name="connsiteY2935" fmla="*/ 4550987 h 6479439"/>
                <a:gd name="connsiteX2936" fmla="*/ 243338 w 9586368"/>
                <a:gd name="connsiteY2936" fmla="*/ 4546948 h 6479439"/>
                <a:gd name="connsiteX2937" fmla="*/ 253248 w 9586368"/>
                <a:gd name="connsiteY2937" fmla="*/ 4546948 h 6479439"/>
                <a:gd name="connsiteX2938" fmla="*/ 257267 w 9586368"/>
                <a:gd name="connsiteY2938" fmla="*/ 4550987 h 6479439"/>
                <a:gd name="connsiteX2939" fmla="*/ 257267 w 9586368"/>
                <a:gd name="connsiteY2939" fmla="*/ 4560858 h 6479439"/>
                <a:gd name="connsiteX2940" fmla="*/ 253248 w 9586368"/>
                <a:gd name="connsiteY2940" fmla="*/ 4564897 h 6479439"/>
                <a:gd name="connsiteX2941" fmla="*/ 243338 w 9586368"/>
                <a:gd name="connsiteY2941" fmla="*/ 4564897 h 6479439"/>
                <a:gd name="connsiteX2942" fmla="*/ 239319 w 9586368"/>
                <a:gd name="connsiteY2942" fmla="*/ 4560858 h 6479439"/>
                <a:gd name="connsiteX2943" fmla="*/ 239319 w 9586368"/>
                <a:gd name="connsiteY2943" fmla="*/ 4550987 h 6479439"/>
                <a:gd name="connsiteX2944" fmla="*/ 4025 w 9586368"/>
                <a:gd name="connsiteY2944" fmla="*/ 4546948 h 6479439"/>
                <a:gd name="connsiteX2945" fmla="*/ 13935 w 9586368"/>
                <a:gd name="connsiteY2945" fmla="*/ 4546948 h 6479439"/>
                <a:gd name="connsiteX2946" fmla="*/ 17954 w 9586368"/>
                <a:gd name="connsiteY2946" fmla="*/ 4550987 h 6479439"/>
                <a:gd name="connsiteX2947" fmla="*/ 17954 w 9586368"/>
                <a:gd name="connsiteY2947" fmla="*/ 4560858 h 6479439"/>
                <a:gd name="connsiteX2948" fmla="*/ 13935 w 9586368"/>
                <a:gd name="connsiteY2948" fmla="*/ 4564897 h 6479439"/>
                <a:gd name="connsiteX2949" fmla="*/ 4025 w 9586368"/>
                <a:gd name="connsiteY2949" fmla="*/ 4564897 h 6479439"/>
                <a:gd name="connsiteX2950" fmla="*/ 6 w 9586368"/>
                <a:gd name="connsiteY2950" fmla="*/ 4560858 h 6479439"/>
                <a:gd name="connsiteX2951" fmla="*/ 6 w 9586368"/>
                <a:gd name="connsiteY2951" fmla="*/ 4550987 h 6479439"/>
                <a:gd name="connsiteX2952" fmla="*/ 2157819 w 9586368"/>
                <a:gd name="connsiteY2952" fmla="*/ 4307669 h 6479439"/>
                <a:gd name="connsiteX2953" fmla="*/ 2167729 w 9586368"/>
                <a:gd name="connsiteY2953" fmla="*/ 4307669 h 6479439"/>
                <a:gd name="connsiteX2954" fmla="*/ 2171749 w 9586368"/>
                <a:gd name="connsiteY2954" fmla="*/ 4311708 h 6479439"/>
                <a:gd name="connsiteX2955" fmla="*/ 2171749 w 9586368"/>
                <a:gd name="connsiteY2955" fmla="*/ 4321579 h 6479439"/>
                <a:gd name="connsiteX2956" fmla="*/ 2167729 w 9586368"/>
                <a:gd name="connsiteY2956" fmla="*/ 4325618 h 6479439"/>
                <a:gd name="connsiteX2957" fmla="*/ 2157819 w 9586368"/>
                <a:gd name="connsiteY2957" fmla="*/ 4325618 h 6479439"/>
                <a:gd name="connsiteX2958" fmla="*/ 2153801 w 9586368"/>
                <a:gd name="connsiteY2958" fmla="*/ 4321579 h 6479439"/>
                <a:gd name="connsiteX2959" fmla="*/ 2153801 w 9586368"/>
                <a:gd name="connsiteY2959" fmla="*/ 4311708 h 6479439"/>
                <a:gd name="connsiteX2960" fmla="*/ 1918511 w 9586368"/>
                <a:gd name="connsiteY2960" fmla="*/ 4307669 h 6479439"/>
                <a:gd name="connsiteX2961" fmla="*/ 1928421 w 9586368"/>
                <a:gd name="connsiteY2961" fmla="*/ 4307669 h 6479439"/>
                <a:gd name="connsiteX2962" fmla="*/ 1932440 w 9586368"/>
                <a:gd name="connsiteY2962" fmla="*/ 4311708 h 6479439"/>
                <a:gd name="connsiteX2963" fmla="*/ 1932440 w 9586368"/>
                <a:gd name="connsiteY2963" fmla="*/ 4321579 h 6479439"/>
                <a:gd name="connsiteX2964" fmla="*/ 1928421 w 9586368"/>
                <a:gd name="connsiteY2964" fmla="*/ 4325618 h 6479439"/>
                <a:gd name="connsiteX2965" fmla="*/ 1918511 w 9586368"/>
                <a:gd name="connsiteY2965" fmla="*/ 4325618 h 6479439"/>
                <a:gd name="connsiteX2966" fmla="*/ 1914492 w 9586368"/>
                <a:gd name="connsiteY2966" fmla="*/ 4321579 h 6479439"/>
                <a:gd name="connsiteX2967" fmla="*/ 1914492 w 9586368"/>
                <a:gd name="connsiteY2967" fmla="*/ 4311708 h 6479439"/>
                <a:gd name="connsiteX2968" fmla="*/ 1679206 w 9586368"/>
                <a:gd name="connsiteY2968" fmla="*/ 4307669 h 6479439"/>
                <a:gd name="connsiteX2969" fmla="*/ 1689117 w 9586368"/>
                <a:gd name="connsiteY2969" fmla="*/ 4307669 h 6479439"/>
                <a:gd name="connsiteX2970" fmla="*/ 1693136 w 9586368"/>
                <a:gd name="connsiteY2970" fmla="*/ 4311708 h 6479439"/>
                <a:gd name="connsiteX2971" fmla="*/ 1693136 w 9586368"/>
                <a:gd name="connsiteY2971" fmla="*/ 4321579 h 6479439"/>
                <a:gd name="connsiteX2972" fmla="*/ 1689117 w 9586368"/>
                <a:gd name="connsiteY2972" fmla="*/ 4325618 h 6479439"/>
                <a:gd name="connsiteX2973" fmla="*/ 1679206 w 9586368"/>
                <a:gd name="connsiteY2973" fmla="*/ 4325618 h 6479439"/>
                <a:gd name="connsiteX2974" fmla="*/ 1675188 w 9586368"/>
                <a:gd name="connsiteY2974" fmla="*/ 4321579 h 6479439"/>
                <a:gd name="connsiteX2975" fmla="*/ 1675188 w 9586368"/>
                <a:gd name="connsiteY2975" fmla="*/ 4311708 h 6479439"/>
                <a:gd name="connsiteX2976" fmla="*/ 1439891 w 9586368"/>
                <a:gd name="connsiteY2976" fmla="*/ 4307669 h 6479439"/>
                <a:gd name="connsiteX2977" fmla="*/ 1449801 w 9586368"/>
                <a:gd name="connsiteY2977" fmla="*/ 4307669 h 6479439"/>
                <a:gd name="connsiteX2978" fmla="*/ 1453819 w 9586368"/>
                <a:gd name="connsiteY2978" fmla="*/ 4311708 h 6479439"/>
                <a:gd name="connsiteX2979" fmla="*/ 1453819 w 9586368"/>
                <a:gd name="connsiteY2979" fmla="*/ 4321579 h 6479439"/>
                <a:gd name="connsiteX2980" fmla="*/ 1449801 w 9586368"/>
                <a:gd name="connsiteY2980" fmla="*/ 4325618 h 6479439"/>
                <a:gd name="connsiteX2981" fmla="*/ 1439891 w 9586368"/>
                <a:gd name="connsiteY2981" fmla="*/ 4325618 h 6479439"/>
                <a:gd name="connsiteX2982" fmla="*/ 1435871 w 9586368"/>
                <a:gd name="connsiteY2982" fmla="*/ 4321579 h 6479439"/>
                <a:gd name="connsiteX2983" fmla="*/ 1435871 w 9586368"/>
                <a:gd name="connsiteY2983" fmla="*/ 4311708 h 6479439"/>
                <a:gd name="connsiteX2984" fmla="*/ 1200575 w 9586368"/>
                <a:gd name="connsiteY2984" fmla="*/ 4307669 h 6479439"/>
                <a:gd name="connsiteX2985" fmla="*/ 1210486 w 9586368"/>
                <a:gd name="connsiteY2985" fmla="*/ 4307669 h 6479439"/>
                <a:gd name="connsiteX2986" fmla="*/ 1214505 w 9586368"/>
                <a:gd name="connsiteY2986" fmla="*/ 4311708 h 6479439"/>
                <a:gd name="connsiteX2987" fmla="*/ 1214505 w 9586368"/>
                <a:gd name="connsiteY2987" fmla="*/ 4321579 h 6479439"/>
                <a:gd name="connsiteX2988" fmla="*/ 1210486 w 9586368"/>
                <a:gd name="connsiteY2988" fmla="*/ 4325618 h 6479439"/>
                <a:gd name="connsiteX2989" fmla="*/ 1200575 w 9586368"/>
                <a:gd name="connsiteY2989" fmla="*/ 4325618 h 6479439"/>
                <a:gd name="connsiteX2990" fmla="*/ 1196556 w 9586368"/>
                <a:gd name="connsiteY2990" fmla="*/ 4321579 h 6479439"/>
                <a:gd name="connsiteX2991" fmla="*/ 1196556 w 9586368"/>
                <a:gd name="connsiteY2991" fmla="*/ 4311708 h 6479439"/>
                <a:gd name="connsiteX2992" fmla="*/ 961263 w 9586368"/>
                <a:gd name="connsiteY2992" fmla="*/ 4307669 h 6479439"/>
                <a:gd name="connsiteX2993" fmla="*/ 971173 w 9586368"/>
                <a:gd name="connsiteY2993" fmla="*/ 4307669 h 6479439"/>
                <a:gd name="connsiteX2994" fmla="*/ 975191 w 9586368"/>
                <a:gd name="connsiteY2994" fmla="*/ 4311708 h 6479439"/>
                <a:gd name="connsiteX2995" fmla="*/ 975191 w 9586368"/>
                <a:gd name="connsiteY2995" fmla="*/ 4321579 h 6479439"/>
                <a:gd name="connsiteX2996" fmla="*/ 971173 w 9586368"/>
                <a:gd name="connsiteY2996" fmla="*/ 4325618 h 6479439"/>
                <a:gd name="connsiteX2997" fmla="*/ 961263 w 9586368"/>
                <a:gd name="connsiteY2997" fmla="*/ 4325618 h 6479439"/>
                <a:gd name="connsiteX2998" fmla="*/ 957244 w 9586368"/>
                <a:gd name="connsiteY2998" fmla="*/ 4321579 h 6479439"/>
                <a:gd name="connsiteX2999" fmla="*/ 957244 w 9586368"/>
                <a:gd name="connsiteY2999" fmla="*/ 4311708 h 6479439"/>
                <a:gd name="connsiteX3000" fmla="*/ 9572438 w 9586368"/>
                <a:gd name="connsiteY3000" fmla="*/ 4307617 h 6479439"/>
                <a:gd name="connsiteX3001" fmla="*/ 9582349 w 9586368"/>
                <a:gd name="connsiteY3001" fmla="*/ 4307617 h 6479439"/>
                <a:gd name="connsiteX3002" fmla="*/ 9586368 w 9586368"/>
                <a:gd name="connsiteY3002" fmla="*/ 4311656 h 6479439"/>
                <a:gd name="connsiteX3003" fmla="*/ 9586368 w 9586368"/>
                <a:gd name="connsiteY3003" fmla="*/ 4321527 h 6479439"/>
                <a:gd name="connsiteX3004" fmla="*/ 9582349 w 9586368"/>
                <a:gd name="connsiteY3004" fmla="*/ 4325566 h 6479439"/>
                <a:gd name="connsiteX3005" fmla="*/ 9572438 w 9586368"/>
                <a:gd name="connsiteY3005" fmla="*/ 4325566 h 6479439"/>
                <a:gd name="connsiteX3006" fmla="*/ 9568419 w 9586368"/>
                <a:gd name="connsiteY3006" fmla="*/ 4321527 h 6479439"/>
                <a:gd name="connsiteX3007" fmla="*/ 9568419 w 9586368"/>
                <a:gd name="connsiteY3007" fmla="*/ 4311656 h 6479439"/>
                <a:gd name="connsiteX3008" fmla="*/ 9333125 w 9586368"/>
                <a:gd name="connsiteY3008" fmla="*/ 4307617 h 6479439"/>
                <a:gd name="connsiteX3009" fmla="*/ 9343036 w 9586368"/>
                <a:gd name="connsiteY3009" fmla="*/ 4307617 h 6479439"/>
                <a:gd name="connsiteX3010" fmla="*/ 9347055 w 9586368"/>
                <a:gd name="connsiteY3010" fmla="*/ 4311656 h 6479439"/>
                <a:gd name="connsiteX3011" fmla="*/ 9347055 w 9586368"/>
                <a:gd name="connsiteY3011" fmla="*/ 4321527 h 6479439"/>
                <a:gd name="connsiteX3012" fmla="*/ 9343036 w 9586368"/>
                <a:gd name="connsiteY3012" fmla="*/ 4325566 h 6479439"/>
                <a:gd name="connsiteX3013" fmla="*/ 9333125 w 9586368"/>
                <a:gd name="connsiteY3013" fmla="*/ 4325566 h 6479439"/>
                <a:gd name="connsiteX3014" fmla="*/ 9329106 w 9586368"/>
                <a:gd name="connsiteY3014" fmla="*/ 4321527 h 6479439"/>
                <a:gd name="connsiteX3015" fmla="*/ 9329106 w 9586368"/>
                <a:gd name="connsiteY3015" fmla="*/ 4311656 h 6479439"/>
                <a:gd name="connsiteX3016" fmla="*/ 9093811 w 9586368"/>
                <a:gd name="connsiteY3016" fmla="*/ 4307617 h 6479439"/>
                <a:gd name="connsiteX3017" fmla="*/ 9103722 w 9586368"/>
                <a:gd name="connsiteY3017" fmla="*/ 4307617 h 6479439"/>
                <a:gd name="connsiteX3018" fmla="*/ 9107741 w 9586368"/>
                <a:gd name="connsiteY3018" fmla="*/ 4311656 h 6479439"/>
                <a:gd name="connsiteX3019" fmla="*/ 9107741 w 9586368"/>
                <a:gd name="connsiteY3019" fmla="*/ 4321527 h 6479439"/>
                <a:gd name="connsiteX3020" fmla="*/ 9103722 w 9586368"/>
                <a:gd name="connsiteY3020" fmla="*/ 4325566 h 6479439"/>
                <a:gd name="connsiteX3021" fmla="*/ 9093811 w 9586368"/>
                <a:gd name="connsiteY3021" fmla="*/ 4325566 h 6479439"/>
                <a:gd name="connsiteX3022" fmla="*/ 9089792 w 9586368"/>
                <a:gd name="connsiteY3022" fmla="*/ 4321527 h 6479439"/>
                <a:gd name="connsiteX3023" fmla="*/ 9089792 w 9586368"/>
                <a:gd name="connsiteY3023" fmla="*/ 4311656 h 6479439"/>
                <a:gd name="connsiteX3024" fmla="*/ 8854496 w 9586368"/>
                <a:gd name="connsiteY3024" fmla="*/ 4307617 h 6479439"/>
                <a:gd name="connsiteX3025" fmla="*/ 8864407 w 9586368"/>
                <a:gd name="connsiteY3025" fmla="*/ 4307617 h 6479439"/>
                <a:gd name="connsiteX3026" fmla="*/ 8868426 w 9586368"/>
                <a:gd name="connsiteY3026" fmla="*/ 4311656 h 6479439"/>
                <a:gd name="connsiteX3027" fmla="*/ 8868426 w 9586368"/>
                <a:gd name="connsiteY3027" fmla="*/ 4321527 h 6479439"/>
                <a:gd name="connsiteX3028" fmla="*/ 8864407 w 9586368"/>
                <a:gd name="connsiteY3028" fmla="*/ 4325566 h 6479439"/>
                <a:gd name="connsiteX3029" fmla="*/ 8854496 w 9586368"/>
                <a:gd name="connsiteY3029" fmla="*/ 4325566 h 6479439"/>
                <a:gd name="connsiteX3030" fmla="*/ 8850477 w 9586368"/>
                <a:gd name="connsiteY3030" fmla="*/ 4321527 h 6479439"/>
                <a:gd name="connsiteX3031" fmla="*/ 8850477 w 9586368"/>
                <a:gd name="connsiteY3031" fmla="*/ 4311656 h 6479439"/>
                <a:gd name="connsiteX3032" fmla="*/ 8615184 w 9586368"/>
                <a:gd name="connsiteY3032" fmla="*/ 4307617 h 6479439"/>
                <a:gd name="connsiteX3033" fmla="*/ 8625095 w 9586368"/>
                <a:gd name="connsiteY3033" fmla="*/ 4307617 h 6479439"/>
                <a:gd name="connsiteX3034" fmla="*/ 8629114 w 9586368"/>
                <a:gd name="connsiteY3034" fmla="*/ 4311656 h 6479439"/>
                <a:gd name="connsiteX3035" fmla="*/ 8629114 w 9586368"/>
                <a:gd name="connsiteY3035" fmla="*/ 4321527 h 6479439"/>
                <a:gd name="connsiteX3036" fmla="*/ 8625095 w 9586368"/>
                <a:gd name="connsiteY3036" fmla="*/ 4325566 h 6479439"/>
                <a:gd name="connsiteX3037" fmla="*/ 8615184 w 9586368"/>
                <a:gd name="connsiteY3037" fmla="*/ 4325566 h 6479439"/>
                <a:gd name="connsiteX3038" fmla="*/ 8611165 w 9586368"/>
                <a:gd name="connsiteY3038" fmla="*/ 4321527 h 6479439"/>
                <a:gd name="connsiteX3039" fmla="*/ 8611165 w 9586368"/>
                <a:gd name="connsiteY3039" fmla="*/ 4311656 h 6479439"/>
                <a:gd name="connsiteX3040" fmla="*/ 8375869 w 9586368"/>
                <a:gd name="connsiteY3040" fmla="*/ 4307617 h 6479439"/>
                <a:gd name="connsiteX3041" fmla="*/ 8385779 w 9586368"/>
                <a:gd name="connsiteY3041" fmla="*/ 4307617 h 6479439"/>
                <a:gd name="connsiteX3042" fmla="*/ 8389799 w 9586368"/>
                <a:gd name="connsiteY3042" fmla="*/ 4311656 h 6479439"/>
                <a:gd name="connsiteX3043" fmla="*/ 8389799 w 9586368"/>
                <a:gd name="connsiteY3043" fmla="*/ 4321527 h 6479439"/>
                <a:gd name="connsiteX3044" fmla="*/ 8385779 w 9586368"/>
                <a:gd name="connsiteY3044" fmla="*/ 4325566 h 6479439"/>
                <a:gd name="connsiteX3045" fmla="*/ 8375869 w 9586368"/>
                <a:gd name="connsiteY3045" fmla="*/ 4325566 h 6479439"/>
                <a:gd name="connsiteX3046" fmla="*/ 8371850 w 9586368"/>
                <a:gd name="connsiteY3046" fmla="*/ 4321527 h 6479439"/>
                <a:gd name="connsiteX3047" fmla="*/ 8371850 w 9586368"/>
                <a:gd name="connsiteY3047" fmla="*/ 4311656 h 6479439"/>
                <a:gd name="connsiteX3048" fmla="*/ 8136553 w 9586368"/>
                <a:gd name="connsiteY3048" fmla="*/ 4307617 h 6479439"/>
                <a:gd name="connsiteX3049" fmla="*/ 8146464 w 9586368"/>
                <a:gd name="connsiteY3049" fmla="*/ 4307617 h 6479439"/>
                <a:gd name="connsiteX3050" fmla="*/ 8150483 w 9586368"/>
                <a:gd name="connsiteY3050" fmla="*/ 4311656 h 6479439"/>
                <a:gd name="connsiteX3051" fmla="*/ 8150483 w 9586368"/>
                <a:gd name="connsiteY3051" fmla="*/ 4321527 h 6479439"/>
                <a:gd name="connsiteX3052" fmla="*/ 8146464 w 9586368"/>
                <a:gd name="connsiteY3052" fmla="*/ 4325566 h 6479439"/>
                <a:gd name="connsiteX3053" fmla="*/ 8136553 w 9586368"/>
                <a:gd name="connsiteY3053" fmla="*/ 4325566 h 6479439"/>
                <a:gd name="connsiteX3054" fmla="*/ 8132534 w 9586368"/>
                <a:gd name="connsiteY3054" fmla="*/ 4321527 h 6479439"/>
                <a:gd name="connsiteX3055" fmla="*/ 8132534 w 9586368"/>
                <a:gd name="connsiteY3055" fmla="*/ 4311656 h 6479439"/>
                <a:gd name="connsiteX3056" fmla="*/ 7897241 w 9586368"/>
                <a:gd name="connsiteY3056" fmla="*/ 4307617 h 6479439"/>
                <a:gd name="connsiteX3057" fmla="*/ 7907151 w 9586368"/>
                <a:gd name="connsiteY3057" fmla="*/ 4307617 h 6479439"/>
                <a:gd name="connsiteX3058" fmla="*/ 7911170 w 9586368"/>
                <a:gd name="connsiteY3058" fmla="*/ 4311656 h 6479439"/>
                <a:gd name="connsiteX3059" fmla="*/ 7911170 w 9586368"/>
                <a:gd name="connsiteY3059" fmla="*/ 4321527 h 6479439"/>
                <a:gd name="connsiteX3060" fmla="*/ 7907151 w 9586368"/>
                <a:gd name="connsiteY3060" fmla="*/ 4325566 h 6479439"/>
                <a:gd name="connsiteX3061" fmla="*/ 7897241 w 9586368"/>
                <a:gd name="connsiteY3061" fmla="*/ 4325566 h 6479439"/>
                <a:gd name="connsiteX3062" fmla="*/ 7893222 w 9586368"/>
                <a:gd name="connsiteY3062" fmla="*/ 4321527 h 6479439"/>
                <a:gd name="connsiteX3063" fmla="*/ 7893222 w 9586368"/>
                <a:gd name="connsiteY3063" fmla="*/ 4311656 h 6479439"/>
                <a:gd name="connsiteX3064" fmla="*/ 7657926 w 9586368"/>
                <a:gd name="connsiteY3064" fmla="*/ 4307617 h 6479439"/>
                <a:gd name="connsiteX3065" fmla="*/ 7667836 w 9586368"/>
                <a:gd name="connsiteY3065" fmla="*/ 4307617 h 6479439"/>
                <a:gd name="connsiteX3066" fmla="*/ 7671855 w 9586368"/>
                <a:gd name="connsiteY3066" fmla="*/ 4311656 h 6479439"/>
                <a:gd name="connsiteX3067" fmla="*/ 7671855 w 9586368"/>
                <a:gd name="connsiteY3067" fmla="*/ 4321527 h 6479439"/>
                <a:gd name="connsiteX3068" fmla="*/ 7667836 w 9586368"/>
                <a:gd name="connsiteY3068" fmla="*/ 4325566 h 6479439"/>
                <a:gd name="connsiteX3069" fmla="*/ 7657926 w 9586368"/>
                <a:gd name="connsiteY3069" fmla="*/ 4325566 h 6479439"/>
                <a:gd name="connsiteX3070" fmla="*/ 7653906 w 9586368"/>
                <a:gd name="connsiteY3070" fmla="*/ 4321527 h 6479439"/>
                <a:gd name="connsiteX3071" fmla="*/ 7653906 w 9586368"/>
                <a:gd name="connsiteY3071" fmla="*/ 4311656 h 6479439"/>
                <a:gd name="connsiteX3072" fmla="*/ 7418611 w 9586368"/>
                <a:gd name="connsiteY3072" fmla="*/ 4307617 h 6479439"/>
                <a:gd name="connsiteX3073" fmla="*/ 7428521 w 9586368"/>
                <a:gd name="connsiteY3073" fmla="*/ 4307617 h 6479439"/>
                <a:gd name="connsiteX3074" fmla="*/ 7432540 w 9586368"/>
                <a:gd name="connsiteY3074" fmla="*/ 4311656 h 6479439"/>
                <a:gd name="connsiteX3075" fmla="*/ 7432540 w 9586368"/>
                <a:gd name="connsiteY3075" fmla="*/ 4321527 h 6479439"/>
                <a:gd name="connsiteX3076" fmla="*/ 7428521 w 9586368"/>
                <a:gd name="connsiteY3076" fmla="*/ 4325566 h 6479439"/>
                <a:gd name="connsiteX3077" fmla="*/ 7418611 w 9586368"/>
                <a:gd name="connsiteY3077" fmla="*/ 4325566 h 6479439"/>
                <a:gd name="connsiteX3078" fmla="*/ 7414592 w 9586368"/>
                <a:gd name="connsiteY3078" fmla="*/ 4321527 h 6479439"/>
                <a:gd name="connsiteX3079" fmla="*/ 7414592 w 9586368"/>
                <a:gd name="connsiteY3079" fmla="*/ 4311656 h 6479439"/>
                <a:gd name="connsiteX3080" fmla="*/ 7179298 w 9586368"/>
                <a:gd name="connsiteY3080" fmla="*/ 4307617 h 6479439"/>
                <a:gd name="connsiteX3081" fmla="*/ 7189209 w 9586368"/>
                <a:gd name="connsiteY3081" fmla="*/ 4307617 h 6479439"/>
                <a:gd name="connsiteX3082" fmla="*/ 7193228 w 9586368"/>
                <a:gd name="connsiteY3082" fmla="*/ 4311656 h 6479439"/>
                <a:gd name="connsiteX3083" fmla="*/ 7193228 w 9586368"/>
                <a:gd name="connsiteY3083" fmla="*/ 4321527 h 6479439"/>
                <a:gd name="connsiteX3084" fmla="*/ 7189209 w 9586368"/>
                <a:gd name="connsiteY3084" fmla="*/ 4325566 h 6479439"/>
                <a:gd name="connsiteX3085" fmla="*/ 7179298 w 9586368"/>
                <a:gd name="connsiteY3085" fmla="*/ 4325566 h 6479439"/>
                <a:gd name="connsiteX3086" fmla="*/ 7175279 w 9586368"/>
                <a:gd name="connsiteY3086" fmla="*/ 4321527 h 6479439"/>
                <a:gd name="connsiteX3087" fmla="*/ 7175279 w 9586368"/>
                <a:gd name="connsiteY3087" fmla="*/ 4311656 h 6479439"/>
                <a:gd name="connsiteX3088" fmla="*/ 6939983 w 9586368"/>
                <a:gd name="connsiteY3088" fmla="*/ 4307617 h 6479439"/>
                <a:gd name="connsiteX3089" fmla="*/ 6949894 w 9586368"/>
                <a:gd name="connsiteY3089" fmla="*/ 4307617 h 6479439"/>
                <a:gd name="connsiteX3090" fmla="*/ 6953913 w 9586368"/>
                <a:gd name="connsiteY3090" fmla="*/ 4311656 h 6479439"/>
                <a:gd name="connsiteX3091" fmla="*/ 6953913 w 9586368"/>
                <a:gd name="connsiteY3091" fmla="*/ 4321527 h 6479439"/>
                <a:gd name="connsiteX3092" fmla="*/ 6949894 w 9586368"/>
                <a:gd name="connsiteY3092" fmla="*/ 4325566 h 6479439"/>
                <a:gd name="connsiteX3093" fmla="*/ 6939983 w 9586368"/>
                <a:gd name="connsiteY3093" fmla="*/ 4325566 h 6479439"/>
                <a:gd name="connsiteX3094" fmla="*/ 6935964 w 9586368"/>
                <a:gd name="connsiteY3094" fmla="*/ 4321527 h 6479439"/>
                <a:gd name="connsiteX3095" fmla="*/ 6935964 w 9586368"/>
                <a:gd name="connsiteY3095" fmla="*/ 4311656 h 6479439"/>
                <a:gd name="connsiteX3096" fmla="*/ 6700670 w 9586368"/>
                <a:gd name="connsiteY3096" fmla="*/ 4307617 h 6479439"/>
                <a:gd name="connsiteX3097" fmla="*/ 6710581 w 9586368"/>
                <a:gd name="connsiteY3097" fmla="*/ 4307617 h 6479439"/>
                <a:gd name="connsiteX3098" fmla="*/ 6714600 w 9586368"/>
                <a:gd name="connsiteY3098" fmla="*/ 4311656 h 6479439"/>
                <a:gd name="connsiteX3099" fmla="*/ 6714600 w 9586368"/>
                <a:gd name="connsiteY3099" fmla="*/ 4321527 h 6479439"/>
                <a:gd name="connsiteX3100" fmla="*/ 6710581 w 9586368"/>
                <a:gd name="connsiteY3100" fmla="*/ 4325566 h 6479439"/>
                <a:gd name="connsiteX3101" fmla="*/ 6700670 w 9586368"/>
                <a:gd name="connsiteY3101" fmla="*/ 4325566 h 6479439"/>
                <a:gd name="connsiteX3102" fmla="*/ 6696651 w 9586368"/>
                <a:gd name="connsiteY3102" fmla="*/ 4321527 h 6479439"/>
                <a:gd name="connsiteX3103" fmla="*/ 6696651 w 9586368"/>
                <a:gd name="connsiteY3103" fmla="*/ 4311656 h 6479439"/>
                <a:gd name="connsiteX3104" fmla="*/ 6461356 w 9586368"/>
                <a:gd name="connsiteY3104" fmla="*/ 4307617 h 6479439"/>
                <a:gd name="connsiteX3105" fmla="*/ 6471266 w 9586368"/>
                <a:gd name="connsiteY3105" fmla="*/ 4307617 h 6479439"/>
                <a:gd name="connsiteX3106" fmla="*/ 6475285 w 9586368"/>
                <a:gd name="connsiteY3106" fmla="*/ 4311656 h 6479439"/>
                <a:gd name="connsiteX3107" fmla="*/ 6475285 w 9586368"/>
                <a:gd name="connsiteY3107" fmla="*/ 4321527 h 6479439"/>
                <a:gd name="connsiteX3108" fmla="*/ 6471266 w 9586368"/>
                <a:gd name="connsiteY3108" fmla="*/ 4325566 h 6479439"/>
                <a:gd name="connsiteX3109" fmla="*/ 6461356 w 9586368"/>
                <a:gd name="connsiteY3109" fmla="*/ 4325566 h 6479439"/>
                <a:gd name="connsiteX3110" fmla="*/ 6457337 w 9586368"/>
                <a:gd name="connsiteY3110" fmla="*/ 4321527 h 6479439"/>
                <a:gd name="connsiteX3111" fmla="*/ 6457337 w 9586368"/>
                <a:gd name="connsiteY3111" fmla="*/ 4311656 h 6479439"/>
                <a:gd name="connsiteX3112" fmla="*/ 6222042 w 9586368"/>
                <a:gd name="connsiteY3112" fmla="*/ 4307617 h 6479439"/>
                <a:gd name="connsiteX3113" fmla="*/ 6231952 w 9586368"/>
                <a:gd name="connsiteY3113" fmla="*/ 4307617 h 6479439"/>
                <a:gd name="connsiteX3114" fmla="*/ 6235971 w 9586368"/>
                <a:gd name="connsiteY3114" fmla="*/ 4311656 h 6479439"/>
                <a:gd name="connsiteX3115" fmla="*/ 6235971 w 9586368"/>
                <a:gd name="connsiteY3115" fmla="*/ 4321527 h 6479439"/>
                <a:gd name="connsiteX3116" fmla="*/ 6231952 w 9586368"/>
                <a:gd name="connsiteY3116" fmla="*/ 4325566 h 6479439"/>
                <a:gd name="connsiteX3117" fmla="*/ 6222042 w 9586368"/>
                <a:gd name="connsiteY3117" fmla="*/ 4325566 h 6479439"/>
                <a:gd name="connsiteX3118" fmla="*/ 6218023 w 9586368"/>
                <a:gd name="connsiteY3118" fmla="*/ 4321527 h 6479439"/>
                <a:gd name="connsiteX3119" fmla="*/ 6218023 w 9586368"/>
                <a:gd name="connsiteY3119" fmla="*/ 4311656 h 6479439"/>
                <a:gd name="connsiteX3120" fmla="*/ 5982729 w 9586368"/>
                <a:gd name="connsiteY3120" fmla="*/ 4307617 h 6479439"/>
                <a:gd name="connsiteX3121" fmla="*/ 5992639 w 9586368"/>
                <a:gd name="connsiteY3121" fmla="*/ 4307617 h 6479439"/>
                <a:gd name="connsiteX3122" fmla="*/ 5996658 w 9586368"/>
                <a:gd name="connsiteY3122" fmla="*/ 4311656 h 6479439"/>
                <a:gd name="connsiteX3123" fmla="*/ 5996658 w 9586368"/>
                <a:gd name="connsiteY3123" fmla="*/ 4321527 h 6479439"/>
                <a:gd name="connsiteX3124" fmla="*/ 5992639 w 9586368"/>
                <a:gd name="connsiteY3124" fmla="*/ 4325566 h 6479439"/>
                <a:gd name="connsiteX3125" fmla="*/ 5982729 w 9586368"/>
                <a:gd name="connsiteY3125" fmla="*/ 4325566 h 6479439"/>
                <a:gd name="connsiteX3126" fmla="*/ 5978710 w 9586368"/>
                <a:gd name="connsiteY3126" fmla="*/ 4321527 h 6479439"/>
                <a:gd name="connsiteX3127" fmla="*/ 5978710 w 9586368"/>
                <a:gd name="connsiteY3127" fmla="*/ 4311656 h 6479439"/>
                <a:gd name="connsiteX3128" fmla="*/ 5743412 w 9586368"/>
                <a:gd name="connsiteY3128" fmla="*/ 4307617 h 6479439"/>
                <a:gd name="connsiteX3129" fmla="*/ 5753323 w 9586368"/>
                <a:gd name="connsiteY3129" fmla="*/ 4307617 h 6479439"/>
                <a:gd name="connsiteX3130" fmla="*/ 5757342 w 9586368"/>
                <a:gd name="connsiteY3130" fmla="*/ 4311656 h 6479439"/>
                <a:gd name="connsiteX3131" fmla="*/ 5757342 w 9586368"/>
                <a:gd name="connsiteY3131" fmla="*/ 4321527 h 6479439"/>
                <a:gd name="connsiteX3132" fmla="*/ 5753323 w 9586368"/>
                <a:gd name="connsiteY3132" fmla="*/ 4325566 h 6479439"/>
                <a:gd name="connsiteX3133" fmla="*/ 5743412 w 9586368"/>
                <a:gd name="connsiteY3133" fmla="*/ 4325566 h 6479439"/>
                <a:gd name="connsiteX3134" fmla="*/ 5739393 w 9586368"/>
                <a:gd name="connsiteY3134" fmla="*/ 4321527 h 6479439"/>
                <a:gd name="connsiteX3135" fmla="*/ 5739393 w 9586368"/>
                <a:gd name="connsiteY3135" fmla="*/ 4311656 h 6479439"/>
                <a:gd name="connsiteX3136" fmla="*/ 5504099 w 9586368"/>
                <a:gd name="connsiteY3136" fmla="*/ 4307617 h 6479439"/>
                <a:gd name="connsiteX3137" fmla="*/ 5514010 w 9586368"/>
                <a:gd name="connsiteY3137" fmla="*/ 4307617 h 6479439"/>
                <a:gd name="connsiteX3138" fmla="*/ 5518029 w 9586368"/>
                <a:gd name="connsiteY3138" fmla="*/ 4311656 h 6479439"/>
                <a:gd name="connsiteX3139" fmla="*/ 5518029 w 9586368"/>
                <a:gd name="connsiteY3139" fmla="*/ 4321527 h 6479439"/>
                <a:gd name="connsiteX3140" fmla="*/ 5514010 w 9586368"/>
                <a:gd name="connsiteY3140" fmla="*/ 4325566 h 6479439"/>
                <a:gd name="connsiteX3141" fmla="*/ 5504099 w 9586368"/>
                <a:gd name="connsiteY3141" fmla="*/ 4325566 h 6479439"/>
                <a:gd name="connsiteX3142" fmla="*/ 5500080 w 9586368"/>
                <a:gd name="connsiteY3142" fmla="*/ 4321527 h 6479439"/>
                <a:gd name="connsiteX3143" fmla="*/ 5500080 w 9586368"/>
                <a:gd name="connsiteY3143" fmla="*/ 4311656 h 6479439"/>
                <a:gd name="connsiteX3144" fmla="*/ 5264784 w 9586368"/>
                <a:gd name="connsiteY3144" fmla="*/ 4307617 h 6479439"/>
                <a:gd name="connsiteX3145" fmla="*/ 5274694 w 9586368"/>
                <a:gd name="connsiteY3145" fmla="*/ 4307617 h 6479439"/>
                <a:gd name="connsiteX3146" fmla="*/ 5278713 w 9586368"/>
                <a:gd name="connsiteY3146" fmla="*/ 4311656 h 6479439"/>
                <a:gd name="connsiteX3147" fmla="*/ 5278713 w 9586368"/>
                <a:gd name="connsiteY3147" fmla="*/ 4321527 h 6479439"/>
                <a:gd name="connsiteX3148" fmla="*/ 5274694 w 9586368"/>
                <a:gd name="connsiteY3148" fmla="*/ 4325566 h 6479439"/>
                <a:gd name="connsiteX3149" fmla="*/ 5264784 w 9586368"/>
                <a:gd name="connsiteY3149" fmla="*/ 4325566 h 6479439"/>
                <a:gd name="connsiteX3150" fmla="*/ 5260765 w 9586368"/>
                <a:gd name="connsiteY3150" fmla="*/ 4321527 h 6479439"/>
                <a:gd name="connsiteX3151" fmla="*/ 5260765 w 9586368"/>
                <a:gd name="connsiteY3151" fmla="*/ 4311656 h 6479439"/>
                <a:gd name="connsiteX3152" fmla="*/ 5025470 w 9586368"/>
                <a:gd name="connsiteY3152" fmla="*/ 4307617 h 6479439"/>
                <a:gd name="connsiteX3153" fmla="*/ 5035381 w 9586368"/>
                <a:gd name="connsiteY3153" fmla="*/ 4307617 h 6479439"/>
                <a:gd name="connsiteX3154" fmla="*/ 5039400 w 9586368"/>
                <a:gd name="connsiteY3154" fmla="*/ 4311656 h 6479439"/>
                <a:gd name="connsiteX3155" fmla="*/ 5039400 w 9586368"/>
                <a:gd name="connsiteY3155" fmla="*/ 4321527 h 6479439"/>
                <a:gd name="connsiteX3156" fmla="*/ 5035381 w 9586368"/>
                <a:gd name="connsiteY3156" fmla="*/ 4325566 h 6479439"/>
                <a:gd name="connsiteX3157" fmla="*/ 5025470 w 9586368"/>
                <a:gd name="connsiteY3157" fmla="*/ 4325566 h 6479439"/>
                <a:gd name="connsiteX3158" fmla="*/ 5021451 w 9586368"/>
                <a:gd name="connsiteY3158" fmla="*/ 4321527 h 6479439"/>
                <a:gd name="connsiteX3159" fmla="*/ 5021451 w 9586368"/>
                <a:gd name="connsiteY3159" fmla="*/ 4311656 h 6479439"/>
                <a:gd name="connsiteX3160" fmla="*/ 4786241 w 9586368"/>
                <a:gd name="connsiteY3160" fmla="*/ 4307617 h 6479439"/>
                <a:gd name="connsiteX3161" fmla="*/ 4796152 w 9586368"/>
                <a:gd name="connsiteY3161" fmla="*/ 4307617 h 6479439"/>
                <a:gd name="connsiteX3162" fmla="*/ 4800171 w 9586368"/>
                <a:gd name="connsiteY3162" fmla="*/ 4311656 h 6479439"/>
                <a:gd name="connsiteX3163" fmla="*/ 4800171 w 9586368"/>
                <a:gd name="connsiteY3163" fmla="*/ 4321527 h 6479439"/>
                <a:gd name="connsiteX3164" fmla="*/ 4796152 w 9586368"/>
                <a:gd name="connsiteY3164" fmla="*/ 4325566 h 6479439"/>
                <a:gd name="connsiteX3165" fmla="*/ 4786241 w 9586368"/>
                <a:gd name="connsiteY3165" fmla="*/ 4325566 h 6479439"/>
                <a:gd name="connsiteX3166" fmla="*/ 4782224 w 9586368"/>
                <a:gd name="connsiteY3166" fmla="*/ 4321527 h 6479439"/>
                <a:gd name="connsiteX3167" fmla="*/ 4782224 w 9586368"/>
                <a:gd name="connsiteY3167" fmla="*/ 4311656 h 6479439"/>
                <a:gd name="connsiteX3168" fmla="*/ 4546929 w 9586368"/>
                <a:gd name="connsiteY3168" fmla="*/ 4307617 h 6479439"/>
                <a:gd name="connsiteX3169" fmla="*/ 4556840 w 9586368"/>
                <a:gd name="connsiteY3169" fmla="*/ 4307617 h 6479439"/>
                <a:gd name="connsiteX3170" fmla="*/ 4560859 w 9586368"/>
                <a:gd name="connsiteY3170" fmla="*/ 4311656 h 6479439"/>
                <a:gd name="connsiteX3171" fmla="*/ 4560859 w 9586368"/>
                <a:gd name="connsiteY3171" fmla="*/ 4321527 h 6479439"/>
                <a:gd name="connsiteX3172" fmla="*/ 4556840 w 9586368"/>
                <a:gd name="connsiteY3172" fmla="*/ 4325566 h 6479439"/>
                <a:gd name="connsiteX3173" fmla="*/ 4546929 w 9586368"/>
                <a:gd name="connsiteY3173" fmla="*/ 4325566 h 6479439"/>
                <a:gd name="connsiteX3174" fmla="*/ 4542910 w 9586368"/>
                <a:gd name="connsiteY3174" fmla="*/ 4321527 h 6479439"/>
                <a:gd name="connsiteX3175" fmla="*/ 4542910 w 9586368"/>
                <a:gd name="connsiteY3175" fmla="*/ 4311656 h 6479439"/>
                <a:gd name="connsiteX3176" fmla="*/ 4307612 w 9586368"/>
                <a:gd name="connsiteY3176" fmla="*/ 4307617 h 6479439"/>
                <a:gd name="connsiteX3177" fmla="*/ 4317523 w 9586368"/>
                <a:gd name="connsiteY3177" fmla="*/ 4307617 h 6479439"/>
                <a:gd name="connsiteX3178" fmla="*/ 4321543 w 9586368"/>
                <a:gd name="connsiteY3178" fmla="*/ 4311656 h 6479439"/>
                <a:gd name="connsiteX3179" fmla="*/ 4321543 w 9586368"/>
                <a:gd name="connsiteY3179" fmla="*/ 4321527 h 6479439"/>
                <a:gd name="connsiteX3180" fmla="*/ 4317523 w 9586368"/>
                <a:gd name="connsiteY3180" fmla="*/ 4325566 h 6479439"/>
                <a:gd name="connsiteX3181" fmla="*/ 4307612 w 9586368"/>
                <a:gd name="connsiteY3181" fmla="*/ 4325566 h 6479439"/>
                <a:gd name="connsiteX3182" fmla="*/ 4303595 w 9586368"/>
                <a:gd name="connsiteY3182" fmla="*/ 4321527 h 6479439"/>
                <a:gd name="connsiteX3183" fmla="*/ 4303595 w 9586368"/>
                <a:gd name="connsiteY3183" fmla="*/ 4311656 h 6479439"/>
                <a:gd name="connsiteX3184" fmla="*/ 4068297 w 9586368"/>
                <a:gd name="connsiteY3184" fmla="*/ 4307617 h 6479439"/>
                <a:gd name="connsiteX3185" fmla="*/ 4078210 w 9586368"/>
                <a:gd name="connsiteY3185" fmla="*/ 4307617 h 6479439"/>
                <a:gd name="connsiteX3186" fmla="*/ 4082229 w 9586368"/>
                <a:gd name="connsiteY3186" fmla="*/ 4311656 h 6479439"/>
                <a:gd name="connsiteX3187" fmla="*/ 4082229 w 9586368"/>
                <a:gd name="connsiteY3187" fmla="*/ 4321527 h 6479439"/>
                <a:gd name="connsiteX3188" fmla="*/ 4078210 w 9586368"/>
                <a:gd name="connsiteY3188" fmla="*/ 4325566 h 6479439"/>
                <a:gd name="connsiteX3189" fmla="*/ 4068297 w 9586368"/>
                <a:gd name="connsiteY3189" fmla="*/ 4325566 h 6479439"/>
                <a:gd name="connsiteX3190" fmla="*/ 4064278 w 9586368"/>
                <a:gd name="connsiteY3190" fmla="*/ 4321527 h 6479439"/>
                <a:gd name="connsiteX3191" fmla="*/ 4064278 w 9586368"/>
                <a:gd name="connsiteY3191" fmla="*/ 4311656 h 6479439"/>
                <a:gd name="connsiteX3192" fmla="*/ 3828990 w 9586368"/>
                <a:gd name="connsiteY3192" fmla="*/ 4307617 h 6479439"/>
                <a:gd name="connsiteX3193" fmla="*/ 3838899 w 9586368"/>
                <a:gd name="connsiteY3193" fmla="*/ 4307617 h 6479439"/>
                <a:gd name="connsiteX3194" fmla="*/ 3842917 w 9586368"/>
                <a:gd name="connsiteY3194" fmla="*/ 4311656 h 6479439"/>
                <a:gd name="connsiteX3195" fmla="*/ 3842917 w 9586368"/>
                <a:gd name="connsiteY3195" fmla="*/ 4321527 h 6479439"/>
                <a:gd name="connsiteX3196" fmla="*/ 3838899 w 9586368"/>
                <a:gd name="connsiteY3196" fmla="*/ 4325566 h 6479439"/>
                <a:gd name="connsiteX3197" fmla="*/ 3828990 w 9586368"/>
                <a:gd name="connsiteY3197" fmla="*/ 4325566 h 6479439"/>
                <a:gd name="connsiteX3198" fmla="*/ 3824971 w 9586368"/>
                <a:gd name="connsiteY3198" fmla="*/ 4321527 h 6479439"/>
                <a:gd name="connsiteX3199" fmla="*/ 3824971 w 9586368"/>
                <a:gd name="connsiteY3199" fmla="*/ 4311656 h 6479439"/>
                <a:gd name="connsiteX3200" fmla="*/ 3589676 w 9586368"/>
                <a:gd name="connsiteY3200" fmla="*/ 4307617 h 6479439"/>
                <a:gd name="connsiteX3201" fmla="*/ 3599585 w 9586368"/>
                <a:gd name="connsiteY3201" fmla="*/ 4307617 h 6479439"/>
                <a:gd name="connsiteX3202" fmla="*/ 3603604 w 9586368"/>
                <a:gd name="connsiteY3202" fmla="*/ 4311656 h 6479439"/>
                <a:gd name="connsiteX3203" fmla="*/ 3603604 w 9586368"/>
                <a:gd name="connsiteY3203" fmla="*/ 4321527 h 6479439"/>
                <a:gd name="connsiteX3204" fmla="*/ 3599585 w 9586368"/>
                <a:gd name="connsiteY3204" fmla="*/ 4325566 h 6479439"/>
                <a:gd name="connsiteX3205" fmla="*/ 3589676 w 9586368"/>
                <a:gd name="connsiteY3205" fmla="*/ 4325566 h 6479439"/>
                <a:gd name="connsiteX3206" fmla="*/ 3585657 w 9586368"/>
                <a:gd name="connsiteY3206" fmla="*/ 4321527 h 6479439"/>
                <a:gd name="connsiteX3207" fmla="*/ 3585657 w 9586368"/>
                <a:gd name="connsiteY3207" fmla="*/ 4311656 h 6479439"/>
                <a:gd name="connsiteX3208" fmla="*/ 3350359 w 9586368"/>
                <a:gd name="connsiteY3208" fmla="*/ 4307617 h 6479439"/>
                <a:gd name="connsiteX3209" fmla="*/ 3360268 w 9586368"/>
                <a:gd name="connsiteY3209" fmla="*/ 4307617 h 6479439"/>
                <a:gd name="connsiteX3210" fmla="*/ 3364287 w 9586368"/>
                <a:gd name="connsiteY3210" fmla="*/ 4311656 h 6479439"/>
                <a:gd name="connsiteX3211" fmla="*/ 3364287 w 9586368"/>
                <a:gd name="connsiteY3211" fmla="*/ 4321527 h 6479439"/>
                <a:gd name="connsiteX3212" fmla="*/ 3360268 w 9586368"/>
                <a:gd name="connsiteY3212" fmla="*/ 4325566 h 6479439"/>
                <a:gd name="connsiteX3213" fmla="*/ 3350359 w 9586368"/>
                <a:gd name="connsiteY3213" fmla="*/ 4325566 h 6479439"/>
                <a:gd name="connsiteX3214" fmla="*/ 3346340 w 9586368"/>
                <a:gd name="connsiteY3214" fmla="*/ 4321527 h 6479439"/>
                <a:gd name="connsiteX3215" fmla="*/ 3346340 w 9586368"/>
                <a:gd name="connsiteY3215" fmla="*/ 4311656 h 6479439"/>
                <a:gd name="connsiteX3216" fmla="*/ 3111048 w 9586368"/>
                <a:gd name="connsiteY3216" fmla="*/ 4307617 h 6479439"/>
                <a:gd name="connsiteX3217" fmla="*/ 3120959 w 9586368"/>
                <a:gd name="connsiteY3217" fmla="*/ 4307617 h 6479439"/>
                <a:gd name="connsiteX3218" fmla="*/ 3124977 w 9586368"/>
                <a:gd name="connsiteY3218" fmla="*/ 4311656 h 6479439"/>
                <a:gd name="connsiteX3219" fmla="*/ 3124977 w 9586368"/>
                <a:gd name="connsiteY3219" fmla="*/ 4321527 h 6479439"/>
                <a:gd name="connsiteX3220" fmla="*/ 3120959 w 9586368"/>
                <a:gd name="connsiteY3220" fmla="*/ 4325566 h 6479439"/>
                <a:gd name="connsiteX3221" fmla="*/ 3111048 w 9586368"/>
                <a:gd name="connsiteY3221" fmla="*/ 4325566 h 6479439"/>
                <a:gd name="connsiteX3222" fmla="*/ 3107029 w 9586368"/>
                <a:gd name="connsiteY3222" fmla="*/ 4321527 h 6479439"/>
                <a:gd name="connsiteX3223" fmla="*/ 3107029 w 9586368"/>
                <a:gd name="connsiteY3223" fmla="*/ 4311656 h 6479439"/>
                <a:gd name="connsiteX3224" fmla="*/ 2871737 w 9586368"/>
                <a:gd name="connsiteY3224" fmla="*/ 4307617 h 6479439"/>
                <a:gd name="connsiteX3225" fmla="*/ 2881646 w 9586368"/>
                <a:gd name="connsiteY3225" fmla="*/ 4307617 h 6479439"/>
                <a:gd name="connsiteX3226" fmla="*/ 2885666 w 9586368"/>
                <a:gd name="connsiteY3226" fmla="*/ 4311656 h 6479439"/>
                <a:gd name="connsiteX3227" fmla="*/ 2885666 w 9586368"/>
                <a:gd name="connsiteY3227" fmla="*/ 4321527 h 6479439"/>
                <a:gd name="connsiteX3228" fmla="*/ 2881646 w 9586368"/>
                <a:gd name="connsiteY3228" fmla="*/ 4325566 h 6479439"/>
                <a:gd name="connsiteX3229" fmla="*/ 2871737 w 9586368"/>
                <a:gd name="connsiteY3229" fmla="*/ 4325566 h 6479439"/>
                <a:gd name="connsiteX3230" fmla="*/ 2867717 w 9586368"/>
                <a:gd name="connsiteY3230" fmla="*/ 4321527 h 6479439"/>
                <a:gd name="connsiteX3231" fmla="*/ 2867717 w 9586368"/>
                <a:gd name="connsiteY3231" fmla="*/ 4311656 h 6479439"/>
                <a:gd name="connsiteX3232" fmla="*/ 2632423 w 9586368"/>
                <a:gd name="connsiteY3232" fmla="*/ 4307617 h 6479439"/>
                <a:gd name="connsiteX3233" fmla="*/ 2642334 w 9586368"/>
                <a:gd name="connsiteY3233" fmla="*/ 4307617 h 6479439"/>
                <a:gd name="connsiteX3234" fmla="*/ 2646352 w 9586368"/>
                <a:gd name="connsiteY3234" fmla="*/ 4311656 h 6479439"/>
                <a:gd name="connsiteX3235" fmla="*/ 2646352 w 9586368"/>
                <a:gd name="connsiteY3235" fmla="*/ 4321527 h 6479439"/>
                <a:gd name="connsiteX3236" fmla="*/ 2642334 w 9586368"/>
                <a:gd name="connsiteY3236" fmla="*/ 4325566 h 6479439"/>
                <a:gd name="connsiteX3237" fmla="*/ 2632423 w 9586368"/>
                <a:gd name="connsiteY3237" fmla="*/ 4325566 h 6479439"/>
                <a:gd name="connsiteX3238" fmla="*/ 2628404 w 9586368"/>
                <a:gd name="connsiteY3238" fmla="*/ 4321527 h 6479439"/>
                <a:gd name="connsiteX3239" fmla="*/ 2628404 w 9586368"/>
                <a:gd name="connsiteY3239" fmla="*/ 4311656 h 6479439"/>
                <a:gd name="connsiteX3240" fmla="*/ 2393104 w 9586368"/>
                <a:gd name="connsiteY3240" fmla="*/ 4307617 h 6479439"/>
                <a:gd name="connsiteX3241" fmla="*/ 2403015 w 9586368"/>
                <a:gd name="connsiteY3241" fmla="*/ 4307617 h 6479439"/>
                <a:gd name="connsiteX3242" fmla="*/ 2407034 w 9586368"/>
                <a:gd name="connsiteY3242" fmla="*/ 4311656 h 6479439"/>
                <a:gd name="connsiteX3243" fmla="*/ 2407034 w 9586368"/>
                <a:gd name="connsiteY3243" fmla="*/ 4321527 h 6479439"/>
                <a:gd name="connsiteX3244" fmla="*/ 2403015 w 9586368"/>
                <a:gd name="connsiteY3244" fmla="*/ 4325566 h 6479439"/>
                <a:gd name="connsiteX3245" fmla="*/ 2393104 w 9586368"/>
                <a:gd name="connsiteY3245" fmla="*/ 4325566 h 6479439"/>
                <a:gd name="connsiteX3246" fmla="*/ 2389087 w 9586368"/>
                <a:gd name="connsiteY3246" fmla="*/ 4321527 h 6479439"/>
                <a:gd name="connsiteX3247" fmla="*/ 2389087 w 9586368"/>
                <a:gd name="connsiteY3247" fmla="*/ 4311656 h 6479439"/>
                <a:gd name="connsiteX3248" fmla="*/ 721965 w 9586368"/>
                <a:gd name="connsiteY3248" fmla="*/ 4307617 h 6479439"/>
                <a:gd name="connsiteX3249" fmla="*/ 731874 w 9586368"/>
                <a:gd name="connsiteY3249" fmla="*/ 4307617 h 6479439"/>
                <a:gd name="connsiteX3250" fmla="*/ 735893 w 9586368"/>
                <a:gd name="connsiteY3250" fmla="*/ 4311656 h 6479439"/>
                <a:gd name="connsiteX3251" fmla="*/ 735893 w 9586368"/>
                <a:gd name="connsiteY3251" fmla="*/ 4321527 h 6479439"/>
                <a:gd name="connsiteX3252" fmla="*/ 731874 w 9586368"/>
                <a:gd name="connsiteY3252" fmla="*/ 4325566 h 6479439"/>
                <a:gd name="connsiteX3253" fmla="*/ 721965 w 9586368"/>
                <a:gd name="connsiteY3253" fmla="*/ 4325566 h 6479439"/>
                <a:gd name="connsiteX3254" fmla="*/ 717945 w 9586368"/>
                <a:gd name="connsiteY3254" fmla="*/ 4321527 h 6479439"/>
                <a:gd name="connsiteX3255" fmla="*/ 717945 w 9586368"/>
                <a:gd name="connsiteY3255" fmla="*/ 4311656 h 6479439"/>
                <a:gd name="connsiteX3256" fmla="*/ 482652 w 9586368"/>
                <a:gd name="connsiteY3256" fmla="*/ 4307617 h 6479439"/>
                <a:gd name="connsiteX3257" fmla="*/ 492562 w 9586368"/>
                <a:gd name="connsiteY3257" fmla="*/ 4307617 h 6479439"/>
                <a:gd name="connsiteX3258" fmla="*/ 496581 w 9586368"/>
                <a:gd name="connsiteY3258" fmla="*/ 4311656 h 6479439"/>
                <a:gd name="connsiteX3259" fmla="*/ 496581 w 9586368"/>
                <a:gd name="connsiteY3259" fmla="*/ 4321527 h 6479439"/>
                <a:gd name="connsiteX3260" fmla="*/ 492562 w 9586368"/>
                <a:gd name="connsiteY3260" fmla="*/ 4325566 h 6479439"/>
                <a:gd name="connsiteX3261" fmla="*/ 482652 w 9586368"/>
                <a:gd name="connsiteY3261" fmla="*/ 4325566 h 6479439"/>
                <a:gd name="connsiteX3262" fmla="*/ 478633 w 9586368"/>
                <a:gd name="connsiteY3262" fmla="*/ 4321527 h 6479439"/>
                <a:gd name="connsiteX3263" fmla="*/ 478633 w 9586368"/>
                <a:gd name="connsiteY3263" fmla="*/ 4311656 h 6479439"/>
                <a:gd name="connsiteX3264" fmla="*/ 243339 w 9586368"/>
                <a:gd name="connsiteY3264" fmla="*/ 4307617 h 6479439"/>
                <a:gd name="connsiteX3265" fmla="*/ 253249 w 9586368"/>
                <a:gd name="connsiteY3265" fmla="*/ 4307617 h 6479439"/>
                <a:gd name="connsiteX3266" fmla="*/ 257268 w 9586368"/>
                <a:gd name="connsiteY3266" fmla="*/ 4311656 h 6479439"/>
                <a:gd name="connsiteX3267" fmla="*/ 257268 w 9586368"/>
                <a:gd name="connsiteY3267" fmla="*/ 4321527 h 6479439"/>
                <a:gd name="connsiteX3268" fmla="*/ 253249 w 9586368"/>
                <a:gd name="connsiteY3268" fmla="*/ 4325566 h 6479439"/>
                <a:gd name="connsiteX3269" fmla="*/ 243339 w 9586368"/>
                <a:gd name="connsiteY3269" fmla="*/ 4325566 h 6479439"/>
                <a:gd name="connsiteX3270" fmla="*/ 239320 w 9586368"/>
                <a:gd name="connsiteY3270" fmla="*/ 4321527 h 6479439"/>
                <a:gd name="connsiteX3271" fmla="*/ 239320 w 9586368"/>
                <a:gd name="connsiteY3271" fmla="*/ 4311656 h 6479439"/>
                <a:gd name="connsiteX3272" fmla="*/ 4025 w 9586368"/>
                <a:gd name="connsiteY3272" fmla="*/ 4307617 h 6479439"/>
                <a:gd name="connsiteX3273" fmla="*/ 13936 w 9586368"/>
                <a:gd name="connsiteY3273" fmla="*/ 4307617 h 6479439"/>
                <a:gd name="connsiteX3274" fmla="*/ 17955 w 9586368"/>
                <a:gd name="connsiteY3274" fmla="*/ 4311656 h 6479439"/>
                <a:gd name="connsiteX3275" fmla="*/ 17955 w 9586368"/>
                <a:gd name="connsiteY3275" fmla="*/ 4321527 h 6479439"/>
                <a:gd name="connsiteX3276" fmla="*/ 13936 w 9586368"/>
                <a:gd name="connsiteY3276" fmla="*/ 4325566 h 6479439"/>
                <a:gd name="connsiteX3277" fmla="*/ 4025 w 9586368"/>
                <a:gd name="connsiteY3277" fmla="*/ 4325566 h 6479439"/>
                <a:gd name="connsiteX3278" fmla="*/ 7 w 9586368"/>
                <a:gd name="connsiteY3278" fmla="*/ 4321527 h 6479439"/>
                <a:gd name="connsiteX3279" fmla="*/ 7 w 9586368"/>
                <a:gd name="connsiteY3279" fmla="*/ 4311656 h 6479439"/>
                <a:gd name="connsiteX3280" fmla="*/ 9572438 w 9586368"/>
                <a:gd name="connsiteY3280" fmla="*/ 4068339 h 6479439"/>
                <a:gd name="connsiteX3281" fmla="*/ 9582349 w 9586368"/>
                <a:gd name="connsiteY3281" fmla="*/ 4068339 h 6479439"/>
                <a:gd name="connsiteX3282" fmla="*/ 9586368 w 9586368"/>
                <a:gd name="connsiteY3282" fmla="*/ 4072377 h 6479439"/>
                <a:gd name="connsiteX3283" fmla="*/ 9586368 w 9586368"/>
                <a:gd name="connsiteY3283" fmla="*/ 4082248 h 6479439"/>
                <a:gd name="connsiteX3284" fmla="*/ 9582349 w 9586368"/>
                <a:gd name="connsiteY3284" fmla="*/ 4086287 h 6479439"/>
                <a:gd name="connsiteX3285" fmla="*/ 9572438 w 9586368"/>
                <a:gd name="connsiteY3285" fmla="*/ 4086287 h 6479439"/>
                <a:gd name="connsiteX3286" fmla="*/ 9568419 w 9586368"/>
                <a:gd name="connsiteY3286" fmla="*/ 4082248 h 6479439"/>
                <a:gd name="connsiteX3287" fmla="*/ 9568419 w 9586368"/>
                <a:gd name="connsiteY3287" fmla="*/ 4072377 h 6479439"/>
                <a:gd name="connsiteX3288" fmla="*/ 9333125 w 9586368"/>
                <a:gd name="connsiteY3288" fmla="*/ 4068339 h 6479439"/>
                <a:gd name="connsiteX3289" fmla="*/ 9343036 w 9586368"/>
                <a:gd name="connsiteY3289" fmla="*/ 4068339 h 6479439"/>
                <a:gd name="connsiteX3290" fmla="*/ 9347055 w 9586368"/>
                <a:gd name="connsiteY3290" fmla="*/ 4072377 h 6479439"/>
                <a:gd name="connsiteX3291" fmla="*/ 9347055 w 9586368"/>
                <a:gd name="connsiteY3291" fmla="*/ 4082248 h 6479439"/>
                <a:gd name="connsiteX3292" fmla="*/ 9343036 w 9586368"/>
                <a:gd name="connsiteY3292" fmla="*/ 4086287 h 6479439"/>
                <a:gd name="connsiteX3293" fmla="*/ 9333125 w 9586368"/>
                <a:gd name="connsiteY3293" fmla="*/ 4086287 h 6479439"/>
                <a:gd name="connsiteX3294" fmla="*/ 9329106 w 9586368"/>
                <a:gd name="connsiteY3294" fmla="*/ 4082248 h 6479439"/>
                <a:gd name="connsiteX3295" fmla="*/ 9329106 w 9586368"/>
                <a:gd name="connsiteY3295" fmla="*/ 4072377 h 6479439"/>
                <a:gd name="connsiteX3296" fmla="*/ 9093811 w 9586368"/>
                <a:gd name="connsiteY3296" fmla="*/ 4068339 h 6479439"/>
                <a:gd name="connsiteX3297" fmla="*/ 9103722 w 9586368"/>
                <a:gd name="connsiteY3297" fmla="*/ 4068339 h 6479439"/>
                <a:gd name="connsiteX3298" fmla="*/ 9107741 w 9586368"/>
                <a:gd name="connsiteY3298" fmla="*/ 4072377 h 6479439"/>
                <a:gd name="connsiteX3299" fmla="*/ 9107741 w 9586368"/>
                <a:gd name="connsiteY3299" fmla="*/ 4082248 h 6479439"/>
                <a:gd name="connsiteX3300" fmla="*/ 9103722 w 9586368"/>
                <a:gd name="connsiteY3300" fmla="*/ 4086287 h 6479439"/>
                <a:gd name="connsiteX3301" fmla="*/ 9093811 w 9586368"/>
                <a:gd name="connsiteY3301" fmla="*/ 4086287 h 6479439"/>
                <a:gd name="connsiteX3302" fmla="*/ 9089792 w 9586368"/>
                <a:gd name="connsiteY3302" fmla="*/ 4082248 h 6479439"/>
                <a:gd name="connsiteX3303" fmla="*/ 9089792 w 9586368"/>
                <a:gd name="connsiteY3303" fmla="*/ 4072377 h 6479439"/>
                <a:gd name="connsiteX3304" fmla="*/ 8854496 w 9586368"/>
                <a:gd name="connsiteY3304" fmla="*/ 4068339 h 6479439"/>
                <a:gd name="connsiteX3305" fmla="*/ 8864407 w 9586368"/>
                <a:gd name="connsiteY3305" fmla="*/ 4068339 h 6479439"/>
                <a:gd name="connsiteX3306" fmla="*/ 8868426 w 9586368"/>
                <a:gd name="connsiteY3306" fmla="*/ 4072377 h 6479439"/>
                <a:gd name="connsiteX3307" fmla="*/ 8868426 w 9586368"/>
                <a:gd name="connsiteY3307" fmla="*/ 4082248 h 6479439"/>
                <a:gd name="connsiteX3308" fmla="*/ 8864407 w 9586368"/>
                <a:gd name="connsiteY3308" fmla="*/ 4086287 h 6479439"/>
                <a:gd name="connsiteX3309" fmla="*/ 8854496 w 9586368"/>
                <a:gd name="connsiteY3309" fmla="*/ 4086287 h 6479439"/>
                <a:gd name="connsiteX3310" fmla="*/ 8850477 w 9586368"/>
                <a:gd name="connsiteY3310" fmla="*/ 4082248 h 6479439"/>
                <a:gd name="connsiteX3311" fmla="*/ 8850477 w 9586368"/>
                <a:gd name="connsiteY3311" fmla="*/ 4072377 h 6479439"/>
                <a:gd name="connsiteX3312" fmla="*/ 8615184 w 9586368"/>
                <a:gd name="connsiteY3312" fmla="*/ 4068339 h 6479439"/>
                <a:gd name="connsiteX3313" fmla="*/ 8625095 w 9586368"/>
                <a:gd name="connsiteY3313" fmla="*/ 4068339 h 6479439"/>
                <a:gd name="connsiteX3314" fmla="*/ 8629114 w 9586368"/>
                <a:gd name="connsiteY3314" fmla="*/ 4072377 h 6479439"/>
                <a:gd name="connsiteX3315" fmla="*/ 8629114 w 9586368"/>
                <a:gd name="connsiteY3315" fmla="*/ 4082248 h 6479439"/>
                <a:gd name="connsiteX3316" fmla="*/ 8625095 w 9586368"/>
                <a:gd name="connsiteY3316" fmla="*/ 4086287 h 6479439"/>
                <a:gd name="connsiteX3317" fmla="*/ 8615184 w 9586368"/>
                <a:gd name="connsiteY3317" fmla="*/ 4086287 h 6479439"/>
                <a:gd name="connsiteX3318" fmla="*/ 8611165 w 9586368"/>
                <a:gd name="connsiteY3318" fmla="*/ 4082248 h 6479439"/>
                <a:gd name="connsiteX3319" fmla="*/ 8611165 w 9586368"/>
                <a:gd name="connsiteY3319" fmla="*/ 4072377 h 6479439"/>
                <a:gd name="connsiteX3320" fmla="*/ 8375869 w 9586368"/>
                <a:gd name="connsiteY3320" fmla="*/ 4068339 h 6479439"/>
                <a:gd name="connsiteX3321" fmla="*/ 8385779 w 9586368"/>
                <a:gd name="connsiteY3321" fmla="*/ 4068339 h 6479439"/>
                <a:gd name="connsiteX3322" fmla="*/ 8389799 w 9586368"/>
                <a:gd name="connsiteY3322" fmla="*/ 4072377 h 6479439"/>
                <a:gd name="connsiteX3323" fmla="*/ 8389799 w 9586368"/>
                <a:gd name="connsiteY3323" fmla="*/ 4082248 h 6479439"/>
                <a:gd name="connsiteX3324" fmla="*/ 8385779 w 9586368"/>
                <a:gd name="connsiteY3324" fmla="*/ 4086287 h 6479439"/>
                <a:gd name="connsiteX3325" fmla="*/ 8375869 w 9586368"/>
                <a:gd name="connsiteY3325" fmla="*/ 4086287 h 6479439"/>
                <a:gd name="connsiteX3326" fmla="*/ 8371850 w 9586368"/>
                <a:gd name="connsiteY3326" fmla="*/ 4082248 h 6479439"/>
                <a:gd name="connsiteX3327" fmla="*/ 8371850 w 9586368"/>
                <a:gd name="connsiteY3327" fmla="*/ 4072377 h 6479439"/>
                <a:gd name="connsiteX3328" fmla="*/ 8136553 w 9586368"/>
                <a:gd name="connsiteY3328" fmla="*/ 4068339 h 6479439"/>
                <a:gd name="connsiteX3329" fmla="*/ 8146464 w 9586368"/>
                <a:gd name="connsiteY3329" fmla="*/ 4068339 h 6479439"/>
                <a:gd name="connsiteX3330" fmla="*/ 8150483 w 9586368"/>
                <a:gd name="connsiteY3330" fmla="*/ 4072377 h 6479439"/>
                <a:gd name="connsiteX3331" fmla="*/ 8150483 w 9586368"/>
                <a:gd name="connsiteY3331" fmla="*/ 4082248 h 6479439"/>
                <a:gd name="connsiteX3332" fmla="*/ 8146464 w 9586368"/>
                <a:gd name="connsiteY3332" fmla="*/ 4086287 h 6479439"/>
                <a:gd name="connsiteX3333" fmla="*/ 8136553 w 9586368"/>
                <a:gd name="connsiteY3333" fmla="*/ 4086287 h 6479439"/>
                <a:gd name="connsiteX3334" fmla="*/ 8132534 w 9586368"/>
                <a:gd name="connsiteY3334" fmla="*/ 4082248 h 6479439"/>
                <a:gd name="connsiteX3335" fmla="*/ 8132534 w 9586368"/>
                <a:gd name="connsiteY3335" fmla="*/ 4072377 h 6479439"/>
                <a:gd name="connsiteX3336" fmla="*/ 7897241 w 9586368"/>
                <a:gd name="connsiteY3336" fmla="*/ 4068339 h 6479439"/>
                <a:gd name="connsiteX3337" fmla="*/ 7907151 w 9586368"/>
                <a:gd name="connsiteY3337" fmla="*/ 4068339 h 6479439"/>
                <a:gd name="connsiteX3338" fmla="*/ 7911170 w 9586368"/>
                <a:gd name="connsiteY3338" fmla="*/ 4072377 h 6479439"/>
                <a:gd name="connsiteX3339" fmla="*/ 7911170 w 9586368"/>
                <a:gd name="connsiteY3339" fmla="*/ 4082248 h 6479439"/>
                <a:gd name="connsiteX3340" fmla="*/ 7907151 w 9586368"/>
                <a:gd name="connsiteY3340" fmla="*/ 4086287 h 6479439"/>
                <a:gd name="connsiteX3341" fmla="*/ 7897241 w 9586368"/>
                <a:gd name="connsiteY3341" fmla="*/ 4086287 h 6479439"/>
                <a:gd name="connsiteX3342" fmla="*/ 7893222 w 9586368"/>
                <a:gd name="connsiteY3342" fmla="*/ 4082248 h 6479439"/>
                <a:gd name="connsiteX3343" fmla="*/ 7893222 w 9586368"/>
                <a:gd name="connsiteY3343" fmla="*/ 4072377 h 6479439"/>
                <a:gd name="connsiteX3344" fmla="*/ 7657926 w 9586368"/>
                <a:gd name="connsiteY3344" fmla="*/ 4068339 h 6479439"/>
                <a:gd name="connsiteX3345" fmla="*/ 7667836 w 9586368"/>
                <a:gd name="connsiteY3345" fmla="*/ 4068339 h 6479439"/>
                <a:gd name="connsiteX3346" fmla="*/ 7671855 w 9586368"/>
                <a:gd name="connsiteY3346" fmla="*/ 4072377 h 6479439"/>
                <a:gd name="connsiteX3347" fmla="*/ 7671855 w 9586368"/>
                <a:gd name="connsiteY3347" fmla="*/ 4082248 h 6479439"/>
                <a:gd name="connsiteX3348" fmla="*/ 7667836 w 9586368"/>
                <a:gd name="connsiteY3348" fmla="*/ 4086287 h 6479439"/>
                <a:gd name="connsiteX3349" fmla="*/ 7657926 w 9586368"/>
                <a:gd name="connsiteY3349" fmla="*/ 4086287 h 6479439"/>
                <a:gd name="connsiteX3350" fmla="*/ 7653906 w 9586368"/>
                <a:gd name="connsiteY3350" fmla="*/ 4082248 h 6479439"/>
                <a:gd name="connsiteX3351" fmla="*/ 7653906 w 9586368"/>
                <a:gd name="connsiteY3351" fmla="*/ 4072377 h 6479439"/>
                <a:gd name="connsiteX3352" fmla="*/ 7418611 w 9586368"/>
                <a:gd name="connsiteY3352" fmla="*/ 4068339 h 6479439"/>
                <a:gd name="connsiteX3353" fmla="*/ 7428521 w 9586368"/>
                <a:gd name="connsiteY3353" fmla="*/ 4068339 h 6479439"/>
                <a:gd name="connsiteX3354" fmla="*/ 7432540 w 9586368"/>
                <a:gd name="connsiteY3354" fmla="*/ 4072377 h 6479439"/>
                <a:gd name="connsiteX3355" fmla="*/ 7432540 w 9586368"/>
                <a:gd name="connsiteY3355" fmla="*/ 4082248 h 6479439"/>
                <a:gd name="connsiteX3356" fmla="*/ 7428521 w 9586368"/>
                <a:gd name="connsiteY3356" fmla="*/ 4086287 h 6479439"/>
                <a:gd name="connsiteX3357" fmla="*/ 7418611 w 9586368"/>
                <a:gd name="connsiteY3357" fmla="*/ 4086287 h 6479439"/>
                <a:gd name="connsiteX3358" fmla="*/ 7414592 w 9586368"/>
                <a:gd name="connsiteY3358" fmla="*/ 4082248 h 6479439"/>
                <a:gd name="connsiteX3359" fmla="*/ 7414592 w 9586368"/>
                <a:gd name="connsiteY3359" fmla="*/ 4072377 h 6479439"/>
                <a:gd name="connsiteX3360" fmla="*/ 7179298 w 9586368"/>
                <a:gd name="connsiteY3360" fmla="*/ 4068339 h 6479439"/>
                <a:gd name="connsiteX3361" fmla="*/ 7189209 w 9586368"/>
                <a:gd name="connsiteY3361" fmla="*/ 4068339 h 6479439"/>
                <a:gd name="connsiteX3362" fmla="*/ 7193228 w 9586368"/>
                <a:gd name="connsiteY3362" fmla="*/ 4072377 h 6479439"/>
                <a:gd name="connsiteX3363" fmla="*/ 7193228 w 9586368"/>
                <a:gd name="connsiteY3363" fmla="*/ 4082248 h 6479439"/>
                <a:gd name="connsiteX3364" fmla="*/ 7189209 w 9586368"/>
                <a:gd name="connsiteY3364" fmla="*/ 4086287 h 6479439"/>
                <a:gd name="connsiteX3365" fmla="*/ 7179298 w 9586368"/>
                <a:gd name="connsiteY3365" fmla="*/ 4086287 h 6479439"/>
                <a:gd name="connsiteX3366" fmla="*/ 7175279 w 9586368"/>
                <a:gd name="connsiteY3366" fmla="*/ 4082248 h 6479439"/>
                <a:gd name="connsiteX3367" fmla="*/ 7175279 w 9586368"/>
                <a:gd name="connsiteY3367" fmla="*/ 4072377 h 6479439"/>
                <a:gd name="connsiteX3368" fmla="*/ 6939983 w 9586368"/>
                <a:gd name="connsiteY3368" fmla="*/ 4068339 h 6479439"/>
                <a:gd name="connsiteX3369" fmla="*/ 6949894 w 9586368"/>
                <a:gd name="connsiteY3369" fmla="*/ 4068339 h 6479439"/>
                <a:gd name="connsiteX3370" fmla="*/ 6953913 w 9586368"/>
                <a:gd name="connsiteY3370" fmla="*/ 4072377 h 6479439"/>
                <a:gd name="connsiteX3371" fmla="*/ 6953913 w 9586368"/>
                <a:gd name="connsiteY3371" fmla="*/ 4082248 h 6479439"/>
                <a:gd name="connsiteX3372" fmla="*/ 6949894 w 9586368"/>
                <a:gd name="connsiteY3372" fmla="*/ 4086287 h 6479439"/>
                <a:gd name="connsiteX3373" fmla="*/ 6939983 w 9586368"/>
                <a:gd name="connsiteY3373" fmla="*/ 4086287 h 6479439"/>
                <a:gd name="connsiteX3374" fmla="*/ 6935964 w 9586368"/>
                <a:gd name="connsiteY3374" fmla="*/ 4082248 h 6479439"/>
                <a:gd name="connsiteX3375" fmla="*/ 6935964 w 9586368"/>
                <a:gd name="connsiteY3375" fmla="*/ 4072377 h 6479439"/>
                <a:gd name="connsiteX3376" fmla="*/ 6700670 w 9586368"/>
                <a:gd name="connsiteY3376" fmla="*/ 4068339 h 6479439"/>
                <a:gd name="connsiteX3377" fmla="*/ 6710581 w 9586368"/>
                <a:gd name="connsiteY3377" fmla="*/ 4068339 h 6479439"/>
                <a:gd name="connsiteX3378" fmla="*/ 6714600 w 9586368"/>
                <a:gd name="connsiteY3378" fmla="*/ 4072377 h 6479439"/>
                <a:gd name="connsiteX3379" fmla="*/ 6714600 w 9586368"/>
                <a:gd name="connsiteY3379" fmla="*/ 4082248 h 6479439"/>
                <a:gd name="connsiteX3380" fmla="*/ 6710581 w 9586368"/>
                <a:gd name="connsiteY3380" fmla="*/ 4086287 h 6479439"/>
                <a:gd name="connsiteX3381" fmla="*/ 6700670 w 9586368"/>
                <a:gd name="connsiteY3381" fmla="*/ 4086287 h 6479439"/>
                <a:gd name="connsiteX3382" fmla="*/ 6696651 w 9586368"/>
                <a:gd name="connsiteY3382" fmla="*/ 4082248 h 6479439"/>
                <a:gd name="connsiteX3383" fmla="*/ 6696651 w 9586368"/>
                <a:gd name="connsiteY3383" fmla="*/ 4072377 h 6479439"/>
                <a:gd name="connsiteX3384" fmla="*/ 6461356 w 9586368"/>
                <a:gd name="connsiteY3384" fmla="*/ 4068339 h 6479439"/>
                <a:gd name="connsiteX3385" fmla="*/ 6471266 w 9586368"/>
                <a:gd name="connsiteY3385" fmla="*/ 4068339 h 6479439"/>
                <a:gd name="connsiteX3386" fmla="*/ 6475285 w 9586368"/>
                <a:gd name="connsiteY3386" fmla="*/ 4072377 h 6479439"/>
                <a:gd name="connsiteX3387" fmla="*/ 6475285 w 9586368"/>
                <a:gd name="connsiteY3387" fmla="*/ 4082248 h 6479439"/>
                <a:gd name="connsiteX3388" fmla="*/ 6471266 w 9586368"/>
                <a:gd name="connsiteY3388" fmla="*/ 4086287 h 6479439"/>
                <a:gd name="connsiteX3389" fmla="*/ 6461356 w 9586368"/>
                <a:gd name="connsiteY3389" fmla="*/ 4086287 h 6479439"/>
                <a:gd name="connsiteX3390" fmla="*/ 6457337 w 9586368"/>
                <a:gd name="connsiteY3390" fmla="*/ 4082248 h 6479439"/>
                <a:gd name="connsiteX3391" fmla="*/ 6457337 w 9586368"/>
                <a:gd name="connsiteY3391" fmla="*/ 4072377 h 6479439"/>
                <a:gd name="connsiteX3392" fmla="*/ 6222042 w 9586368"/>
                <a:gd name="connsiteY3392" fmla="*/ 4068339 h 6479439"/>
                <a:gd name="connsiteX3393" fmla="*/ 6231952 w 9586368"/>
                <a:gd name="connsiteY3393" fmla="*/ 4068339 h 6479439"/>
                <a:gd name="connsiteX3394" fmla="*/ 6235971 w 9586368"/>
                <a:gd name="connsiteY3394" fmla="*/ 4072377 h 6479439"/>
                <a:gd name="connsiteX3395" fmla="*/ 6235971 w 9586368"/>
                <a:gd name="connsiteY3395" fmla="*/ 4082248 h 6479439"/>
                <a:gd name="connsiteX3396" fmla="*/ 6231952 w 9586368"/>
                <a:gd name="connsiteY3396" fmla="*/ 4086287 h 6479439"/>
                <a:gd name="connsiteX3397" fmla="*/ 6222042 w 9586368"/>
                <a:gd name="connsiteY3397" fmla="*/ 4086287 h 6479439"/>
                <a:gd name="connsiteX3398" fmla="*/ 6218023 w 9586368"/>
                <a:gd name="connsiteY3398" fmla="*/ 4082248 h 6479439"/>
                <a:gd name="connsiteX3399" fmla="*/ 6218023 w 9586368"/>
                <a:gd name="connsiteY3399" fmla="*/ 4072377 h 6479439"/>
                <a:gd name="connsiteX3400" fmla="*/ 5982729 w 9586368"/>
                <a:gd name="connsiteY3400" fmla="*/ 4068339 h 6479439"/>
                <a:gd name="connsiteX3401" fmla="*/ 5992639 w 9586368"/>
                <a:gd name="connsiteY3401" fmla="*/ 4068339 h 6479439"/>
                <a:gd name="connsiteX3402" fmla="*/ 5996658 w 9586368"/>
                <a:gd name="connsiteY3402" fmla="*/ 4072377 h 6479439"/>
                <a:gd name="connsiteX3403" fmla="*/ 5996658 w 9586368"/>
                <a:gd name="connsiteY3403" fmla="*/ 4082248 h 6479439"/>
                <a:gd name="connsiteX3404" fmla="*/ 5992639 w 9586368"/>
                <a:gd name="connsiteY3404" fmla="*/ 4086287 h 6479439"/>
                <a:gd name="connsiteX3405" fmla="*/ 5982729 w 9586368"/>
                <a:gd name="connsiteY3405" fmla="*/ 4086287 h 6479439"/>
                <a:gd name="connsiteX3406" fmla="*/ 5978710 w 9586368"/>
                <a:gd name="connsiteY3406" fmla="*/ 4082248 h 6479439"/>
                <a:gd name="connsiteX3407" fmla="*/ 5978710 w 9586368"/>
                <a:gd name="connsiteY3407" fmla="*/ 4072377 h 6479439"/>
                <a:gd name="connsiteX3408" fmla="*/ 5743412 w 9586368"/>
                <a:gd name="connsiteY3408" fmla="*/ 4068339 h 6479439"/>
                <a:gd name="connsiteX3409" fmla="*/ 5753323 w 9586368"/>
                <a:gd name="connsiteY3409" fmla="*/ 4068339 h 6479439"/>
                <a:gd name="connsiteX3410" fmla="*/ 5757342 w 9586368"/>
                <a:gd name="connsiteY3410" fmla="*/ 4072377 h 6479439"/>
                <a:gd name="connsiteX3411" fmla="*/ 5757342 w 9586368"/>
                <a:gd name="connsiteY3411" fmla="*/ 4082248 h 6479439"/>
                <a:gd name="connsiteX3412" fmla="*/ 5753323 w 9586368"/>
                <a:gd name="connsiteY3412" fmla="*/ 4086287 h 6479439"/>
                <a:gd name="connsiteX3413" fmla="*/ 5743412 w 9586368"/>
                <a:gd name="connsiteY3413" fmla="*/ 4086287 h 6479439"/>
                <a:gd name="connsiteX3414" fmla="*/ 5739393 w 9586368"/>
                <a:gd name="connsiteY3414" fmla="*/ 4082248 h 6479439"/>
                <a:gd name="connsiteX3415" fmla="*/ 5739393 w 9586368"/>
                <a:gd name="connsiteY3415" fmla="*/ 4072377 h 6479439"/>
                <a:gd name="connsiteX3416" fmla="*/ 5504099 w 9586368"/>
                <a:gd name="connsiteY3416" fmla="*/ 4068339 h 6479439"/>
                <a:gd name="connsiteX3417" fmla="*/ 5514010 w 9586368"/>
                <a:gd name="connsiteY3417" fmla="*/ 4068339 h 6479439"/>
                <a:gd name="connsiteX3418" fmla="*/ 5518029 w 9586368"/>
                <a:gd name="connsiteY3418" fmla="*/ 4072377 h 6479439"/>
                <a:gd name="connsiteX3419" fmla="*/ 5518029 w 9586368"/>
                <a:gd name="connsiteY3419" fmla="*/ 4082248 h 6479439"/>
                <a:gd name="connsiteX3420" fmla="*/ 5514010 w 9586368"/>
                <a:gd name="connsiteY3420" fmla="*/ 4086287 h 6479439"/>
                <a:gd name="connsiteX3421" fmla="*/ 5504099 w 9586368"/>
                <a:gd name="connsiteY3421" fmla="*/ 4086287 h 6479439"/>
                <a:gd name="connsiteX3422" fmla="*/ 5500080 w 9586368"/>
                <a:gd name="connsiteY3422" fmla="*/ 4082248 h 6479439"/>
                <a:gd name="connsiteX3423" fmla="*/ 5500080 w 9586368"/>
                <a:gd name="connsiteY3423" fmla="*/ 4072377 h 6479439"/>
                <a:gd name="connsiteX3424" fmla="*/ 5264784 w 9586368"/>
                <a:gd name="connsiteY3424" fmla="*/ 4068339 h 6479439"/>
                <a:gd name="connsiteX3425" fmla="*/ 5274694 w 9586368"/>
                <a:gd name="connsiteY3425" fmla="*/ 4068339 h 6479439"/>
                <a:gd name="connsiteX3426" fmla="*/ 5278713 w 9586368"/>
                <a:gd name="connsiteY3426" fmla="*/ 4072377 h 6479439"/>
                <a:gd name="connsiteX3427" fmla="*/ 5278713 w 9586368"/>
                <a:gd name="connsiteY3427" fmla="*/ 4082248 h 6479439"/>
                <a:gd name="connsiteX3428" fmla="*/ 5274694 w 9586368"/>
                <a:gd name="connsiteY3428" fmla="*/ 4086287 h 6479439"/>
                <a:gd name="connsiteX3429" fmla="*/ 5264784 w 9586368"/>
                <a:gd name="connsiteY3429" fmla="*/ 4086287 h 6479439"/>
                <a:gd name="connsiteX3430" fmla="*/ 5260765 w 9586368"/>
                <a:gd name="connsiteY3430" fmla="*/ 4082248 h 6479439"/>
                <a:gd name="connsiteX3431" fmla="*/ 5260765 w 9586368"/>
                <a:gd name="connsiteY3431" fmla="*/ 4072377 h 6479439"/>
                <a:gd name="connsiteX3432" fmla="*/ 5025470 w 9586368"/>
                <a:gd name="connsiteY3432" fmla="*/ 4068339 h 6479439"/>
                <a:gd name="connsiteX3433" fmla="*/ 5035381 w 9586368"/>
                <a:gd name="connsiteY3433" fmla="*/ 4068339 h 6479439"/>
                <a:gd name="connsiteX3434" fmla="*/ 5039400 w 9586368"/>
                <a:gd name="connsiteY3434" fmla="*/ 4072377 h 6479439"/>
                <a:gd name="connsiteX3435" fmla="*/ 5039400 w 9586368"/>
                <a:gd name="connsiteY3435" fmla="*/ 4082248 h 6479439"/>
                <a:gd name="connsiteX3436" fmla="*/ 5035381 w 9586368"/>
                <a:gd name="connsiteY3436" fmla="*/ 4086287 h 6479439"/>
                <a:gd name="connsiteX3437" fmla="*/ 5025470 w 9586368"/>
                <a:gd name="connsiteY3437" fmla="*/ 4086287 h 6479439"/>
                <a:gd name="connsiteX3438" fmla="*/ 5021451 w 9586368"/>
                <a:gd name="connsiteY3438" fmla="*/ 4082248 h 6479439"/>
                <a:gd name="connsiteX3439" fmla="*/ 5021451 w 9586368"/>
                <a:gd name="connsiteY3439" fmla="*/ 4072377 h 6479439"/>
                <a:gd name="connsiteX3440" fmla="*/ 4786241 w 9586368"/>
                <a:gd name="connsiteY3440" fmla="*/ 4068339 h 6479439"/>
                <a:gd name="connsiteX3441" fmla="*/ 4796152 w 9586368"/>
                <a:gd name="connsiteY3441" fmla="*/ 4068339 h 6479439"/>
                <a:gd name="connsiteX3442" fmla="*/ 4800171 w 9586368"/>
                <a:gd name="connsiteY3442" fmla="*/ 4072377 h 6479439"/>
                <a:gd name="connsiteX3443" fmla="*/ 4800171 w 9586368"/>
                <a:gd name="connsiteY3443" fmla="*/ 4082248 h 6479439"/>
                <a:gd name="connsiteX3444" fmla="*/ 4796152 w 9586368"/>
                <a:gd name="connsiteY3444" fmla="*/ 4086287 h 6479439"/>
                <a:gd name="connsiteX3445" fmla="*/ 4786241 w 9586368"/>
                <a:gd name="connsiteY3445" fmla="*/ 4086287 h 6479439"/>
                <a:gd name="connsiteX3446" fmla="*/ 4782224 w 9586368"/>
                <a:gd name="connsiteY3446" fmla="*/ 4082248 h 6479439"/>
                <a:gd name="connsiteX3447" fmla="*/ 4782224 w 9586368"/>
                <a:gd name="connsiteY3447" fmla="*/ 4072377 h 6479439"/>
                <a:gd name="connsiteX3448" fmla="*/ 4546929 w 9586368"/>
                <a:gd name="connsiteY3448" fmla="*/ 4068339 h 6479439"/>
                <a:gd name="connsiteX3449" fmla="*/ 4556840 w 9586368"/>
                <a:gd name="connsiteY3449" fmla="*/ 4068339 h 6479439"/>
                <a:gd name="connsiteX3450" fmla="*/ 4560859 w 9586368"/>
                <a:gd name="connsiteY3450" fmla="*/ 4072377 h 6479439"/>
                <a:gd name="connsiteX3451" fmla="*/ 4560859 w 9586368"/>
                <a:gd name="connsiteY3451" fmla="*/ 4082248 h 6479439"/>
                <a:gd name="connsiteX3452" fmla="*/ 4556840 w 9586368"/>
                <a:gd name="connsiteY3452" fmla="*/ 4086287 h 6479439"/>
                <a:gd name="connsiteX3453" fmla="*/ 4546929 w 9586368"/>
                <a:gd name="connsiteY3453" fmla="*/ 4086287 h 6479439"/>
                <a:gd name="connsiteX3454" fmla="*/ 4542910 w 9586368"/>
                <a:gd name="connsiteY3454" fmla="*/ 4082248 h 6479439"/>
                <a:gd name="connsiteX3455" fmla="*/ 4542910 w 9586368"/>
                <a:gd name="connsiteY3455" fmla="*/ 4072377 h 6479439"/>
                <a:gd name="connsiteX3456" fmla="*/ 4307612 w 9586368"/>
                <a:gd name="connsiteY3456" fmla="*/ 4068339 h 6479439"/>
                <a:gd name="connsiteX3457" fmla="*/ 4317523 w 9586368"/>
                <a:gd name="connsiteY3457" fmla="*/ 4068339 h 6479439"/>
                <a:gd name="connsiteX3458" fmla="*/ 4321543 w 9586368"/>
                <a:gd name="connsiteY3458" fmla="*/ 4072377 h 6479439"/>
                <a:gd name="connsiteX3459" fmla="*/ 4321543 w 9586368"/>
                <a:gd name="connsiteY3459" fmla="*/ 4082248 h 6479439"/>
                <a:gd name="connsiteX3460" fmla="*/ 4317523 w 9586368"/>
                <a:gd name="connsiteY3460" fmla="*/ 4086287 h 6479439"/>
                <a:gd name="connsiteX3461" fmla="*/ 4307612 w 9586368"/>
                <a:gd name="connsiteY3461" fmla="*/ 4086287 h 6479439"/>
                <a:gd name="connsiteX3462" fmla="*/ 4303595 w 9586368"/>
                <a:gd name="connsiteY3462" fmla="*/ 4082248 h 6479439"/>
                <a:gd name="connsiteX3463" fmla="*/ 4303595 w 9586368"/>
                <a:gd name="connsiteY3463" fmla="*/ 4072377 h 6479439"/>
                <a:gd name="connsiteX3464" fmla="*/ 4068297 w 9586368"/>
                <a:gd name="connsiteY3464" fmla="*/ 4068339 h 6479439"/>
                <a:gd name="connsiteX3465" fmla="*/ 4078210 w 9586368"/>
                <a:gd name="connsiteY3465" fmla="*/ 4068339 h 6479439"/>
                <a:gd name="connsiteX3466" fmla="*/ 4082229 w 9586368"/>
                <a:gd name="connsiteY3466" fmla="*/ 4072377 h 6479439"/>
                <a:gd name="connsiteX3467" fmla="*/ 4082229 w 9586368"/>
                <a:gd name="connsiteY3467" fmla="*/ 4082248 h 6479439"/>
                <a:gd name="connsiteX3468" fmla="*/ 4078210 w 9586368"/>
                <a:gd name="connsiteY3468" fmla="*/ 4086287 h 6479439"/>
                <a:gd name="connsiteX3469" fmla="*/ 4068297 w 9586368"/>
                <a:gd name="connsiteY3469" fmla="*/ 4086287 h 6479439"/>
                <a:gd name="connsiteX3470" fmla="*/ 4064278 w 9586368"/>
                <a:gd name="connsiteY3470" fmla="*/ 4082248 h 6479439"/>
                <a:gd name="connsiteX3471" fmla="*/ 4064278 w 9586368"/>
                <a:gd name="connsiteY3471" fmla="*/ 4072377 h 6479439"/>
                <a:gd name="connsiteX3472" fmla="*/ 3828990 w 9586368"/>
                <a:gd name="connsiteY3472" fmla="*/ 4068339 h 6479439"/>
                <a:gd name="connsiteX3473" fmla="*/ 3838899 w 9586368"/>
                <a:gd name="connsiteY3473" fmla="*/ 4068339 h 6479439"/>
                <a:gd name="connsiteX3474" fmla="*/ 3842917 w 9586368"/>
                <a:gd name="connsiteY3474" fmla="*/ 4072377 h 6479439"/>
                <a:gd name="connsiteX3475" fmla="*/ 3842917 w 9586368"/>
                <a:gd name="connsiteY3475" fmla="*/ 4082248 h 6479439"/>
                <a:gd name="connsiteX3476" fmla="*/ 3838899 w 9586368"/>
                <a:gd name="connsiteY3476" fmla="*/ 4086287 h 6479439"/>
                <a:gd name="connsiteX3477" fmla="*/ 3828990 w 9586368"/>
                <a:gd name="connsiteY3477" fmla="*/ 4086287 h 6479439"/>
                <a:gd name="connsiteX3478" fmla="*/ 3824971 w 9586368"/>
                <a:gd name="connsiteY3478" fmla="*/ 4082248 h 6479439"/>
                <a:gd name="connsiteX3479" fmla="*/ 3824971 w 9586368"/>
                <a:gd name="connsiteY3479" fmla="*/ 4072377 h 6479439"/>
                <a:gd name="connsiteX3480" fmla="*/ 3589676 w 9586368"/>
                <a:gd name="connsiteY3480" fmla="*/ 4068339 h 6479439"/>
                <a:gd name="connsiteX3481" fmla="*/ 3599585 w 9586368"/>
                <a:gd name="connsiteY3481" fmla="*/ 4068339 h 6479439"/>
                <a:gd name="connsiteX3482" fmla="*/ 3603604 w 9586368"/>
                <a:gd name="connsiteY3482" fmla="*/ 4072377 h 6479439"/>
                <a:gd name="connsiteX3483" fmla="*/ 3603604 w 9586368"/>
                <a:gd name="connsiteY3483" fmla="*/ 4082248 h 6479439"/>
                <a:gd name="connsiteX3484" fmla="*/ 3599585 w 9586368"/>
                <a:gd name="connsiteY3484" fmla="*/ 4086287 h 6479439"/>
                <a:gd name="connsiteX3485" fmla="*/ 3589676 w 9586368"/>
                <a:gd name="connsiteY3485" fmla="*/ 4086287 h 6479439"/>
                <a:gd name="connsiteX3486" fmla="*/ 3585657 w 9586368"/>
                <a:gd name="connsiteY3486" fmla="*/ 4082248 h 6479439"/>
                <a:gd name="connsiteX3487" fmla="*/ 3585657 w 9586368"/>
                <a:gd name="connsiteY3487" fmla="*/ 4072377 h 6479439"/>
                <a:gd name="connsiteX3488" fmla="*/ 3350359 w 9586368"/>
                <a:gd name="connsiteY3488" fmla="*/ 4068339 h 6479439"/>
                <a:gd name="connsiteX3489" fmla="*/ 3360268 w 9586368"/>
                <a:gd name="connsiteY3489" fmla="*/ 4068339 h 6479439"/>
                <a:gd name="connsiteX3490" fmla="*/ 3364287 w 9586368"/>
                <a:gd name="connsiteY3490" fmla="*/ 4072377 h 6479439"/>
                <a:gd name="connsiteX3491" fmla="*/ 3364287 w 9586368"/>
                <a:gd name="connsiteY3491" fmla="*/ 4082248 h 6479439"/>
                <a:gd name="connsiteX3492" fmla="*/ 3360268 w 9586368"/>
                <a:gd name="connsiteY3492" fmla="*/ 4086287 h 6479439"/>
                <a:gd name="connsiteX3493" fmla="*/ 3350359 w 9586368"/>
                <a:gd name="connsiteY3493" fmla="*/ 4086287 h 6479439"/>
                <a:gd name="connsiteX3494" fmla="*/ 3346340 w 9586368"/>
                <a:gd name="connsiteY3494" fmla="*/ 4082248 h 6479439"/>
                <a:gd name="connsiteX3495" fmla="*/ 3346340 w 9586368"/>
                <a:gd name="connsiteY3495" fmla="*/ 4072377 h 6479439"/>
                <a:gd name="connsiteX3496" fmla="*/ 3111048 w 9586368"/>
                <a:gd name="connsiteY3496" fmla="*/ 4068339 h 6479439"/>
                <a:gd name="connsiteX3497" fmla="*/ 3120959 w 9586368"/>
                <a:gd name="connsiteY3497" fmla="*/ 4068339 h 6479439"/>
                <a:gd name="connsiteX3498" fmla="*/ 3124977 w 9586368"/>
                <a:gd name="connsiteY3498" fmla="*/ 4072377 h 6479439"/>
                <a:gd name="connsiteX3499" fmla="*/ 3124977 w 9586368"/>
                <a:gd name="connsiteY3499" fmla="*/ 4082248 h 6479439"/>
                <a:gd name="connsiteX3500" fmla="*/ 3120959 w 9586368"/>
                <a:gd name="connsiteY3500" fmla="*/ 4086287 h 6479439"/>
                <a:gd name="connsiteX3501" fmla="*/ 3111048 w 9586368"/>
                <a:gd name="connsiteY3501" fmla="*/ 4086287 h 6479439"/>
                <a:gd name="connsiteX3502" fmla="*/ 3107029 w 9586368"/>
                <a:gd name="connsiteY3502" fmla="*/ 4082248 h 6479439"/>
                <a:gd name="connsiteX3503" fmla="*/ 3107029 w 9586368"/>
                <a:gd name="connsiteY3503" fmla="*/ 4072377 h 6479439"/>
                <a:gd name="connsiteX3504" fmla="*/ 2871737 w 9586368"/>
                <a:gd name="connsiteY3504" fmla="*/ 4068339 h 6479439"/>
                <a:gd name="connsiteX3505" fmla="*/ 2881646 w 9586368"/>
                <a:gd name="connsiteY3505" fmla="*/ 4068339 h 6479439"/>
                <a:gd name="connsiteX3506" fmla="*/ 2885666 w 9586368"/>
                <a:gd name="connsiteY3506" fmla="*/ 4072377 h 6479439"/>
                <a:gd name="connsiteX3507" fmla="*/ 2885666 w 9586368"/>
                <a:gd name="connsiteY3507" fmla="*/ 4082248 h 6479439"/>
                <a:gd name="connsiteX3508" fmla="*/ 2881646 w 9586368"/>
                <a:gd name="connsiteY3508" fmla="*/ 4086287 h 6479439"/>
                <a:gd name="connsiteX3509" fmla="*/ 2871737 w 9586368"/>
                <a:gd name="connsiteY3509" fmla="*/ 4086287 h 6479439"/>
                <a:gd name="connsiteX3510" fmla="*/ 2867717 w 9586368"/>
                <a:gd name="connsiteY3510" fmla="*/ 4082248 h 6479439"/>
                <a:gd name="connsiteX3511" fmla="*/ 2867717 w 9586368"/>
                <a:gd name="connsiteY3511" fmla="*/ 4072377 h 6479439"/>
                <a:gd name="connsiteX3512" fmla="*/ 2632423 w 9586368"/>
                <a:gd name="connsiteY3512" fmla="*/ 4068339 h 6479439"/>
                <a:gd name="connsiteX3513" fmla="*/ 2642334 w 9586368"/>
                <a:gd name="connsiteY3513" fmla="*/ 4068339 h 6479439"/>
                <a:gd name="connsiteX3514" fmla="*/ 2646352 w 9586368"/>
                <a:gd name="connsiteY3514" fmla="*/ 4072377 h 6479439"/>
                <a:gd name="connsiteX3515" fmla="*/ 2646352 w 9586368"/>
                <a:gd name="connsiteY3515" fmla="*/ 4082248 h 6479439"/>
                <a:gd name="connsiteX3516" fmla="*/ 2642334 w 9586368"/>
                <a:gd name="connsiteY3516" fmla="*/ 4086287 h 6479439"/>
                <a:gd name="connsiteX3517" fmla="*/ 2632423 w 9586368"/>
                <a:gd name="connsiteY3517" fmla="*/ 4086287 h 6479439"/>
                <a:gd name="connsiteX3518" fmla="*/ 2628404 w 9586368"/>
                <a:gd name="connsiteY3518" fmla="*/ 4082248 h 6479439"/>
                <a:gd name="connsiteX3519" fmla="*/ 2628404 w 9586368"/>
                <a:gd name="connsiteY3519" fmla="*/ 4072377 h 6479439"/>
                <a:gd name="connsiteX3520" fmla="*/ 2393104 w 9586368"/>
                <a:gd name="connsiteY3520" fmla="*/ 4068339 h 6479439"/>
                <a:gd name="connsiteX3521" fmla="*/ 2403015 w 9586368"/>
                <a:gd name="connsiteY3521" fmla="*/ 4068339 h 6479439"/>
                <a:gd name="connsiteX3522" fmla="*/ 2407034 w 9586368"/>
                <a:gd name="connsiteY3522" fmla="*/ 4072377 h 6479439"/>
                <a:gd name="connsiteX3523" fmla="*/ 2407034 w 9586368"/>
                <a:gd name="connsiteY3523" fmla="*/ 4082248 h 6479439"/>
                <a:gd name="connsiteX3524" fmla="*/ 2403015 w 9586368"/>
                <a:gd name="connsiteY3524" fmla="*/ 4086287 h 6479439"/>
                <a:gd name="connsiteX3525" fmla="*/ 2393104 w 9586368"/>
                <a:gd name="connsiteY3525" fmla="*/ 4086287 h 6479439"/>
                <a:gd name="connsiteX3526" fmla="*/ 2389087 w 9586368"/>
                <a:gd name="connsiteY3526" fmla="*/ 4082248 h 6479439"/>
                <a:gd name="connsiteX3527" fmla="*/ 2389087 w 9586368"/>
                <a:gd name="connsiteY3527" fmla="*/ 4072377 h 6479439"/>
                <a:gd name="connsiteX3528" fmla="*/ 2157819 w 9586368"/>
                <a:gd name="connsiteY3528" fmla="*/ 4068339 h 6479439"/>
                <a:gd name="connsiteX3529" fmla="*/ 2167729 w 9586368"/>
                <a:gd name="connsiteY3529" fmla="*/ 4068339 h 6479439"/>
                <a:gd name="connsiteX3530" fmla="*/ 2171749 w 9586368"/>
                <a:gd name="connsiteY3530" fmla="*/ 4072377 h 6479439"/>
                <a:gd name="connsiteX3531" fmla="*/ 2171749 w 9586368"/>
                <a:gd name="connsiteY3531" fmla="*/ 4082248 h 6479439"/>
                <a:gd name="connsiteX3532" fmla="*/ 2167729 w 9586368"/>
                <a:gd name="connsiteY3532" fmla="*/ 4086287 h 6479439"/>
                <a:gd name="connsiteX3533" fmla="*/ 2157819 w 9586368"/>
                <a:gd name="connsiteY3533" fmla="*/ 4086287 h 6479439"/>
                <a:gd name="connsiteX3534" fmla="*/ 2153801 w 9586368"/>
                <a:gd name="connsiteY3534" fmla="*/ 4082248 h 6479439"/>
                <a:gd name="connsiteX3535" fmla="*/ 2153801 w 9586368"/>
                <a:gd name="connsiteY3535" fmla="*/ 4072377 h 6479439"/>
                <a:gd name="connsiteX3536" fmla="*/ 1918511 w 9586368"/>
                <a:gd name="connsiteY3536" fmla="*/ 4068339 h 6479439"/>
                <a:gd name="connsiteX3537" fmla="*/ 1928421 w 9586368"/>
                <a:gd name="connsiteY3537" fmla="*/ 4068339 h 6479439"/>
                <a:gd name="connsiteX3538" fmla="*/ 1932440 w 9586368"/>
                <a:gd name="connsiteY3538" fmla="*/ 4072377 h 6479439"/>
                <a:gd name="connsiteX3539" fmla="*/ 1932440 w 9586368"/>
                <a:gd name="connsiteY3539" fmla="*/ 4082248 h 6479439"/>
                <a:gd name="connsiteX3540" fmla="*/ 1928421 w 9586368"/>
                <a:gd name="connsiteY3540" fmla="*/ 4086287 h 6479439"/>
                <a:gd name="connsiteX3541" fmla="*/ 1918511 w 9586368"/>
                <a:gd name="connsiteY3541" fmla="*/ 4086287 h 6479439"/>
                <a:gd name="connsiteX3542" fmla="*/ 1914492 w 9586368"/>
                <a:gd name="connsiteY3542" fmla="*/ 4082248 h 6479439"/>
                <a:gd name="connsiteX3543" fmla="*/ 1914492 w 9586368"/>
                <a:gd name="connsiteY3543" fmla="*/ 4072377 h 6479439"/>
                <a:gd name="connsiteX3544" fmla="*/ 1679207 w 9586368"/>
                <a:gd name="connsiteY3544" fmla="*/ 4068339 h 6479439"/>
                <a:gd name="connsiteX3545" fmla="*/ 1689117 w 9586368"/>
                <a:gd name="connsiteY3545" fmla="*/ 4068339 h 6479439"/>
                <a:gd name="connsiteX3546" fmla="*/ 1693137 w 9586368"/>
                <a:gd name="connsiteY3546" fmla="*/ 4072377 h 6479439"/>
                <a:gd name="connsiteX3547" fmla="*/ 1693137 w 9586368"/>
                <a:gd name="connsiteY3547" fmla="*/ 4082248 h 6479439"/>
                <a:gd name="connsiteX3548" fmla="*/ 1689117 w 9586368"/>
                <a:gd name="connsiteY3548" fmla="*/ 4086287 h 6479439"/>
                <a:gd name="connsiteX3549" fmla="*/ 1679207 w 9586368"/>
                <a:gd name="connsiteY3549" fmla="*/ 4086287 h 6479439"/>
                <a:gd name="connsiteX3550" fmla="*/ 1675189 w 9586368"/>
                <a:gd name="connsiteY3550" fmla="*/ 4082248 h 6479439"/>
                <a:gd name="connsiteX3551" fmla="*/ 1675189 w 9586368"/>
                <a:gd name="connsiteY3551" fmla="*/ 4072377 h 6479439"/>
                <a:gd name="connsiteX3552" fmla="*/ 1439891 w 9586368"/>
                <a:gd name="connsiteY3552" fmla="*/ 4068339 h 6479439"/>
                <a:gd name="connsiteX3553" fmla="*/ 1449802 w 9586368"/>
                <a:gd name="connsiteY3553" fmla="*/ 4068339 h 6479439"/>
                <a:gd name="connsiteX3554" fmla="*/ 1453820 w 9586368"/>
                <a:gd name="connsiteY3554" fmla="*/ 4072377 h 6479439"/>
                <a:gd name="connsiteX3555" fmla="*/ 1453820 w 9586368"/>
                <a:gd name="connsiteY3555" fmla="*/ 4082248 h 6479439"/>
                <a:gd name="connsiteX3556" fmla="*/ 1449802 w 9586368"/>
                <a:gd name="connsiteY3556" fmla="*/ 4086287 h 6479439"/>
                <a:gd name="connsiteX3557" fmla="*/ 1439891 w 9586368"/>
                <a:gd name="connsiteY3557" fmla="*/ 4086287 h 6479439"/>
                <a:gd name="connsiteX3558" fmla="*/ 1435873 w 9586368"/>
                <a:gd name="connsiteY3558" fmla="*/ 4082248 h 6479439"/>
                <a:gd name="connsiteX3559" fmla="*/ 1435873 w 9586368"/>
                <a:gd name="connsiteY3559" fmla="*/ 4072377 h 6479439"/>
                <a:gd name="connsiteX3560" fmla="*/ 1200576 w 9586368"/>
                <a:gd name="connsiteY3560" fmla="*/ 4068339 h 6479439"/>
                <a:gd name="connsiteX3561" fmla="*/ 1210486 w 9586368"/>
                <a:gd name="connsiteY3561" fmla="*/ 4068339 h 6479439"/>
                <a:gd name="connsiteX3562" fmla="*/ 1214505 w 9586368"/>
                <a:gd name="connsiteY3562" fmla="*/ 4072377 h 6479439"/>
                <a:gd name="connsiteX3563" fmla="*/ 1214505 w 9586368"/>
                <a:gd name="connsiteY3563" fmla="*/ 4082248 h 6479439"/>
                <a:gd name="connsiteX3564" fmla="*/ 1210486 w 9586368"/>
                <a:gd name="connsiteY3564" fmla="*/ 4086287 h 6479439"/>
                <a:gd name="connsiteX3565" fmla="*/ 1200576 w 9586368"/>
                <a:gd name="connsiteY3565" fmla="*/ 4086287 h 6479439"/>
                <a:gd name="connsiteX3566" fmla="*/ 1196558 w 9586368"/>
                <a:gd name="connsiteY3566" fmla="*/ 4082248 h 6479439"/>
                <a:gd name="connsiteX3567" fmla="*/ 1196558 w 9586368"/>
                <a:gd name="connsiteY3567" fmla="*/ 4072377 h 6479439"/>
                <a:gd name="connsiteX3568" fmla="*/ 961263 w 9586368"/>
                <a:gd name="connsiteY3568" fmla="*/ 4068339 h 6479439"/>
                <a:gd name="connsiteX3569" fmla="*/ 971174 w 9586368"/>
                <a:gd name="connsiteY3569" fmla="*/ 4068339 h 6479439"/>
                <a:gd name="connsiteX3570" fmla="*/ 975192 w 9586368"/>
                <a:gd name="connsiteY3570" fmla="*/ 4072377 h 6479439"/>
                <a:gd name="connsiteX3571" fmla="*/ 975192 w 9586368"/>
                <a:gd name="connsiteY3571" fmla="*/ 4082248 h 6479439"/>
                <a:gd name="connsiteX3572" fmla="*/ 971174 w 9586368"/>
                <a:gd name="connsiteY3572" fmla="*/ 4086287 h 6479439"/>
                <a:gd name="connsiteX3573" fmla="*/ 961263 w 9586368"/>
                <a:gd name="connsiteY3573" fmla="*/ 4086287 h 6479439"/>
                <a:gd name="connsiteX3574" fmla="*/ 957244 w 9586368"/>
                <a:gd name="connsiteY3574" fmla="*/ 4082248 h 6479439"/>
                <a:gd name="connsiteX3575" fmla="*/ 957244 w 9586368"/>
                <a:gd name="connsiteY3575" fmla="*/ 4072377 h 6479439"/>
                <a:gd name="connsiteX3576" fmla="*/ 721965 w 9586368"/>
                <a:gd name="connsiteY3576" fmla="*/ 4068339 h 6479439"/>
                <a:gd name="connsiteX3577" fmla="*/ 731876 w 9586368"/>
                <a:gd name="connsiteY3577" fmla="*/ 4068339 h 6479439"/>
                <a:gd name="connsiteX3578" fmla="*/ 735894 w 9586368"/>
                <a:gd name="connsiteY3578" fmla="*/ 4072377 h 6479439"/>
                <a:gd name="connsiteX3579" fmla="*/ 735894 w 9586368"/>
                <a:gd name="connsiteY3579" fmla="*/ 4082248 h 6479439"/>
                <a:gd name="connsiteX3580" fmla="*/ 731876 w 9586368"/>
                <a:gd name="connsiteY3580" fmla="*/ 4086287 h 6479439"/>
                <a:gd name="connsiteX3581" fmla="*/ 721965 w 9586368"/>
                <a:gd name="connsiteY3581" fmla="*/ 4086287 h 6479439"/>
                <a:gd name="connsiteX3582" fmla="*/ 717946 w 9586368"/>
                <a:gd name="connsiteY3582" fmla="*/ 4082248 h 6479439"/>
                <a:gd name="connsiteX3583" fmla="*/ 717946 w 9586368"/>
                <a:gd name="connsiteY3583" fmla="*/ 4072377 h 6479439"/>
                <a:gd name="connsiteX3584" fmla="*/ 482653 w 9586368"/>
                <a:gd name="connsiteY3584" fmla="*/ 4068339 h 6479439"/>
                <a:gd name="connsiteX3585" fmla="*/ 492563 w 9586368"/>
                <a:gd name="connsiteY3585" fmla="*/ 4068339 h 6479439"/>
                <a:gd name="connsiteX3586" fmla="*/ 496583 w 9586368"/>
                <a:gd name="connsiteY3586" fmla="*/ 4072377 h 6479439"/>
                <a:gd name="connsiteX3587" fmla="*/ 496583 w 9586368"/>
                <a:gd name="connsiteY3587" fmla="*/ 4082248 h 6479439"/>
                <a:gd name="connsiteX3588" fmla="*/ 492563 w 9586368"/>
                <a:gd name="connsiteY3588" fmla="*/ 4086287 h 6479439"/>
                <a:gd name="connsiteX3589" fmla="*/ 482653 w 9586368"/>
                <a:gd name="connsiteY3589" fmla="*/ 4086287 h 6479439"/>
                <a:gd name="connsiteX3590" fmla="*/ 478634 w 9586368"/>
                <a:gd name="connsiteY3590" fmla="*/ 4082248 h 6479439"/>
                <a:gd name="connsiteX3591" fmla="*/ 478634 w 9586368"/>
                <a:gd name="connsiteY3591" fmla="*/ 4072377 h 6479439"/>
                <a:gd name="connsiteX3592" fmla="*/ 243339 w 9586368"/>
                <a:gd name="connsiteY3592" fmla="*/ 4068339 h 6479439"/>
                <a:gd name="connsiteX3593" fmla="*/ 253250 w 9586368"/>
                <a:gd name="connsiteY3593" fmla="*/ 4068339 h 6479439"/>
                <a:gd name="connsiteX3594" fmla="*/ 257269 w 9586368"/>
                <a:gd name="connsiteY3594" fmla="*/ 4072377 h 6479439"/>
                <a:gd name="connsiteX3595" fmla="*/ 257269 w 9586368"/>
                <a:gd name="connsiteY3595" fmla="*/ 4082248 h 6479439"/>
                <a:gd name="connsiteX3596" fmla="*/ 253250 w 9586368"/>
                <a:gd name="connsiteY3596" fmla="*/ 4086287 h 6479439"/>
                <a:gd name="connsiteX3597" fmla="*/ 243339 w 9586368"/>
                <a:gd name="connsiteY3597" fmla="*/ 4086287 h 6479439"/>
                <a:gd name="connsiteX3598" fmla="*/ 239320 w 9586368"/>
                <a:gd name="connsiteY3598" fmla="*/ 4082248 h 6479439"/>
                <a:gd name="connsiteX3599" fmla="*/ 239320 w 9586368"/>
                <a:gd name="connsiteY3599" fmla="*/ 4072377 h 6479439"/>
                <a:gd name="connsiteX3600" fmla="*/ 4026 w 9586368"/>
                <a:gd name="connsiteY3600" fmla="*/ 4068339 h 6479439"/>
                <a:gd name="connsiteX3601" fmla="*/ 13936 w 9586368"/>
                <a:gd name="connsiteY3601" fmla="*/ 4068339 h 6479439"/>
                <a:gd name="connsiteX3602" fmla="*/ 17956 w 9586368"/>
                <a:gd name="connsiteY3602" fmla="*/ 4072377 h 6479439"/>
                <a:gd name="connsiteX3603" fmla="*/ 17956 w 9586368"/>
                <a:gd name="connsiteY3603" fmla="*/ 4082248 h 6479439"/>
                <a:gd name="connsiteX3604" fmla="*/ 13936 w 9586368"/>
                <a:gd name="connsiteY3604" fmla="*/ 4086287 h 6479439"/>
                <a:gd name="connsiteX3605" fmla="*/ 4026 w 9586368"/>
                <a:gd name="connsiteY3605" fmla="*/ 4086287 h 6479439"/>
                <a:gd name="connsiteX3606" fmla="*/ 7 w 9586368"/>
                <a:gd name="connsiteY3606" fmla="*/ 4082248 h 6479439"/>
                <a:gd name="connsiteX3607" fmla="*/ 7 w 9586368"/>
                <a:gd name="connsiteY3607" fmla="*/ 4072377 h 6479439"/>
                <a:gd name="connsiteX3608" fmla="*/ 2157820 w 9586368"/>
                <a:gd name="connsiteY3608" fmla="*/ 3829058 h 6479439"/>
                <a:gd name="connsiteX3609" fmla="*/ 2167731 w 9586368"/>
                <a:gd name="connsiteY3609" fmla="*/ 3829058 h 6479439"/>
                <a:gd name="connsiteX3610" fmla="*/ 2171749 w 9586368"/>
                <a:gd name="connsiteY3610" fmla="*/ 3833097 h 6479439"/>
                <a:gd name="connsiteX3611" fmla="*/ 2171749 w 9586368"/>
                <a:gd name="connsiteY3611" fmla="*/ 3842968 h 6479439"/>
                <a:gd name="connsiteX3612" fmla="*/ 2167731 w 9586368"/>
                <a:gd name="connsiteY3612" fmla="*/ 3847007 h 6479439"/>
                <a:gd name="connsiteX3613" fmla="*/ 2157820 w 9586368"/>
                <a:gd name="connsiteY3613" fmla="*/ 3847007 h 6479439"/>
                <a:gd name="connsiteX3614" fmla="*/ 2153801 w 9586368"/>
                <a:gd name="connsiteY3614" fmla="*/ 3842968 h 6479439"/>
                <a:gd name="connsiteX3615" fmla="*/ 2153801 w 9586368"/>
                <a:gd name="connsiteY3615" fmla="*/ 3833097 h 6479439"/>
                <a:gd name="connsiteX3616" fmla="*/ 1918511 w 9586368"/>
                <a:gd name="connsiteY3616" fmla="*/ 3829058 h 6479439"/>
                <a:gd name="connsiteX3617" fmla="*/ 1928421 w 9586368"/>
                <a:gd name="connsiteY3617" fmla="*/ 3829058 h 6479439"/>
                <a:gd name="connsiteX3618" fmla="*/ 1932440 w 9586368"/>
                <a:gd name="connsiteY3618" fmla="*/ 3833097 h 6479439"/>
                <a:gd name="connsiteX3619" fmla="*/ 1932440 w 9586368"/>
                <a:gd name="connsiteY3619" fmla="*/ 3842968 h 6479439"/>
                <a:gd name="connsiteX3620" fmla="*/ 1928421 w 9586368"/>
                <a:gd name="connsiteY3620" fmla="*/ 3847007 h 6479439"/>
                <a:gd name="connsiteX3621" fmla="*/ 1918511 w 9586368"/>
                <a:gd name="connsiteY3621" fmla="*/ 3847007 h 6479439"/>
                <a:gd name="connsiteX3622" fmla="*/ 1914493 w 9586368"/>
                <a:gd name="connsiteY3622" fmla="*/ 3842968 h 6479439"/>
                <a:gd name="connsiteX3623" fmla="*/ 1914493 w 9586368"/>
                <a:gd name="connsiteY3623" fmla="*/ 3833097 h 6479439"/>
                <a:gd name="connsiteX3624" fmla="*/ 1679209 w 9586368"/>
                <a:gd name="connsiteY3624" fmla="*/ 3829058 h 6479439"/>
                <a:gd name="connsiteX3625" fmla="*/ 1689118 w 9586368"/>
                <a:gd name="connsiteY3625" fmla="*/ 3829058 h 6479439"/>
                <a:gd name="connsiteX3626" fmla="*/ 1693137 w 9586368"/>
                <a:gd name="connsiteY3626" fmla="*/ 3833097 h 6479439"/>
                <a:gd name="connsiteX3627" fmla="*/ 1693137 w 9586368"/>
                <a:gd name="connsiteY3627" fmla="*/ 3842968 h 6479439"/>
                <a:gd name="connsiteX3628" fmla="*/ 1689118 w 9586368"/>
                <a:gd name="connsiteY3628" fmla="*/ 3847007 h 6479439"/>
                <a:gd name="connsiteX3629" fmla="*/ 1679209 w 9586368"/>
                <a:gd name="connsiteY3629" fmla="*/ 3847007 h 6479439"/>
                <a:gd name="connsiteX3630" fmla="*/ 1675189 w 9586368"/>
                <a:gd name="connsiteY3630" fmla="*/ 3842968 h 6479439"/>
                <a:gd name="connsiteX3631" fmla="*/ 1675189 w 9586368"/>
                <a:gd name="connsiteY3631" fmla="*/ 3833097 h 6479439"/>
                <a:gd name="connsiteX3632" fmla="*/ 1439892 w 9586368"/>
                <a:gd name="connsiteY3632" fmla="*/ 3829058 h 6479439"/>
                <a:gd name="connsiteX3633" fmla="*/ 1449802 w 9586368"/>
                <a:gd name="connsiteY3633" fmla="*/ 3829058 h 6479439"/>
                <a:gd name="connsiteX3634" fmla="*/ 1453820 w 9586368"/>
                <a:gd name="connsiteY3634" fmla="*/ 3833097 h 6479439"/>
                <a:gd name="connsiteX3635" fmla="*/ 1453820 w 9586368"/>
                <a:gd name="connsiteY3635" fmla="*/ 3842968 h 6479439"/>
                <a:gd name="connsiteX3636" fmla="*/ 1449802 w 9586368"/>
                <a:gd name="connsiteY3636" fmla="*/ 3847007 h 6479439"/>
                <a:gd name="connsiteX3637" fmla="*/ 1439892 w 9586368"/>
                <a:gd name="connsiteY3637" fmla="*/ 3847007 h 6479439"/>
                <a:gd name="connsiteX3638" fmla="*/ 1435874 w 9586368"/>
                <a:gd name="connsiteY3638" fmla="*/ 3842968 h 6479439"/>
                <a:gd name="connsiteX3639" fmla="*/ 1435874 w 9586368"/>
                <a:gd name="connsiteY3639" fmla="*/ 3833097 h 6479439"/>
                <a:gd name="connsiteX3640" fmla="*/ 1200577 w 9586368"/>
                <a:gd name="connsiteY3640" fmla="*/ 3829058 h 6479439"/>
                <a:gd name="connsiteX3641" fmla="*/ 1210487 w 9586368"/>
                <a:gd name="connsiteY3641" fmla="*/ 3829058 h 6479439"/>
                <a:gd name="connsiteX3642" fmla="*/ 1214506 w 9586368"/>
                <a:gd name="connsiteY3642" fmla="*/ 3833097 h 6479439"/>
                <a:gd name="connsiteX3643" fmla="*/ 1214506 w 9586368"/>
                <a:gd name="connsiteY3643" fmla="*/ 3842968 h 6479439"/>
                <a:gd name="connsiteX3644" fmla="*/ 1210487 w 9586368"/>
                <a:gd name="connsiteY3644" fmla="*/ 3847007 h 6479439"/>
                <a:gd name="connsiteX3645" fmla="*/ 1200577 w 9586368"/>
                <a:gd name="connsiteY3645" fmla="*/ 3847007 h 6479439"/>
                <a:gd name="connsiteX3646" fmla="*/ 1196558 w 9586368"/>
                <a:gd name="connsiteY3646" fmla="*/ 3842968 h 6479439"/>
                <a:gd name="connsiteX3647" fmla="*/ 1196558 w 9586368"/>
                <a:gd name="connsiteY3647" fmla="*/ 3833097 h 6479439"/>
                <a:gd name="connsiteX3648" fmla="*/ 961264 w 9586368"/>
                <a:gd name="connsiteY3648" fmla="*/ 3829058 h 6479439"/>
                <a:gd name="connsiteX3649" fmla="*/ 971174 w 9586368"/>
                <a:gd name="connsiteY3649" fmla="*/ 3829058 h 6479439"/>
                <a:gd name="connsiteX3650" fmla="*/ 975193 w 9586368"/>
                <a:gd name="connsiteY3650" fmla="*/ 3833097 h 6479439"/>
                <a:gd name="connsiteX3651" fmla="*/ 975193 w 9586368"/>
                <a:gd name="connsiteY3651" fmla="*/ 3842968 h 6479439"/>
                <a:gd name="connsiteX3652" fmla="*/ 971174 w 9586368"/>
                <a:gd name="connsiteY3652" fmla="*/ 3847007 h 6479439"/>
                <a:gd name="connsiteX3653" fmla="*/ 961264 w 9586368"/>
                <a:gd name="connsiteY3653" fmla="*/ 3847007 h 6479439"/>
                <a:gd name="connsiteX3654" fmla="*/ 957245 w 9586368"/>
                <a:gd name="connsiteY3654" fmla="*/ 3842968 h 6479439"/>
                <a:gd name="connsiteX3655" fmla="*/ 957245 w 9586368"/>
                <a:gd name="connsiteY3655" fmla="*/ 3833097 h 6479439"/>
                <a:gd name="connsiteX3656" fmla="*/ 9572438 w 9586368"/>
                <a:gd name="connsiteY3656" fmla="*/ 3829008 h 6479439"/>
                <a:gd name="connsiteX3657" fmla="*/ 9582349 w 9586368"/>
                <a:gd name="connsiteY3657" fmla="*/ 3829008 h 6479439"/>
                <a:gd name="connsiteX3658" fmla="*/ 9586368 w 9586368"/>
                <a:gd name="connsiteY3658" fmla="*/ 3833046 h 6479439"/>
                <a:gd name="connsiteX3659" fmla="*/ 9586368 w 9586368"/>
                <a:gd name="connsiteY3659" fmla="*/ 3842917 h 6479439"/>
                <a:gd name="connsiteX3660" fmla="*/ 9582349 w 9586368"/>
                <a:gd name="connsiteY3660" fmla="*/ 3846956 h 6479439"/>
                <a:gd name="connsiteX3661" fmla="*/ 9572438 w 9586368"/>
                <a:gd name="connsiteY3661" fmla="*/ 3846956 h 6479439"/>
                <a:gd name="connsiteX3662" fmla="*/ 9568419 w 9586368"/>
                <a:gd name="connsiteY3662" fmla="*/ 3842917 h 6479439"/>
                <a:gd name="connsiteX3663" fmla="*/ 9568419 w 9586368"/>
                <a:gd name="connsiteY3663" fmla="*/ 3833046 h 6479439"/>
                <a:gd name="connsiteX3664" fmla="*/ 9333125 w 9586368"/>
                <a:gd name="connsiteY3664" fmla="*/ 3829008 h 6479439"/>
                <a:gd name="connsiteX3665" fmla="*/ 9343036 w 9586368"/>
                <a:gd name="connsiteY3665" fmla="*/ 3829008 h 6479439"/>
                <a:gd name="connsiteX3666" fmla="*/ 9347055 w 9586368"/>
                <a:gd name="connsiteY3666" fmla="*/ 3833046 h 6479439"/>
                <a:gd name="connsiteX3667" fmla="*/ 9347055 w 9586368"/>
                <a:gd name="connsiteY3667" fmla="*/ 3842917 h 6479439"/>
                <a:gd name="connsiteX3668" fmla="*/ 9343036 w 9586368"/>
                <a:gd name="connsiteY3668" fmla="*/ 3846956 h 6479439"/>
                <a:gd name="connsiteX3669" fmla="*/ 9333125 w 9586368"/>
                <a:gd name="connsiteY3669" fmla="*/ 3846956 h 6479439"/>
                <a:gd name="connsiteX3670" fmla="*/ 9329106 w 9586368"/>
                <a:gd name="connsiteY3670" fmla="*/ 3842917 h 6479439"/>
                <a:gd name="connsiteX3671" fmla="*/ 9329106 w 9586368"/>
                <a:gd name="connsiteY3671" fmla="*/ 3833046 h 6479439"/>
                <a:gd name="connsiteX3672" fmla="*/ 9093811 w 9586368"/>
                <a:gd name="connsiteY3672" fmla="*/ 3829008 h 6479439"/>
                <a:gd name="connsiteX3673" fmla="*/ 9103722 w 9586368"/>
                <a:gd name="connsiteY3673" fmla="*/ 3829008 h 6479439"/>
                <a:gd name="connsiteX3674" fmla="*/ 9107741 w 9586368"/>
                <a:gd name="connsiteY3674" fmla="*/ 3833046 h 6479439"/>
                <a:gd name="connsiteX3675" fmla="*/ 9107741 w 9586368"/>
                <a:gd name="connsiteY3675" fmla="*/ 3842917 h 6479439"/>
                <a:gd name="connsiteX3676" fmla="*/ 9103722 w 9586368"/>
                <a:gd name="connsiteY3676" fmla="*/ 3846956 h 6479439"/>
                <a:gd name="connsiteX3677" fmla="*/ 9093811 w 9586368"/>
                <a:gd name="connsiteY3677" fmla="*/ 3846956 h 6479439"/>
                <a:gd name="connsiteX3678" fmla="*/ 9089792 w 9586368"/>
                <a:gd name="connsiteY3678" fmla="*/ 3842917 h 6479439"/>
                <a:gd name="connsiteX3679" fmla="*/ 9089792 w 9586368"/>
                <a:gd name="connsiteY3679" fmla="*/ 3833046 h 6479439"/>
                <a:gd name="connsiteX3680" fmla="*/ 8854496 w 9586368"/>
                <a:gd name="connsiteY3680" fmla="*/ 3829008 h 6479439"/>
                <a:gd name="connsiteX3681" fmla="*/ 8864407 w 9586368"/>
                <a:gd name="connsiteY3681" fmla="*/ 3829008 h 6479439"/>
                <a:gd name="connsiteX3682" fmla="*/ 8868426 w 9586368"/>
                <a:gd name="connsiteY3682" fmla="*/ 3833046 h 6479439"/>
                <a:gd name="connsiteX3683" fmla="*/ 8868426 w 9586368"/>
                <a:gd name="connsiteY3683" fmla="*/ 3842917 h 6479439"/>
                <a:gd name="connsiteX3684" fmla="*/ 8864407 w 9586368"/>
                <a:gd name="connsiteY3684" fmla="*/ 3846956 h 6479439"/>
                <a:gd name="connsiteX3685" fmla="*/ 8854496 w 9586368"/>
                <a:gd name="connsiteY3685" fmla="*/ 3846956 h 6479439"/>
                <a:gd name="connsiteX3686" fmla="*/ 8850477 w 9586368"/>
                <a:gd name="connsiteY3686" fmla="*/ 3842917 h 6479439"/>
                <a:gd name="connsiteX3687" fmla="*/ 8850477 w 9586368"/>
                <a:gd name="connsiteY3687" fmla="*/ 3833046 h 6479439"/>
                <a:gd name="connsiteX3688" fmla="*/ 8615184 w 9586368"/>
                <a:gd name="connsiteY3688" fmla="*/ 3829008 h 6479439"/>
                <a:gd name="connsiteX3689" fmla="*/ 8625095 w 9586368"/>
                <a:gd name="connsiteY3689" fmla="*/ 3829008 h 6479439"/>
                <a:gd name="connsiteX3690" fmla="*/ 8629114 w 9586368"/>
                <a:gd name="connsiteY3690" fmla="*/ 3833046 h 6479439"/>
                <a:gd name="connsiteX3691" fmla="*/ 8629114 w 9586368"/>
                <a:gd name="connsiteY3691" fmla="*/ 3842917 h 6479439"/>
                <a:gd name="connsiteX3692" fmla="*/ 8625095 w 9586368"/>
                <a:gd name="connsiteY3692" fmla="*/ 3846956 h 6479439"/>
                <a:gd name="connsiteX3693" fmla="*/ 8615184 w 9586368"/>
                <a:gd name="connsiteY3693" fmla="*/ 3846956 h 6479439"/>
                <a:gd name="connsiteX3694" fmla="*/ 8611165 w 9586368"/>
                <a:gd name="connsiteY3694" fmla="*/ 3842917 h 6479439"/>
                <a:gd name="connsiteX3695" fmla="*/ 8611165 w 9586368"/>
                <a:gd name="connsiteY3695" fmla="*/ 3833046 h 6479439"/>
                <a:gd name="connsiteX3696" fmla="*/ 8375869 w 9586368"/>
                <a:gd name="connsiteY3696" fmla="*/ 3829008 h 6479439"/>
                <a:gd name="connsiteX3697" fmla="*/ 8385779 w 9586368"/>
                <a:gd name="connsiteY3697" fmla="*/ 3829008 h 6479439"/>
                <a:gd name="connsiteX3698" fmla="*/ 8389799 w 9586368"/>
                <a:gd name="connsiteY3698" fmla="*/ 3833046 h 6479439"/>
                <a:gd name="connsiteX3699" fmla="*/ 8389799 w 9586368"/>
                <a:gd name="connsiteY3699" fmla="*/ 3842917 h 6479439"/>
                <a:gd name="connsiteX3700" fmla="*/ 8385779 w 9586368"/>
                <a:gd name="connsiteY3700" fmla="*/ 3846956 h 6479439"/>
                <a:gd name="connsiteX3701" fmla="*/ 8375869 w 9586368"/>
                <a:gd name="connsiteY3701" fmla="*/ 3846956 h 6479439"/>
                <a:gd name="connsiteX3702" fmla="*/ 8371850 w 9586368"/>
                <a:gd name="connsiteY3702" fmla="*/ 3842917 h 6479439"/>
                <a:gd name="connsiteX3703" fmla="*/ 8371850 w 9586368"/>
                <a:gd name="connsiteY3703" fmla="*/ 3833046 h 6479439"/>
                <a:gd name="connsiteX3704" fmla="*/ 8136553 w 9586368"/>
                <a:gd name="connsiteY3704" fmla="*/ 3829008 h 6479439"/>
                <a:gd name="connsiteX3705" fmla="*/ 8146464 w 9586368"/>
                <a:gd name="connsiteY3705" fmla="*/ 3829008 h 6479439"/>
                <a:gd name="connsiteX3706" fmla="*/ 8150483 w 9586368"/>
                <a:gd name="connsiteY3706" fmla="*/ 3833046 h 6479439"/>
                <a:gd name="connsiteX3707" fmla="*/ 8150483 w 9586368"/>
                <a:gd name="connsiteY3707" fmla="*/ 3842917 h 6479439"/>
                <a:gd name="connsiteX3708" fmla="*/ 8146464 w 9586368"/>
                <a:gd name="connsiteY3708" fmla="*/ 3846956 h 6479439"/>
                <a:gd name="connsiteX3709" fmla="*/ 8136553 w 9586368"/>
                <a:gd name="connsiteY3709" fmla="*/ 3846956 h 6479439"/>
                <a:gd name="connsiteX3710" fmla="*/ 8132534 w 9586368"/>
                <a:gd name="connsiteY3710" fmla="*/ 3842917 h 6479439"/>
                <a:gd name="connsiteX3711" fmla="*/ 8132534 w 9586368"/>
                <a:gd name="connsiteY3711" fmla="*/ 3833046 h 6479439"/>
                <a:gd name="connsiteX3712" fmla="*/ 7897241 w 9586368"/>
                <a:gd name="connsiteY3712" fmla="*/ 3829008 h 6479439"/>
                <a:gd name="connsiteX3713" fmla="*/ 7907151 w 9586368"/>
                <a:gd name="connsiteY3713" fmla="*/ 3829008 h 6479439"/>
                <a:gd name="connsiteX3714" fmla="*/ 7911170 w 9586368"/>
                <a:gd name="connsiteY3714" fmla="*/ 3833046 h 6479439"/>
                <a:gd name="connsiteX3715" fmla="*/ 7911170 w 9586368"/>
                <a:gd name="connsiteY3715" fmla="*/ 3842917 h 6479439"/>
                <a:gd name="connsiteX3716" fmla="*/ 7907151 w 9586368"/>
                <a:gd name="connsiteY3716" fmla="*/ 3846956 h 6479439"/>
                <a:gd name="connsiteX3717" fmla="*/ 7897241 w 9586368"/>
                <a:gd name="connsiteY3717" fmla="*/ 3846956 h 6479439"/>
                <a:gd name="connsiteX3718" fmla="*/ 7893222 w 9586368"/>
                <a:gd name="connsiteY3718" fmla="*/ 3842917 h 6479439"/>
                <a:gd name="connsiteX3719" fmla="*/ 7893222 w 9586368"/>
                <a:gd name="connsiteY3719" fmla="*/ 3833046 h 6479439"/>
                <a:gd name="connsiteX3720" fmla="*/ 7657926 w 9586368"/>
                <a:gd name="connsiteY3720" fmla="*/ 3829008 h 6479439"/>
                <a:gd name="connsiteX3721" fmla="*/ 7667836 w 9586368"/>
                <a:gd name="connsiteY3721" fmla="*/ 3829008 h 6479439"/>
                <a:gd name="connsiteX3722" fmla="*/ 7671855 w 9586368"/>
                <a:gd name="connsiteY3722" fmla="*/ 3833046 h 6479439"/>
                <a:gd name="connsiteX3723" fmla="*/ 7671855 w 9586368"/>
                <a:gd name="connsiteY3723" fmla="*/ 3842917 h 6479439"/>
                <a:gd name="connsiteX3724" fmla="*/ 7667836 w 9586368"/>
                <a:gd name="connsiteY3724" fmla="*/ 3846956 h 6479439"/>
                <a:gd name="connsiteX3725" fmla="*/ 7657926 w 9586368"/>
                <a:gd name="connsiteY3725" fmla="*/ 3846956 h 6479439"/>
                <a:gd name="connsiteX3726" fmla="*/ 7653906 w 9586368"/>
                <a:gd name="connsiteY3726" fmla="*/ 3842917 h 6479439"/>
                <a:gd name="connsiteX3727" fmla="*/ 7653906 w 9586368"/>
                <a:gd name="connsiteY3727" fmla="*/ 3833046 h 6479439"/>
                <a:gd name="connsiteX3728" fmla="*/ 7418611 w 9586368"/>
                <a:gd name="connsiteY3728" fmla="*/ 3829008 h 6479439"/>
                <a:gd name="connsiteX3729" fmla="*/ 7428521 w 9586368"/>
                <a:gd name="connsiteY3729" fmla="*/ 3829008 h 6479439"/>
                <a:gd name="connsiteX3730" fmla="*/ 7432540 w 9586368"/>
                <a:gd name="connsiteY3730" fmla="*/ 3833046 h 6479439"/>
                <a:gd name="connsiteX3731" fmla="*/ 7432540 w 9586368"/>
                <a:gd name="connsiteY3731" fmla="*/ 3842917 h 6479439"/>
                <a:gd name="connsiteX3732" fmla="*/ 7428521 w 9586368"/>
                <a:gd name="connsiteY3732" fmla="*/ 3846956 h 6479439"/>
                <a:gd name="connsiteX3733" fmla="*/ 7418611 w 9586368"/>
                <a:gd name="connsiteY3733" fmla="*/ 3846956 h 6479439"/>
                <a:gd name="connsiteX3734" fmla="*/ 7414592 w 9586368"/>
                <a:gd name="connsiteY3734" fmla="*/ 3842917 h 6479439"/>
                <a:gd name="connsiteX3735" fmla="*/ 7414592 w 9586368"/>
                <a:gd name="connsiteY3735" fmla="*/ 3833046 h 6479439"/>
                <a:gd name="connsiteX3736" fmla="*/ 7179298 w 9586368"/>
                <a:gd name="connsiteY3736" fmla="*/ 3829008 h 6479439"/>
                <a:gd name="connsiteX3737" fmla="*/ 7189209 w 9586368"/>
                <a:gd name="connsiteY3737" fmla="*/ 3829008 h 6479439"/>
                <a:gd name="connsiteX3738" fmla="*/ 7193228 w 9586368"/>
                <a:gd name="connsiteY3738" fmla="*/ 3833046 h 6479439"/>
                <a:gd name="connsiteX3739" fmla="*/ 7193228 w 9586368"/>
                <a:gd name="connsiteY3739" fmla="*/ 3842917 h 6479439"/>
                <a:gd name="connsiteX3740" fmla="*/ 7189209 w 9586368"/>
                <a:gd name="connsiteY3740" fmla="*/ 3846956 h 6479439"/>
                <a:gd name="connsiteX3741" fmla="*/ 7179298 w 9586368"/>
                <a:gd name="connsiteY3741" fmla="*/ 3846956 h 6479439"/>
                <a:gd name="connsiteX3742" fmla="*/ 7175279 w 9586368"/>
                <a:gd name="connsiteY3742" fmla="*/ 3842917 h 6479439"/>
                <a:gd name="connsiteX3743" fmla="*/ 7175279 w 9586368"/>
                <a:gd name="connsiteY3743" fmla="*/ 3833046 h 6479439"/>
                <a:gd name="connsiteX3744" fmla="*/ 6939983 w 9586368"/>
                <a:gd name="connsiteY3744" fmla="*/ 3829008 h 6479439"/>
                <a:gd name="connsiteX3745" fmla="*/ 6949894 w 9586368"/>
                <a:gd name="connsiteY3745" fmla="*/ 3829008 h 6479439"/>
                <a:gd name="connsiteX3746" fmla="*/ 6953913 w 9586368"/>
                <a:gd name="connsiteY3746" fmla="*/ 3833046 h 6479439"/>
                <a:gd name="connsiteX3747" fmla="*/ 6953913 w 9586368"/>
                <a:gd name="connsiteY3747" fmla="*/ 3842917 h 6479439"/>
                <a:gd name="connsiteX3748" fmla="*/ 6949894 w 9586368"/>
                <a:gd name="connsiteY3748" fmla="*/ 3846956 h 6479439"/>
                <a:gd name="connsiteX3749" fmla="*/ 6939983 w 9586368"/>
                <a:gd name="connsiteY3749" fmla="*/ 3846956 h 6479439"/>
                <a:gd name="connsiteX3750" fmla="*/ 6935964 w 9586368"/>
                <a:gd name="connsiteY3750" fmla="*/ 3842917 h 6479439"/>
                <a:gd name="connsiteX3751" fmla="*/ 6935964 w 9586368"/>
                <a:gd name="connsiteY3751" fmla="*/ 3833046 h 6479439"/>
                <a:gd name="connsiteX3752" fmla="*/ 6700670 w 9586368"/>
                <a:gd name="connsiteY3752" fmla="*/ 3829008 h 6479439"/>
                <a:gd name="connsiteX3753" fmla="*/ 6710581 w 9586368"/>
                <a:gd name="connsiteY3753" fmla="*/ 3829008 h 6479439"/>
                <a:gd name="connsiteX3754" fmla="*/ 6714600 w 9586368"/>
                <a:gd name="connsiteY3754" fmla="*/ 3833046 h 6479439"/>
                <a:gd name="connsiteX3755" fmla="*/ 6714600 w 9586368"/>
                <a:gd name="connsiteY3755" fmla="*/ 3842917 h 6479439"/>
                <a:gd name="connsiteX3756" fmla="*/ 6710581 w 9586368"/>
                <a:gd name="connsiteY3756" fmla="*/ 3846956 h 6479439"/>
                <a:gd name="connsiteX3757" fmla="*/ 6700670 w 9586368"/>
                <a:gd name="connsiteY3757" fmla="*/ 3846956 h 6479439"/>
                <a:gd name="connsiteX3758" fmla="*/ 6696651 w 9586368"/>
                <a:gd name="connsiteY3758" fmla="*/ 3842917 h 6479439"/>
                <a:gd name="connsiteX3759" fmla="*/ 6696651 w 9586368"/>
                <a:gd name="connsiteY3759" fmla="*/ 3833046 h 6479439"/>
                <a:gd name="connsiteX3760" fmla="*/ 6461356 w 9586368"/>
                <a:gd name="connsiteY3760" fmla="*/ 3829008 h 6479439"/>
                <a:gd name="connsiteX3761" fmla="*/ 6471266 w 9586368"/>
                <a:gd name="connsiteY3761" fmla="*/ 3829008 h 6479439"/>
                <a:gd name="connsiteX3762" fmla="*/ 6475285 w 9586368"/>
                <a:gd name="connsiteY3762" fmla="*/ 3833046 h 6479439"/>
                <a:gd name="connsiteX3763" fmla="*/ 6475285 w 9586368"/>
                <a:gd name="connsiteY3763" fmla="*/ 3842917 h 6479439"/>
                <a:gd name="connsiteX3764" fmla="*/ 6471266 w 9586368"/>
                <a:gd name="connsiteY3764" fmla="*/ 3846956 h 6479439"/>
                <a:gd name="connsiteX3765" fmla="*/ 6461356 w 9586368"/>
                <a:gd name="connsiteY3765" fmla="*/ 3846956 h 6479439"/>
                <a:gd name="connsiteX3766" fmla="*/ 6457337 w 9586368"/>
                <a:gd name="connsiteY3766" fmla="*/ 3842917 h 6479439"/>
                <a:gd name="connsiteX3767" fmla="*/ 6457337 w 9586368"/>
                <a:gd name="connsiteY3767" fmla="*/ 3833046 h 6479439"/>
                <a:gd name="connsiteX3768" fmla="*/ 6222042 w 9586368"/>
                <a:gd name="connsiteY3768" fmla="*/ 3829008 h 6479439"/>
                <a:gd name="connsiteX3769" fmla="*/ 6231952 w 9586368"/>
                <a:gd name="connsiteY3769" fmla="*/ 3829008 h 6479439"/>
                <a:gd name="connsiteX3770" fmla="*/ 6235971 w 9586368"/>
                <a:gd name="connsiteY3770" fmla="*/ 3833046 h 6479439"/>
                <a:gd name="connsiteX3771" fmla="*/ 6235971 w 9586368"/>
                <a:gd name="connsiteY3771" fmla="*/ 3842917 h 6479439"/>
                <a:gd name="connsiteX3772" fmla="*/ 6231952 w 9586368"/>
                <a:gd name="connsiteY3772" fmla="*/ 3846956 h 6479439"/>
                <a:gd name="connsiteX3773" fmla="*/ 6222042 w 9586368"/>
                <a:gd name="connsiteY3773" fmla="*/ 3846956 h 6479439"/>
                <a:gd name="connsiteX3774" fmla="*/ 6218023 w 9586368"/>
                <a:gd name="connsiteY3774" fmla="*/ 3842917 h 6479439"/>
                <a:gd name="connsiteX3775" fmla="*/ 6218023 w 9586368"/>
                <a:gd name="connsiteY3775" fmla="*/ 3833046 h 6479439"/>
                <a:gd name="connsiteX3776" fmla="*/ 5982729 w 9586368"/>
                <a:gd name="connsiteY3776" fmla="*/ 3829008 h 6479439"/>
                <a:gd name="connsiteX3777" fmla="*/ 5992639 w 9586368"/>
                <a:gd name="connsiteY3777" fmla="*/ 3829008 h 6479439"/>
                <a:gd name="connsiteX3778" fmla="*/ 5996658 w 9586368"/>
                <a:gd name="connsiteY3778" fmla="*/ 3833046 h 6479439"/>
                <a:gd name="connsiteX3779" fmla="*/ 5996658 w 9586368"/>
                <a:gd name="connsiteY3779" fmla="*/ 3842917 h 6479439"/>
                <a:gd name="connsiteX3780" fmla="*/ 5992639 w 9586368"/>
                <a:gd name="connsiteY3780" fmla="*/ 3846956 h 6479439"/>
                <a:gd name="connsiteX3781" fmla="*/ 5982729 w 9586368"/>
                <a:gd name="connsiteY3781" fmla="*/ 3846956 h 6479439"/>
                <a:gd name="connsiteX3782" fmla="*/ 5978710 w 9586368"/>
                <a:gd name="connsiteY3782" fmla="*/ 3842917 h 6479439"/>
                <a:gd name="connsiteX3783" fmla="*/ 5978710 w 9586368"/>
                <a:gd name="connsiteY3783" fmla="*/ 3833046 h 6479439"/>
                <a:gd name="connsiteX3784" fmla="*/ 5743412 w 9586368"/>
                <a:gd name="connsiteY3784" fmla="*/ 3829008 h 6479439"/>
                <a:gd name="connsiteX3785" fmla="*/ 5753323 w 9586368"/>
                <a:gd name="connsiteY3785" fmla="*/ 3829008 h 6479439"/>
                <a:gd name="connsiteX3786" fmla="*/ 5757342 w 9586368"/>
                <a:gd name="connsiteY3786" fmla="*/ 3833046 h 6479439"/>
                <a:gd name="connsiteX3787" fmla="*/ 5757342 w 9586368"/>
                <a:gd name="connsiteY3787" fmla="*/ 3842917 h 6479439"/>
                <a:gd name="connsiteX3788" fmla="*/ 5753323 w 9586368"/>
                <a:gd name="connsiteY3788" fmla="*/ 3846956 h 6479439"/>
                <a:gd name="connsiteX3789" fmla="*/ 5743412 w 9586368"/>
                <a:gd name="connsiteY3789" fmla="*/ 3846956 h 6479439"/>
                <a:gd name="connsiteX3790" fmla="*/ 5739393 w 9586368"/>
                <a:gd name="connsiteY3790" fmla="*/ 3842917 h 6479439"/>
                <a:gd name="connsiteX3791" fmla="*/ 5739393 w 9586368"/>
                <a:gd name="connsiteY3791" fmla="*/ 3833046 h 6479439"/>
                <a:gd name="connsiteX3792" fmla="*/ 5504099 w 9586368"/>
                <a:gd name="connsiteY3792" fmla="*/ 3829008 h 6479439"/>
                <a:gd name="connsiteX3793" fmla="*/ 5514010 w 9586368"/>
                <a:gd name="connsiteY3793" fmla="*/ 3829008 h 6479439"/>
                <a:gd name="connsiteX3794" fmla="*/ 5518029 w 9586368"/>
                <a:gd name="connsiteY3794" fmla="*/ 3833046 h 6479439"/>
                <a:gd name="connsiteX3795" fmla="*/ 5518029 w 9586368"/>
                <a:gd name="connsiteY3795" fmla="*/ 3842917 h 6479439"/>
                <a:gd name="connsiteX3796" fmla="*/ 5514010 w 9586368"/>
                <a:gd name="connsiteY3796" fmla="*/ 3846956 h 6479439"/>
                <a:gd name="connsiteX3797" fmla="*/ 5504099 w 9586368"/>
                <a:gd name="connsiteY3797" fmla="*/ 3846956 h 6479439"/>
                <a:gd name="connsiteX3798" fmla="*/ 5500080 w 9586368"/>
                <a:gd name="connsiteY3798" fmla="*/ 3842917 h 6479439"/>
                <a:gd name="connsiteX3799" fmla="*/ 5500080 w 9586368"/>
                <a:gd name="connsiteY3799" fmla="*/ 3833046 h 6479439"/>
                <a:gd name="connsiteX3800" fmla="*/ 5264784 w 9586368"/>
                <a:gd name="connsiteY3800" fmla="*/ 3829008 h 6479439"/>
                <a:gd name="connsiteX3801" fmla="*/ 5274694 w 9586368"/>
                <a:gd name="connsiteY3801" fmla="*/ 3829008 h 6479439"/>
                <a:gd name="connsiteX3802" fmla="*/ 5278713 w 9586368"/>
                <a:gd name="connsiteY3802" fmla="*/ 3833046 h 6479439"/>
                <a:gd name="connsiteX3803" fmla="*/ 5278713 w 9586368"/>
                <a:gd name="connsiteY3803" fmla="*/ 3842917 h 6479439"/>
                <a:gd name="connsiteX3804" fmla="*/ 5274694 w 9586368"/>
                <a:gd name="connsiteY3804" fmla="*/ 3846956 h 6479439"/>
                <a:gd name="connsiteX3805" fmla="*/ 5264784 w 9586368"/>
                <a:gd name="connsiteY3805" fmla="*/ 3846956 h 6479439"/>
                <a:gd name="connsiteX3806" fmla="*/ 5260765 w 9586368"/>
                <a:gd name="connsiteY3806" fmla="*/ 3842917 h 6479439"/>
                <a:gd name="connsiteX3807" fmla="*/ 5260765 w 9586368"/>
                <a:gd name="connsiteY3807" fmla="*/ 3833046 h 6479439"/>
                <a:gd name="connsiteX3808" fmla="*/ 5025470 w 9586368"/>
                <a:gd name="connsiteY3808" fmla="*/ 3829008 h 6479439"/>
                <a:gd name="connsiteX3809" fmla="*/ 5035381 w 9586368"/>
                <a:gd name="connsiteY3809" fmla="*/ 3829008 h 6479439"/>
                <a:gd name="connsiteX3810" fmla="*/ 5039400 w 9586368"/>
                <a:gd name="connsiteY3810" fmla="*/ 3833046 h 6479439"/>
                <a:gd name="connsiteX3811" fmla="*/ 5039400 w 9586368"/>
                <a:gd name="connsiteY3811" fmla="*/ 3842917 h 6479439"/>
                <a:gd name="connsiteX3812" fmla="*/ 5035381 w 9586368"/>
                <a:gd name="connsiteY3812" fmla="*/ 3846956 h 6479439"/>
                <a:gd name="connsiteX3813" fmla="*/ 5025470 w 9586368"/>
                <a:gd name="connsiteY3813" fmla="*/ 3846956 h 6479439"/>
                <a:gd name="connsiteX3814" fmla="*/ 5021451 w 9586368"/>
                <a:gd name="connsiteY3814" fmla="*/ 3842917 h 6479439"/>
                <a:gd name="connsiteX3815" fmla="*/ 5021451 w 9586368"/>
                <a:gd name="connsiteY3815" fmla="*/ 3833046 h 6479439"/>
                <a:gd name="connsiteX3816" fmla="*/ 4786241 w 9586368"/>
                <a:gd name="connsiteY3816" fmla="*/ 3829008 h 6479439"/>
                <a:gd name="connsiteX3817" fmla="*/ 4796152 w 9586368"/>
                <a:gd name="connsiteY3817" fmla="*/ 3829008 h 6479439"/>
                <a:gd name="connsiteX3818" fmla="*/ 4800171 w 9586368"/>
                <a:gd name="connsiteY3818" fmla="*/ 3833046 h 6479439"/>
                <a:gd name="connsiteX3819" fmla="*/ 4800171 w 9586368"/>
                <a:gd name="connsiteY3819" fmla="*/ 3842917 h 6479439"/>
                <a:gd name="connsiteX3820" fmla="*/ 4796152 w 9586368"/>
                <a:gd name="connsiteY3820" fmla="*/ 3846956 h 6479439"/>
                <a:gd name="connsiteX3821" fmla="*/ 4786241 w 9586368"/>
                <a:gd name="connsiteY3821" fmla="*/ 3846956 h 6479439"/>
                <a:gd name="connsiteX3822" fmla="*/ 4782224 w 9586368"/>
                <a:gd name="connsiteY3822" fmla="*/ 3842917 h 6479439"/>
                <a:gd name="connsiteX3823" fmla="*/ 4782224 w 9586368"/>
                <a:gd name="connsiteY3823" fmla="*/ 3833046 h 6479439"/>
                <a:gd name="connsiteX3824" fmla="*/ 4546929 w 9586368"/>
                <a:gd name="connsiteY3824" fmla="*/ 3829008 h 6479439"/>
                <a:gd name="connsiteX3825" fmla="*/ 4556840 w 9586368"/>
                <a:gd name="connsiteY3825" fmla="*/ 3829008 h 6479439"/>
                <a:gd name="connsiteX3826" fmla="*/ 4560859 w 9586368"/>
                <a:gd name="connsiteY3826" fmla="*/ 3833046 h 6479439"/>
                <a:gd name="connsiteX3827" fmla="*/ 4560859 w 9586368"/>
                <a:gd name="connsiteY3827" fmla="*/ 3842917 h 6479439"/>
                <a:gd name="connsiteX3828" fmla="*/ 4556840 w 9586368"/>
                <a:gd name="connsiteY3828" fmla="*/ 3846956 h 6479439"/>
                <a:gd name="connsiteX3829" fmla="*/ 4546929 w 9586368"/>
                <a:gd name="connsiteY3829" fmla="*/ 3846956 h 6479439"/>
                <a:gd name="connsiteX3830" fmla="*/ 4542910 w 9586368"/>
                <a:gd name="connsiteY3830" fmla="*/ 3842917 h 6479439"/>
                <a:gd name="connsiteX3831" fmla="*/ 4542910 w 9586368"/>
                <a:gd name="connsiteY3831" fmla="*/ 3833046 h 6479439"/>
                <a:gd name="connsiteX3832" fmla="*/ 4307612 w 9586368"/>
                <a:gd name="connsiteY3832" fmla="*/ 3829008 h 6479439"/>
                <a:gd name="connsiteX3833" fmla="*/ 4317523 w 9586368"/>
                <a:gd name="connsiteY3833" fmla="*/ 3829008 h 6479439"/>
                <a:gd name="connsiteX3834" fmla="*/ 4321543 w 9586368"/>
                <a:gd name="connsiteY3834" fmla="*/ 3833046 h 6479439"/>
                <a:gd name="connsiteX3835" fmla="*/ 4321543 w 9586368"/>
                <a:gd name="connsiteY3835" fmla="*/ 3842917 h 6479439"/>
                <a:gd name="connsiteX3836" fmla="*/ 4317523 w 9586368"/>
                <a:gd name="connsiteY3836" fmla="*/ 3846956 h 6479439"/>
                <a:gd name="connsiteX3837" fmla="*/ 4307612 w 9586368"/>
                <a:gd name="connsiteY3837" fmla="*/ 3846956 h 6479439"/>
                <a:gd name="connsiteX3838" fmla="*/ 4303595 w 9586368"/>
                <a:gd name="connsiteY3838" fmla="*/ 3842917 h 6479439"/>
                <a:gd name="connsiteX3839" fmla="*/ 4303595 w 9586368"/>
                <a:gd name="connsiteY3839" fmla="*/ 3833046 h 6479439"/>
                <a:gd name="connsiteX3840" fmla="*/ 4068297 w 9586368"/>
                <a:gd name="connsiteY3840" fmla="*/ 3829008 h 6479439"/>
                <a:gd name="connsiteX3841" fmla="*/ 4078210 w 9586368"/>
                <a:gd name="connsiteY3841" fmla="*/ 3829008 h 6479439"/>
                <a:gd name="connsiteX3842" fmla="*/ 4082229 w 9586368"/>
                <a:gd name="connsiteY3842" fmla="*/ 3833046 h 6479439"/>
                <a:gd name="connsiteX3843" fmla="*/ 4082229 w 9586368"/>
                <a:gd name="connsiteY3843" fmla="*/ 3842917 h 6479439"/>
                <a:gd name="connsiteX3844" fmla="*/ 4078210 w 9586368"/>
                <a:gd name="connsiteY3844" fmla="*/ 3846956 h 6479439"/>
                <a:gd name="connsiteX3845" fmla="*/ 4068297 w 9586368"/>
                <a:gd name="connsiteY3845" fmla="*/ 3846956 h 6479439"/>
                <a:gd name="connsiteX3846" fmla="*/ 4064278 w 9586368"/>
                <a:gd name="connsiteY3846" fmla="*/ 3842917 h 6479439"/>
                <a:gd name="connsiteX3847" fmla="*/ 4064278 w 9586368"/>
                <a:gd name="connsiteY3847" fmla="*/ 3833046 h 6479439"/>
                <a:gd name="connsiteX3848" fmla="*/ 3828990 w 9586368"/>
                <a:gd name="connsiteY3848" fmla="*/ 3829008 h 6479439"/>
                <a:gd name="connsiteX3849" fmla="*/ 3838899 w 9586368"/>
                <a:gd name="connsiteY3849" fmla="*/ 3829008 h 6479439"/>
                <a:gd name="connsiteX3850" fmla="*/ 3842917 w 9586368"/>
                <a:gd name="connsiteY3850" fmla="*/ 3833046 h 6479439"/>
                <a:gd name="connsiteX3851" fmla="*/ 3842917 w 9586368"/>
                <a:gd name="connsiteY3851" fmla="*/ 3842917 h 6479439"/>
                <a:gd name="connsiteX3852" fmla="*/ 3838899 w 9586368"/>
                <a:gd name="connsiteY3852" fmla="*/ 3846956 h 6479439"/>
                <a:gd name="connsiteX3853" fmla="*/ 3828990 w 9586368"/>
                <a:gd name="connsiteY3853" fmla="*/ 3846956 h 6479439"/>
                <a:gd name="connsiteX3854" fmla="*/ 3824971 w 9586368"/>
                <a:gd name="connsiteY3854" fmla="*/ 3842917 h 6479439"/>
                <a:gd name="connsiteX3855" fmla="*/ 3824971 w 9586368"/>
                <a:gd name="connsiteY3855" fmla="*/ 3833046 h 6479439"/>
                <a:gd name="connsiteX3856" fmla="*/ 3589676 w 9586368"/>
                <a:gd name="connsiteY3856" fmla="*/ 3829008 h 6479439"/>
                <a:gd name="connsiteX3857" fmla="*/ 3599585 w 9586368"/>
                <a:gd name="connsiteY3857" fmla="*/ 3829008 h 6479439"/>
                <a:gd name="connsiteX3858" fmla="*/ 3603604 w 9586368"/>
                <a:gd name="connsiteY3858" fmla="*/ 3833046 h 6479439"/>
                <a:gd name="connsiteX3859" fmla="*/ 3603604 w 9586368"/>
                <a:gd name="connsiteY3859" fmla="*/ 3842917 h 6479439"/>
                <a:gd name="connsiteX3860" fmla="*/ 3599585 w 9586368"/>
                <a:gd name="connsiteY3860" fmla="*/ 3846956 h 6479439"/>
                <a:gd name="connsiteX3861" fmla="*/ 3589676 w 9586368"/>
                <a:gd name="connsiteY3861" fmla="*/ 3846956 h 6479439"/>
                <a:gd name="connsiteX3862" fmla="*/ 3585657 w 9586368"/>
                <a:gd name="connsiteY3862" fmla="*/ 3842917 h 6479439"/>
                <a:gd name="connsiteX3863" fmla="*/ 3585657 w 9586368"/>
                <a:gd name="connsiteY3863" fmla="*/ 3833046 h 6479439"/>
                <a:gd name="connsiteX3864" fmla="*/ 3350359 w 9586368"/>
                <a:gd name="connsiteY3864" fmla="*/ 3829008 h 6479439"/>
                <a:gd name="connsiteX3865" fmla="*/ 3360268 w 9586368"/>
                <a:gd name="connsiteY3865" fmla="*/ 3829008 h 6479439"/>
                <a:gd name="connsiteX3866" fmla="*/ 3364287 w 9586368"/>
                <a:gd name="connsiteY3866" fmla="*/ 3833046 h 6479439"/>
                <a:gd name="connsiteX3867" fmla="*/ 3364287 w 9586368"/>
                <a:gd name="connsiteY3867" fmla="*/ 3842917 h 6479439"/>
                <a:gd name="connsiteX3868" fmla="*/ 3360268 w 9586368"/>
                <a:gd name="connsiteY3868" fmla="*/ 3846956 h 6479439"/>
                <a:gd name="connsiteX3869" fmla="*/ 3350359 w 9586368"/>
                <a:gd name="connsiteY3869" fmla="*/ 3846956 h 6479439"/>
                <a:gd name="connsiteX3870" fmla="*/ 3346340 w 9586368"/>
                <a:gd name="connsiteY3870" fmla="*/ 3842917 h 6479439"/>
                <a:gd name="connsiteX3871" fmla="*/ 3346340 w 9586368"/>
                <a:gd name="connsiteY3871" fmla="*/ 3833046 h 6479439"/>
                <a:gd name="connsiteX3872" fmla="*/ 3111048 w 9586368"/>
                <a:gd name="connsiteY3872" fmla="*/ 3829008 h 6479439"/>
                <a:gd name="connsiteX3873" fmla="*/ 3120959 w 9586368"/>
                <a:gd name="connsiteY3873" fmla="*/ 3829008 h 6479439"/>
                <a:gd name="connsiteX3874" fmla="*/ 3124977 w 9586368"/>
                <a:gd name="connsiteY3874" fmla="*/ 3833046 h 6479439"/>
                <a:gd name="connsiteX3875" fmla="*/ 3124977 w 9586368"/>
                <a:gd name="connsiteY3875" fmla="*/ 3842917 h 6479439"/>
                <a:gd name="connsiteX3876" fmla="*/ 3120959 w 9586368"/>
                <a:gd name="connsiteY3876" fmla="*/ 3846956 h 6479439"/>
                <a:gd name="connsiteX3877" fmla="*/ 3111048 w 9586368"/>
                <a:gd name="connsiteY3877" fmla="*/ 3846956 h 6479439"/>
                <a:gd name="connsiteX3878" fmla="*/ 3107029 w 9586368"/>
                <a:gd name="connsiteY3878" fmla="*/ 3842917 h 6479439"/>
                <a:gd name="connsiteX3879" fmla="*/ 3107029 w 9586368"/>
                <a:gd name="connsiteY3879" fmla="*/ 3833046 h 6479439"/>
                <a:gd name="connsiteX3880" fmla="*/ 2871737 w 9586368"/>
                <a:gd name="connsiteY3880" fmla="*/ 3829008 h 6479439"/>
                <a:gd name="connsiteX3881" fmla="*/ 2881646 w 9586368"/>
                <a:gd name="connsiteY3881" fmla="*/ 3829008 h 6479439"/>
                <a:gd name="connsiteX3882" fmla="*/ 2885666 w 9586368"/>
                <a:gd name="connsiteY3882" fmla="*/ 3833046 h 6479439"/>
                <a:gd name="connsiteX3883" fmla="*/ 2885666 w 9586368"/>
                <a:gd name="connsiteY3883" fmla="*/ 3842917 h 6479439"/>
                <a:gd name="connsiteX3884" fmla="*/ 2881646 w 9586368"/>
                <a:gd name="connsiteY3884" fmla="*/ 3846956 h 6479439"/>
                <a:gd name="connsiteX3885" fmla="*/ 2871737 w 9586368"/>
                <a:gd name="connsiteY3885" fmla="*/ 3846956 h 6479439"/>
                <a:gd name="connsiteX3886" fmla="*/ 2867717 w 9586368"/>
                <a:gd name="connsiteY3886" fmla="*/ 3842917 h 6479439"/>
                <a:gd name="connsiteX3887" fmla="*/ 2867717 w 9586368"/>
                <a:gd name="connsiteY3887" fmla="*/ 3833046 h 6479439"/>
                <a:gd name="connsiteX3888" fmla="*/ 2632423 w 9586368"/>
                <a:gd name="connsiteY3888" fmla="*/ 3829008 h 6479439"/>
                <a:gd name="connsiteX3889" fmla="*/ 2642334 w 9586368"/>
                <a:gd name="connsiteY3889" fmla="*/ 3829008 h 6479439"/>
                <a:gd name="connsiteX3890" fmla="*/ 2646352 w 9586368"/>
                <a:gd name="connsiteY3890" fmla="*/ 3833046 h 6479439"/>
                <a:gd name="connsiteX3891" fmla="*/ 2646352 w 9586368"/>
                <a:gd name="connsiteY3891" fmla="*/ 3842917 h 6479439"/>
                <a:gd name="connsiteX3892" fmla="*/ 2642334 w 9586368"/>
                <a:gd name="connsiteY3892" fmla="*/ 3846956 h 6479439"/>
                <a:gd name="connsiteX3893" fmla="*/ 2632423 w 9586368"/>
                <a:gd name="connsiteY3893" fmla="*/ 3846956 h 6479439"/>
                <a:gd name="connsiteX3894" fmla="*/ 2628404 w 9586368"/>
                <a:gd name="connsiteY3894" fmla="*/ 3842917 h 6479439"/>
                <a:gd name="connsiteX3895" fmla="*/ 2628404 w 9586368"/>
                <a:gd name="connsiteY3895" fmla="*/ 3833046 h 6479439"/>
                <a:gd name="connsiteX3896" fmla="*/ 2393104 w 9586368"/>
                <a:gd name="connsiteY3896" fmla="*/ 3829008 h 6479439"/>
                <a:gd name="connsiteX3897" fmla="*/ 2403015 w 9586368"/>
                <a:gd name="connsiteY3897" fmla="*/ 3829008 h 6479439"/>
                <a:gd name="connsiteX3898" fmla="*/ 2407034 w 9586368"/>
                <a:gd name="connsiteY3898" fmla="*/ 3833046 h 6479439"/>
                <a:gd name="connsiteX3899" fmla="*/ 2407034 w 9586368"/>
                <a:gd name="connsiteY3899" fmla="*/ 3842917 h 6479439"/>
                <a:gd name="connsiteX3900" fmla="*/ 2403015 w 9586368"/>
                <a:gd name="connsiteY3900" fmla="*/ 3846956 h 6479439"/>
                <a:gd name="connsiteX3901" fmla="*/ 2393104 w 9586368"/>
                <a:gd name="connsiteY3901" fmla="*/ 3846956 h 6479439"/>
                <a:gd name="connsiteX3902" fmla="*/ 2389087 w 9586368"/>
                <a:gd name="connsiteY3902" fmla="*/ 3842917 h 6479439"/>
                <a:gd name="connsiteX3903" fmla="*/ 2389087 w 9586368"/>
                <a:gd name="connsiteY3903" fmla="*/ 3833046 h 6479439"/>
                <a:gd name="connsiteX3904" fmla="*/ 721966 w 9586368"/>
                <a:gd name="connsiteY3904" fmla="*/ 3829008 h 6479439"/>
                <a:gd name="connsiteX3905" fmla="*/ 731876 w 9586368"/>
                <a:gd name="connsiteY3905" fmla="*/ 3829008 h 6479439"/>
                <a:gd name="connsiteX3906" fmla="*/ 735895 w 9586368"/>
                <a:gd name="connsiteY3906" fmla="*/ 3833046 h 6479439"/>
                <a:gd name="connsiteX3907" fmla="*/ 735895 w 9586368"/>
                <a:gd name="connsiteY3907" fmla="*/ 3842917 h 6479439"/>
                <a:gd name="connsiteX3908" fmla="*/ 731876 w 9586368"/>
                <a:gd name="connsiteY3908" fmla="*/ 3846956 h 6479439"/>
                <a:gd name="connsiteX3909" fmla="*/ 721966 w 9586368"/>
                <a:gd name="connsiteY3909" fmla="*/ 3846956 h 6479439"/>
                <a:gd name="connsiteX3910" fmla="*/ 717947 w 9586368"/>
                <a:gd name="connsiteY3910" fmla="*/ 3842917 h 6479439"/>
                <a:gd name="connsiteX3911" fmla="*/ 717947 w 9586368"/>
                <a:gd name="connsiteY3911" fmla="*/ 3833046 h 6479439"/>
                <a:gd name="connsiteX3912" fmla="*/ 482654 w 9586368"/>
                <a:gd name="connsiteY3912" fmla="*/ 3829008 h 6479439"/>
                <a:gd name="connsiteX3913" fmla="*/ 492564 w 9586368"/>
                <a:gd name="connsiteY3913" fmla="*/ 3829008 h 6479439"/>
                <a:gd name="connsiteX3914" fmla="*/ 496583 w 9586368"/>
                <a:gd name="connsiteY3914" fmla="*/ 3833046 h 6479439"/>
                <a:gd name="connsiteX3915" fmla="*/ 496583 w 9586368"/>
                <a:gd name="connsiteY3915" fmla="*/ 3842917 h 6479439"/>
                <a:gd name="connsiteX3916" fmla="*/ 492564 w 9586368"/>
                <a:gd name="connsiteY3916" fmla="*/ 3846956 h 6479439"/>
                <a:gd name="connsiteX3917" fmla="*/ 482654 w 9586368"/>
                <a:gd name="connsiteY3917" fmla="*/ 3846956 h 6479439"/>
                <a:gd name="connsiteX3918" fmla="*/ 478635 w 9586368"/>
                <a:gd name="connsiteY3918" fmla="*/ 3842917 h 6479439"/>
                <a:gd name="connsiteX3919" fmla="*/ 478635 w 9586368"/>
                <a:gd name="connsiteY3919" fmla="*/ 3833046 h 6479439"/>
                <a:gd name="connsiteX3920" fmla="*/ 243340 w 9586368"/>
                <a:gd name="connsiteY3920" fmla="*/ 3829008 h 6479439"/>
                <a:gd name="connsiteX3921" fmla="*/ 253250 w 9586368"/>
                <a:gd name="connsiteY3921" fmla="*/ 3829008 h 6479439"/>
                <a:gd name="connsiteX3922" fmla="*/ 257269 w 9586368"/>
                <a:gd name="connsiteY3922" fmla="*/ 3833046 h 6479439"/>
                <a:gd name="connsiteX3923" fmla="*/ 257269 w 9586368"/>
                <a:gd name="connsiteY3923" fmla="*/ 3842917 h 6479439"/>
                <a:gd name="connsiteX3924" fmla="*/ 253250 w 9586368"/>
                <a:gd name="connsiteY3924" fmla="*/ 3846956 h 6479439"/>
                <a:gd name="connsiteX3925" fmla="*/ 243340 w 9586368"/>
                <a:gd name="connsiteY3925" fmla="*/ 3846956 h 6479439"/>
                <a:gd name="connsiteX3926" fmla="*/ 239321 w 9586368"/>
                <a:gd name="connsiteY3926" fmla="*/ 3842917 h 6479439"/>
                <a:gd name="connsiteX3927" fmla="*/ 239321 w 9586368"/>
                <a:gd name="connsiteY3927" fmla="*/ 3833046 h 6479439"/>
                <a:gd name="connsiteX3928" fmla="*/ 4027 w 9586368"/>
                <a:gd name="connsiteY3928" fmla="*/ 3829008 h 6479439"/>
                <a:gd name="connsiteX3929" fmla="*/ 13937 w 9586368"/>
                <a:gd name="connsiteY3929" fmla="*/ 3829008 h 6479439"/>
                <a:gd name="connsiteX3930" fmla="*/ 17956 w 9586368"/>
                <a:gd name="connsiteY3930" fmla="*/ 3833046 h 6479439"/>
                <a:gd name="connsiteX3931" fmla="*/ 17956 w 9586368"/>
                <a:gd name="connsiteY3931" fmla="*/ 3842917 h 6479439"/>
                <a:gd name="connsiteX3932" fmla="*/ 13937 w 9586368"/>
                <a:gd name="connsiteY3932" fmla="*/ 3846956 h 6479439"/>
                <a:gd name="connsiteX3933" fmla="*/ 4027 w 9586368"/>
                <a:gd name="connsiteY3933" fmla="*/ 3846956 h 6479439"/>
                <a:gd name="connsiteX3934" fmla="*/ 8 w 9586368"/>
                <a:gd name="connsiteY3934" fmla="*/ 3842917 h 6479439"/>
                <a:gd name="connsiteX3935" fmla="*/ 8 w 9586368"/>
                <a:gd name="connsiteY3935" fmla="*/ 3833046 h 6479439"/>
                <a:gd name="connsiteX3936" fmla="*/ 2157820 w 9586368"/>
                <a:gd name="connsiteY3936" fmla="*/ 3589728 h 6479439"/>
                <a:gd name="connsiteX3937" fmla="*/ 2167731 w 9586368"/>
                <a:gd name="connsiteY3937" fmla="*/ 3589728 h 6479439"/>
                <a:gd name="connsiteX3938" fmla="*/ 2171749 w 9586368"/>
                <a:gd name="connsiteY3938" fmla="*/ 3593767 h 6479439"/>
                <a:gd name="connsiteX3939" fmla="*/ 2171749 w 9586368"/>
                <a:gd name="connsiteY3939" fmla="*/ 3603637 h 6479439"/>
                <a:gd name="connsiteX3940" fmla="*/ 2167731 w 9586368"/>
                <a:gd name="connsiteY3940" fmla="*/ 3607676 h 6479439"/>
                <a:gd name="connsiteX3941" fmla="*/ 2157820 w 9586368"/>
                <a:gd name="connsiteY3941" fmla="*/ 3607676 h 6479439"/>
                <a:gd name="connsiteX3942" fmla="*/ 2153801 w 9586368"/>
                <a:gd name="connsiteY3942" fmla="*/ 3603637 h 6479439"/>
                <a:gd name="connsiteX3943" fmla="*/ 2153801 w 9586368"/>
                <a:gd name="connsiteY3943" fmla="*/ 3593767 h 6479439"/>
                <a:gd name="connsiteX3944" fmla="*/ 1918511 w 9586368"/>
                <a:gd name="connsiteY3944" fmla="*/ 3589728 h 6479439"/>
                <a:gd name="connsiteX3945" fmla="*/ 1928421 w 9586368"/>
                <a:gd name="connsiteY3945" fmla="*/ 3589728 h 6479439"/>
                <a:gd name="connsiteX3946" fmla="*/ 1932441 w 9586368"/>
                <a:gd name="connsiteY3946" fmla="*/ 3593767 h 6479439"/>
                <a:gd name="connsiteX3947" fmla="*/ 1932441 w 9586368"/>
                <a:gd name="connsiteY3947" fmla="*/ 3603637 h 6479439"/>
                <a:gd name="connsiteX3948" fmla="*/ 1928421 w 9586368"/>
                <a:gd name="connsiteY3948" fmla="*/ 3607676 h 6479439"/>
                <a:gd name="connsiteX3949" fmla="*/ 1918511 w 9586368"/>
                <a:gd name="connsiteY3949" fmla="*/ 3607676 h 6479439"/>
                <a:gd name="connsiteX3950" fmla="*/ 1914493 w 9586368"/>
                <a:gd name="connsiteY3950" fmla="*/ 3603637 h 6479439"/>
                <a:gd name="connsiteX3951" fmla="*/ 1914493 w 9586368"/>
                <a:gd name="connsiteY3951" fmla="*/ 3593767 h 6479439"/>
                <a:gd name="connsiteX3952" fmla="*/ 1679209 w 9586368"/>
                <a:gd name="connsiteY3952" fmla="*/ 3589728 h 6479439"/>
                <a:gd name="connsiteX3953" fmla="*/ 1689118 w 9586368"/>
                <a:gd name="connsiteY3953" fmla="*/ 3589728 h 6479439"/>
                <a:gd name="connsiteX3954" fmla="*/ 1693138 w 9586368"/>
                <a:gd name="connsiteY3954" fmla="*/ 3593767 h 6479439"/>
                <a:gd name="connsiteX3955" fmla="*/ 1693138 w 9586368"/>
                <a:gd name="connsiteY3955" fmla="*/ 3603637 h 6479439"/>
                <a:gd name="connsiteX3956" fmla="*/ 1689118 w 9586368"/>
                <a:gd name="connsiteY3956" fmla="*/ 3607676 h 6479439"/>
                <a:gd name="connsiteX3957" fmla="*/ 1679209 w 9586368"/>
                <a:gd name="connsiteY3957" fmla="*/ 3607676 h 6479439"/>
                <a:gd name="connsiteX3958" fmla="*/ 1675190 w 9586368"/>
                <a:gd name="connsiteY3958" fmla="*/ 3603637 h 6479439"/>
                <a:gd name="connsiteX3959" fmla="*/ 1675190 w 9586368"/>
                <a:gd name="connsiteY3959" fmla="*/ 3593767 h 6479439"/>
                <a:gd name="connsiteX3960" fmla="*/ 1439892 w 9586368"/>
                <a:gd name="connsiteY3960" fmla="*/ 3589728 h 6479439"/>
                <a:gd name="connsiteX3961" fmla="*/ 1449803 w 9586368"/>
                <a:gd name="connsiteY3961" fmla="*/ 3589728 h 6479439"/>
                <a:gd name="connsiteX3962" fmla="*/ 1453822 w 9586368"/>
                <a:gd name="connsiteY3962" fmla="*/ 3593767 h 6479439"/>
                <a:gd name="connsiteX3963" fmla="*/ 1453822 w 9586368"/>
                <a:gd name="connsiteY3963" fmla="*/ 3603637 h 6479439"/>
                <a:gd name="connsiteX3964" fmla="*/ 1449803 w 9586368"/>
                <a:gd name="connsiteY3964" fmla="*/ 3607676 h 6479439"/>
                <a:gd name="connsiteX3965" fmla="*/ 1439892 w 9586368"/>
                <a:gd name="connsiteY3965" fmla="*/ 3607676 h 6479439"/>
                <a:gd name="connsiteX3966" fmla="*/ 1435874 w 9586368"/>
                <a:gd name="connsiteY3966" fmla="*/ 3603637 h 6479439"/>
                <a:gd name="connsiteX3967" fmla="*/ 1435874 w 9586368"/>
                <a:gd name="connsiteY3967" fmla="*/ 3593767 h 6479439"/>
                <a:gd name="connsiteX3968" fmla="*/ 1200577 w 9586368"/>
                <a:gd name="connsiteY3968" fmla="*/ 3589728 h 6479439"/>
                <a:gd name="connsiteX3969" fmla="*/ 1210488 w 9586368"/>
                <a:gd name="connsiteY3969" fmla="*/ 3589728 h 6479439"/>
                <a:gd name="connsiteX3970" fmla="*/ 1214506 w 9586368"/>
                <a:gd name="connsiteY3970" fmla="*/ 3593767 h 6479439"/>
                <a:gd name="connsiteX3971" fmla="*/ 1214506 w 9586368"/>
                <a:gd name="connsiteY3971" fmla="*/ 3603637 h 6479439"/>
                <a:gd name="connsiteX3972" fmla="*/ 1210488 w 9586368"/>
                <a:gd name="connsiteY3972" fmla="*/ 3607676 h 6479439"/>
                <a:gd name="connsiteX3973" fmla="*/ 1200577 w 9586368"/>
                <a:gd name="connsiteY3973" fmla="*/ 3607676 h 6479439"/>
                <a:gd name="connsiteX3974" fmla="*/ 1196559 w 9586368"/>
                <a:gd name="connsiteY3974" fmla="*/ 3603637 h 6479439"/>
                <a:gd name="connsiteX3975" fmla="*/ 1196559 w 9586368"/>
                <a:gd name="connsiteY3975" fmla="*/ 3593767 h 6479439"/>
                <a:gd name="connsiteX3976" fmla="*/ 961265 w 9586368"/>
                <a:gd name="connsiteY3976" fmla="*/ 3589728 h 6479439"/>
                <a:gd name="connsiteX3977" fmla="*/ 971175 w 9586368"/>
                <a:gd name="connsiteY3977" fmla="*/ 3589728 h 6479439"/>
                <a:gd name="connsiteX3978" fmla="*/ 975193 w 9586368"/>
                <a:gd name="connsiteY3978" fmla="*/ 3593767 h 6479439"/>
                <a:gd name="connsiteX3979" fmla="*/ 975193 w 9586368"/>
                <a:gd name="connsiteY3979" fmla="*/ 3603637 h 6479439"/>
                <a:gd name="connsiteX3980" fmla="*/ 971175 w 9586368"/>
                <a:gd name="connsiteY3980" fmla="*/ 3607676 h 6479439"/>
                <a:gd name="connsiteX3981" fmla="*/ 961265 w 9586368"/>
                <a:gd name="connsiteY3981" fmla="*/ 3607676 h 6479439"/>
                <a:gd name="connsiteX3982" fmla="*/ 957246 w 9586368"/>
                <a:gd name="connsiteY3982" fmla="*/ 3603637 h 6479439"/>
                <a:gd name="connsiteX3983" fmla="*/ 957246 w 9586368"/>
                <a:gd name="connsiteY3983" fmla="*/ 3593767 h 6479439"/>
                <a:gd name="connsiteX3984" fmla="*/ 9572438 w 9586368"/>
                <a:gd name="connsiteY3984" fmla="*/ 3589677 h 6479439"/>
                <a:gd name="connsiteX3985" fmla="*/ 9582349 w 9586368"/>
                <a:gd name="connsiteY3985" fmla="*/ 3589677 h 6479439"/>
                <a:gd name="connsiteX3986" fmla="*/ 9586368 w 9586368"/>
                <a:gd name="connsiteY3986" fmla="*/ 3593716 h 6479439"/>
                <a:gd name="connsiteX3987" fmla="*/ 9586368 w 9586368"/>
                <a:gd name="connsiteY3987" fmla="*/ 3603586 h 6479439"/>
                <a:gd name="connsiteX3988" fmla="*/ 9582349 w 9586368"/>
                <a:gd name="connsiteY3988" fmla="*/ 3607625 h 6479439"/>
                <a:gd name="connsiteX3989" fmla="*/ 9572438 w 9586368"/>
                <a:gd name="connsiteY3989" fmla="*/ 3607625 h 6479439"/>
                <a:gd name="connsiteX3990" fmla="*/ 9568419 w 9586368"/>
                <a:gd name="connsiteY3990" fmla="*/ 3603586 h 6479439"/>
                <a:gd name="connsiteX3991" fmla="*/ 9568419 w 9586368"/>
                <a:gd name="connsiteY3991" fmla="*/ 3593716 h 6479439"/>
                <a:gd name="connsiteX3992" fmla="*/ 9333125 w 9586368"/>
                <a:gd name="connsiteY3992" fmla="*/ 3589677 h 6479439"/>
                <a:gd name="connsiteX3993" fmla="*/ 9343036 w 9586368"/>
                <a:gd name="connsiteY3993" fmla="*/ 3589677 h 6479439"/>
                <a:gd name="connsiteX3994" fmla="*/ 9347055 w 9586368"/>
                <a:gd name="connsiteY3994" fmla="*/ 3593716 h 6479439"/>
                <a:gd name="connsiteX3995" fmla="*/ 9347055 w 9586368"/>
                <a:gd name="connsiteY3995" fmla="*/ 3603586 h 6479439"/>
                <a:gd name="connsiteX3996" fmla="*/ 9343036 w 9586368"/>
                <a:gd name="connsiteY3996" fmla="*/ 3607625 h 6479439"/>
                <a:gd name="connsiteX3997" fmla="*/ 9333125 w 9586368"/>
                <a:gd name="connsiteY3997" fmla="*/ 3607625 h 6479439"/>
                <a:gd name="connsiteX3998" fmla="*/ 9329106 w 9586368"/>
                <a:gd name="connsiteY3998" fmla="*/ 3603586 h 6479439"/>
                <a:gd name="connsiteX3999" fmla="*/ 9329106 w 9586368"/>
                <a:gd name="connsiteY3999" fmla="*/ 3593716 h 6479439"/>
                <a:gd name="connsiteX4000" fmla="*/ 9093811 w 9586368"/>
                <a:gd name="connsiteY4000" fmla="*/ 3589677 h 6479439"/>
                <a:gd name="connsiteX4001" fmla="*/ 9103722 w 9586368"/>
                <a:gd name="connsiteY4001" fmla="*/ 3589677 h 6479439"/>
                <a:gd name="connsiteX4002" fmla="*/ 9107741 w 9586368"/>
                <a:gd name="connsiteY4002" fmla="*/ 3593716 h 6479439"/>
                <a:gd name="connsiteX4003" fmla="*/ 9107741 w 9586368"/>
                <a:gd name="connsiteY4003" fmla="*/ 3603586 h 6479439"/>
                <a:gd name="connsiteX4004" fmla="*/ 9103722 w 9586368"/>
                <a:gd name="connsiteY4004" fmla="*/ 3607625 h 6479439"/>
                <a:gd name="connsiteX4005" fmla="*/ 9093811 w 9586368"/>
                <a:gd name="connsiteY4005" fmla="*/ 3607625 h 6479439"/>
                <a:gd name="connsiteX4006" fmla="*/ 9089792 w 9586368"/>
                <a:gd name="connsiteY4006" fmla="*/ 3603586 h 6479439"/>
                <a:gd name="connsiteX4007" fmla="*/ 9089792 w 9586368"/>
                <a:gd name="connsiteY4007" fmla="*/ 3593716 h 6479439"/>
                <a:gd name="connsiteX4008" fmla="*/ 8854496 w 9586368"/>
                <a:gd name="connsiteY4008" fmla="*/ 3589677 h 6479439"/>
                <a:gd name="connsiteX4009" fmla="*/ 8864407 w 9586368"/>
                <a:gd name="connsiteY4009" fmla="*/ 3589677 h 6479439"/>
                <a:gd name="connsiteX4010" fmla="*/ 8868426 w 9586368"/>
                <a:gd name="connsiteY4010" fmla="*/ 3593716 h 6479439"/>
                <a:gd name="connsiteX4011" fmla="*/ 8868426 w 9586368"/>
                <a:gd name="connsiteY4011" fmla="*/ 3603586 h 6479439"/>
                <a:gd name="connsiteX4012" fmla="*/ 8864407 w 9586368"/>
                <a:gd name="connsiteY4012" fmla="*/ 3607625 h 6479439"/>
                <a:gd name="connsiteX4013" fmla="*/ 8854496 w 9586368"/>
                <a:gd name="connsiteY4013" fmla="*/ 3607625 h 6479439"/>
                <a:gd name="connsiteX4014" fmla="*/ 8850477 w 9586368"/>
                <a:gd name="connsiteY4014" fmla="*/ 3603586 h 6479439"/>
                <a:gd name="connsiteX4015" fmla="*/ 8850477 w 9586368"/>
                <a:gd name="connsiteY4015" fmla="*/ 3593716 h 6479439"/>
                <a:gd name="connsiteX4016" fmla="*/ 8615184 w 9586368"/>
                <a:gd name="connsiteY4016" fmla="*/ 3589677 h 6479439"/>
                <a:gd name="connsiteX4017" fmla="*/ 8625095 w 9586368"/>
                <a:gd name="connsiteY4017" fmla="*/ 3589677 h 6479439"/>
                <a:gd name="connsiteX4018" fmla="*/ 8629114 w 9586368"/>
                <a:gd name="connsiteY4018" fmla="*/ 3593716 h 6479439"/>
                <a:gd name="connsiteX4019" fmla="*/ 8629114 w 9586368"/>
                <a:gd name="connsiteY4019" fmla="*/ 3603586 h 6479439"/>
                <a:gd name="connsiteX4020" fmla="*/ 8625095 w 9586368"/>
                <a:gd name="connsiteY4020" fmla="*/ 3607625 h 6479439"/>
                <a:gd name="connsiteX4021" fmla="*/ 8615184 w 9586368"/>
                <a:gd name="connsiteY4021" fmla="*/ 3607625 h 6479439"/>
                <a:gd name="connsiteX4022" fmla="*/ 8611165 w 9586368"/>
                <a:gd name="connsiteY4022" fmla="*/ 3603586 h 6479439"/>
                <a:gd name="connsiteX4023" fmla="*/ 8611165 w 9586368"/>
                <a:gd name="connsiteY4023" fmla="*/ 3593716 h 6479439"/>
                <a:gd name="connsiteX4024" fmla="*/ 8375869 w 9586368"/>
                <a:gd name="connsiteY4024" fmla="*/ 3589677 h 6479439"/>
                <a:gd name="connsiteX4025" fmla="*/ 8385779 w 9586368"/>
                <a:gd name="connsiteY4025" fmla="*/ 3589677 h 6479439"/>
                <a:gd name="connsiteX4026" fmla="*/ 8389799 w 9586368"/>
                <a:gd name="connsiteY4026" fmla="*/ 3593716 h 6479439"/>
                <a:gd name="connsiteX4027" fmla="*/ 8389799 w 9586368"/>
                <a:gd name="connsiteY4027" fmla="*/ 3603586 h 6479439"/>
                <a:gd name="connsiteX4028" fmla="*/ 8385779 w 9586368"/>
                <a:gd name="connsiteY4028" fmla="*/ 3607625 h 6479439"/>
                <a:gd name="connsiteX4029" fmla="*/ 8375869 w 9586368"/>
                <a:gd name="connsiteY4029" fmla="*/ 3607625 h 6479439"/>
                <a:gd name="connsiteX4030" fmla="*/ 8371850 w 9586368"/>
                <a:gd name="connsiteY4030" fmla="*/ 3603586 h 6479439"/>
                <a:gd name="connsiteX4031" fmla="*/ 8371850 w 9586368"/>
                <a:gd name="connsiteY4031" fmla="*/ 3593716 h 6479439"/>
                <a:gd name="connsiteX4032" fmla="*/ 8136553 w 9586368"/>
                <a:gd name="connsiteY4032" fmla="*/ 3589677 h 6479439"/>
                <a:gd name="connsiteX4033" fmla="*/ 8146464 w 9586368"/>
                <a:gd name="connsiteY4033" fmla="*/ 3589677 h 6479439"/>
                <a:gd name="connsiteX4034" fmla="*/ 8150483 w 9586368"/>
                <a:gd name="connsiteY4034" fmla="*/ 3593716 h 6479439"/>
                <a:gd name="connsiteX4035" fmla="*/ 8150483 w 9586368"/>
                <a:gd name="connsiteY4035" fmla="*/ 3603586 h 6479439"/>
                <a:gd name="connsiteX4036" fmla="*/ 8146464 w 9586368"/>
                <a:gd name="connsiteY4036" fmla="*/ 3607625 h 6479439"/>
                <a:gd name="connsiteX4037" fmla="*/ 8136553 w 9586368"/>
                <a:gd name="connsiteY4037" fmla="*/ 3607625 h 6479439"/>
                <a:gd name="connsiteX4038" fmla="*/ 8132534 w 9586368"/>
                <a:gd name="connsiteY4038" fmla="*/ 3603586 h 6479439"/>
                <a:gd name="connsiteX4039" fmla="*/ 8132534 w 9586368"/>
                <a:gd name="connsiteY4039" fmla="*/ 3593716 h 6479439"/>
                <a:gd name="connsiteX4040" fmla="*/ 7897241 w 9586368"/>
                <a:gd name="connsiteY4040" fmla="*/ 3589677 h 6479439"/>
                <a:gd name="connsiteX4041" fmla="*/ 7907151 w 9586368"/>
                <a:gd name="connsiteY4041" fmla="*/ 3589677 h 6479439"/>
                <a:gd name="connsiteX4042" fmla="*/ 7911170 w 9586368"/>
                <a:gd name="connsiteY4042" fmla="*/ 3593716 h 6479439"/>
                <a:gd name="connsiteX4043" fmla="*/ 7911170 w 9586368"/>
                <a:gd name="connsiteY4043" fmla="*/ 3603586 h 6479439"/>
                <a:gd name="connsiteX4044" fmla="*/ 7907151 w 9586368"/>
                <a:gd name="connsiteY4044" fmla="*/ 3607625 h 6479439"/>
                <a:gd name="connsiteX4045" fmla="*/ 7897241 w 9586368"/>
                <a:gd name="connsiteY4045" fmla="*/ 3607625 h 6479439"/>
                <a:gd name="connsiteX4046" fmla="*/ 7893222 w 9586368"/>
                <a:gd name="connsiteY4046" fmla="*/ 3603586 h 6479439"/>
                <a:gd name="connsiteX4047" fmla="*/ 7893222 w 9586368"/>
                <a:gd name="connsiteY4047" fmla="*/ 3593716 h 6479439"/>
                <a:gd name="connsiteX4048" fmla="*/ 7657926 w 9586368"/>
                <a:gd name="connsiteY4048" fmla="*/ 3589677 h 6479439"/>
                <a:gd name="connsiteX4049" fmla="*/ 7667836 w 9586368"/>
                <a:gd name="connsiteY4049" fmla="*/ 3589677 h 6479439"/>
                <a:gd name="connsiteX4050" fmla="*/ 7671855 w 9586368"/>
                <a:gd name="connsiteY4050" fmla="*/ 3593716 h 6479439"/>
                <a:gd name="connsiteX4051" fmla="*/ 7671855 w 9586368"/>
                <a:gd name="connsiteY4051" fmla="*/ 3603586 h 6479439"/>
                <a:gd name="connsiteX4052" fmla="*/ 7667836 w 9586368"/>
                <a:gd name="connsiteY4052" fmla="*/ 3607625 h 6479439"/>
                <a:gd name="connsiteX4053" fmla="*/ 7657926 w 9586368"/>
                <a:gd name="connsiteY4053" fmla="*/ 3607625 h 6479439"/>
                <a:gd name="connsiteX4054" fmla="*/ 7653906 w 9586368"/>
                <a:gd name="connsiteY4054" fmla="*/ 3603586 h 6479439"/>
                <a:gd name="connsiteX4055" fmla="*/ 7653906 w 9586368"/>
                <a:gd name="connsiteY4055" fmla="*/ 3593716 h 6479439"/>
                <a:gd name="connsiteX4056" fmla="*/ 7418611 w 9586368"/>
                <a:gd name="connsiteY4056" fmla="*/ 3589677 h 6479439"/>
                <a:gd name="connsiteX4057" fmla="*/ 7428521 w 9586368"/>
                <a:gd name="connsiteY4057" fmla="*/ 3589677 h 6479439"/>
                <a:gd name="connsiteX4058" fmla="*/ 7432540 w 9586368"/>
                <a:gd name="connsiteY4058" fmla="*/ 3593716 h 6479439"/>
                <a:gd name="connsiteX4059" fmla="*/ 7432540 w 9586368"/>
                <a:gd name="connsiteY4059" fmla="*/ 3603586 h 6479439"/>
                <a:gd name="connsiteX4060" fmla="*/ 7428521 w 9586368"/>
                <a:gd name="connsiteY4060" fmla="*/ 3607625 h 6479439"/>
                <a:gd name="connsiteX4061" fmla="*/ 7418611 w 9586368"/>
                <a:gd name="connsiteY4061" fmla="*/ 3607625 h 6479439"/>
                <a:gd name="connsiteX4062" fmla="*/ 7414592 w 9586368"/>
                <a:gd name="connsiteY4062" fmla="*/ 3603586 h 6479439"/>
                <a:gd name="connsiteX4063" fmla="*/ 7414592 w 9586368"/>
                <a:gd name="connsiteY4063" fmla="*/ 3593716 h 6479439"/>
                <a:gd name="connsiteX4064" fmla="*/ 7179298 w 9586368"/>
                <a:gd name="connsiteY4064" fmla="*/ 3589677 h 6479439"/>
                <a:gd name="connsiteX4065" fmla="*/ 7189209 w 9586368"/>
                <a:gd name="connsiteY4065" fmla="*/ 3589677 h 6479439"/>
                <a:gd name="connsiteX4066" fmla="*/ 7193228 w 9586368"/>
                <a:gd name="connsiteY4066" fmla="*/ 3593716 h 6479439"/>
                <a:gd name="connsiteX4067" fmla="*/ 7193228 w 9586368"/>
                <a:gd name="connsiteY4067" fmla="*/ 3603586 h 6479439"/>
                <a:gd name="connsiteX4068" fmla="*/ 7189209 w 9586368"/>
                <a:gd name="connsiteY4068" fmla="*/ 3607625 h 6479439"/>
                <a:gd name="connsiteX4069" fmla="*/ 7179298 w 9586368"/>
                <a:gd name="connsiteY4069" fmla="*/ 3607625 h 6479439"/>
                <a:gd name="connsiteX4070" fmla="*/ 7175279 w 9586368"/>
                <a:gd name="connsiteY4070" fmla="*/ 3603586 h 6479439"/>
                <a:gd name="connsiteX4071" fmla="*/ 7175279 w 9586368"/>
                <a:gd name="connsiteY4071" fmla="*/ 3593716 h 6479439"/>
                <a:gd name="connsiteX4072" fmla="*/ 6939983 w 9586368"/>
                <a:gd name="connsiteY4072" fmla="*/ 3589677 h 6479439"/>
                <a:gd name="connsiteX4073" fmla="*/ 6949894 w 9586368"/>
                <a:gd name="connsiteY4073" fmla="*/ 3589677 h 6479439"/>
                <a:gd name="connsiteX4074" fmla="*/ 6953913 w 9586368"/>
                <a:gd name="connsiteY4074" fmla="*/ 3593716 h 6479439"/>
                <a:gd name="connsiteX4075" fmla="*/ 6953913 w 9586368"/>
                <a:gd name="connsiteY4075" fmla="*/ 3603586 h 6479439"/>
                <a:gd name="connsiteX4076" fmla="*/ 6949894 w 9586368"/>
                <a:gd name="connsiteY4076" fmla="*/ 3607625 h 6479439"/>
                <a:gd name="connsiteX4077" fmla="*/ 6939983 w 9586368"/>
                <a:gd name="connsiteY4077" fmla="*/ 3607625 h 6479439"/>
                <a:gd name="connsiteX4078" fmla="*/ 6935964 w 9586368"/>
                <a:gd name="connsiteY4078" fmla="*/ 3603586 h 6479439"/>
                <a:gd name="connsiteX4079" fmla="*/ 6935964 w 9586368"/>
                <a:gd name="connsiteY4079" fmla="*/ 3593716 h 6479439"/>
                <a:gd name="connsiteX4080" fmla="*/ 6700670 w 9586368"/>
                <a:gd name="connsiteY4080" fmla="*/ 3589677 h 6479439"/>
                <a:gd name="connsiteX4081" fmla="*/ 6710581 w 9586368"/>
                <a:gd name="connsiteY4081" fmla="*/ 3589677 h 6479439"/>
                <a:gd name="connsiteX4082" fmla="*/ 6714600 w 9586368"/>
                <a:gd name="connsiteY4082" fmla="*/ 3593716 h 6479439"/>
                <a:gd name="connsiteX4083" fmla="*/ 6714600 w 9586368"/>
                <a:gd name="connsiteY4083" fmla="*/ 3603586 h 6479439"/>
                <a:gd name="connsiteX4084" fmla="*/ 6710581 w 9586368"/>
                <a:gd name="connsiteY4084" fmla="*/ 3607625 h 6479439"/>
                <a:gd name="connsiteX4085" fmla="*/ 6700670 w 9586368"/>
                <a:gd name="connsiteY4085" fmla="*/ 3607625 h 6479439"/>
                <a:gd name="connsiteX4086" fmla="*/ 6696651 w 9586368"/>
                <a:gd name="connsiteY4086" fmla="*/ 3603586 h 6479439"/>
                <a:gd name="connsiteX4087" fmla="*/ 6696651 w 9586368"/>
                <a:gd name="connsiteY4087" fmla="*/ 3593716 h 6479439"/>
                <a:gd name="connsiteX4088" fmla="*/ 6461356 w 9586368"/>
                <a:gd name="connsiteY4088" fmla="*/ 3589677 h 6479439"/>
                <a:gd name="connsiteX4089" fmla="*/ 6471266 w 9586368"/>
                <a:gd name="connsiteY4089" fmla="*/ 3589677 h 6479439"/>
                <a:gd name="connsiteX4090" fmla="*/ 6475285 w 9586368"/>
                <a:gd name="connsiteY4090" fmla="*/ 3593716 h 6479439"/>
                <a:gd name="connsiteX4091" fmla="*/ 6475285 w 9586368"/>
                <a:gd name="connsiteY4091" fmla="*/ 3603586 h 6479439"/>
                <a:gd name="connsiteX4092" fmla="*/ 6471266 w 9586368"/>
                <a:gd name="connsiteY4092" fmla="*/ 3607625 h 6479439"/>
                <a:gd name="connsiteX4093" fmla="*/ 6461356 w 9586368"/>
                <a:gd name="connsiteY4093" fmla="*/ 3607625 h 6479439"/>
                <a:gd name="connsiteX4094" fmla="*/ 6457337 w 9586368"/>
                <a:gd name="connsiteY4094" fmla="*/ 3603586 h 6479439"/>
                <a:gd name="connsiteX4095" fmla="*/ 6457337 w 9586368"/>
                <a:gd name="connsiteY4095" fmla="*/ 3593716 h 6479439"/>
                <a:gd name="connsiteX4096" fmla="*/ 6222042 w 9586368"/>
                <a:gd name="connsiteY4096" fmla="*/ 3589677 h 6479439"/>
                <a:gd name="connsiteX4097" fmla="*/ 6231952 w 9586368"/>
                <a:gd name="connsiteY4097" fmla="*/ 3589677 h 6479439"/>
                <a:gd name="connsiteX4098" fmla="*/ 6235971 w 9586368"/>
                <a:gd name="connsiteY4098" fmla="*/ 3593716 h 6479439"/>
                <a:gd name="connsiteX4099" fmla="*/ 6235971 w 9586368"/>
                <a:gd name="connsiteY4099" fmla="*/ 3603586 h 6479439"/>
                <a:gd name="connsiteX4100" fmla="*/ 6231952 w 9586368"/>
                <a:gd name="connsiteY4100" fmla="*/ 3607625 h 6479439"/>
                <a:gd name="connsiteX4101" fmla="*/ 6222042 w 9586368"/>
                <a:gd name="connsiteY4101" fmla="*/ 3607625 h 6479439"/>
                <a:gd name="connsiteX4102" fmla="*/ 6218023 w 9586368"/>
                <a:gd name="connsiteY4102" fmla="*/ 3603586 h 6479439"/>
                <a:gd name="connsiteX4103" fmla="*/ 6218023 w 9586368"/>
                <a:gd name="connsiteY4103" fmla="*/ 3593716 h 6479439"/>
                <a:gd name="connsiteX4104" fmla="*/ 5982729 w 9586368"/>
                <a:gd name="connsiteY4104" fmla="*/ 3589677 h 6479439"/>
                <a:gd name="connsiteX4105" fmla="*/ 5992639 w 9586368"/>
                <a:gd name="connsiteY4105" fmla="*/ 3589677 h 6479439"/>
                <a:gd name="connsiteX4106" fmla="*/ 5996658 w 9586368"/>
                <a:gd name="connsiteY4106" fmla="*/ 3593716 h 6479439"/>
                <a:gd name="connsiteX4107" fmla="*/ 5996658 w 9586368"/>
                <a:gd name="connsiteY4107" fmla="*/ 3603586 h 6479439"/>
                <a:gd name="connsiteX4108" fmla="*/ 5992639 w 9586368"/>
                <a:gd name="connsiteY4108" fmla="*/ 3607625 h 6479439"/>
                <a:gd name="connsiteX4109" fmla="*/ 5982729 w 9586368"/>
                <a:gd name="connsiteY4109" fmla="*/ 3607625 h 6479439"/>
                <a:gd name="connsiteX4110" fmla="*/ 5978710 w 9586368"/>
                <a:gd name="connsiteY4110" fmla="*/ 3603586 h 6479439"/>
                <a:gd name="connsiteX4111" fmla="*/ 5978710 w 9586368"/>
                <a:gd name="connsiteY4111" fmla="*/ 3593716 h 6479439"/>
                <a:gd name="connsiteX4112" fmla="*/ 5743412 w 9586368"/>
                <a:gd name="connsiteY4112" fmla="*/ 3589677 h 6479439"/>
                <a:gd name="connsiteX4113" fmla="*/ 5753323 w 9586368"/>
                <a:gd name="connsiteY4113" fmla="*/ 3589677 h 6479439"/>
                <a:gd name="connsiteX4114" fmla="*/ 5757342 w 9586368"/>
                <a:gd name="connsiteY4114" fmla="*/ 3593716 h 6479439"/>
                <a:gd name="connsiteX4115" fmla="*/ 5757342 w 9586368"/>
                <a:gd name="connsiteY4115" fmla="*/ 3603586 h 6479439"/>
                <a:gd name="connsiteX4116" fmla="*/ 5753323 w 9586368"/>
                <a:gd name="connsiteY4116" fmla="*/ 3607625 h 6479439"/>
                <a:gd name="connsiteX4117" fmla="*/ 5743412 w 9586368"/>
                <a:gd name="connsiteY4117" fmla="*/ 3607625 h 6479439"/>
                <a:gd name="connsiteX4118" fmla="*/ 5739393 w 9586368"/>
                <a:gd name="connsiteY4118" fmla="*/ 3603586 h 6479439"/>
                <a:gd name="connsiteX4119" fmla="*/ 5739393 w 9586368"/>
                <a:gd name="connsiteY4119" fmla="*/ 3593716 h 6479439"/>
                <a:gd name="connsiteX4120" fmla="*/ 5504099 w 9586368"/>
                <a:gd name="connsiteY4120" fmla="*/ 3589677 h 6479439"/>
                <a:gd name="connsiteX4121" fmla="*/ 5514010 w 9586368"/>
                <a:gd name="connsiteY4121" fmla="*/ 3589677 h 6479439"/>
                <a:gd name="connsiteX4122" fmla="*/ 5518029 w 9586368"/>
                <a:gd name="connsiteY4122" fmla="*/ 3593716 h 6479439"/>
                <a:gd name="connsiteX4123" fmla="*/ 5518029 w 9586368"/>
                <a:gd name="connsiteY4123" fmla="*/ 3603586 h 6479439"/>
                <a:gd name="connsiteX4124" fmla="*/ 5514010 w 9586368"/>
                <a:gd name="connsiteY4124" fmla="*/ 3607625 h 6479439"/>
                <a:gd name="connsiteX4125" fmla="*/ 5504099 w 9586368"/>
                <a:gd name="connsiteY4125" fmla="*/ 3607625 h 6479439"/>
                <a:gd name="connsiteX4126" fmla="*/ 5500080 w 9586368"/>
                <a:gd name="connsiteY4126" fmla="*/ 3603586 h 6479439"/>
                <a:gd name="connsiteX4127" fmla="*/ 5500080 w 9586368"/>
                <a:gd name="connsiteY4127" fmla="*/ 3593716 h 6479439"/>
                <a:gd name="connsiteX4128" fmla="*/ 5264784 w 9586368"/>
                <a:gd name="connsiteY4128" fmla="*/ 3589677 h 6479439"/>
                <a:gd name="connsiteX4129" fmla="*/ 5274694 w 9586368"/>
                <a:gd name="connsiteY4129" fmla="*/ 3589677 h 6479439"/>
                <a:gd name="connsiteX4130" fmla="*/ 5278713 w 9586368"/>
                <a:gd name="connsiteY4130" fmla="*/ 3593716 h 6479439"/>
                <a:gd name="connsiteX4131" fmla="*/ 5278713 w 9586368"/>
                <a:gd name="connsiteY4131" fmla="*/ 3603586 h 6479439"/>
                <a:gd name="connsiteX4132" fmla="*/ 5274694 w 9586368"/>
                <a:gd name="connsiteY4132" fmla="*/ 3607625 h 6479439"/>
                <a:gd name="connsiteX4133" fmla="*/ 5264784 w 9586368"/>
                <a:gd name="connsiteY4133" fmla="*/ 3607625 h 6479439"/>
                <a:gd name="connsiteX4134" fmla="*/ 5260765 w 9586368"/>
                <a:gd name="connsiteY4134" fmla="*/ 3603586 h 6479439"/>
                <a:gd name="connsiteX4135" fmla="*/ 5260765 w 9586368"/>
                <a:gd name="connsiteY4135" fmla="*/ 3593716 h 6479439"/>
                <a:gd name="connsiteX4136" fmla="*/ 5025470 w 9586368"/>
                <a:gd name="connsiteY4136" fmla="*/ 3589677 h 6479439"/>
                <a:gd name="connsiteX4137" fmla="*/ 5035381 w 9586368"/>
                <a:gd name="connsiteY4137" fmla="*/ 3589677 h 6479439"/>
                <a:gd name="connsiteX4138" fmla="*/ 5039400 w 9586368"/>
                <a:gd name="connsiteY4138" fmla="*/ 3593716 h 6479439"/>
                <a:gd name="connsiteX4139" fmla="*/ 5039400 w 9586368"/>
                <a:gd name="connsiteY4139" fmla="*/ 3603586 h 6479439"/>
                <a:gd name="connsiteX4140" fmla="*/ 5035381 w 9586368"/>
                <a:gd name="connsiteY4140" fmla="*/ 3607625 h 6479439"/>
                <a:gd name="connsiteX4141" fmla="*/ 5025470 w 9586368"/>
                <a:gd name="connsiteY4141" fmla="*/ 3607625 h 6479439"/>
                <a:gd name="connsiteX4142" fmla="*/ 5021451 w 9586368"/>
                <a:gd name="connsiteY4142" fmla="*/ 3603586 h 6479439"/>
                <a:gd name="connsiteX4143" fmla="*/ 5021451 w 9586368"/>
                <a:gd name="connsiteY4143" fmla="*/ 3593716 h 6479439"/>
                <a:gd name="connsiteX4144" fmla="*/ 4786241 w 9586368"/>
                <a:gd name="connsiteY4144" fmla="*/ 3589677 h 6479439"/>
                <a:gd name="connsiteX4145" fmla="*/ 4796152 w 9586368"/>
                <a:gd name="connsiteY4145" fmla="*/ 3589677 h 6479439"/>
                <a:gd name="connsiteX4146" fmla="*/ 4800171 w 9586368"/>
                <a:gd name="connsiteY4146" fmla="*/ 3593716 h 6479439"/>
                <a:gd name="connsiteX4147" fmla="*/ 4800171 w 9586368"/>
                <a:gd name="connsiteY4147" fmla="*/ 3603586 h 6479439"/>
                <a:gd name="connsiteX4148" fmla="*/ 4796152 w 9586368"/>
                <a:gd name="connsiteY4148" fmla="*/ 3607625 h 6479439"/>
                <a:gd name="connsiteX4149" fmla="*/ 4786241 w 9586368"/>
                <a:gd name="connsiteY4149" fmla="*/ 3607625 h 6479439"/>
                <a:gd name="connsiteX4150" fmla="*/ 4782224 w 9586368"/>
                <a:gd name="connsiteY4150" fmla="*/ 3603586 h 6479439"/>
                <a:gd name="connsiteX4151" fmla="*/ 4782224 w 9586368"/>
                <a:gd name="connsiteY4151" fmla="*/ 3593716 h 6479439"/>
                <a:gd name="connsiteX4152" fmla="*/ 4546929 w 9586368"/>
                <a:gd name="connsiteY4152" fmla="*/ 3589677 h 6479439"/>
                <a:gd name="connsiteX4153" fmla="*/ 4556840 w 9586368"/>
                <a:gd name="connsiteY4153" fmla="*/ 3589677 h 6479439"/>
                <a:gd name="connsiteX4154" fmla="*/ 4560859 w 9586368"/>
                <a:gd name="connsiteY4154" fmla="*/ 3593716 h 6479439"/>
                <a:gd name="connsiteX4155" fmla="*/ 4560859 w 9586368"/>
                <a:gd name="connsiteY4155" fmla="*/ 3603586 h 6479439"/>
                <a:gd name="connsiteX4156" fmla="*/ 4556840 w 9586368"/>
                <a:gd name="connsiteY4156" fmla="*/ 3607625 h 6479439"/>
                <a:gd name="connsiteX4157" fmla="*/ 4546929 w 9586368"/>
                <a:gd name="connsiteY4157" fmla="*/ 3607625 h 6479439"/>
                <a:gd name="connsiteX4158" fmla="*/ 4542910 w 9586368"/>
                <a:gd name="connsiteY4158" fmla="*/ 3603586 h 6479439"/>
                <a:gd name="connsiteX4159" fmla="*/ 4542910 w 9586368"/>
                <a:gd name="connsiteY4159" fmla="*/ 3593716 h 6479439"/>
                <a:gd name="connsiteX4160" fmla="*/ 4307612 w 9586368"/>
                <a:gd name="connsiteY4160" fmla="*/ 3589677 h 6479439"/>
                <a:gd name="connsiteX4161" fmla="*/ 4317523 w 9586368"/>
                <a:gd name="connsiteY4161" fmla="*/ 3589677 h 6479439"/>
                <a:gd name="connsiteX4162" fmla="*/ 4321543 w 9586368"/>
                <a:gd name="connsiteY4162" fmla="*/ 3593716 h 6479439"/>
                <a:gd name="connsiteX4163" fmla="*/ 4321543 w 9586368"/>
                <a:gd name="connsiteY4163" fmla="*/ 3603586 h 6479439"/>
                <a:gd name="connsiteX4164" fmla="*/ 4317523 w 9586368"/>
                <a:gd name="connsiteY4164" fmla="*/ 3607625 h 6479439"/>
                <a:gd name="connsiteX4165" fmla="*/ 4307612 w 9586368"/>
                <a:gd name="connsiteY4165" fmla="*/ 3607625 h 6479439"/>
                <a:gd name="connsiteX4166" fmla="*/ 4303595 w 9586368"/>
                <a:gd name="connsiteY4166" fmla="*/ 3603586 h 6479439"/>
                <a:gd name="connsiteX4167" fmla="*/ 4303595 w 9586368"/>
                <a:gd name="connsiteY4167" fmla="*/ 3593716 h 6479439"/>
                <a:gd name="connsiteX4168" fmla="*/ 4068297 w 9586368"/>
                <a:gd name="connsiteY4168" fmla="*/ 3589677 h 6479439"/>
                <a:gd name="connsiteX4169" fmla="*/ 4078210 w 9586368"/>
                <a:gd name="connsiteY4169" fmla="*/ 3589677 h 6479439"/>
                <a:gd name="connsiteX4170" fmla="*/ 4082229 w 9586368"/>
                <a:gd name="connsiteY4170" fmla="*/ 3593716 h 6479439"/>
                <a:gd name="connsiteX4171" fmla="*/ 4082229 w 9586368"/>
                <a:gd name="connsiteY4171" fmla="*/ 3603586 h 6479439"/>
                <a:gd name="connsiteX4172" fmla="*/ 4078210 w 9586368"/>
                <a:gd name="connsiteY4172" fmla="*/ 3607625 h 6479439"/>
                <a:gd name="connsiteX4173" fmla="*/ 4068297 w 9586368"/>
                <a:gd name="connsiteY4173" fmla="*/ 3607625 h 6479439"/>
                <a:gd name="connsiteX4174" fmla="*/ 4064278 w 9586368"/>
                <a:gd name="connsiteY4174" fmla="*/ 3603586 h 6479439"/>
                <a:gd name="connsiteX4175" fmla="*/ 4064278 w 9586368"/>
                <a:gd name="connsiteY4175" fmla="*/ 3593716 h 6479439"/>
                <a:gd name="connsiteX4176" fmla="*/ 3828990 w 9586368"/>
                <a:gd name="connsiteY4176" fmla="*/ 3589677 h 6479439"/>
                <a:gd name="connsiteX4177" fmla="*/ 3838899 w 9586368"/>
                <a:gd name="connsiteY4177" fmla="*/ 3589677 h 6479439"/>
                <a:gd name="connsiteX4178" fmla="*/ 3842917 w 9586368"/>
                <a:gd name="connsiteY4178" fmla="*/ 3593716 h 6479439"/>
                <a:gd name="connsiteX4179" fmla="*/ 3842917 w 9586368"/>
                <a:gd name="connsiteY4179" fmla="*/ 3603586 h 6479439"/>
                <a:gd name="connsiteX4180" fmla="*/ 3838899 w 9586368"/>
                <a:gd name="connsiteY4180" fmla="*/ 3607625 h 6479439"/>
                <a:gd name="connsiteX4181" fmla="*/ 3828990 w 9586368"/>
                <a:gd name="connsiteY4181" fmla="*/ 3607625 h 6479439"/>
                <a:gd name="connsiteX4182" fmla="*/ 3824971 w 9586368"/>
                <a:gd name="connsiteY4182" fmla="*/ 3603586 h 6479439"/>
                <a:gd name="connsiteX4183" fmla="*/ 3824971 w 9586368"/>
                <a:gd name="connsiteY4183" fmla="*/ 3593716 h 6479439"/>
                <a:gd name="connsiteX4184" fmla="*/ 3589676 w 9586368"/>
                <a:gd name="connsiteY4184" fmla="*/ 3589677 h 6479439"/>
                <a:gd name="connsiteX4185" fmla="*/ 3599585 w 9586368"/>
                <a:gd name="connsiteY4185" fmla="*/ 3589677 h 6479439"/>
                <a:gd name="connsiteX4186" fmla="*/ 3603604 w 9586368"/>
                <a:gd name="connsiteY4186" fmla="*/ 3593716 h 6479439"/>
                <a:gd name="connsiteX4187" fmla="*/ 3603604 w 9586368"/>
                <a:gd name="connsiteY4187" fmla="*/ 3603586 h 6479439"/>
                <a:gd name="connsiteX4188" fmla="*/ 3599585 w 9586368"/>
                <a:gd name="connsiteY4188" fmla="*/ 3607625 h 6479439"/>
                <a:gd name="connsiteX4189" fmla="*/ 3589676 w 9586368"/>
                <a:gd name="connsiteY4189" fmla="*/ 3607625 h 6479439"/>
                <a:gd name="connsiteX4190" fmla="*/ 3585657 w 9586368"/>
                <a:gd name="connsiteY4190" fmla="*/ 3603586 h 6479439"/>
                <a:gd name="connsiteX4191" fmla="*/ 3585657 w 9586368"/>
                <a:gd name="connsiteY4191" fmla="*/ 3593716 h 6479439"/>
                <a:gd name="connsiteX4192" fmla="*/ 3350359 w 9586368"/>
                <a:gd name="connsiteY4192" fmla="*/ 3589677 h 6479439"/>
                <a:gd name="connsiteX4193" fmla="*/ 3360268 w 9586368"/>
                <a:gd name="connsiteY4193" fmla="*/ 3589677 h 6479439"/>
                <a:gd name="connsiteX4194" fmla="*/ 3364287 w 9586368"/>
                <a:gd name="connsiteY4194" fmla="*/ 3593716 h 6479439"/>
                <a:gd name="connsiteX4195" fmla="*/ 3364287 w 9586368"/>
                <a:gd name="connsiteY4195" fmla="*/ 3603586 h 6479439"/>
                <a:gd name="connsiteX4196" fmla="*/ 3360268 w 9586368"/>
                <a:gd name="connsiteY4196" fmla="*/ 3607625 h 6479439"/>
                <a:gd name="connsiteX4197" fmla="*/ 3350359 w 9586368"/>
                <a:gd name="connsiteY4197" fmla="*/ 3607625 h 6479439"/>
                <a:gd name="connsiteX4198" fmla="*/ 3346340 w 9586368"/>
                <a:gd name="connsiteY4198" fmla="*/ 3603586 h 6479439"/>
                <a:gd name="connsiteX4199" fmla="*/ 3346340 w 9586368"/>
                <a:gd name="connsiteY4199" fmla="*/ 3593716 h 6479439"/>
                <a:gd name="connsiteX4200" fmla="*/ 3111048 w 9586368"/>
                <a:gd name="connsiteY4200" fmla="*/ 3589677 h 6479439"/>
                <a:gd name="connsiteX4201" fmla="*/ 3120959 w 9586368"/>
                <a:gd name="connsiteY4201" fmla="*/ 3589677 h 6479439"/>
                <a:gd name="connsiteX4202" fmla="*/ 3124977 w 9586368"/>
                <a:gd name="connsiteY4202" fmla="*/ 3593716 h 6479439"/>
                <a:gd name="connsiteX4203" fmla="*/ 3124977 w 9586368"/>
                <a:gd name="connsiteY4203" fmla="*/ 3603586 h 6479439"/>
                <a:gd name="connsiteX4204" fmla="*/ 3120959 w 9586368"/>
                <a:gd name="connsiteY4204" fmla="*/ 3607625 h 6479439"/>
                <a:gd name="connsiteX4205" fmla="*/ 3111048 w 9586368"/>
                <a:gd name="connsiteY4205" fmla="*/ 3607625 h 6479439"/>
                <a:gd name="connsiteX4206" fmla="*/ 3107029 w 9586368"/>
                <a:gd name="connsiteY4206" fmla="*/ 3603586 h 6479439"/>
                <a:gd name="connsiteX4207" fmla="*/ 3107029 w 9586368"/>
                <a:gd name="connsiteY4207" fmla="*/ 3593716 h 6479439"/>
                <a:gd name="connsiteX4208" fmla="*/ 2871737 w 9586368"/>
                <a:gd name="connsiteY4208" fmla="*/ 3589677 h 6479439"/>
                <a:gd name="connsiteX4209" fmla="*/ 2881646 w 9586368"/>
                <a:gd name="connsiteY4209" fmla="*/ 3589677 h 6479439"/>
                <a:gd name="connsiteX4210" fmla="*/ 2885666 w 9586368"/>
                <a:gd name="connsiteY4210" fmla="*/ 3593716 h 6479439"/>
                <a:gd name="connsiteX4211" fmla="*/ 2885666 w 9586368"/>
                <a:gd name="connsiteY4211" fmla="*/ 3603586 h 6479439"/>
                <a:gd name="connsiteX4212" fmla="*/ 2881646 w 9586368"/>
                <a:gd name="connsiteY4212" fmla="*/ 3607625 h 6479439"/>
                <a:gd name="connsiteX4213" fmla="*/ 2871737 w 9586368"/>
                <a:gd name="connsiteY4213" fmla="*/ 3607625 h 6479439"/>
                <a:gd name="connsiteX4214" fmla="*/ 2867717 w 9586368"/>
                <a:gd name="connsiteY4214" fmla="*/ 3603586 h 6479439"/>
                <a:gd name="connsiteX4215" fmla="*/ 2867717 w 9586368"/>
                <a:gd name="connsiteY4215" fmla="*/ 3593716 h 6479439"/>
                <a:gd name="connsiteX4216" fmla="*/ 2632423 w 9586368"/>
                <a:gd name="connsiteY4216" fmla="*/ 3589677 h 6479439"/>
                <a:gd name="connsiteX4217" fmla="*/ 2642334 w 9586368"/>
                <a:gd name="connsiteY4217" fmla="*/ 3589677 h 6479439"/>
                <a:gd name="connsiteX4218" fmla="*/ 2646352 w 9586368"/>
                <a:gd name="connsiteY4218" fmla="*/ 3593716 h 6479439"/>
                <a:gd name="connsiteX4219" fmla="*/ 2646352 w 9586368"/>
                <a:gd name="connsiteY4219" fmla="*/ 3603586 h 6479439"/>
                <a:gd name="connsiteX4220" fmla="*/ 2642334 w 9586368"/>
                <a:gd name="connsiteY4220" fmla="*/ 3607625 h 6479439"/>
                <a:gd name="connsiteX4221" fmla="*/ 2632423 w 9586368"/>
                <a:gd name="connsiteY4221" fmla="*/ 3607625 h 6479439"/>
                <a:gd name="connsiteX4222" fmla="*/ 2628404 w 9586368"/>
                <a:gd name="connsiteY4222" fmla="*/ 3603586 h 6479439"/>
                <a:gd name="connsiteX4223" fmla="*/ 2628404 w 9586368"/>
                <a:gd name="connsiteY4223" fmla="*/ 3593716 h 6479439"/>
                <a:gd name="connsiteX4224" fmla="*/ 2393104 w 9586368"/>
                <a:gd name="connsiteY4224" fmla="*/ 3589677 h 6479439"/>
                <a:gd name="connsiteX4225" fmla="*/ 2403015 w 9586368"/>
                <a:gd name="connsiteY4225" fmla="*/ 3589677 h 6479439"/>
                <a:gd name="connsiteX4226" fmla="*/ 2407034 w 9586368"/>
                <a:gd name="connsiteY4226" fmla="*/ 3593716 h 6479439"/>
                <a:gd name="connsiteX4227" fmla="*/ 2407034 w 9586368"/>
                <a:gd name="connsiteY4227" fmla="*/ 3603586 h 6479439"/>
                <a:gd name="connsiteX4228" fmla="*/ 2403015 w 9586368"/>
                <a:gd name="connsiteY4228" fmla="*/ 3607625 h 6479439"/>
                <a:gd name="connsiteX4229" fmla="*/ 2393104 w 9586368"/>
                <a:gd name="connsiteY4229" fmla="*/ 3607625 h 6479439"/>
                <a:gd name="connsiteX4230" fmla="*/ 2389087 w 9586368"/>
                <a:gd name="connsiteY4230" fmla="*/ 3603586 h 6479439"/>
                <a:gd name="connsiteX4231" fmla="*/ 2389087 w 9586368"/>
                <a:gd name="connsiteY4231" fmla="*/ 3593716 h 6479439"/>
                <a:gd name="connsiteX4232" fmla="*/ 721966 w 9586368"/>
                <a:gd name="connsiteY4232" fmla="*/ 3589677 h 6479439"/>
                <a:gd name="connsiteX4233" fmla="*/ 731877 w 9586368"/>
                <a:gd name="connsiteY4233" fmla="*/ 3589677 h 6479439"/>
                <a:gd name="connsiteX4234" fmla="*/ 735896 w 9586368"/>
                <a:gd name="connsiteY4234" fmla="*/ 3593716 h 6479439"/>
                <a:gd name="connsiteX4235" fmla="*/ 735896 w 9586368"/>
                <a:gd name="connsiteY4235" fmla="*/ 3603586 h 6479439"/>
                <a:gd name="connsiteX4236" fmla="*/ 731877 w 9586368"/>
                <a:gd name="connsiteY4236" fmla="*/ 3607625 h 6479439"/>
                <a:gd name="connsiteX4237" fmla="*/ 721966 w 9586368"/>
                <a:gd name="connsiteY4237" fmla="*/ 3607625 h 6479439"/>
                <a:gd name="connsiteX4238" fmla="*/ 717948 w 9586368"/>
                <a:gd name="connsiteY4238" fmla="*/ 3603586 h 6479439"/>
                <a:gd name="connsiteX4239" fmla="*/ 717948 w 9586368"/>
                <a:gd name="connsiteY4239" fmla="*/ 3593716 h 6479439"/>
                <a:gd name="connsiteX4240" fmla="*/ 482654 w 9586368"/>
                <a:gd name="connsiteY4240" fmla="*/ 3589677 h 6479439"/>
                <a:gd name="connsiteX4241" fmla="*/ 492565 w 9586368"/>
                <a:gd name="connsiteY4241" fmla="*/ 3589677 h 6479439"/>
                <a:gd name="connsiteX4242" fmla="*/ 496584 w 9586368"/>
                <a:gd name="connsiteY4242" fmla="*/ 3593716 h 6479439"/>
                <a:gd name="connsiteX4243" fmla="*/ 496584 w 9586368"/>
                <a:gd name="connsiteY4243" fmla="*/ 3603586 h 6479439"/>
                <a:gd name="connsiteX4244" fmla="*/ 492565 w 9586368"/>
                <a:gd name="connsiteY4244" fmla="*/ 3607625 h 6479439"/>
                <a:gd name="connsiteX4245" fmla="*/ 482654 w 9586368"/>
                <a:gd name="connsiteY4245" fmla="*/ 3607625 h 6479439"/>
                <a:gd name="connsiteX4246" fmla="*/ 478635 w 9586368"/>
                <a:gd name="connsiteY4246" fmla="*/ 3603586 h 6479439"/>
                <a:gd name="connsiteX4247" fmla="*/ 478635 w 9586368"/>
                <a:gd name="connsiteY4247" fmla="*/ 3593716 h 6479439"/>
                <a:gd name="connsiteX4248" fmla="*/ 243341 w 9586368"/>
                <a:gd name="connsiteY4248" fmla="*/ 3589677 h 6479439"/>
                <a:gd name="connsiteX4249" fmla="*/ 253251 w 9586368"/>
                <a:gd name="connsiteY4249" fmla="*/ 3589677 h 6479439"/>
                <a:gd name="connsiteX4250" fmla="*/ 257270 w 9586368"/>
                <a:gd name="connsiteY4250" fmla="*/ 3593716 h 6479439"/>
                <a:gd name="connsiteX4251" fmla="*/ 257270 w 9586368"/>
                <a:gd name="connsiteY4251" fmla="*/ 3603586 h 6479439"/>
                <a:gd name="connsiteX4252" fmla="*/ 253251 w 9586368"/>
                <a:gd name="connsiteY4252" fmla="*/ 3607625 h 6479439"/>
                <a:gd name="connsiteX4253" fmla="*/ 243341 w 9586368"/>
                <a:gd name="connsiteY4253" fmla="*/ 3607625 h 6479439"/>
                <a:gd name="connsiteX4254" fmla="*/ 239321 w 9586368"/>
                <a:gd name="connsiteY4254" fmla="*/ 3603586 h 6479439"/>
                <a:gd name="connsiteX4255" fmla="*/ 239321 w 9586368"/>
                <a:gd name="connsiteY4255" fmla="*/ 3593716 h 6479439"/>
                <a:gd name="connsiteX4256" fmla="*/ 4027 w 9586368"/>
                <a:gd name="connsiteY4256" fmla="*/ 3589677 h 6479439"/>
                <a:gd name="connsiteX4257" fmla="*/ 13938 w 9586368"/>
                <a:gd name="connsiteY4257" fmla="*/ 3589677 h 6479439"/>
                <a:gd name="connsiteX4258" fmla="*/ 17957 w 9586368"/>
                <a:gd name="connsiteY4258" fmla="*/ 3593716 h 6479439"/>
                <a:gd name="connsiteX4259" fmla="*/ 17957 w 9586368"/>
                <a:gd name="connsiteY4259" fmla="*/ 3603586 h 6479439"/>
                <a:gd name="connsiteX4260" fmla="*/ 13938 w 9586368"/>
                <a:gd name="connsiteY4260" fmla="*/ 3607625 h 6479439"/>
                <a:gd name="connsiteX4261" fmla="*/ 4027 w 9586368"/>
                <a:gd name="connsiteY4261" fmla="*/ 3607625 h 6479439"/>
                <a:gd name="connsiteX4262" fmla="*/ 8 w 9586368"/>
                <a:gd name="connsiteY4262" fmla="*/ 3603586 h 6479439"/>
                <a:gd name="connsiteX4263" fmla="*/ 8 w 9586368"/>
                <a:gd name="connsiteY4263" fmla="*/ 3593716 h 6479439"/>
                <a:gd name="connsiteX4264" fmla="*/ 9572438 w 9586368"/>
                <a:gd name="connsiteY4264" fmla="*/ 3350398 h 6479439"/>
                <a:gd name="connsiteX4265" fmla="*/ 9582349 w 9586368"/>
                <a:gd name="connsiteY4265" fmla="*/ 3350398 h 6479439"/>
                <a:gd name="connsiteX4266" fmla="*/ 9586368 w 9586368"/>
                <a:gd name="connsiteY4266" fmla="*/ 3354436 h 6479439"/>
                <a:gd name="connsiteX4267" fmla="*/ 9586368 w 9586368"/>
                <a:gd name="connsiteY4267" fmla="*/ 3364306 h 6479439"/>
                <a:gd name="connsiteX4268" fmla="*/ 9582349 w 9586368"/>
                <a:gd name="connsiteY4268" fmla="*/ 3368345 h 6479439"/>
                <a:gd name="connsiteX4269" fmla="*/ 9572438 w 9586368"/>
                <a:gd name="connsiteY4269" fmla="*/ 3368345 h 6479439"/>
                <a:gd name="connsiteX4270" fmla="*/ 9568419 w 9586368"/>
                <a:gd name="connsiteY4270" fmla="*/ 3364306 h 6479439"/>
                <a:gd name="connsiteX4271" fmla="*/ 9568419 w 9586368"/>
                <a:gd name="connsiteY4271" fmla="*/ 3354436 h 6479439"/>
                <a:gd name="connsiteX4272" fmla="*/ 9333125 w 9586368"/>
                <a:gd name="connsiteY4272" fmla="*/ 3350398 h 6479439"/>
                <a:gd name="connsiteX4273" fmla="*/ 9343036 w 9586368"/>
                <a:gd name="connsiteY4273" fmla="*/ 3350398 h 6479439"/>
                <a:gd name="connsiteX4274" fmla="*/ 9347055 w 9586368"/>
                <a:gd name="connsiteY4274" fmla="*/ 3354436 h 6479439"/>
                <a:gd name="connsiteX4275" fmla="*/ 9347055 w 9586368"/>
                <a:gd name="connsiteY4275" fmla="*/ 3364306 h 6479439"/>
                <a:gd name="connsiteX4276" fmla="*/ 9343036 w 9586368"/>
                <a:gd name="connsiteY4276" fmla="*/ 3368345 h 6479439"/>
                <a:gd name="connsiteX4277" fmla="*/ 9333125 w 9586368"/>
                <a:gd name="connsiteY4277" fmla="*/ 3368345 h 6479439"/>
                <a:gd name="connsiteX4278" fmla="*/ 9329106 w 9586368"/>
                <a:gd name="connsiteY4278" fmla="*/ 3364306 h 6479439"/>
                <a:gd name="connsiteX4279" fmla="*/ 9329106 w 9586368"/>
                <a:gd name="connsiteY4279" fmla="*/ 3354436 h 6479439"/>
                <a:gd name="connsiteX4280" fmla="*/ 9093811 w 9586368"/>
                <a:gd name="connsiteY4280" fmla="*/ 3350398 h 6479439"/>
                <a:gd name="connsiteX4281" fmla="*/ 9103722 w 9586368"/>
                <a:gd name="connsiteY4281" fmla="*/ 3350398 h 6479439"/>
                <a:gd name="connsiteX4282" fmla="*/ 9107741 w 9586368"/>
                <a:gd name="connsiteY4282" fmla="*/ 3354436 h 6479439"/>
                <a:gd name="connsiteX4283" fmla="*/ 9107741 w 9586368"/>
                <a:gd name="connsiteY4283" fmla="*/ 3364306 h 6479439"/>
                <a:gd name="connsiteX4284" fmla="*/ 9103722 w 9586368"/>
                <a:gd name="connsiteY4284" fmla="*/ 3368345 h 6479439"/>
                <a:gd name="connsiteX4285" fmla="*/ 9093811 w 9586368"/>
                <a:gd name="connsiteY4285" fmla="*/ 3368345 h 6479439"/>
                <a:gd name="connsiteX4286" fmla="*/ 9089792 w 9586368"/>
                <a:gd name="connsiteY4286" fmla="*/ 3364306 h 6479439"/>
                <a:gd name="connsiteX4287" fmla="*/ 9089792 w 9586368"/>
                <a:gd name="connsiteY4287" fmla="*/ 3354436 h 6479439"/>
                <a:gd name="connsiteX4288" fmla="*/ 8854496 w 9586368"/>
                <a:gd name="connsiteY4288" fmla="*/ 3350398 h 6479439"/>
                <a:gd name="connsiteX4289" fmla="*/ 8864407 w 9586368"/>
                <a:gd name="connsiteY4289" fmla="*/ 3350398 h 6479439"/>
                <a:gd name="connsiteX4290" fmla="*/ 8868426 w 9586368"/>
                <a:gd name="connsiteY4290" fmla="*/ 3354436 h 6479439"/>
                <a:gd name="connsiteX4291" fmla="*/ 8868426 w 9586368"/>
                <a:gd name="connsiteY4291" fmla="*/ 3364306 h 6479439"/>
                <a:gd name="connsiteX4292" fmla="*/ 8864407 w 9586368"/>
                <a:gd name="connsiteY4292" fmla="*/ 3368345 h 6479439"/>
                <a:gd name="connsiteX4293" fmla="*/ 8854496 w 9586368"/>
                <a:gd name="connsiteY4293" fmla="*/ 3368345 h 6479439"/>
                <a:gd name="connsiteX4294" fmla="*/ 8850477 w 9586368"/>
                <a:gd name="connsiteY4294" fmla="*/ 3364306 h 6479439"/>
                <a:gd name="connsiteX4295" fmla="*/ 8850477 w 9586368"/>
                <a:gd name="connsiteY4295" fmla="*/ 3354436 h 6479439"/>
                <a:gd name="connsiteX4296" fmla="*/ 8615184 w 9586368"/>
                <a:gd name="connsiteY4296" fmla="*/ 3350398 h 6479439"/>
                <a:gd name="connsiteX4297" fmla="*/ 8625095 w 9586368"/>
                <a:gd name="connsiteY4297" fmla="*/ 3350398 h 6479439"/>
                <a:gd name="connsiteX4298" fmla="*/ 8629114 w 9586368"/>
                <a:gd name="connsiteY4298" fmla="*/ 3354436 h 6479439"/>
                <a:gd name="connsiteX4299" fmla="*/ 8629114 w 9586368"/>
                <a:gd name="connsiteY4299" fmla="*/ 3364306 h 6479439"/>
                <a:gd name="connsiteX4300" fmla="*/ 8625095 w 9586368"/>
                <a:gd name="connsiteY4300" fmla="*/ 3368345 h 6479439"/>
                <a:gd name="connsiteX4301" fmla="*/ 8615184 w 9586368"/>
                <a:gd name="connsiteY4301" fmla="*/ 3368345 h 6479439"/>
                <a:gd name="connsiteX4302" fmla="*/ 8611165 w 9586368"/>
                <a:gd name="connsiteY4302" fmla="*/ 3364306 h 6479439"/>
                <a:gd name="connsiteX4303" fmla="*/ 8611165 w 9586368"/>
                <a:gd name="connsiteY4303" fmla="*/ 3354436 h 6479439"/>
                <a:gd name="connsiteX4304" fmla="*/ 8375869 w 9586368"/>
                <a:gd name="connsiteY4304" fmla="*/ 3350398 h 6479439"/>
                <a:gd name="connsiteX4305" fmla="*/ 8385779 w 9586368"/>
                <a:gd name="connsiteY4305" fmla="*/ 3350398 h 6479439"/>
                <a:gd name="connsiteX4306" fmla="*/ 8389799 w 9586368"/>
                <a:gd name="connsiteY4306" fmla="*/ 3354436 h 6479439"/>
                <a:gd name="connsiteX4307" fmla="*/ 8389799 w 9586368"/>
                <a:gd name="connsiteY4307" fmla="*/ 3364306 h 6479439"/>
                <a:gd name="connsiteX4308" fmla="*/ 8385779 w 9586368"/>
                <a:gd name="connsiteY4308" fmla="*/ 3368345 h 6479439"/>
                <a:gd name="connsiteX4309" fmla="*/ 8375869 w 9586368"/>
                <a:gd name="connsiteY4309" fmla="*/ 3368345 h 6479439"/>
                <a:gd name="connsiteX4310" fmla="*/ 8371850 w 9586368"/>
                <a:gd name="connsiteY4310" fmla="*/ 3364306 h 6479439"/>
                <a:gd name="connsiteX4311" fmla="*/ 8371850 w 9586368"/>
                <a:gd name="connsiteY4311" fmla="*/ 3354436 h 6479439"/>
                <a:gd name="connsiteX4312" fmla="*/ 8136553 w 9586368"/>
                <a:gd name="connsiteY4312" fmla="*/ 3350398 h 6479439"/>
                <a:gd name="connsiteX4313" fmla="*/ 8146464 w 9586368"/>
                <a:gd name="connsiteY4313" fmla="*/ 3350398 h 6479439"/>
                <a:gd name="connsiteX4314" fmla="*/ 8150483 w 9586368"/>
                <a:gd name="connsiteY4314" fmla="*/ 3354436 h 6479439"/>
                <a:gd name="connsiteX4315" fmla="*/ 8150483 w 9586368"/>
                <a:gd name="connsiteY4315" fmla="*/ 3364306 h 6479439"/>
                <a:gd name="connsiteX4316" fmla="*/ 8146464 w 9586368"/>
                <a:gd name="connsiteY4316" fmla="*/ 3368345 h 6479439"/>
                <a:gd name="connsiteX4317" fmla="*/ 8136553 w 9586368"/>
                <a:gd name="connsiteY4317" fmla="*/ 3368345 h 6479439"/>
                <a:gd name="connsiteX4318" fmla="*/ 8132534 w 9586368"/>
                <a:gd name="connsiteY4318" fmla="*/ 3364306 h 6479439"/>
                <a:gd name="connsiteX4319" fmla="*/ 8132534 w 9586368"/>
                <a:gd name="connsiteY4319" fmla="*/ 3354436 h 6479439"/>
                <a:gd name="connsiteX4320" fmla="*/ 7897241 w 9586368"/>
                <a:gd name="connsiteY4320" fmla="*/ 3350398 h 6479439"/>
                <a:gd name="connsiteX4321" fmla="*/ 7907151 w 9586368"/>
                <a:gd name="connsiteY4321" fmla="*/ 3350398 h 6479439"/>
                <a:gd name="connsiteX4322" fmla="*/ 7911170 w 9586368"/>
                <a:gd name="connsiteY4322" fmla="*/ 3354436 h 6479439"/>
                <a:gd name="connsiteX4323" fmla="*/ 7911170 w 9586368"/>
                <a:gd name="connsiteY4323" fmla="*/ 3364306 h 6479439"/>
                <a:gd name="connsiteX4324" fmla="*/ 7907151 w 9586368"/>
                <a:gd name="connsiteY4324" fmla="*/ 3368345 h 6479439"/>
                <a:gd name="connsiteX4325" fmla="*/ 7897241 w 9586368"/>
                <a:gd name="connsiteY4325" fmla="*/ 3368345 h 6479439"/>
                <a:gd name="connsiteX4326" fmla="*/ 7893222 w 9586368"/>
                <a:gd name="connsiteY4326" fmla="*/ 3364306 h 6479439"/>
                <a:gd name="connsiteX4327" fmla="*/ 7893222 w 9586368"/>
                <a:gd name="connsiteY4327" fmla="*/ 3354436 h 6479439"/>
                <a:gd name="connsiteX4328" fmla="*/ 7657926 w 9586368"/>
                <a:gd name="connsiteY4328" fmla="*/ 3350398 h 6479439"/>
                <a:gd name="connsiteX4329" fmla="*/ 7667836 w 9586368"/>
                <a:gd name="connsiteY4329" fmla="*/ 3350398 h 6479439"/>
                <a:gd name="connsiteX4330" fmla="*/ 7671855 w 9586368"/>
                <a:gd name="connsiteY4330" fmla="*/ 3354436 h 6479439"/>
                <a:gd name="connsiteX4331" fmla="*/ 7671855 w 9586368"/>
                <a:gd name="connsiteY4331" fmla="*/ 3364306 h 6479439"/>
                <a:gd name="connsiteX4332" fmla="*/ 7667836 w 9586368"/>
                <a:gd name="connsiteY4332" fmla="*/ 3368345 h 6479439"/>
                <a:gd name="connsiteX4333" fmla="*/ 7657926 w 9586368"/>
                <a:gd name="connsiteY4333" fmla="*/ 3368345 h 6479439"/>
                <a:gd name="connsiteX4334" fmla="*/ 7653906 w 9586368"/>
                <a:gd name="connsiteY4334" fmla="*/ 3364306 h 6479439"/>
                <a:gd name="connsiteX4335" fmla="*/ 7653906 w 9586368"/>
                <a:gd name="connsiteY4335" fmla="*/ 3354436 h 6479439"/>
                <a:gd name="connsiteX4336" fmla="*/ 7418611 w 9586368"/>
                <a:gd name="connsiteY4336" fmla="*/ 3350398 h 6479439"/>
                <a:gd name="connsiteX4337" fmla="*/ 7428521 w 9586368"/>
                <a:gd name="connsiteY4337" fmla="*/ 3350398 h 6479439"/>
                <a:gd name="connsiteX4338" fmla="*/ 7432540 w 9586368"/>
                <a:gd name="connsiteY4338" fmla="*/ 3354436 h 6479439"/>
                <a:gd name="connsiteX4339" fmla="*/ 7432540 w 9586368"/>
                <a:gd name="connsiteY4339" fmla="*/ 3364306 h 6479439"/>
                <a:gd name="connsiteX4340" fmla="*/ 7428521 w 9586368"/>
                <a:gd name="connsiteY4340" fmla="*/ 3368345 h 6479439"/>
                <a:gd name="connsiteX4341" fmla="*/ 7418611 w 9586368"/>
                <a:gd name="connsiteY4341" fmla="*/ 3368345 h 6479439"/>
                <a:gd name="connsiteX4342" fmla="*/ 7414592 w 9586368"/>
                <a:gd name="connsiteY4342" fmla="*/ 3364306 h 6479439"/>
                <a:gd name="connsiteX4343" fmla="*/ 7414592 w 9586368"/>
                <a:gd name="connsiteY4343" fmla="*/ 3354436 h 6479439"/>
                <a:gd name="connsiteX4344" fmla="*/ 7179298 w 9586368"/>
                <a:gd name="connsiteY4344" fmla="*/ 3350398 h 6479439"/>
                <a:gd name="connsiteX4345" fmla="*/ 7189209 w 9586368"/>
                <a:gd name="connsiteY4345" fmla="*/ 3350398 h 6479439"/>
                <a:gd name="connsiteX4346" fmla="*/ 7193228 w 9586368"/>
                <a:gd name="connsiteY4346" fmla="*/ 3354436 h 6479439"/>
                <a:gd name="connsiteX4347" fmla="*/ 7193228 w 9586368"/>
                <a:gd name="connsiteY4347" fmla="*/ 3364306 h 6479439"/>
                <a:gd name="connsiteX4348" fmla="*/ 7189209 w 9586368"/>
                <a:gd name="connsiteY4348" fmla="*/ 3368345 h 6479439"/>
                <a:gd name="connsiteX4349" fmla="*/ 7179298 w 9586368"/>
                <a:gd name="connsiteY4349" fmla="*/ 3368345 h 6479439"/>
                <a:gd name="connsiteX4350" fmla="*/ 7175279 w 9586368"/>
                <a:gd name="connsiteY4350" fmla="*/ 3364306 h 6479439"/>
                <a:gd name="connsiteX4351" fmla="*/ 7175279 w 9586368"/>
                <a:gd name="connsiteY4351" fmla="*/ 3354436 h 6479439"/>
                <a:gd name="connsiteX4352" fmla="*/ 6939983 w 9586368"/>
                <a:gd name="connsiteY4352" fmla="*/ 3350398 h 6479439"/>
                <a:gd name="connsiteX4353" fmla="*/ 6949894 w 9586368"/>
                <a:gd name="connsiteY4353" fmla="*/ 3350398 h 6479439"/>
                <a:gd name="connsiteX4354" fmla="*/ 6953913 w 9586368"/>
                <a:gd name="connsiteY4354" fmla="*/ 3354436 h 6479439"/>
                <a:gd name="connsiteX4355" fmla="*/ 6953913 w 9586368"/>
                <a:gd name="connsiteY4355" fmla="*/ 3364306 h 6479439"/>
                <a:gd name="connsiteX4356" fmla="*/ 6949894 w 9586368"/>
                <a:gd name="connsiteY4356" fmla="*/ 3368345 h 6479439"/>
                <a:gd name="connsiteX4357" fmla="*/ 6939983 w 9586368"/>
                <a:gd name="connsiteY4357" fmla="*/ 3368345 h 6479439"/>
                <a:gd name="connsiteX4358" fmla="*/ 6935964 w 9586368"/>
                <a:gd name="connsiteY4358" fmla="*/ 3364306 h 6479439"/>
                <a:gd name="connsiteX4359" fmla="*/ 6935964 w 9586368"/>
                <a:gd name="connsiteY4359" fmla="*/ 3354436 h 6479439"/>
                <a:gd name="connsiteX4360" fmla="*/ 6700670 w 9586368"/>
                <a:gd name="connsiteY4360" fmla="*/ 3350398 h 6479439"/>
                <a:gd name="connsiteX4361" fmla="*/ 6710581 w 9586368"/>
                <a:gd name="connsiteY4361" fmla="*/ 3350398 h 6479439"/>
                <a:gd name="connsiteX4362" fmla="*/ 6714600 w 9586368"/>
                <a:gd name="connsiteY4362" fmla="*/ 3354436 h 6479439"/>
                <a:gd name="connsiteX4363" fmla="*/ 6714600 w 9586368"/>
                <a:gd name="connsiteY4363" fmla="*/ 3364306 h 6479439"/>
                <a:gd name="connsiteX4364" fmla="*/ 6710581 w 9586368"/>
                <a:gd name="connsiteY4364" fmla="*/ 3368345 h 6479439"/>
                <a:gd name="connsiteX4365" fmla="*/ 6700670 w 9586368"/>
                <a:gd name="connsiteY4365" fmla="*/ 3368345 h 6479439"/>
                <a:gd name="connsiteX4366" fmla="*/ 6696651 w 9586368"/>
                <a:gd name="connsiteY4366" fmla="*/ 3364306 h 6479439"/>
                <a:gd name="connsiteX4367" fmla="*/ 6696651 w 9586368"/>
                <a:gd name="connsiteY4367" fmla="*/ 3354436 h 6479439"/>
                <a:gd name="connsiteX4368" fmla="*/ 6461356 w 9586368"/>
                <a:gd name="connsiteY4368" fmla="*/ 3350398 h 6479439"/>
                <a:gd name="connsiteX4369" fmla="*/ 6471266 w 9586368"/>
                <a:gd name="connsiteY4369" fmla="*/ 3350398 h 6479439"/>
                <a:gd name="connsiteX4370" fmla="*/ 6475285 w 9586368"/>
                <a:gd name="connsiteY4370" fmla="*/ 3354436 h 6479439"/>
                <a:gd name="connsiteX4371" fmla="*/ 6475285 w 9586368"/>
                <a:gd name="connsiteY4371" fmla="*/ 3364306 h 6479439"/>
                <a:gd name="connsiteX4372" fmla="*/ 6471266 w 9586368"/>
                <a:gd name="connsiteY4372" fmla="*/ 3368345 h 6479439"/>
                <a:gd name="connsiteX4373" fmla="*/ 6461356 w 9586368"/>
                <a:gd name="connsiteY4373" fmla="*/ 3368345 h 6479439"/>
                <a:gd name="connsiteX4374" fmla="*/ 6457337 w 9586368"/>
                <a:gd name="connsiteY4374" fmla="*/ 3364306 h 6479439"/>
                <a:gd name="connsiteX4375" fmla="*/ 6457337 w 9586368"/>
                <a:gd name="connsiteY4375" fmla="*/ 3354436 h 6479439"/>
                <a:gd name="connsiteX4376" fmla="*/ 6222042 w 9586368"/>
                <a:gd name="connsiteY4376" fmla="*/ 3350398 h 6479439"/>
                <a:gd name="connsiteX4377" fmla="*/ 6231952 w 9586368"/>
                <a:gd name="connsiteY4377" fmla="*/ 3350398 h 6479439"/>
                <a:gd name="connsiteX4378" fmla="*/ 6235971 w 9586368"/>
                <a:gd name="connsiteY4378" fmla="*/ 3354436 h 6479439"/>
                <a:gd name="connsiteX4379" fmla="*/ 6235971 w 9586368"/>
                <a:gd name="connsiteY4379" fmla="*/ 3364306 h 6479439"/>
                <a:gd name="connsiteX4380" fmla="*/ 6231952 w 9586368"/>
                <a:gd name="connsiteY4380" fmla="*/ 3368345 h 6479439"/>
                <a:gd name="connsiteX4381" fmla="*/ 6222042 w 9586368"/>
                <a:gd name="connsiteY4381" fmla="*/ 3368345 h 6479439"/>
                <a:gd name="connsiteX4382" fmla="*/ 6218023 w 9586368"/>
                <a:gd name="connsiteY4382" fmla="*/ 3364306 h 6479439"/>
                <a:gd name="connsiteX4383" fmla="*/ 6218023 w 9586368"/>
                <a:gd name="connsiteY4383" fmla="*/ 3354436 h 6479439"/>
                <a:gd name="connsiteX4384" fmla="*/ 5982729 w 9586368"/>
                <a:gd name="connsiteY4384" fmla="*/ 3350398 h 6479439"/>
                <a:gd name="connsiteX4385" fmla="*/ 5992639 w 9586368"/>
                <a:gd name="connsiteY4385" fmla="*/ 3350398 h 6479439"/>
                <a:gd name="connsiteX4386" fmla="*/ 5996658 w 9586368"/>
                <a:gd name="connsiteY4386" fmla="*/ 3354436 h 6479439"/>
                <a:gd name="connsiteX4387" fmla="*/ 5996658 w 9586368"/>
                <a:gd name="connsiteY4387" fmla="*/ 3364306 h 6479439"/>
                <a:gd name="connsiteX4388" fmla="*/ 5992639 w 9586368"/>
                <a:gd name="connsiteY4388" fmla="*/ 3368345 h 6479439"/>
                <a:gd name="connsiteX4389" fmla="*/ 5982729 w 9586368"/>
                <a:gd name="connsiteY4389" fmla="*/ 3368345 h 6479439"/>
                <a:gd name="connsiteX4390" fmla="*/ 5978710 w 9586368"/>
                <a:gd name="connsiteY4390" fmla="*/ 3364306 h 6479439"/>
                <a:gd name="connsiteX4391" fmla="*/ 5978710 w 9586368"/>
                <a:gd name="connsiteY4391" fmla="*/ 3354436 h 6479439"/>
                <a:gd name="connsiteX4392" fmla="*/ 5743412 w 9586368"/>
                <a:gd name="connsiteY4392" fmla="*/ 3350398 h 6479439"/>
                <a:gd name="connsiteX4393" fmla="*/ 5753323 w 9586368"/>
                <a:gd name="connsiteY4393" fmla="*/ 3350398 h 6479439"/>
                <a:gd name="connsiteX4394" fmla="*/ 5757342 w 9586368"/>
                <a:gd name="connsiteY4394" fmla="*/ 3354436 h 6479439"/>
                <a:gd name="connsiteX4395" fmla="*/ 5757342 w 9586368"/>
                <a:gd name="connsiteY4395" fmla="*/ 3364306 h 6479439"/>
                <a:gd name="connsiteX4396" fmla="*/ 5753323 w 9586368"/>
                <a:gd name="connsiteY4396" fmla="*/ 3368345 h 6479439"/>
                <a:gd name="connsiteX4397" fmla="*/ 5743412 w 9586368"/>
                <a:gd name="connsiteY4397" fmla="*/ 3368345 h 6479439"/>
                <a:gd name="connsiteX4398" fmla="*/ 5739393 w 9586368"/>
                <a:gd name="connsiteY4398" fmla="*/ 3364306 h 6479439"/>
                <a:gd name="connsiteX4399" fmla="*/ 5739393 w 9586368"/>
                <a:gd name="connsiteY4399" fmla="*/ 3354436 h 6479439"/>
                <a:gd name="connsiteX4400" fmla="*/ 5504099 w 9586368"/>
                <a:gd name="connsiteY4400" fmla="*/ 3350398 h 6479439"/>
                <a:gd name="connsiteX4401" fmla="*/ 5514010 w 9586368"/>
                <a:gd name="connsiteY4401" fmla="*/ 3350398 h 6479439"/>
                <a:gd name="connsiteX4402" fmla="*/ 5518029 w 9586368"/>
                <a:gd name="connsiteY4402" fmla="*/ 3354436 h 6479439"/>
                <a:gd name="connsiteX4403" fmla="*/ 5518029 w 9586368"/>
                <a:gd name="connsiteY4403" fmla="*/ 3364306 h 6479439"/>
                <a:gd name="connsiteX4404" fmla="*/ 5514010 w 9586368"/>
                <a:gd name="connsiteY4404" fmla="*/ 3368345 h 6479439"/>
                <a:gd name="connsiteX4405" fmla="*/ 5504099 w 9586368"/>
                <a:gd name="connsiteY4405" fmla="*/ 3368345 h 6479439"/>
                <a:gd name="connsiteX4406" fmla="*/ 5500080 w 9586368"/>
                <a:gd name="connsiteY4406" fmla="*/ 3364306 h 6479439"/>
                <a:gd name="connsiteX4407" fmla="*/ 5500080 w 9586368"/>
                <a:gd name="connsiteY4407" fmla="*/ 3354436 h 6479439"/>
                <a:gd name="connsiteX4408" fmla="*/ 5264784 w 9586368"/>
                <a:gd name="connsiteY4408" fmla="*/ 3350398 h 6479439"/>
                <a:gd name="connsiteX4409" fmla="*/ 5274694 w 9586368"/>
                <a:gd name="connsiteY4409" fmla="*/ 3350398 h 6479439"/>
                <a:gd name="connsiteX4410" fmla="*/ 5278713 w 9586368"/>
                <a:gd name="connsiteY4410" fmla="*/ 3354436 h 6479439"/>
                <a:gd name="connsiteX4411" fmla="*/ 5278713 w 9586368"/>
                <a:gd name="connsiteY4411" fmla="*/ 3364306 h 6479439"/>
                <a:gd name="connsiteX4412" fmla="*/ 5274694 w 9586368"/>
                <a:gd name="connsiteY4412" fmla="*/ 3368345 h 6479439"/>
                <a:gd name="connsiteX4413" fmla="*/ 5264784 w 9586368"/>
                <a:gd name="connsiteY4413" fmla="*/ 3368345 h 6479439"/>
                <a:gd name="connsiteX4414" fmla="*/ 5260765 w 9586368"/>
                <a:gd name="connsiteY4414" fmla="*/ 3364306 h 6479439"/>
                <a:gd name="connsiteX4415" fmla="*/ 5260765 w 9586368"/>
                <a:gd name="connsiteY4415" fmla="*/ 3354436 h 6479439"/>
                <a:gd name="connsiteX4416" fmla="*/ 5025470 w 9586368"/>
                <a:gd name="connsiteY4416" fmla="*/ 3350398 h 6479439"/>
                <a:gd name="connsiteX4417" fmla="*/ 5035381 w 9586368"/>
                <a:gd name="connsiteY4417" fmla="*/ 3350398 h 6479439"/>
                <a:gd name="connsiteX4418" fmla="*/ 5039400 w 9586368"/>
                <a:gd name="connsiteY4418" fmla="*/ 3354436 h 6479439"/>
                <a:gd name="connsiteX4419" fmla="*/ 5039400 w 9586368"/>
                <a:gd name="connsiteY4419" fmla="*/ 3364306 h 6479439"/>
                <a:gd name="connsiteX4420" fmla="*/ 5035381 w 9586368"/>
                <a:gd name="connsiteY4420" fmla="*/ 3368345 h 6479439"/>
                <a:gd name="connsiteX4421" fmla="*/ 5025470 w 9586368"/>
                <a:gd name="connsiteY4421" fmla="*/ 3368345 h 6479439"/>
                <a:gd name="connsiteX4422" fmla="*/ 5021451 w 9586368"/>
                <a:gd name="connsiteY4422" fmla="*/ 3364306 h 6479439"/>
                <a:gd name="connsiteX4423" fmla="*/ 5021451 w 9586368"/>
                <a:gd name="connsiteY4423" fmla="*/ 3354436 h 6479439"/>
                <a:gd name="connsiteX4424" fmla="*/ 4786241 w 9586368"/>
                <a:gd name="connsiteY4424" fmla="*/ 3350398 h 6479439"/>
                <a:gd name="connsiteX4425" fmla="*/ 4796152 w 9586368"/>
                <a:gd name="connsiteY4425" fmla="*/ 3350398 h 6479439"/>
                <a:gd name="connsiteX4426" fmla="*/ 4800171 w 9586368"/>
                <a:gd name="connsiteY4426" fmla="*/ 3354436 h 6479439"/>
                <a:gd name="connsiteX4427" fmla="*/ 4800171 w 9586368"/>
                <a:gd name="connsiteY4427" fmla="*/ 3364306 h 6479439"/>
                <a:gd name="connsiteX4428" fmla="*/ 4796152 w 9586368"/>
                <a:gd name="connsiteY4428" fmla="*/ 3368345 h 6479439"/>
                <a:gd name="connsiteX4429" fmla="*/ 4786241 w 9586368"/>
                <a:gd name="connsiteY4429" fmla="*/ 3368345 h 6479439"/>
                <a:gd name="connsiteX4430" fmla="*/ 4782224 w 9586368"/>
                <a:gd name="connsiteY4430" fmla="*/ 3364306 h 6479439"/>
                <a:gd name="connsiteX4431" fmla="*/ 4782224 w 9586368"/>
                <a:gd name="connsiteY4431" fmla="*/ 3354436 h 6479439"/>
                <a:gd name="connsiteX4432" fmla="*/ 4546929 w 9586368"/>
                <a:gd name="connsiteY4432" fmla="*/ 3350398 h 6479439"/>
                <a:gd name="connsiteX4433" fmla="*/ 4556840 w 9586368"/>
                <a:gd name="connsiteY4433" fmla="*/ 3350398 h 6479439"/>
                <a:gd name="connsiteX4434" fmla="*/ 4560859 w 9586368"/>
                <a:gd name="connsiteY4434" fmla="*/ 3354436 h 6479439"/>
                <a:gd name="connsiteX4435" fmla="*/ 4560859 w 9586368"/>
                <a:gd name="connsiteY4435" fmla="*/ 3364306 h 6479439"/>
                <a:gd name="connsiteX4436" fmla="*/ 4556840 w 9586368"/>
                <a:gd name="connsiteY4436" fmla="*/ 3368345 h 6479439"/>
                <a:gd name="connsiteX4437" fmla="*/ 4546929 w 9586368"/>
                <a:gd name="connsiteY4437" fmla="*/ 3368345 h 6479439"/>
                <a:gd name="connsiteX4438" fmla="*/ 4542910 w 9586368"/>
                <a:gd name="connsiteY4438" fmla="*/ 3364306 h 6479439"/>
                <a:gd name="connsiteX4439" fmla="*/ 4542910 w 9586368"/>
                <a:gd name="connsiteY4439" fmla="*/ 3354436 h 6479439"/>
                <a:gd name="connsiteX4440" fmla="*/ 4307612 w 9586368"/>
                <a:gd name="connsiteY4440" fmla="*/ 3350398 h 6479439"/>
                <a:gd name="connsiteX4441" fmla="*/ 4317523 w 9586368"/>
                <a:gd name="connsiteY4441" fmla="*/ 3350398 h 6479439"/>
                <a:gd name="connsiteX4442" fmla="*/ 4321543 w 9586368"/>
                <a:gd name="connsiteY4442" fmla="*/ 3354436 h 6479439"/>
                <a:gd name="connsiteX4443" fmla="*/ 4321543 w 9586368"/>
                <a:gd name="connsiteY4443" fmla="*/ 3364306 h 6479439"/>
                <a:gd name="connsiteX4444" fmla="*/ 4317523 w 9586368"/>
                <a:gd name="connsiteY4444" fmla="*/ 3368345 h 6479439"/>
                <a:gd name="connsiteX4445" fmla="*/ 4307612 w 9586368"/>
                <a:gd name="connsiteY4445" fmla="*/ 3368345 h 6479439"/>
                <a:gd name="connsiteX4446" fmla="*/ 4303595 w 9586368"/>
                <a:gd name="connsiteY4446" fmla="*/ 3364306 h 6479439"/>
                <a:gd name="connsiteX4447" fmla="*/ 4303595 w 9586368"/>
                <a:gd name="connsiteY4447" fmla="*/ 3354436 h 6479439"/>
                <a:gd name="connsiteX4448" fmla="*/ 4068297 w 9586368"/>
                <a:gd name="connsiteY4448" fmla="*/ 3350398 h 6479439"/>
                <a:gd name="connsiteX4449" fmla="*/ 4078210 w 9586368"/>
                <a:gd name="connsiteY4449" fmla="*/ 3350398 h 6479439"/>
                <a:gd name="connsiteX4450" fmla="*/ 4082229 w 9586368"/>
                <a:gd name="connsiteY4450" fmla="*/ 3354436 h 6479439"/>
                <a:gd name="connsiteX4451" fmla="*/ 4082229 w 9586368"/>
                <a:gd name="connsiteY4451" fmla="*/ 3364306 h 6479439"/>
                <a:gd name="connsiteX4452" fmla="*/ 4078210 w 9586368"/>
                <a:gd name="connsiteY4452" fmla="*/ 3368345 h 6479439"/>
                <a:gd name="connsiteX4453" fmla="*/ 4068297 w 9586368"/>
                <a:gd name="connsiteY4453" fmla="*/ 3368345 h 6479439"/>
                <a:gd name="connsiteX4454" fmla="*/ 4064278 w 9586368"/>
                <a:gd name="connsiteY4454" fmla="*/ 3364306 h 6479439"/>
                <a:gd name="connsiteX4455" fmla="*/ 4064278 w 9586368"/>
                <a:gd name="connsiteY4455" fmla="*/ 3354436 h 6479439"/>
                <a:gd name="connsiteX4456" fmla="*/ 3828990 w 9586368"/>
                <a:gd name="connsiteY4456" fmla="*/ 3350398 h 6479439"/>
                <a:gd name="connsiteX4457" fmla="*/ 3838899 w 9586368"/>
                <a:gd name="connsiteY4457" fmla="*/ 3350398 h 6479439"/>
                <a:gd name="connsiteX4458" fmla="*/ 3842917 w 9586368"/>
                <a:gd name="connsiteY4458" fmla="*/ 3354436 h 6479439"/>
                <a:gd name="connsiteX4459" fmla="*/ 3842917 w 9586368"/>
                <a:gd name="connsiteY4459" fmla="*/ 3364306 h 6479439"/>
                <a:gd name="connsiteX4460" fmla="*/ 3838899 w 9586368"/>
                <a:gd name="connsiteY4460" fmla="*/ 3368345 h 6479439"/>
                <a:gd name="connsiteX4461" fmla="*/ 3828990 w 9586368"/>
                <a:gd name="connsiteY4461" fmla="*/ 3368345 h 6479439"/>
                <a:gd name="connsiteX4462" fmla="*/ 3824971 w 9586368"/>
                <a:gd name="connsiteY4462" fmla="*/ 3364306 h 6479439"/>
                <a:gd name="connsiteX4463" fmla="*/ 3824971 w 9586368"/>
                <a:gd name="connsiteY4463" fmla="*/ 3354436 h 6479439"/>
                <a:gd name="connsiteX4464" fmla="*/ 3589676 w 9586368"/>
                <a:gd name="connsiteY4464" fmla="*/ 3350398 h 6479439"/>
                <a:gd name="connsiteX4465" fmla="*/ 3599585 w 9586368"/>
                <a:gd name="connsiteY4465" fmla="*/ 3350398 h 6479439"/>
                <a:gd name="connsiteX4466" fmla="*/ 3603604 w 9586368"/>
                <a:gd name="connsiteY4466" fmla="*/ 3354436 h 6479439"/>
                <a:gd name="connsiteX4467" fmla="*/ 3603604 w 9586368"/>
                <a:gd name="connsiteY4467" fmla="*/ 3364306 h 6479439"/>
                <a:gd name="connsiteX4468" fmla="*/ 3599585 w 9586368"/>
                <a:gd name="connsiteY4468" fmla="*/ 3368345 h 6479439"/>
                <a:gd name="connsiteX4469" fmla="*/ 3589676 w 9586368"/>
                <a:gd name="connsiteY4469" fmla="*/ 3368345 h 6479439"/>
                <a:gd name="connsiteX4470" fmla="*/ 3585657 w 9586368"/>
                <a:gd name="connsiteY4470" fmla="*/ 3364306 h 6479439"/>
                <a:gd name="connsiteX4471" fmla="*/ 3585657 w 9586368"/>
                <a:gd name="connsiteY4471" fmla="*/ 3354436 h 6479439"/>
                <a:gd name="connsiteX4472" fmla="*/ 3350359 w 9586368"/>
                <a:gd name="connsiteY4472" fmla="*/ 3350398 h 6479439"/>
                <a:gd name="connsiteX4473" fmla="*/ 3360268 w 9586368"/>
                <a:gd name="connsiteY4473" fmla="*/ 3350398 h 6479439"/>
                <a:gd name="connsiteX4474" fmla="*/ 3364287 w 9586368"/>
                <a:gd name="connsiteY4474" fmla="*/ 3354436 h 6479439"/>
                <a:gd name="connsiteX4475" fmla="*/ 3364287 w 9586368"/>
                <a:gd name="connsiteY4475" fmla="*/ 3364306 h 6479439"/>
                <a:gd name="connsiteX4476" fmla="*/ 3360268 w 9586368"/>
                <a:gd name="connsiteY4476" fmla="*/ 3368345 h 6479439"/>
                <a:gd name="connsiteX4477" fmla="*/ 3350359 w 9586368"/>
                <a:gd name="connsiteY4477" fmla="*/ 3368345 h 6479439"/>
                <a:gd name="connsiteX4478" fmla="*/ 3346340 w 9586368"/>
                <a:gd name="connsiteY4478" fmla="*/ 3364306 h 6479439"/>
                <a:gd name="connsiteX4479" fmla="*/ 3346340 w 9586368"/>
                <a:gd name="connsiteY4479" fmla="*/ 3354436 h 6479439"/>
                <a:gd name="connsiteX4480" fmla="*/ 3111048 w 9586368"/>
                <a:gd name="connsiteY4480" fmla="*/ 3350398 h 6479439"/>
                <a:gd name="connsiteX4481" fmla="*/ 3120959 w 9586368"/>
                <a:gd name="connsiteY4481" fmla="*/ 3350398 h 6479439"/>
                <a:gd name="connsiteX4482" fmla="*/ 3124977 w 9586368"/>
                <a:gd name="connsiteY4482" fmla="*/ 3354436 h 6479439"/>
                <a:gd name="connsiteX4483" fmla="*/ 3124977 w 9586368"/>
                <a:gd name="connsiteY4483" fmla="*/ 3364306 h 6479439"/>
                <a:gd name="connsiteX4484" fmla="*/ 3120959 w 9586368"/>
                <a:gd name="connsiteY4484" fmla="*/ 3368345 h 6479439"/>
                <a:gd name="connsiteX4485" fmla="*/ 3111048 w 9586368"/>
                <a:gd name="connsiteY4485" fmla="*/ 3368345 h 6479439"/>
                <a:gd name="connsiteX4486" fmla="*/ 3107029 w 9586368"/>
                <a:gd name="connsiteY4486" fmla="*/ 3364306 h 6479439"/>
                <a:gd name="connsiteX4487" fmla="*/ 3107029 w 9586368"/>
                <a:gd name="connsiteY4487" fmla="*/ 3354436 h 6479439"/>
                <a:gd name="connsiteX4488" fmla="*/ 2871737 w 9586368"/>
                <a:gd name="connsiteY4488" fmla="*/ 3350398 h 6479439"/>
                <a:gd name="connsiteX4489" fmla="*/ 2881646 w 9586368"/>
                <a:gd name="connsiteY4489" fmla="*/ 3350398 h 6479439"/>
                <a:gd name="connsiteX4490" fmla="*/ 2885666 w 9586368"/>
                <a:gd name="connsiteY4490" fmla="*/ 3354436 h 6479439"/>
                <a:gd name="connsiteX4491" fmla="*/ 2885666 w 9586368"/>
                <a:gd name="connsiteY4491" fmla="*/ 3364306 h 6479439"/>
                <a:gd name="connsiteX4492" fmla="*/ 2881646 w 9586368"/>
                <a:gd name="connsiteY4492" fmla="*/ 3368345 h 6479439"/>
                <a:gd name="connsiteX4493" fmla="*/ 2871737 w 9586368"/>
                <a:gd name="connsiteY4493" fmla="*/ 3368345 h 6479439"/>
                <a:gd name="connsiteX4494" fmla="*/ 2867717 w 9586368"/>
                <a:gd name="connsiteY4494" fmla="*/ 3364306 h 6479439"/>
                <a:gd name="connsiteX4495" fmla="*/ 2867717 w 9586368"/>
                <a:gd name="connsiteY4495" fmla="*/ 3354436 h 6479439"/>
                <a:gd name="connsiteX4496" fmla="*/ 2632423 w 9586368"/>
                <a:gd name="connsiteY4496" fmla="*/ 3350398 h 6479439"/>
                <a:gd name="connsiteX4497" fmla="*/ 2642334 w 9586368"/>
                <a:gd name="connsiteY4497" fmla="*/ 3350398 h 6479439"/>
                <a:gd name="connsiteX4498" fmla="*/ 2646352 w 9586368"/>
                <a:gd name="connsiteY4498" fmla="*/ 3354436 h 6479439"/>
                <a:gd name="connsiteX4499" fmla="*/ 2646352 w 9586368"/>
                <a:gd name="connsiteY4499" fmla="*/ 3364306 h 6479439"/>
                <a:gd name="connsiteX4500" fmla="*/ 2642334 w 9586368"/>
                <a:gd name="connsiteY4500" fmla="*/ 3368345 h 6479439"/>
                <a:gd name="connsiteX4501" fmla="*/ 2632423 w 9586368"/>
                <a:gd name="connsiteY4501" fmla="*/ 3368345 h 6479439"/>
                <a:gd name="connsiteX4502" fmla="*/ 2628404 w 9586368"/>
                <a:gd name="connsiteY4502" fmla="*/ 3364306 h 6479439"/>
                <a:gd name="connsiteX4503" fmla="*/ 2628404 w 9586368"/>
                <a:gd name="connsiteY4503" fmla="*/ 3354436 h 6479439"/>
                <a:gd name="connsiteX4504" fmla="*/ 2393104 w 9586368"/>
                <a:gd name="connsiteY4504" fmla="*/ 3350398 h 6479439"/>
                <a:gd name="connsiteX4505" fmla="*/ 2403015 w 9586368"/>
                <a:gd name="connsiteY4505" fmla="*/ 3350398 h 6479439"/>
                <a:gd name="connsiteX4506" fmla="*/ 2407034 w 9586368"/>
                <a:gd name="connsiteY4506" fmla="*/ 3354436 h 6479439"/>
                <a:gd name="connsiteX4507" fmla="*/ 2407034 w 9586368"/>
                <a:gd name="connsiteY4507" fmla="*/ 3364306 h 6479439"/>
                <a:gd name="connsiteX4508" fmla="*/ 2403015 w 9586368"/>
                <a:gd name="connsiteY4508" fmla="*/ 3368345 h 6479439"/>
                <a:gd name="connsiteX4509" fmla="*/ 2393104 w 9586368"/>
                <a:gd name="connsiteY4509" fmla="*/ 3368345 h 6479439"/>
                <a:gd name="connsiteX4510" fmla="*/ 2389087 w 9586368"/>
                <a:gd name="connsiteY4510" fmla="*/ 3364306 h 6479439"/>
                <a:gd name="connsiteX4511" fmla="*/ 2389087 w 9586368"/>
                <a:gd name="connsiteY4511" fmla="*/ 3354436 h 6479439"/>
                <a:gd name="connsiteX4512" fmla="*/ 2157820 w 9586368"/>
                <a:gd name="connsiteY4512" fmla="*/ 3350398 h 6479439"/>
                <a:gd name="connsiteX4513" fmla="*/ 2167731 w 9586368"/>
                <a:gd name="connsiteY4513" fmla="*/ 3350398 h 6479439"/>
                <a:gd name="connsiteX4514" fmla="*/ 2171749 w 9586368"/>
                <a:gd name="connsiteY4514" fmla="*/ 3354436 h 6479439"/>
                <a:gd name="connsiteX4515" fmla="*/ 2171749 w 9586368"/>
                <a:gd name="connsiteY4515" fmla="*/ 3364306 h 6479439"/>
                <a:gd name="connsiteX4516" fmla="*/ 2167731 w 9586368"/>
                <a:gd name="connsiteY4516" fmla="*/ 3368345 h 6479439"/>
                <a:gd name="connsiteX4517" fmla="*/ 2157820 w 9586368"/>
                <a:gd name="connsiteY4517" fmla="*/ 3368345 h 6479439"/>
                <a:gd name="connsiteX4518" fmla="*/ 2153802 w 9586368"/>
                <a:gd name="connsiteY4518" fmla="*/ 3364306 h 6479439"/>
                <a:gd name="connsiteX4519" fmla="*/ 2153802 w 9586368"/>
                <a:gd name="connsiteY4519" fmla="*/ 3354436 h 6479439"/>
                <a:gd name="connsiteX4520" fmla="*/ 1918511 w 9586368"/>
                <a:gd name="connsiteY4520" fmla="*/ 3350398 h 6479439"/>
                <a:gd name="connsiteX4521" fmla="*/ 1928422 w 9586368"/>
                <a:gd name="connsiteY4521" fmla="*/ 3350398 h 6479439"/>
                <a:gd name="connsiteX4522" fmla="*/ 1932441 w 9586368"/>
                <a:gd name="connsiteY4522" fmla="*/ 3354436 h 6479439"/>
                <a:gd name="connsiteX4523" fmla="*/ 1932441 w 9586368"/>
                <a:gd name="connsiteY4523" fmla="*/ 3364306 h 6479439"/>
                <a:gd name="connsiteX4524" fmla="*/ 1928422 w 9586368"/>
                <a:gd name="connsiteY4524" fmla="*/ 3368345 h 6479439"/>
                <a:gd name="connsiteX4525" fmla="*/ 1918511 w 9586368"/>
                <a:gd name="connsiteY4525" fmla="*/ 3368345 h 6479439"/>
                <a:gd name="connsiteX4526" fmla="*/ 1914493 w 9586368"/>
                <a:gd name="connsiteY4526" fmla="*/ 3364306 h 6479439"/>
                <a:gd name="connsiteX4527" fmla="*/ 1914493 w 9586368"/>
                <a:gd name="connsiteY4527" fmla="*/ 3354436 h 6479439"/>
                <a:gd name="connsiteX4528" fmla="*/ 1679210 w 9586368"/>
                <a:gd name="connsiteY4528" fmla="*/ 3350398 h 6479439"/>
                <a:gd name="connsiteX4529" fmla="*/ 1689120 w 9586368"/>
                <a:gd name="connsiteY4529" fmla="*/ 3350398 h 6479439"/>
                <a:gd name="connsiteX4530" fmla="*/ 1693138 w 9586368"/>
                <a:gd name="connsiteY4530" fmla="*/ 3354436 h 6479439"/>
                <a:gd name="connsiteX4531" fmla="*/ 1693138 w 9586368"/>
                <a:gd name="connsiteY4531" fmla="*/ 3364306 h 6479439"/>
                <a:gd name="connsiteX4532" fmla="*/ 1689120 w 9586368"/>
                <a:gd name="connsiteY4532" fmla="*/ 3368345 h 6479439"/>
                <a:gd name="connsiteX4533" fmla="*/ 1679210 w 9586368"/>
                <a:gd name="connsiteY4533" fmla="*/ 3368345 h 6479439"/>
                <a:gd name="connsiteX4534" fmla="*/ 1675191 w 9586368"/>
                <a:gd name="connsiteY4534" fmla="*/ 3364306 h 6479439"/>
                <a:gd name="connsiteX4535" fmla="*/ 1675191 w 9586368"/>
                <a:gd name="connsiteY4535" fmla="*/ 3354436 h 6479439"/>
                <a:gd name="connsiteX4536" fmla="*/ 1439893 w 9586368"/>
                <a:gd name="connsiteY4536" fmla="*/ 3350398 h 6479439"/>
                <a:gd name="connsiteX4537" fmla="*/ 1449803 w 9586368"/>
                <a:gd name="connsiteY4537" fmla="*/ 3350398 h 6479439"/>
                <a:gd name="connsiteX4538" fmla="*/ 1453823 w 9586368"/>
                <a:gd name="connsiteY4538" fmla="*/ 3354436 h 6479439"/>
                <a:gd name="connsiteX4539" fmla="*/ 1453823 w 9586368"/>
                <a:gd name="connsiteY4539" fmla="*/ 3364306 h 6479439"/>
                <a:gd name="connsiteX4540" fmla="*/ 1449803 w 9586368"/>
                <a:gd name="connsiteY4540" fmla="*/ 3368345 h 6479439"/>
                <a:gd name="connsiteX4541" fmla="*/ 1439893 w 9586368"/>
                <a:gd name="connsiteY4541" fmla="*/ 3368345 h 6479439"/>
                <a:gd name="connsiteX4542" fmla="*/ 1435875 w 9586368"/>
                <a:gd name="connsiteY4542" fmla="*/ 3364306 h 6479439"/>
                <a:gd name="connsiteX4543" fmla="*/ 1435875 w 9586368"/>
                <a:gd name="connsiteY4543" fmla="*/ 3354436 h 6479439"/>
                <a:gd name="connsiteX4544" fmla="*/ 1200578 w 9586368"/>
                <a:gd name="connsiteY4544" fmla="*/ 3350398 h 6479439"/>
                <a:gd name="connsiteX4545" fmla="*/ 1210488 w 9586368"/>
                <a:gd name="connsiteY4545" fmla="*/ 3350398 h 6479439"/>
                <a:gd name="connsiteX4546" fmla="*/ 1214507 w 9586368"/>
                <a:gd name="connsiteY4546" fmla="*/ 3354436 h 6479439"/>
                <a:gd name="connsiteX4547" fmla="*/ 1214507 w 9586368"/>
                <a:gd name="connsiteY4547" fmla="*/ 3364306 h 6479439"/>
                <a:gd name="connsiteX4548" fmla="*/ 1210488 w 9586368"/>
                <a:gd name="connsiteY4548" fmla="*/ 3368345 h 6479439"/>
                <a:gd name="connsiteX4549" fmla="*/ 1200578 w 9586368"/>
                <a:gd name="connsiteY4549" fmla="*/ 3368345 h 6479439"/>
                <a:gd name="connsiteX4550" fmla="*/ 1196559 w 9586368"/>
                <a:gd name="connsiteY4550" fmla="*/ 3364306 h 6479439"/>
                <a:gd name="connsiteX4551" fmla="*/ 1196559 w 9586368"/>
                <a:gd name="connsiteY4551" fmla="*/ 3354436 h 6479439"/>
                <a:gd name="connsiteX4552" fmla="*/ 961265 w 9586368"/>
                <a:gd name="connsiteY4552" fmla="*/ 3350398 h 6479439"/>
                <a:gd name="connsiteX4553" fmla="*/ 971176 w 9586368"/>
                <a:gd name="connsiteY4553" fmla="*/ 3350398 h 6479439"/>
                <a:gd name="connsiteX4554" fmla="*/ 975194 w 9586368"/>
                <a:gd name="connsiteY4554" fmla="*/ 3354436 h 6479439"/>
                <a:gd name="connsiteX4555" fmla="*/ 975194 w 9586368"/>
                <a:gd name="connsiteY4555" fmla="*/ 3364306 h 6479439"/>
                <a:gd name="connsiteX4556" fmla="*/ 971176 w 9586368"/>
                <a:gd name="connsiteY4556" fmla="*/ 3368345 h 6479439"/>
                <a:gd name="connsiteX4557" fmla="*/ 961265 w 9586368"/>
                <a:gd name="connsiteY4557" fmla="*/ 3368345 h 6479439"/>
                <a:gd name="connsiteX4558" fmla="*/ 957246 w 9586368"/>
                <a:gd name="connsiteY4558" fmla="*/ 3364306 h 6479439"/>
                <a:gd name="connsiteX4559" fmla="*/ 957246 w 9586368"/>
                <a:gd name="connsiteY4559" fmla="*/ 3354436 h 6479439"/>
                <a:gd name="connsiteX4560" fmla="*/ 721967 w 9586368"/>
                <a:gd name="connsiteY4560" fmla="*/ 3350398 h 6479439"/>
                <a:gd name="connsiteX4561" fmla="*/ 731877 w 9586368"/>
                <a:gd name="connsiteY4561" fmla="*/ 3350398 h 6479439"/>
                <a:gd name="connsiteX4562" fmla="*/ 735896 w 9586368"/>
                <a:gd name="connsiteY4562" fmla="*/ 3354436 h 6479439"/>
                <a:gd name="connsiteX4563" fmla="*/ 735896 w 9586368"/>
                <a:gd name="connsiteY4563" fmla="*/ 3364306 h 6479439"/>
                <a:gd name="connsiteX4564" fmla="*/ 731877 w 9586368"/>
                <a:gd name="connsiteY4564" fmla="*/ 3368345 h 6479439"/>
                <a:gd name="connsiteX4565" fmla="*/ 721967 w 9586368"/>
                <a:gd name="connsiteY4565" fmla="*/ 3368345 h 6479439"/>
                <a:gd name="connsiteX4566" fmla="*/ 717949 w 9586368"/>
                <a:gd name="connsiteY4566" fmla="*/ 3364306 h 6479439"/>
                <a:gd name="connsiteX4567" fmla="*/ 717949 w 9586368"/>
                <a:gd name="connsiteY4567" fmla="*/ 3354436 h 6479439"/>
                <a:gd name="connsiteX4568" fmla="*/ 482655 w 9586368"/>
                <a:gd name="connsiteY4568" fmla="*/ 3350398 h 6479439"/>
                <a:gd name="connsiteX4569" fmla="*/ 492565 w 9586368"/>
                <a:gd name="connsiteY4569" fmla="*/ 3350398 h 6479439"/>
                <a:gd name="connsiteX4570" fmla="*/ 496584 w 9586368"/>
                <a:gd name="connsiteY4570" fmla="*/ 3354436 h 6479439"/>
                <a:gd name="connsiteX4571" fmla="*/ 496584 w 9586368"/>
                <a:gd name="connsiteY4571" fmla="*/ 3364306 h 6479439"/>
                <a:gd name="connsiteX4572" fmla="*/ 492565 w 9586368"/>
                <a:gd name="connsiteY4572" fmla="*/ 3368345 h 6479439"/>
                <a:gd name="connsiteX4573" fmla="*/ 482655 w 9586368"/>
                <a:gd name="connsiteY4573" fmla="*/ 3368345 h 6479439"/>
                <a:gd name="connsiteX4574" fmla="*/ 478636 w 9586368"/>
                <a:gd name="connsiteY4574" fmla="*/ 3364306 h 6479439"/>
                <a:gd name="connsiteX4575" fmla="*/ 478636 w 9586368"/>
                <a:gd name="connsiteY4575" fmla="*/ 3354436 h 6479439"/>
                <a:gd name="connsiteX4576" fmla="*/ 243341 w 9586368"/>
                <a:gd name="connsiteY4576" fmla="*/ 3350398 h 6479439"/>
                <a:gd name="connsiteX4577" fmla="*/ 253252 w 9586368"/>
                <a:gd name="connsiteY4577" fmla="*/ 3350398 h 6479439"/>
                <a:gd name="connsiteX4578" fmla="*/ 257271 w 9586368"/>
                <a:gd name="connsiteY4578" fmla="*/ 3354436 h 6479439"/>
                <a:gd name="connsiteX4579" fmla="*/ 257271 w 9586368"/>
                <a:gd name="connsiteY4579" fmla="*/ 3364306 h 6479439"/>
                <a:gd name="connsiteX4580" fmla="*/ 253252 w 9586368"/>
                <a:gd name="connsiteY4580" fmla="*/ 3368345 h 6479439"/>
                <a:gd name="connsiteX4581" fmla="*/ 243341 w 9586368"/>
                <a:gd name="connsiteY4581" fmla="*/ 3368345 h 6479439"/>
                <a:gd name="connsiteX4582" fmla="*/ 239322 w 9586368"/>
                <a:gd name="connsiteY4582" fmla="*/ 3364306 h 6479439"/>
                <a:gd name="connsiteX4583" fmla="*/ 239322 w 9586368"/>
                <a:gd name="connsiteY4583" fmla="*/ 3354436 h 6479439"/>
                <a:gd name="connsiteX4584" fmla="*/ 4029 w 9586368"/>
                <a:gd name="connsiteY4584" fmla="*/ 3350398 h 6479439"/>
                <a:gd name="connsiteX4585" fmla="*/ 13938 w 9586368"/>
                <a:gd name="connsiteY4585" fmla="*/ 3350398 h 6479439"/>
                <a:gd name="connsiteX4586" fmla="*/ 17957 w 9586368"/>
                <a:gd name="connsiteY4586" fmla="*/ 3354436 h 6479439"/>
                <a:gd name="connsiteX4587" fmla="*/ 17957 w 9586368"/>
                <a:gd name="connsiteY4587" fmla="*/ 3364306 h 6479439"/>
                <a:gd name="connsiteX4588" fmla="*/ 13938 w 9586368"/>
                <a:gd name="connsiteY4588" fmla="*/ 3368345 h 6479439"/>
                <a:gd name="connsiteX4589" fmla="*/ 4029 w 9586368"/>
                <a:gd name="connsiteY4589" fmla="*/ 3368345 h 6479439"/>
                <a:gd name="connsiteX4590" fmla="*/ 9 w 9586368"/>
                <a:gd name="connsiteY4590" fmla="*/ 3364306 h 6479439"/>
                <a:gd name="connsiteX4591" fmla="*/ 9 w 9586368"/>
                <a:gd name="connsiteY4591" fmla="*/ 3354436 h 6479439"/>
                <a:gd name="connsiteX4592" fmla="*/ 2157820 w 9586368"/>
                <a:gd name="connsiteY4592" fmla="*/ 3111118 h 6479439"/>
                <a:gd name="connsiteX4593" fmla="*/ 2167731 w 9586368"/>
                <a:gd name="connsiteY4593" fmla="*/ 3111118 h 6479439"/>
                <a:gd name="connsiteX4594" fmla="*/ 2171750 w 9586368"/>
                <a:gd name="connsiteY4594" fmla="*/ 3115157 h 6479439"/>
                <a:gd name="connsiteX4595" fmla="*/ 2171750 w 9586368"/>
                <a:gd name="connsiteY4595" fmla="*/ 3125027 h 6479439"/>
                <a:gd name="connsiteX4596" fmla="*/ 2167731 w 9586368"/>
                <a:gd name="connsiteY4596" fmla="*/ 3129066 h 6479439"/>
                <a:gd name="connsiteX4597" fmla="*/ 2157820 w 9586368"/>
                <a:gd name="connsiteY4597" fmla="*/ 3129066 h 6479439"/>
                <a:gd name="connsiteX4598" fmla="*/ 2153802 w 9586368"/>
                <a:gd name="connsiteY4598" fmla="*/ 3125027 h 6479439"/>
                <a:gd name="connsiteX4599" fmla="*/ 2153802 w 9586368"/>
                <a:gd name="connsiteY4599" fmla="*/ 3115157 h 6479439"/>
                <a:gd name="connsiteX4600" fmla="*/ 1918513 w 9586368"/>
                <a:gd name="connsiteY4600" fmla="*/ 3111118 h 6479439"/>
                <a:gd name="connsiteX4601" fmla="*/ 1928422 w 9586368"/>
                <a:gd name="connsiteY4601" fmla="*/ 3111118 h 6479439"/>
                <a:gd name="connsiteX4602" fmla="*/ 1932441 w 9586368"/>
                <a:gd name="connsiteY4602" fmla="*/ 3115157 h 6479439"/>
                <a:gd name="connsiteX4603" fmla="*/ 1932441 w 9586368"/>
                <a:gd name="connsiteY4603" fmla="*/ 3125027 h 6479439"/>
                <a:gd name="connsiteX4604" fmla="*/ 1928422 w 9586368"/>
                <a:gd name="connsiteY4604" fmla="*/ 3129066 h 6479439"/>
                <a:gd name="connsiteX4605" fmla="*/ 1918513 w 9586368"/>
                <a:gd name="connsiteY4605" fmla="*/ 3129066 h 6479439"/>
                <a:gd name="connsiteX4606" fmla="*/ 1914493 w 9586368"/>
                <a:gd name="connsiteY4606" fmla="*/ 3125027 h 6479439"/>
                <a:gd name="connsiteX4607" fmla="*/ 1914493 w 9586368"/>
                <a:gd name="connsiteY4607" fmla="*/ 3115157 h 6479439"/>
                <a:gd name="connsiteX4608" fmla="*/ 1679211 w 9586368"/>
                <a:gd name="connsiteY4608" fmla="*/ 3111118 h 6479439"/>
                <a:gd name="connsiteX4609" fmla="*/ 1689121 w 9586368"/>
                <a:gd name="connsiteY4609" fmla="*/ 3111118 h 6479439"/>
                <a:gd name="connsiteX4610" fmla="*/ 1693139 w 9586368"/>
                <a:gd name="connsiteY4610" fmla="*/ 3115157 h 6479439"/>
                <a:gd name="connsiteX4611" fmla="*/ 1693139 w 9586368"/>
                <a:gd name="connsiteY4611" fmla="*/ 3125027 h 6479439"/>
                <a:gd name="connsiteX4612" fmla="*/ 1689121 w 9586368"/>
                <a:gd name="connsiteY4612" fmla="*/ 3129066 h 6479439"/>
                <a:gd name="connsiteX4613" fmla="*/ 1679211 w 9586368"/>
                <a:gd name="connsiteY4613" fmla="*/ 3129066 h 6479439"/>
                <a:gd name="connsiteX4614" fmla="*/ 1675191 w 9586368"/>
                <a:gd name="connsiteY4614" fmla="*/ 3125027 h 6479439"/>
                <a:gd name="connsiteX4615" fmla="*/ 1675191 w 9586368"/>
                <a:gd name="connsiteY4615" fmla="*/ 3115157 h 6479439"/>
                <a:gd name="connsiteX4616" fmla="*/ 1439895 w 9586368"/>
                <a:gd name="connsiteY4616" fmla="*/ 3111118 h 6479439"/>
                <a:gd name="connsiteX4617" fmla="*/ 1449805 w 9586368"/>
                <a:gd name="connsiteY4617" fmla="*/ 3111118 h 6479439"/>
                <a:gd name="connsiteX4618" fmla="*/ 1453823 w 9586368"/>
                <a:gd name="connsiteY4618" fmla="*/ 3115157 h 6479439"/>
                <a:gd name="connsiteX4619" fmla="*/ 1453823 w 9586368"/>
                <a:gd name="connsiteY4619" fmla="*/ 3125027 h 6479439"/>
                <a:gd name="connsiteX4620" fmla="*/ 1449805 w 9586368"/>
                <a:gd name="connsiteY4620" fmla="*/ 3129066 h 6479439"/>
                <a:gd name="connsiteX4621" fmla="*/ 1439895 w 9586368"/>
                <a:gd name="connsiteY4621" fmla="*/ 3129066 h 6479439"/>
                <a:gd name="connsiteX4622" fmla="*/ 1435875 w 9586368"/>
                <a:gd name="connsiteY4622" fmla="*/ 3125027 h 6479439"/>
                <a:gd name="connsiteX4623" fmla="*/ 1435875 w 9586368"/>
                <a:gd name="connsiteY4623" fmla="*/ 3115157 h 6479439"/>
                <a:gd name="connsiteX4624" fmla="*/ 1200578 w 9586368"/>
                <a:gd name="connsiteY4624" fmla="*/ 3111118 h 6479439"/>
                <a:gd name="connsiteX4625" fmla="*/ 1210489 w 9586368"/>
                <a:gd name="connsiteY4625" fmla="*/ 3111118 h 6479439"/>
                <a:gd name="connsiteX4626" fmla="*/ 1214507 w 9586368"/>
                <a:gd name="connsiteY4626" fmla="*/ 3115157 h 6479439"/>
                <a:gd name="connsiteX4627" fmla="*/ 1214507 w 9586368"/>
                <a:gd name="connsiteY4627" fmla="*/ 3125027 h 6479439"/>
                <a:gd name="connsiteX4628" fmla="*/ 1210489 w 9586368"/>
                <a:gd name="connsiteY4628" fmla="*/ 3129066 h 6479439"/>
                <a:gd name="connsiteX4629" fmla="*/ 1200578 w 9586368"/>
                <a:gd name="connsiteY4629" fmla="*/ 3129066 h 6479439"/>
                <a:gd name="connsiteX4630" fmla="*/ 1196560 w 9586368"/>
                <a:gd name="connsiteY4630" fmla="*/ 3125027 h 6479439"/>
                <a:gd name="connsiteX4631" fmla="*/ 1196560 w 9586368"/>
                <a:gd name="connsiteY4631" fmla="*/ 3115157 h 6479439"/>
                <a:gd name="connsiteX4632" fmla="*/ 961266 w 9586368"/>
                <a:gd name="connsiteY4632" fmla="*/ 3111118 h 6479439"/>
                <a:gd name="connsiteX4633" fmla="*/ 971176 w 9586368"/>
                <a:gd name="connsiteY4633" fmla="*/ 3111118 h 6479439"/>
                <a:gd name="connsiteX4634" fmla="*/ 975195 w 9586368"/>
                <a:gd name="connsiteY4634" fmla="*/ 3115157 h 6479439"/>
                <a:gd name="connsiteX4635" fmla="*/ 975195 w 9586368"/>
                <a:gd name="connsiteY4635" fmla="*/ 3125027 h 6479439"/>
                <a:gd name="connsiteX4636" fmla="*/ 971176 w 9586368"/>
                <a:gd name="connsiteY4636" fmla="*/ 3129066 h 6479439"/>
                <a:gd name="connsiteX4637" fmla="*/ 961266 w 9586368"/>
                <a:gd name="connsiteY4637" fmla="*/ 3129066 h 6479439"/>
                <a:gd name="connsiteX4638" fmla="*/ 957247 w 9586368"/>
                <a:gd name="connsiteY4638" fmla="*/ 3125027 h 6479439"/>
                <a:gd name="connsiteX4639" fmla="*/ 957247 w 9586368"/>
                <a:gd name="connsiteY4639" fmla="*/ 3115157 h 6479439"/>
                <a:gd name="connsiteX4640" fmla="*/ 9572438 w 9586368"/>
                <a:gd name="connsiteY4640" fmla="*/ 3111067 h 6479439"/>
                <a:gd name="connsiteX4641" fmla="*/ 9582349 w 9586368"/>
                <a:gd name="connsiteY4641" fmla="*/ 3111067 h 6479439"/>
                <a:gd name="connsiteX4642" fmla="*/ 9586368 w 9586368"/>
                <a:gd name="connsiteY4642" fmla="*/ 3115105 h 6479439"/>
                <a:gd name="connsiteX4643" fmla="*/ 9586368 w 9586368"/>
                <a:gd name="connsiteY4643" fmla="*/ 3124976 h 6479439"/>
                <a:gd name="connsiteX4644" fmla="*/ 9582349 w 9586368"/>
                <a:gd name="connsiteY4644" fmla="*/ 3129015 h 6479439"/>
                <a:gd name="connsiteX4645" fmla="*/ 9572438 w 9586368"/>
                <a:gd name="connsiteY4645" fmla="*/ 3129015 h 6479439"/>
                <a:gd name="connsiteX4646" fmla="*/ 9568419 w 9586368"/>
                <a:gd name="connsiteY4646" fmla="*/ 3124976 h 6479439"/>
                <a:gd name="connsiteX4647" fmla="*/ 9568419 w 9586368"/>
                <a:gd name="connsiteY4647" fmla="*/ 3115105 h 6479439"/>
                <a:gd name="connsiteX4648" fmla="*/ 9333125 w 9586368"/>
                <a:gd name="connsiteY4648" fmla="*/ 3111067 h 6479439"/>
                <a:gd name="connsiteX4649" fmla="*/ 9343036 w 9586368"/>
                <a:gd name="connsiteY4649" fmla="*/ 3111067 h 6479439"/>
                <a:gd name="connsiteX4650" fmla="*/ 9347055 w 9586368"/>
                <a:gd name="connsiteY4650" fmla="*/ 3115105 h 6479439"/>
                <a:gd name="connsiteX4651" fmla="*/ 9347055 w 9586368"/>
                <a:gd name="connsiteY4651" fmla="*/ 3124976 h 6479439"/>
                <a:gd name="connsiteX4652" fmla="*/ 9343036 w 9586368"/>
                <a:gd name="connsiteY4652" fmla="*/ 3129015 h 6479439"/>
                <a:gd name="connsiteX4653" fmla="*/ 9333125 w 9586368"/>
                <a:gd name="connsiteY4653" fmla="*/ 3129015 h 6479439"/>
                <a:gd name="connsiteX4654" fmla="*/ 9329106 w 9586368"/>
                <a:gd name="connsiteY4654" fmla="*/ 3124976 h 6479439"/>
                <a:gd name="connsiteX4655" fmla="*/ 9329106 w 9586368"/>
                <a:gd name="connsiteY4655" fmla="*/ 3115105 h 6479439"/>
                <a:gd name="connsiteX4656" fmla="*/ 9093811 w 9586368"/>
                <a:gd name="connsiteY4656" fmla="*/ 3111067 h 6479439"/>
                <a:gd name="connsiteX4657" fmla="*/ 9103722 w 9586368"/>
                <a:gd name="connsiteY4657" fmla="*/ 3111067 h 6479439"/>
                <a:gd name="connsiteX4658" fmla="*/ 9107741 w 9586368"/>
                <a:gd name="connsiteY4658" fmla="*/ 3115105 h 6479439"/>
                <a:gd name="connsiteX4659" fmla="*/ 9107741 w 9586368"/>
                <a:gd name="connsiteY4659" fmla="*/ 3124976 h 6479439"/>
                <a:gd name="connsiteX4660" fmla="*/ 9103722 w 9586368"/>
                <a:gd name="connsiteY4660" fmla="*/ 3129015 h 6479439"/>
                <a:gd name="connsiteX4661" fmla="*/ 9093811 w 9586368"/>
                <a:gd name="connsiteY4661" fmla="*/ 3129015 h 6479439"/>
                <a:gd name="connsiteX4662" fmla="*/ 9089792 w 9586368"/>
                <a:gd name="connsiteY4662" fmla="*/ 3124976 h 6479439"/>
                <a:gd name="connsiteX4663" fmla="*/ 9089792 w 9586368"/>
                <a:gd name="connsiteY4663" fmla="*/ 3115105 h 6479439"/>
                <a:gd name="connsiteX4664" fmla="*/ 8854496 w 9586368"/>
                <a:gd name="connsiteY4664" fmla="*/ 3111067 h 6479439"/>
                <a:gd name="connsiteX4665" fmla="*/ 8864407 w 9586368"/>
                <a:gd name="connsiteY4665" fmla="*/ 3111067 h 6479439"/>
                <a:gd name="connsiteX4666" fmla="*/ 8868426 w 9586368"/>
                <a:gd name="connsiteY4666" fmla="*/ 3115105 h 6479439"/>
                <a:gd name="connsiteX4667" fmla="*/ 8868426 w 9586368"/>
                <a:gd name="connsiteY4667" fmla="*/ 3124976 h 6479439"/>
                <a:gd name="connsiteX4668" fmla="*/ 8864407 w 9586368"/>
                <a:gd name="connsiteY4668" fmla="*/ 3129015 h 6479439"/>
                <a:gd name="connsiteX4669" fmla="*/ 8854496 w 9586368"/>
                <a:gd name="connsiteY4669" fmla="*/ 3129015 h 6479439"/>
                <a:gd name="connsiteX4670" fmla="*/ 8850477 w 9586368"/>
                <a:gd name="connsiteY4670" fmla="*/ 3124976 h 6479439"/>
                <a:gd name="connsiteX4671" fmla="*/ 8850477 w 9586368"/>
                <a:gd name="connsiteY4671" fmla="*/ 3115105 h 6479439"/>
                <a:gd name="connsiteX4672" fmla="*/ 8615184 w 9586368"/>
                <a:gd name="connsiteY4672" fmla="*/ 3111067 h 6479439"/>
                <a:gd name="connsiteX4673" fmla="*/ 8625095 w 9586368"/>
                <a:gd name="connsiteY4673" fmla="*/ 3111067 h 6479439"/>
                <a:gd name="connsiteX4674" fmla="*/ 8629114 w 9586368"/>
                <a:gd name="connsiteY4674" fmla="*/ 3115105 h 6479439"/>
                <a:gd name="connsiteX4675" fmla="*/ 8629114 w 9586368"/>
                <a:gd name="connsiteY4675" fmla="*/ 3124976 h 6479439"/>
                <a:gd name="connsiteX4676" fmla="*/ 8625095 w 9586368"/>
                <a:gd name="connsiteY4676" fmla="*/ 3129015 h 6479439"/>
                <a:gd name="connsiteX4677" fmla="*/ 8615184 w 9586368"/>
                <a:gd name="connsiteY4677" fmla="*/ 3129015 h 6479439"/>
                <a:gd name="connsiteX4678" fmla="*/ 8611165 w 9586368"/>
                <a:gd name="connsiteY4678" fmla="*/ 3124976 h 6479439"/>
                <a:gd name="connsiteX4679" fmla="*/ 8611165 w 9586368"/>
                <a:gd name="connsiteY4679" fmla="*/ 3115105 h 6479439"/>
                <a:gd name="connsiteX4680" fmla="*/ 8375869 w 9586368"/>
                <a:gd name="connsiteY4680" fmla="*/ 3111067 h 6479439"/>
                <a:gd name="connsiteX4681" fmla="*/ 8385779 w 9586368"/>
                <a:gd name="connsiteY4681" fmla="*/ 3111067 h 6479439"/>
                <a:gd name="connsiteX4682" fmla="*/ 8389799 w 9586368"/>
                <a:gd name="connsiteY4682" fmla="*/ 3115105 h 6479439"/>
                <a:gd name="connsiteX4683" fmla="*/ 8389799 w 9586368"/>
                <a:gd name="connsiteY4683" fmla="*/ 3124976 h 6479439"/>
                <a:gd name="connsiteX4684" fmla="*/ 8385779 w 9586368"/>
                <a:gd name="connsiteY4684" fmla="*/ 3129015 h 6479439"/>
                <a:gd name="connsiteX4685" fmla="*/ 8375869 w 9586368"/>
                <a:gd name="connsiteY4685" fmla="*/ 3129015 h 6479439"/>
                <a:gd name="connsiteX4686" fmla="*/ 8371850 w 9586368"/>
                <a:gd name="connsiteY4686" fmla="*/ 3124976 h 6479439"/>
                <a:gd name="connsiteX4687" fmla="*/ 8371850 w 9586368"/>
                <a:gd name="connsiteY4687" fmla="*/ 3115105 h 6479439"/>
                <a:gd name="connsiteX4688" fmla="*/ 8136553 w 9586368"/>
                <a:gd name="connsiteY4688" fmla="*/ 3111067 h 6479439"/>
                <a:gd name="connsiteX4689" fmla="*/ 8146464 w 9586368"/>
                <a:gd name="connsiteY4689" fmla="*/ 3111067 h 6479439"/>
                <a:gd name="connsiteX4690" fmla="*/ 8150483 w 9586368"/>
                <a:gd name="connsiteY4690" fmla="*/ 3115105 h 6479439"/>
                <a:gd name="connsiteX4691" fmla="*/ 8150483 w 9586368"/>
                <a:gd name="connsiteY4691" fmla="*/ 3124976 h 6479439"/>
                <a:gd name="connsiteX4692" fmla="*/ 8146464 w 9586368"/>
                <a:gd name="connsiteY4692" fmla="*/ 3129015 h 6479439"/>
                <a:gd name="connsiteX4693" fmla="*/ 8136553 w 9586368"/>
                <a:gd name="connsiteY4693" fmla="*/ 3129015 h 6479439"/>
                <a:gd name="connsiteX4694" fmla="*/ 8132534 w 9586368"/>
                <a:gd name="connsiteY4694" fmla="*/ 3124976 h 6479439"/>
                <a:gd name="connsiteX4695" fmla="*/ 8132534 w 9586368"/>
                <a:gd name="connsiteY4695" fmla="*/ 3115105 h 6479439"/>
                <a:gd name="connsiteX4696" fmla="*/ 7897241 w 9586368"/>
                <a:gd name="connsiteY4696" fmla="*/ 3111067 h 6479439"/>
                <a:gd name="connsiteX4697" fmla="*/ 7907151 w 9586368"/>
                <a:gd name="connsiteY4697" fmla="*/ 3111067 h 6479439"/>
                <a:gd name="connsiteX4698" fmla="*/ 7911170 w 9586368"/>
                <a:gd name="connsiteY4698" fmla="*/ 3115105 h 6479439"/>
                <a:gd name="connsiteX4699" fmla="*/ 7911170 w 9586368"/>
                <a:gd name="connsiteY4699" fmla="*/ 3124976 h 6479439"/>
                <a:gd name="connsiteX4700" fmla="*/ 7907151 w 9586368"/>
                <a:gd name="connsiteY4700" fmla="*/ 3129015 h 6479439"/>
                <a:gd name="connsiteX4701" fmla="*/ 7897241 w 9586368"/>
                <a:gd name="connsiteY4701" fmla="*/ 3129015 h 6479439"/>
                <a:gd name="connsiteX4702" fmla="*/ 7893222 w 9586368"/>
                <a:gd name="connsiteY4702" fmla="*/ 3124976 h 6479439"/>
                <a:gd name="connsiteX4703" fmla="*/ 7893222 w 9586368"/>
                <a:gd name="connsiteY4703" fmla="*/ 3115105 h 6479439"/>
                <a:gd name="connsiteX4704" fmla="*/ 7657926 w 9586368"/>
                <a:gd name="connsiteY4704" fmla="*/ 3111067 h 6479439"/>
                <a:gd name="connsiteX4705" fmla="*/ 7667836 w 9586368"/>
                <a:gd name="connsiteY4705" fmla="*/ 3111067 h 6479439"/>
                <a:gd name="connsiteX4706" fmla="*/ 7671855 w 9586368"/>
                <a:gd name="connsiteY4706" fmla="*/ 3115105 h 6479439"/>
                <a:gd name="connsiteX4707" fmla="*/ 7671855 w 9586368"/>
                <a:gd name="connsiteY4707" fmla="*/ 3124976 h 6479439"/>
                <a:gd name="connsiteX4708" fmla="*/ 7667836 w 9586368"/>
                <a:gd name="connsiteY4708" fmla="*/ 3129015 h 6479439"/>
                <a:gd name="connsiteX4709" fmla="*/ 7657926 w 9586368"/>
                <a:gd name="connsiteY4709" fmla="*/ 3129015 h 6479439"/>
                <a:gd name="connsiteX4710" fmla="*/ 7653906 w 9586368"/>
                <a:gd name="connsiteY4710" fmla="*/ 3124976 h 6479439"/>
                <a:gd name="connsiteX4711" fmla="*/ 7653906 w 9586368"/>
                <a:gd name="connsiteY4711" fmla="*/ 3115105 h 6479439"/>
                <a:gd name="connsiteX4712" fmla="*/ 7418611 w 9586368"/>
                <a:gd name="connsiteY4712" fmla="*/ 3111067 h 6479439"/>
                <a:gd name="connsiteX4713" fmla="*/ 7428521 w 9586368"/>
                <a:gd name="connsiteY4713" fmla="*/ 3111067 h 6479439"/>
                <a:gd name="connsiteX4714" fmla="*/ 7432540 w 9586368"/>
                <a:gd name="connsiteY4714" fmla="*/ 3115105 h 6479439"/>
                <a:gd name="connsiteX4715" fmla="*/ 7432540 w 9586368"/>
                <a:gd name="connsiteY4715" fmla="*/ 3124976 h 6479439"/>
                <a:gd name="connsiteX4716" fmla="*/ 7428521 w 9586368"/>
                <a:gd name="connsiteY4716" fmla="*/ 3129015 h 6479439"/>
                <a:gd name="connsiteX4717" fmla="*/ 7418611 w 9586368"/>
                <a:gd name="connsiteY4717" fmla="*/ 3129015 h 6479439"/>
                <a:gd name="connsiteX4718" fmla="*/ 7414592 w 9586368"/>
                <a:gd name="connsiteY4718" fmla="*/ 3124976 h 6479439"/>
                <a:gd name="connsiteX4719" fmla="*/ 7414592 w 9586368"/>
                <a:gd name="connsiteY4719" fmla="*/ 3115105 h 6479439"/>
                <a:gd name="connsiteX4720" fmla="*/ 7179298 w 9586368"/>
                <a:gd name="connsiteY4720" fmla="*/ 3111067 h 6479439"/>
                <a:gd name="connsiteX4721" fmla="*/ 7189209 w 9586368"/>
                <a:gd name="connsiteY4721" fmla="*/ 3111067 h 6479439"/>
                <a:gd name="connsiteX4722" fmla="*/ 7193228 w 9586368"/>
                <a:gd name="connsiteY4722" fmla="*/ 3115105 h 6479439"/>
                <a:gd name="connsiteX4723" fmla="*/ 7193228 w 9586368"/>
                <a:gd name="connsiteY4723" fmla="*/ 3124976 h 6479439"/>
                <a:gd name="connsiteX4724" fmla="*/ 7189209 w 9586368"/>
                <a:gd name="connsiteY4724" fmla="*/ 3129015 h 6479439"/>
                <a:gd name="connsiteX4725" fmla="*/ 7179298 w 9586368"/>
                <a:gd name="connsiteY4725" fmla="*/ 3129015 h 6479439"/>
                <a:gd name="connsiteX4726" fmla="*/ 7175279 w 9586368"/>
                <a:gd name="connsiteY4726" fmla="*/ 3124976 h 6479439"/>
                <a:gd name="connsiteX4727" fmla="*/ 7175279 w 9586368"/>
                <a:gd name="connsiteY4727" fmla="*/ 3115105 h 6479439"/>
                <a:gd name="connsiteX4728" fmla="*/ 6939983 w 9586368"/>
                <a:gd name="connsiteY4728" fmla="*/ 3111067 h 6479439"/>
                <a:gd name="connsiteX4729" fmla="*/ 6949894 w 9586368"/>
                <a:gd name="connsiteY4729" fmla="*/ 3111067 h 6479439"/>
                <a:gd name="connsiteX4730" fmla="*/ 6953913 w 9586368"/>
                <a:gd name="connsiteY4730" fmla="*/ 3115105 h 6479439"/>
                <a:gd name="connsiteX4731" fmla="*/ 6953913 w 9586368"/>
                <a:gd name="connsiteY4731" fmla="*/ 3124976 h 6479439"/>
                <a:gd name="connsiteX4732" fmla="*/ 6949894 w 9586368"/>
                <a:gd name="connsiteY4732" fmla="*/ 3129015 h 6479439"/>
                <a:gd name="connsiteX4733" fmla="*/ 6939983 w 9586368"/>
                <a:gd name="connsiteY4733" fmla="*/ 3129015 h 6479439"/>
                <a:gd name="connsiteX4734" fmla="*/ 6935964 w 9586368"/>
                <a:gd name="connsiteY4734" fmla="*/ 3124976 h 6479439"/>
                <a:gd name="connsiteX4735" fmla="*/ 6935964 w 9586368"/>
                <a:gd name="connsiteY4735" fmla="*/ 3115105 h 6479439"/>
                <a:gd name="connsiteX4736" fmla="*/ 6700670 w 9586368"/>
                <a:gd name="connsiteY4736" fmla="*/ 3111067 h 6479439"/>
                <a:gd name="connsiteX4737" fmla="*/ 6710581 w 9586368"/>
                <a:gd name="connsiteY4737" fmla="*/ 3111067 h 6479439"/>
                <a:gd name="connsiteX4738" fmla="*/ 6714600 w 9586368"/>
                <a:gd name="connsiteY4738" fmla="*/ 3115105 h 6479439"/>
                <a:gd name="connsiteX4739" fmla="*/ 6714600 w 9586368"/>
                <a:gd name="connsiteY4739" fmla="*/ 3124976 h 6479439"/>
                <a:gd name="connsiteX4740" fmla="*/ 6710581 w 9586368"/>
                <a:gd name="connsiteY4740" fmla="*/ 3129015 h 6479439"/>
                <a:gd name="connsiteX4741" fmla="*/ 6700670 w 9586368"/>
                <a:gd name="connsiteY4741" fmla="*/ 3129015 h 6479439"/>
                <a:gd name="connsiteX4742" fmla="*/ 6696651 w 9586368"/>
                <a:gd name="connsiteY4742" fmla="*/ 3124976 h 6479439"/>
                <a:gd name="connsiteX4743" fmla="*/ 6696651 w 9586368"/>
                <a:gd name="connsiteY4743" fmla="*/ 3115105 h 6479439"/>
                <a:gd name="connsiteX4744" fmla="*/ 6461356 w 9586368"/>
                <a:gd name="connsiteY4744" fmla="*/ 3111067 h 6479439"/>
                <a:gd name="connsiteX4745" fmla="*/ 6471266 w 9586368"/>
                <a:gd name="connsiteY4745" fmla="*/ 3111067 h 6479439"/>
                <a:gd name="connsiteX4746" fmla="*/ 6475285 w 9586368"/>
                <a:gd name="connsiteY4746" fmla="*/ 3115105 h 6479439"/>
                <a:gd name="connsiteX4747" fmla="*/ 6475285 w 9586368"/>
                <a:gd name="connsiteY4747" fmla="*/ 3124976 h 6479439"/>
                <a:gd name="connsiteX4748" fmla="*/ 6471266 w 9586368"/>
                <a:gd name="connsiteY4748" fmla="*/ 3129015 h 6479439"/>
                <a:gd name="connsiteX4749" fmla="*/ 6461356 w 9586368"/>
                <a:gd name="connsiteY4749" fmla="*/ 3129015 h 6479439"/>
                <a:gd name="connsiteX4750" fmla="*/ 6457337 w 9586368"/>
                <a:gd name="connsiteY4750" fmla="*/ 3124976 h 6479439"/>
                <a:gd name="connsiteX4751" fmla="*/ 6457337 w 9586368"/>
                <a:gd name="connsiteY4751" fmla="*/ 3115105 h 6479439"/>
                <a:gd name="connsiteX4752" fmla="*/ 6222042 w 9586368"/>
                <a:gd name="connsiteY4752" fmla="*/ 3111067 h 6479439"/>
                <a:gd name="connsiteX4753" fmla="*/ 6231952 w 9586368"/>
                <a:gd name="connsiteY4753" fmla="*/ 3111067 h 6479439"/>
                <a:gd name="connsiteX4754" fmla="*/ 6235971 w 9586368"/>
                <a:gd name="connsiteY4754" fmla="*/ 3115105 h 6479439"/>
                <a:gd name="connsiteX4755" fmla="*/ 6235971 w 9586368"/>
                <a:gd name="connsiteY4755" fmla="*/ 3124976 h 6479439"/>
                <a:gd name="connsiteX4756" fmla="*/ 6231952 w 9586368"/>
                <a:gd name="connsiteY4756" fmla="*/ 3129015 h 6479439"/>
                <a:gd name="connsiteX4757" fmla="*/ 6222042 w 9586368"/>
                <a:gd name="connsiteY4757" fmla="*/ 3129015 h 6479439"/>
                <a:gd name="connsiteX4758" fmla="*/ 6218023 w 9586368"/>
                <a:gd name="connsiteY4758" fmla="*/ 3124976 h 6479439"/>
                <a:gd name="connsiteX4759" fmla="*/ 6218023 w 9586368"/>
                <a:gd name="connsiteY4759" fmla="*/ 3115105 h 6479439"/>
                <a:gd name="connsiteX4760" fmla="*/ 5982729 w 9586368"/>
                <a:gd name="connsiteY4760" fmla="*/ 3111067 h 6479439"/>
                <a:gd name="connsiteX4761" fmla="*/ 5992639 w 9586368"/>
                <a:gd name="connsiteY4761" fmla="*/ 3111067 h 6479439"/>
                <a:gd name="connsiteX4762" fmla="*/ 5996658 w 9586368"/>
                <a:gd name="connsiteY4762" fmla="*/ 3115105 h 6479439"/>
                <a:gd name="connsiteX4763" fmla="*/ 5996658 w 9586368"/>
                <a:gd name="connsiteY4763" fmla="*/ 3124976 h 6479439"/>
                <a:gd name="connsiteX4764" fmla="*/ 5992639 w 9586368"/>
                <a:gd name="connsiteY4764" fmla="*/ 3129015 h 6479439"/>
                <a:gd name="connsiteX4765" fmla="*/ 5982729 w 9586368"/>
                <a:gd name="connsiteY4765" fmla="*/ 3129015 h 6479439"/>
                <a:gd name="connsiteX4766" fmla="*/ 5978710 w 9586368"/>
                <a:gd name="connsiteY4766" fmla="*/ 3124976 h 6479439"/>
                <a:gd name="connsiteX4767" fmla="*/ 5978710 w 9586368"/>
                <a:gd name="connsiteY4767" fmla="*/ 3115105 h 6479439"/>
                <a:gd name="connsiteX4768" fmla="*/ 5743412 w 9586368"/>
                <a:gd name="connsiteY4768" fmla="*/ 3111067 h 6479439"/>
                <a:gd name="connsiteX4769" fmla="*/ 5753323 w 9586368"/>
                <a:gd name="connsiteY4769" fmla="*/ 3111067 h 6479439"/>
                <a:gd name="connsiteX4770" fmla="*/ 5757342 w 9586368"/>
                <a:gd name="connsiteY4770" fmla="*/ 3115105 h 6479439"/>
                <a:gd name="connsiteX4771" fmla="*/ 5757342 w 9586368"/>
                <a:gd name="connsiteY4771" fmla="*/ 3124976 h 6479439"/>
                <a:gd name="connsiteX4772" fmla="*/ 5753323 w 9586368"/>
                <a:gd name="connsiteY4772" fmla="*/ 3129015 h 6479439"/>
                <a:gd name="connsiteX4773" fmla="*/ 5743412 w 9586368"/>
                <a:gd name="connsiteY4773" fmla="*/ 3129015 h 6479439"/>
                <a:gd name="connsiteX4774" fmla="*/ 5739393 w 9586368"/>
                <a:gd name="connsiteY4774" fmla="*/ 3124976 h 6479439"/>
                <a:gd name="connsiteX4775" fmla="*/ 5739393 w 9586368"/>
                <a:gd name="connsiteY4775" fmla="*/ 3115105 h 6479439"/>
                <a:gd name="connsiteX4776" fmla="*/ 5504099 w 9586368"/>
                <a:gd name="connsiteY4776" fmla="*/ 3111067 h 6479439"/>
                <a:gd name="connsiteX4777" fmla="*/ 5514010 w 9586368"/>
                <a:gd name="connsiteY4777" fmla="*/ 3111067 h 6479439"/>
                <a:gd name="connsiteX4778" fmla="*/ 5518029 w 9586368"/>
                <a:gd name="connsiteY4778" fmla="*/ 3115105 h 6479439"/>
                <a:gd name="connsiteX4779" fmla="*/ 5518029 w 9586368"/>
                <a:gd name="connsiteY4779" fmla="*/ 3124976 h 6479439"/>
                <a:gd name="connsiteX4780" fmla="*/ 5514010 w 9586368"/>
                <a:gd name="connsiteY4780" fmla="*/ 3129015 h 6479439"/>
                <a:gd name="connsiteX4781" fmla="*/ 5504099 w 9586368"/>
                <a:gd name="connsiteY4781" fmla="*/ 3129015 h 6479439"/>
                <a:gd name="connsiteX4782" fmla="*/ 5500080 w 9586368"/>
                <a:gd name="connsiteY4782" fmla="*/ 3124976 h 6479439"/>
                <a:gd name="connsiteX4783" fmla="*/ 5500080 w 9586368"/>
                <a:gd name="connsiteY4783" fmla="*/ 3115105 h 6479439"/>
                <a:gd name="connsiteX4784" fmla="*/ 5264784 w 9586368"/>
                <a:gd name="connsiteY4784" fmla="*/ 3111067 h 6479439"/>
                <a:gd name="connsiteX4785" fmla="*/ 5274694 w 9586368"/>
                <a:gd name="connsiteY4785" fmla="*/ 3111067 h 6479439"/>
                <a:gd name="connsiteX4786" fmla="*/ 5278713 w 9586368"/>
                <a:gd name="connsiteY4786" fmla="*/ 3115105 h 6479439"/>
                <a:gd name="connsiteX4787" fmla="*/ 5278713 w 9586368"/>
                <a:gd name="connsiteY4787" fmla="*/ 3124976 h 6479439"/>
                <a:gd name="connsiteX4788" fmla="*/ 5274694 w 9586368"/>
                <a:gd name="connsiteY4788" fmla="*/ 3129015 h 6479439"/>
                <a:gd name="connsiteX4789" fmla="*/ 5264784 w 9586368"/>
                <a:gd name="connsiteY4789" fmla="*/ 3129015 h 6479439"/>
                <a:gd name="connsiteX4790" fmla="*/ 5260765 w 9586368"/>
                <a:gd name="connsiteY4790" fmla="*/ 3124976 h 6479439"/>
                <a:gd name="connsiteX4791" fmla="*/ 5260765 w 9586368"/>
                <a:gd name="connsiteY4791" fmla="*/ 3115105 h 6479439"/>
                <a:gd name="connsiteX4792" fmla="*/ 5025470 w 9586368"/>
                <a:gd name="connsiteY4792" fmla="*/ 3111067 h 6479439"/>
                <a:gd name="connsiteX4793" fmla="*/ 5035381 w 9586368"/>
                <a:gd name="connsiteY4793" fmla="*/ 3111067 h 6479439"/>
                <a:gd name="connsiteX4794" fmla="*/ 5039400 w 9586368"/>
                <a:gd name="connsiteY4794" fmla="*/ 3115105 h 6479439"/>
                <a:gd name="connsiteX4795" fmla="*/ 5039400 w 9586368"/>
                <a:gd name="connsiteY4795" fmla="*/ 3124976 h 6479439"/>
                <a:gd name="connsiteX4796" fmla="*/ 5035381 w 9586368"/>
                <a:gd name="connsiteY4796" fmla="*/ 3129015 h 6479439"/>
                <a:gd name="connsiteX4797" fmla="*/ 5025470 w 9586368"/>
                <a:gd name="connsiteY4797" fmla="*/ 3129015 h 6479439"/>
                <a:gd name="connsiteX4798" fmla="*/ 5021451 w 9586368"/>
                <a:gd name="connsiteY4798" fmla="*/ 3124976 h 6479439"/>
                <a:gd name="connsiteX4799" fmla="*/ 5021451 w 9586368"/>
                <a:gd name="connsiteY4799" fmla="*/ 3115105 h 6479439"/>
                <a:gd name="connsiteX4800" fmla="*/ 4786241 w 9586368"/>
                <a:gd name="connsiteY4800" fmla="*/ 3111067 h 6479439"/>
                <a:gd name="connsiteX4801" fmla="*/ 4796152 w 9586368"/>
                <a:gd name="connsiteY4801" fmla="*/ 3111067 h 6479439"/>
                <a:gd name="connsiteX4802" fmla="*/ 4800171 w 9586368"/>
                <a:gd name="connsiteY4802" fmla="*/ 3115105 h 6479439"/>
                <a:gd name="connsiteX4803" fmla="*/ 4800171 w 9586368"/>
                <a:gd name="connsiteY4803" fmla="*/ 3124976 h 6479439"/>
                <a:gd name="connsiteX4804" fmla="*/ 4796152 w 9586368"/>
                <a:gd name="connsiteY4804" fmla="*/ 3129015 h 6479439"/>
                <a:gd name="connsiteX4805" fmla="*/ 4786241 w 9586368"/>
                <a:gd name="connsiteY4805" fmla="*/ 3129015 h 6479439"/>
                <a:gd name="connsiteX4806" fmla="*/ 4782224 w 9586368"/>
                <a:gd name="connsiteY4806" fmla="*/ 3124976 h 6479439"/>
                <a:gd name="connsiteX4807" fmla="*/ 4782224 w 9586368"/>
                <a:gd name="connsiteY4807" fmla="*/ 3115105 h 6479439"/>
                <a:gd name="connsiteX4808" fmla="*/ 4546929 w 9586368"/>
                <a:gd name="connsiteY4808" fmla="*/ 3111067 h 6479439"/>
                <a:gd name="connsiteX4809" fmla="*/ 4556840 w 9586368"/>
                <a:gd name="connsiteY4809" fmla="*/ 3111067 h 6479439"/>
                <a:gd name="connsiteX4810" fmla="*/ 4560859 w 9586368"/>
                <a:gd name="connsiteY4810" fmla="*/ 3115105 h 6479439"/>
                <a:gd name="connsiteX4811" fmla="*/ 4560859 w 9586368"/>
                <a:gd name="connsiteY4811" fmla="*/ 3124976 h 6479439"/>
                <a:gd name="connsiteX4812" fmla="*/ 4556840 w 9586368"/>
                <a:gd name="connsiteY4812" fmla="*/ 3129015 h 6479439"/>
                <a:gd name="connsiteX4813" fmla="*/ 4546929 w 9586368"/>
                <a:gd name="connsiteY4813" fmla="*/ 3129015 h 6479439"/>
                <a:gd name="connsiteX4814" fmla="*/ 4542910 w 9586368"/>
                <a:gd name="connsiteY4814" fmla="*/ 3124976 h 6479439"/>
                <a:gd name="connsiteX4815" fmla="*/ 4542910 w 9586368"/>
                <a:gd name="connsiteY4815" fmla="*/ 3115105 h 6479439"/>
                <a:gd name="connsiteX4816" fmla="*/ 4307612 w 9586368"/>
                <a:gd name="connsiteY4816" fmla="*/ 3111067 h 6479439"/>
                <a:gd name="connsiteX4817" fmla="*/ 4317523 w 9586368"/>
                <a:gd name="connsiteY4817" fmla="*/ 3111067 h 6479439"/>
                <a:gd name="connsiteX4818" fmla="*/ 4321543 w 9586368"/>
                <a:gd name="connsiteY4818" fmla="*/ 3115105 h 6479439"/>
                <a:gd name="connsiteX4819" fmla="*/ 4321543 w 9586368"/>
                <a:gd name="connsiteY4819" fmla="*/ 3124976 h 6479439"/>
                <a:gd name="connsiteX4820" fmla="*/ 4317523 w 9586368"/>
                <a:gd name="connsiteY4820" fmla="*/ 3129015 h 6479439"/>
                <a:gd name="connsiteX4821" fmla="*/ 4307612 w 9586368"/>
                <a:gd name="connsiteY4821" fmla="*/ 3129015 h 6479439"/>
                <a:gd name="connsiteX4822" fmla="*/ 4303595 w 9586368"/>
                <a:gd name="connsiteY4822" fmla="*/ 3124976 h 6479439"/>
                <a:gd name="connsiteX4823" fmla="*/ 4303595 w 9586368"/>
                <a:gd name="connsiteY4823" fmla="*/ 3115105 h 6479439"/>
                <a:gd name="connsiteX4824" fmla="*/ 4068297 w 9586368"/>
                <a:gd name="connsiteY4824" fmla="*/ 3111067 h 6479439"/>
                <a:gd name="connsiteX4825" fmla="*/ 4078210 w 9586368"/>
                <a:gd name="connsiteY4825" fmla="*/ 3111067 h 6479439"/>
                <a:gd name="connsiteX4826" fmla="*/ 4082229 w 9586368"/>
                <a:gd name="connsiteY4826" fmla="*/ 3115105 h 6479439"/>
                <a:gd name="connsiteX4827" fmla="*/ 4082229 w 9586368"/>
                <a:gd name="connsiteY4827" fmla="*/ 3124976 h 6479439"/>
                <a:gd name="connsiteX4828" fmla="*/ 4078210 w 9586368"/>
                <a:gd name="connsiteY4828" fmla="*/ 3129015 h 6479439"/>
                <a:gd name="connsiteX4829" fmla="*/ 4068297 w 9586368"/>
                <a:gd name="connsiteY4829" fmla="*/ 3129015 h 6479439"/>
                <a:gd name="connsiteX4830" fmla="*/ 4064278 w 9586368"/>
                <a:gd name="connsiteY4830" fmla="*/ 3124976 h 6479439"/>
                <a:gd name="connsiteX4831" fmla="*/ 4064278 w 9586368"/>
                <a:gd name="connsiteY4831" fmla="*/ 3115105 h 6479439"/>
                <a:gd name="connsiteX4832" fmla="*/ 3828990 w 9586368"/>
                <a:gd name="connsiteY4832" fmla="*/ 3111067 h 6479439"/>
                <a:gd name="connsiteX4833" fmla="*/ 3838899 w 9586368"/>
                <a:gd name="connsiteY4833" fmla="*/ 3111067 h 6479439"/>
                <a:gd name="connsiteX4834" fmla="*/ 3842917 w 9586368"/>
                <a:gd name="connsiteY4834" fmla="*/ 3115105 h 6479439"/>
                <a:gd name="connsiteX4835" fmla="*/ 3842917 w 9586368"/>
                <a:gd name="connsiteY4835" fmla="*/ 3124976 h 6479439"/>
                <a:gd name="connsiteX4836" fmla="*/ 3838899 w 9586368"/>
                <a:gd name="connsiteY4836" fmla="*/ 3129015 h 6479439"/>
                <a:gd name="connsiteX4837" fmla="*/ 3828990 w 9586368"/>
                <a:gd name="connsiteY4837" fmla="*/ 3129015 h 6479439"/>
                <a:gd name="connsiteX4838" fmla="*/ 3824971 w 9586368"/>
                <a:gd name="connsiteY4838" fmla="*/ 3124976 h 6479439"/>
                <a:gd name="connsiteX4839" fmla="*/ 3824971 w 9586368"/>
                <a:gd name="connsiteY4839" fmla="*/ 3115105 h 6479439"/>
                <a:gd name="connsiteX4840" fmla="*/ 3589676 w 9586368"/>
                <a:gd name="connsiteY4840" fmla="*/ 3111067 h 6479439"/>
                <a:gd name="connsiteX4841" fmla="*/ 3599585 w 9586368"/>
                <a:gd name="connsiteY4841" fmla="*/ 3111067 h 6479439"/>
                <a:gd name="connsiteX4842" fmla="*/ 3603604 w 9586368"/>
                <a:gd name="connsiteY4842" fmla="*/ 3115105 h 6479439"/>
                <a:gd name="connsiteX4843" fmla="*/ 3603604 w 9586368"/>
                <a:gd name="connsiteY4843" fmla="*/ 3124976 h 6479439"/>
                <a:gd name="connsiteX4844" fmla="*/ 3599585 w 9586368"/>
                <a:gd name="connsiteY4844" fmla="*/ 3129015 h 6479439"/>
                <a:gd name="connsiteX4845" fmla="*/ 3589676 w 9586368"/>
                <a:gd name="connsiteY4845" fmla="*/ 3129015 h 6479439"/>
                <a:gd name="connsiteX4846" fmla="*/ 3585657 w 9586368"/>
                <a:gd name="connsiteY4846" fmla="*/ 3124976 h 6479439"/>
                <a:gd name="connsiteX4847" fmla="*/ 3585657 w 9586368"/>
                <a:gd name="connsiteY4847" fmla="*/ 3115105 h 6479439"/>
                <a:gd name="connsiteX4848" fmla="*/ 3350359 w 9586368"/>
                <a:gd name="connsiteY4848" fmla="*/ 3111067 h 6479439"/>
                <a:gd name="connsiteX4849" fmla="*/ 3360268 w 9586368"/>
                <a:gd name="connsiteY4849" fmla="*/ 3111067 h 6479439"/>
                <a:gd name="connsiteX4850" fmla="*/ 3364287 w 9586368"/>
                <a:gd name="connsiteY4850" fmla="*/ 3115105 h 6479439"/>
                <a:gd name="connsiteX4851" fmla="*/ 3364287 w 9586368"/>
                <a:gd name="connsiteY4851" fmla="*/ 3124976 h 6479439"/>
                <a:gd name="connsiteX4852" fmla="*/ 3360268 w 9586368"/>
                <a:gd name="connsiteY4852" fmla="*/ 3129015 h 6479439"/>
                <a:gd name="connsiteX4853" fmla="*/ 3350359 w 9586368"/>
                <a:gd name="connsiteY4853" fmla="*/ 3129015 h 6479439"/>
                <a:gd name="connsiteX4854" fmla="*/ 3346340 w 9586368"/>
                <a:gd name="connsiteY4854" fmla="*/ 3124976 h 6479439"/>
                <a:gd name="connsiteX4855" fmla="*/ 3346340 w 9586368"/>
                <a:gd name="connsiteY4855" fmla="*/ 3115105 h 6479439"/>
                <a:gd name="connsiteX4856" fmla="*/ 3111048 w 9586368"/>
                <a:gd name="connsiteY4856" fmla="*/ 3111067 h 6479439"/>
                <a:gd name="connsiteX4857" fmla="*/ 3120959 w 9586368"/>
                <a:gd name="connsiteY4857" fmla="*/ 3111067 h 6479439"/>
                <a:gd name="connsiteX4858" fmla="*/ 3124977 w 9586368"/>
                <a:gd name="connsiteY4858" fmla="*/ 3115105 h 6479439"/>
                <a:gd name="connsiteX4859" fmla="*/ 3124977 w 9586368"/>
                <a:gd name="connsiteY4859" fmla="*/ 3124976 h 6479439"/>
                <a:gd name="connsiteX4860" fmla="*/ 3120959 w 9586368"/>
                <a:gd name="connsiteY4860" fmla="*/ 3129015 h 6479439"/>
                <a:gd name="connsiteX4861" fmla="*/ 3111048 w 9586368"/>
                <a:gd name="connsiteY4861" fmla="*/ 3129015 h 6479439"/>
                <a:gd name="connsiteX4862" fmla="*/ 3107029 w 9586368"/>
                <a:gd name="connsiteY4862" fmla="*/ 3124976 h 6479439"/>
                <a:gd name="connsiteX4863" fmla="*/ 3107029 w 9586368"/>
                <a:gd name="connsiteY4863" fmla="*/ 3115105 h 6479439"/>
                <a:gd name="connsiteX4864" fmla="*/ 2871737 w 9586368"/>
                <a:gd name="connsiteY4864" fmla="*/ 3111067 h 6479439"/>
                <a:gd name="connsiteX4865" fmla="*/ 2881646 w 9586368"/>
                <a:gd name="connsiteY4865" fmla="*/ 3111067 h 6479439"/>
                <a:gd name="connsiteX4866" fmla="*/ 2885666 w 9586368"/>
                <a:gd name="connsiteY4866" fmla="*/ 3115105 h 6479439"/>
                <a:gd name="connsiteX4867" fmla="*/ 2885666 w 9586368"/>
                <a:gd name="connsiteY4867" fmla="*/ 3124976 h 6479439"/>
                <a:gd name="connsiteX4868" fmla="*/ 2881646 w 9586368"/>
                <a:gd name="connsiteY4868" fmla="*/ 3129015 h 6479439"/>
                <a:gd name="connsiteX4869" fmla="*/ 2871737 w 9586368"/>
                <a:gd name="connsiteY4869" fmla="*/ 3129015 h 6479439"/>
                <a:gd name="connsiteX4870" fmla="*/ 2867717 w 9586368"/>
                <a:gd name="connsiteY4870" fmla="*/ 3124976 h 6479439"/>
                <a:gd name="connsiteX4871" fmla="*/ 2867717 w 9586368"/>
                <a:gd name="connsiteY4871" fmla="*/ 3115105 h 6479439"/>
                <a:gd name="connsiteX4872" fmla="*/ 2632423 w 9586368"/>
                <a:gd name="connsiteY4872" fmla="*/ 3111067 h 6479439"/>
                <a:gd name="connsiteX4873" fmla="*/ 2642334 w 9586368"/>
                <a:gd name="connsiteY4873" fmla="*/ 3111067 h 6479439"/>
                <a:gd name="connsiteX4874" fmla="*/ 2646352 w 9586368"/>
                <a:gd name="connsiteY4874" fmla="*/ 3115105 h 6479439"/>
                <a:gd name="connsiteX4875" fmla="*/ 2646352 w 9586368"/>
                <a:gd name="connsiteY4875" fmla="*/ 3124976 h 6479439"/>
                <a:gd name="connsiteX4876" fmla="*/ 2642334 w 9586368"/>
                <a:gd name="connsiteY4876" fmla="*/ 3129015 h 6479439"/>
                <a:gd name="connsiteX4877" fmla="*/ 2632423 w 9586368"/>
                <a:gd name="connsiteY4877" fmla="*/ 3129015 h 6479439"/>
                <a:gd name="connsiteX4878" fmla="*/ 2628404 w 9586368"/>
                <a:gd name="connsiteY4878" fmla="*/ 3124976 h 6479439"/>
                <a:gd name="connsiteX4879" fmla="*/ 2628404 w 9586368"/>
                <a:gd name="connsiteY4879" fmla="*/ 3115105 h 6479439"/>
                <a:gd name="connsiteX4880" fmla="*/ 2393104 w 9586368"/>
                <a:gd name="connsiteY4880" fmla="*/ 3111067 h 6479439"/>
                <a:gd name="connsiteX4881" fmla="*/ 2403015 w 9586368"/>
                <a:gd name="connsiteY4881" fmla="*/ 3111067 h 6479439"/>
                <a:gd name="connsiteX4882" fmla="*/ 2407034 w 9586368"/>
                <a:gd name="connsiteY4882" fmla="*/ 3115105 h 6479439"/>
                <a:gd name="connsiteX4883" fmla="*/ 2407034 w 9586368"/>
                <a:gd name="connsiteY4883" fmla="*/ 3124976 h 6479439"/>
                <a:gd name="connsiteX4884" fmla="*/ 2403015 w 9586368"/>
                <a:gd name="connsiteY4884" fmla="*/ 3129015 h 6479439"/>
                <a:gd name="connsiteX4885" fmla="*/ 2393104 w 9586368"/>
                <a:gd name="connsiteY4885" fmla="*/ 3129015 h 6479439"/>
                <a:gd name="connsiteX4886" fmla="*/ 2389087 w 9586368"/>
                <a:gd name="connsiteY4886" fmla="*/ 3124976 h 6479439"/>
                <a:gd name="connsiteX4887" fmla="*/ 2389087 w 9586368"/>
                <a:gd name="connsiteY4887" fmla="*/ 3115105 h 6479439"/>
                <a:gd name="connsiteX4888" fmla="*/ 721968 w 9586368"/>
                <a:gd name="connsiteY4888" fmla="*/ 3111067 h 6479439"/>
                <a:gd name="connsiteX4889" fmla="*/ 731878 w 9586368"/>
                <a:gd name="connsiteY4889" fmla="*/ 3111067 h 6479439"/>
                <a:gd name="connsiteX4890" fmla="*/ 735897 w 9586368"/>
                <a:gd name="connsiteY4890" fmla="*/ 3115105 h 6479439"/>
                <a:gd name="connsiteX4891" fmla="*/ 735897 w 9586368"/>
                <a:gd name="connsiteY4891" fmla="*/ 3124976 h 6479439"/>
                <a:gd name="connsiteX4892" fmla="*/ 731878 w 9586368"/>
                <a:gd name="connsiteY4892" fmla="*/ 3129015 h 6479439"/>
                <a:gd name="connsiteX4893" fmla="*/ 721968 w 9586368"/>
                <a:gd name="connsiteY4893" fmla="*/ 3129015 h 6479439"/>
                <a:gd name="connsiteX4894" fmla="*/ 717949 w 9586368"/>
                <a:gd name="connsiteY4894" fmla="*/ 3124976 h 6479439"/>
                <a:gd name="connsiteX4895" fmla="*/ 717949 w 9586368"/>
                <a:gd name="connsiteY4895" fmla="*/ 3115105 h 6479439"/>
                <a:gd name="connsiteX4896" fmla="*/ 482656 w 9586368"/>
                <a:gd name="connsiteY4896" fmla="*/ 3111067 h 6479439"/>
                <a:gd name="connsiteX4897" fmla="*/ 492566 w 9586368"/>
                <a:gd name="connsiteY4897" fmla="*/ 3111067 h 6479439"/>
                <a:gd name="connsiteX4898" fmla="*/ 496585 w 9586368"/>
                <a:gd name="connsiteY4898" fmla="*/ 3115105 h 6479439"/>
                <a:gd name="connsiteX4899" fmla="*/ 496585 w 9586368"/>
                <a:gd name="connsiteY4899" fmla="*/ 3124976 h 6479439"/>
                <a:gd name="connsiteX4900" fmla="*/ 492566 w 9586368"/>
                <a:gd name="connsiteY4900" fmla="*/ 3129015 h 6479439"/>
                <a:gd name="connsiteX4901" fmla="*/ 482656 w 9586368"/>
                <a:gd name="connsiteY4901" fmla="*/ 3129015 h 6479439"/>
                <a:gd name="connsiteX4902" fmla="*/ 478637 w 9586368"/>
                <a:gd name="connsiteY4902" fmla="*/ 3124976 h 6479439"/>
                <a:gd name="connsiteX4903" fmla="*/ 478637 w 9586368"/>
                <a:gd name="connsiteY4903" fmla="*/ 3115105 h 6479439"/>
                <a:gd name="connsiteX4904" fmla="*/ 243342 w 9586368"/>
                <a:gd name="connsiteY4904" fmla="*/ 3111067 h 6479439"/>
                <a:gd name="connsiteX4905" fmla="*/ 253252 w 9586368"/>
                <a:gd name="connsiteY4905" fmla="*/ 3111067 h 6479439"/>
                <a:gd name="connsiteX4906" fmla="*/ 257271 w 9586368"/>
                <a:gd name="connsiteY4906" fmla="*/ 3115105 h 6479439"/>
                <a:gd name="connsiteX4907" fmla="*/ 257271 w 9586368"/>
                <a:gd name="connsiteY4907" fmla="*/ 3124976 h 6479439"/>
                <a:gd name="connsiteX4908" fmla="*/ 253252 w 9586368"/>
                <a:gd name="connsiteY4908" fmla="*/ 3129015 h 6479439"/>
                <a:gd name="connsiteX4909" fmla="*/ 243342 w 9586368"/>
                <a:gd name="connsiteY4909" fmla="*/ 3129015 h 6479439"/>
                <a:gd name="connsiteX4910" fmla="*/ 239323 w 9586368"/>
                <a:gd name="connsiteY4910" fmla="*/ 3124976 h 6479439"/>
                <a:gd name="connsiteX4911" fmla="*/ 239323 w 9586368"/>
                <a:gd name="connsiteY4911" fmla="*/ 3115105 h 6479439"/>
                <a:gd name="connsiteX4912" fmla="*/ 4029 w 9586368"/>
                <a:gd name="connsiteY4912" fmla="*/ 3111067 h 6479439"/>
                <a:gd name="connsiteX4913" fmla="*/ 13939 w 9586368"/>
                <a:gd name="connsiteY4913" fmla="*/ 3111067 h 6479439"/>
                <a:gd name="connsiteX4914" fmla="*/ 17959 w 9586368"/>
                <a:gd name="connsiteY4914" fmla="*/ 3115105 h 6479439"/>
                <a:gd name="connsiteX4915" fmla="*/ 17959 w 9586368"/>
                <a:gd name="connsiteY4915" fmla="*/ 3124976 h 6479439"/>
                <a:gd name="connsiteX4916" fmla="*/ 13939 w 9586368"/>
                <a:gd name="connsiteY4916" fmla="*/ 3129015 h 6479439"/>
                <a:gd name="connsiteX4917" fmla="*/ 4029 w 9586368"/>
                <a:gd name="connsiteY4917" fmla="*/ 3129015 h 6479439"/>
                <a:gd name="connsiteX4918" fmla="*/ 10 w 9586368"/>
                <a:gd name="connsiteY4918" fmla="*/ 3124976 h 6479439"/>
                <a:gd name="connsiteX4919" fmla="*/ 10 w 9586368"/>
                <a:gd name="connsiteY4919" fmla="*/ 3115105 h 6479439"/>
                <a:gd name="connsiteX4920" fmla="*/ 2157820 w 9586368"/>
                <a:gd name="connsiteY4920" fmla="*/ 2871788 h 6479439"/>
                <a:gd name="connsiteX4921" fmla="*/ 2167732 w 9586368"/>
                <a:gd name="connsiteY4921" fmla="*/ 2871788 h 6479439"/>
                <a:gd name="connsiteX4922" fmla="*/ 2171750 w 9586368"/>
                <a:gd name="connsiteY4922" fmla="*/ 2875826 h 6479439"/>
                <a:gd name="connsiteX4923" fmla="*/ 2171750 w 9586368"/>
                <a:gd name="connsiteY4923" fmla="*/ 2885696 h 6479439"/>
                <a:gd name="connsiteX4924" fmla="*/ 2167732 w 9586368"/>
                <a:gd name="connsiteY4924" fmla="*/ 2889735 h 6479439"/>
                <a:gd name="connsiteX4925" fmla="*/ 2157820 w 9586368"/>
                <a:gd name="connsiteY4925" fmla="*/ 2889735 h 6479439"/>
                <a:gd name="connsiteX4926" fmla="*/ 2153802 w 9586368"/>
                <a:gd name="connsiteY4926" fmla="*/ 2885696 h 6479439"/>
                <a:gd name="connsiteX4927" fmla="*/ 2153802 w 9586368"/>
                <a:gd name="connsiteY4927" fmla="*/ 2875826 h 6479439"/>
                <a:gd name="connsiteX4928" fmla="*/ 1918513 w 9586368"/>
                <a:gd name="connsiteY4928" fmla="*/ 2871788 h 6479439"/>
                <a:gd name="connsiteX4929" fmla="*/ 1928422 w 9586368"/>
                <a:gd name="connsiteY4929" fmla="*/ 2871788 h 6479439"/>
                <a:gd name="connsiteX4930" fmla="*/ 1932441 w 9586368"/>
                <a:gd name="connsiteY4930" fmla="*/ 2875826 h 6479439"/>
                <a:gd name="connsiteX4931" fmla="*/ 1932441 w 9586368"/>
                <a:gd name="connsiteY4931" fmla="*/ 2885696 h 6479439"/>
                <a:gd name="connsiteX4932" fmla="*/ 1928422 w 9586368"/>
                <a:gd name="connsiteY4932" fmla="*/ 2889735 h 6479439"/>
                <a:gd name="connsiteX4933" fmla="*/ 1918513 w 9586368"/>
                <a:gd name="connsiteY4933" fmla="*/ 2889735 h 6479439"/>
                <a:gd name="connsiteX4934" fmla="*/ 1914493 w 9586368"/>
                <a:gd name="connsiteY4934" fmla="*/ 2885696 h 6479439"/>
                <a:gd name="connsiteX4935" fmla="*/ 1914493 w 9586368"/>
                <a:gd name="connsiteY4935" fmla="*/ 2875826 h 6479439"/>
                <a:gd name="connsiteX4936" fmla="*/ 1679211 w 9586368"/>
                <a:gd name="connsiteY4936" fmla="*/ 2871788 h 6479439"/>
                <a:gd name="connsiteX4937" fmla="*/ 1689121 w 9586368"/>
                <a:gd name="connsiteY4937" fmla="*/ 2871788 h 6479439"/>
                <a:gd name="connsiteX4938" fmla="*/ 1693141 w 9586368"/>
                <a:gd name="connsiteY4938" fmla="*/ 2875826 h 6479439"/>
                <a:gd name="connsiteX4939" fmla="*/ 1693141 w 9586368"/>
                <a:gd name="connsiteY4939" fmla="*/ 2885696 h 6479439"/>
                <a:gd name="connsiteX4940" fmla="*/ 1689121 w 9586368"/>
                <a:gd name="connsiteY4940" fmla="*/ 2889735 h 6479439"/>
                <a:gd name="connsiteX4941" fmla="*/ 1679211 w 9586368"/>
                <a:gd name="connsiteY4941" fmla="*/ 2889735 h 6479439"/>
                <a:gd name="connsiteX4942" fmla="*/ 1675193 w 9586368"/>
                <a:gd name="connsiteY4942" fmla="*/ 2885696 h 6479439"/>
                <a:gd name="connsiteX4943" fmla="*/ 1675193 w 9586368"/>
                <a:gd name="connsiteY4943" fmla="*/ 2875826 h 6479439"/>
                <a:gd name="connsiteX4944" fmla="*/ 1439895 w 9586368"/>
                <a:gd name="connsiteY4944" fmla="*/ 2871788 h 6479439"/>
                <a:gd name="connsiteX4945" fmla="*/ 1449805 w 9586368"/>
                <a:gd name="connsiteY4945" fmla="*/ 2871788 h 6479439"/>
                <a:gd name="connsiteX4946" fmla="*/ 1453824 w 9586368"/>
                <a:gd name="connsiteY4946" fmla="*/ 2875826 h 6479439"/>
                <a:gd name="connsiteX4947" fmla="*/ 1453824 w 9586368"/>
                <a:gd name="connsiteY4947" fmla="*/ 2885696 h 6479439"/>
                <a:gd name="connsiteX4948" fmla="*/ 1449805 w 9586368"/>
                <a:gd name="connsiteY4948" fmla="*/ 2889735 h 6479439"/>
                <a:gd name="connsiteX4949" fmla="*/ 1439895 w 9586368"/>
                <a:gd name="connsiteY4949" fmla="*/ 2889735 h 6479439"/>
                <a:gd name="connsiteX4950" fmla="*/ 1435876 w 9586368"/>
                <a:gd name="connsiteY4950" fmla="*/ 2885696 h 6479439"/>
                <a:gd name="connsiteX4951" fmla="*/ 1435876 w 9586368"/>
                <a:gd name="connsiteY4951" fmla="*/ 2875826 h 6479439"/>
                <a:gd name="connsiteX4952" fmla="*/ 1200579 w 9586368"/>
                <a:gd name="connsiteY4952" fmla="*/ 2871788 h 6479439"/>
                <a:gd name="connsiteX4953" fmla="*/ 1210489 w 9586368"/>
                <a:gd name="connsiteY4953" fmla="*/ 2871788 h 6479439"/>
                <a:gd name="connsiteX4954" fmla="*/ 1214509 w 9586368"/>
                <a:gd name="connsiteY4954" fmla="*/ 2875826 h 6479439"/>
                <a:gd name="connsiteX4955" fmla="*/ 1214509 w 9586368"/>
                <a:gd name="connsiteY4955" fmla="*/ 2885696 h 6479439"/>
                <a:gd name="connsiteX4956" fmla="*/ 1210489 w 9586368"/>
                <a:gd name="connsiteY4956" fmla="*/ 2889735 h 6479439"/>
                <a:gd name="connsiteX4957" fmla="*/ 1200579 w 9586368"/>
                <a:gd name="connsiteY4957" fmla="*/ 2889735 h 6479439"/>
                <a:gd name="connsiteX4958" fmla="*/ 1196560 w 9586368"/>
                <a:gd name="connsiteY4958" fmla="*/ 2885696 h 6479439"/>
                <a:gd name="connsiteX4959" fmla="*/ 1196560 w 9586368"/>
                <a:gd name="connsiteY4959" fmla="*/ 2875826 h 6479439"/>
                <a:gd name="connsiteX4960" fmla="*/ 961267 w 9586368"/>
                <a:gd name="connsiteY4960" fmla="*/ 2871788 h 6479439"/>
                <a:gd name="connsiteX4961" fmla="*/ 971177 w 9586368"/>
                <a:gd name="connsiteY4961" fmla="*/ 2871788 h 6479439"/>
                <a:gd name="connsiteX4962" fmla="*/ 975195 w 9586368"/>
                <a:gd name="connsiteY4962" fmla="*/ 2875826 h 6479439"/>
                <a:gd name="connsiteX4963" fmla="*/ 975195 w 9586368"/>
                <a:gd name="connsiteY4963" fmla="*/ 2885696 h 6479439"/>
                <a:gd name="connsiteX4964" fmla="*/ 971177 w 9586368"/>
                <a:gd name="connsiteY4964" fmla="*/ 2889735 h 6479439"/>
                <a:gd name="connsiteX4965" fmla="*/ 961267 w 9586368"/>
                <a:gd name="connsiteY4965" fmla="*/ 2889735 h 6479439"/>
                <a:gd name="connsiteX4966" fmla="*/ 957247 w 9586368"/>
                <a:gd name="connsiteY4966" fmla="*/ 2885696 h 6479439"/>
                <a:gd name="connsiteX4967" fmla="*/ 957247 w 9586368"/>
                <a:gd name="connsiteY4967" fmla="*/ 2875826 h 6479439"/>
                <a:gd name="connsiteX4968" fmla="*/ 9572438 w 9586368"/>
                <a:gd name="connsiteY4968" fmla="*/ 2871736 h 6479439"/>
                <a:gd name="connsiteX4969" fmla="*/ 9582349 w 9586368"/>
                <a:gd name="connsiteY4969" fmla="*/ 2871736 h 6479439"/>
                <a:gd name="connsiteX4970" fmla="*/ 9586368 w 9586368"/>
                <a:gd name="connsiteY4970" fmla="*/ 2875775 h 6479439"/>
                <a:gd name="connsiteX4971" fmla="*/ 9586368 w 9586368"/>
                <a:gd name="connsiteY4971" fmla="*/ 2885645 h 6479439"/>
                <a:gd name="connsiteX4972" fmla="*/ 9582349 w 9586368"/>
                <a:gd name="connsiteY4972" fmla="*/ 2889684 h 6479439"/>
                <a:gd name="connsiteX4973" fmla="*/ 9572438 w 9586368"/>
                <a:gd name="connsiteY4973" fmla="*/ 2889684 h 6479439"/>
                <a:gd name="connsiteX4974" fmla="*/ 9568419 w 9586368"/>
                <a:gd name="connsiteY4974" fmla="*/ 2885645 h 6479439"/>
                <a:gd name="connsiteX4975" fmla="*/ 9568419 w 9586368"/>
                <a:gd name="connsiteY4975" fmla="*/ 2875775 h 6479439"/>
                <a:gd name="connsiteX4976" fmla="*/ 9333125 w 9586368"/>
                <a:gd name="connsiteY4976" fmla="*/ 2871736 h 6479439"/>
                <a:gd name="connsiteX4977" fmla="*/ 9343036 w 9586368"/>
                <a:gd name="connsiteY4977" fmla="*/ 2871736 h 6479439"/>
                <a:gd name="connsiteX4978" fmla="*/ 9347055 w 9586368"/>
                <a:gd name="connsiteY4978" fmla="*/ 2875775 h 6479439"/>
                <a:gd name="connsiteX4979" fmla="*/ 9347055 w 9586368"/>
                <a:gd name="connsiteY4979" fmla="*/ 2885645 h 6479439"/>
                <a:gd name="connsiteX4980" fmla="*/ 9343036 w 9586368"/>
                <a:gd name="connsiteY4980" fmla="*/ 2889684 h 6479439"/>
                <a:gd name="connsiteX4981" fmla="*/ 9333125 w 9586368"/>
                <a:gd name="connsiteY4981" fmla="*/ 2889684 h 6479439"/>
                <a:gd name="connsiteX4982" fmla="*/ 9329106 w 9586368"/>
                <a:gd name="connsiteY4982" fmla="*/ 2885645 h 6479439"/>
                <a:gd name="connsiteX4983" fmla="*/ 9329106 w 9586368"/>
                <a:gd name="connsiteY4983" fmla="*/ 2875775 h 6479439"/>
                <a:gd name="connsiteX4984" fmla="*/ 9093811 w 9586368"/>
                <a:gd name="connsiteY4984" fmla="*/ 2871736 h 6479439"/>
                <a:gd name="connsiteX4985" fmla="*/ 9103722 w 9586368"/>
                <a:gd name="connsiteY4985" fmla="*/ 2871736 h 6479439"/>
                <a:gd name="connsiteX4986" fmla="*/ 9107741 w 9586368"/>
                <a:gd name="connsiteY4986" fmla="*/ 2875775 h 6479439"/>
                <a:gd name="connsiteX4987" fmla="*/ 9107741 w 9586368"/>
                <a:gd name="connsiteY4987" fmla="*/ 2885645 h 6479439"/>
                <a:gd name="connsiteX4988" fmla="*/ 9103722 w 9586368"/>
                <a:gd name="connsiteY4988" fmla="*/ 2889684 h 6479439"/>
                <a:gd name="connsiteX4989" fmla="*/ 9093811 w 9586368"/>
                <a:gd name="connsiteY4989" fmla="*/ 2889684 h 6479439"/>
                <a:gd name="connsiteX4990" fmla="*/ 9089792 w 9586368"/>
                <a:gd name="connsiteY4990" fmla="*/ 2885645 h 6479439"/>
                <a:gd name="connsiteX4991" fmla="*/ 9089792 w 9586368"/>
                <a:gd name="connsiteY4991" fmla="*/ 2875775 h 6479439"/>
                <a:gd name="connsiteX4992" fmla="*/ 8854496 w 9586368"/>
                <a:gd name="connsiteY4992" fmla="*/ 2871736 h 6479439"/>
                <a:gd name="connsiteX4993" fmla="*/ 8864407 w 9586368"/>
                <a:gd name="connsiteY4993" fmla="*/ 2871736 h 6479439"/>
                <a:gd name="connsiteX4994" fmla="*/ 8868426 w 9586368"/>
                <a:gd name="connsiteY4994" fmla="*/ 2875775 h 6479439"/>
                <a:gd name="connsiteX4995" fmla="*/ 8868426 w 9586368"/>
                <a:gd name="connsiteY4995" fmla="*/ 2885645 h 6479439"/>
                <a:gd name="connsiteX4996" fmla="*/ 8864407 w 9586368"/>
                <a:gd name="connsiteY4996" fmla="*/ 2889684 h 6479439"/>
                <a:gd name="connsiteX4997" fmla="*/ 8854496 w 9586368"/>
                <a:gd name="connsiteY4997" fmla="*/ 2889684 h 6479439"/>
                <a:gd name="connsiteX4998" fmla="*/ 8850477 w 9586368"/>
                <a:gd name="connsiteY4998" fmla="*/ 2885645 h 6479439"/>
                <a:gd name="connsiteX4999" fmla="*/ 8850477 w 9586368"/>
                <a:gd name="connsiteY4999" fmla="*/ 2875775 h 6479439"/>
                <a:gd name="connsiteX5000" fmla="*/ 8615184 w 9586368"/>
                <a:gd name="connsiteY5000" fmla="*/ 2871736 h 6479439"/>
                <a:gd name="connsiteX5001" fmla="*/ 8625095 w 9586368"/>
                <a:gd name="connsiteY5001" fmla="*/ 2871736 h 6479439"/>
                <a:gd name="connsiteX5002" fmla="*/ 8629114 w 9586368"/>
                <a:gd name="connsiteY5002" fmla="*/ 2875775 h 6479439"/>
                <a:gd name="connsiteX5003" fmla="*/ 8629114 w 9586368"/>
                <a:gd name="connsiteY5003" fmla="*/ 2885645 h 6479439"/>
                <a:gd name="connsiteX5004" fmla="*/ 8625095 w 9586368"/>
                <a:gd name="connsiteY5004" fmla="*/ 2889684 h 6479439"/>
                <a:gd name="connsiteX5005" fmla="*/ 8615184 w 9586368"/>
                <a:gd name="connsiteY5005" fmla="*/ 2889684 h 6479439"/>
                <a:gd name="connsiteX5006" fmla="*/ 8611165 w 9586368"/>
                <a:gd name="connsiteY5006" fmla="*/ 2885645 h 6479439"/>
                <a:gd name="connsiteX5007" fmla="*/ 8611165 w 9586368"/>
                <a:gd name="connsiteY5007" fmla="*/ 2875775 h 6479439"/>
                <a:gd name="connsiteX5008" fmla="*/ 8375869 w 9586368"/>
                <a:gd name="connsiteY5008" fmla="*/ 2871736 h 6479439"/>
                <a:gd name="connsiteX5009" fmla="*/ 8385779 w 9586368"/>
                <a:gd name="connsiteY5009" fmla="*/ 2871736 h 6479439"/>
                <a:gd name="connsiteX5010" fmla="*/ 8389799 w 9586368"/>
                <a:gd name="connsiteY5010" fmla="*/ 2875775 h 6479439"/>
                <a:gd name="connsiteX5011" fmla="*/ 8389799 w 9586368"/>
                <a:gd name="connsiteY5011" fmla="*/ 2885645 h 6479439"/>
                <a:gd name="connsiteX5012" fmla="*/ 8385779 w 9586368"/>
                <a:gd name="connsiteY5012" fmla="*/ 2889684 h 6479439"/>
                <a:gd name="connsiteX5013" fmla="*/ 8375869 w 9586368"/>
                <a:gd name="connsiteY5013" fmla="*/ 2889684 h 6479439"/>
                <a:gd name="connsiteX5014" fmla="*/ 8371850 w 9586368"/>
                <a:gd name="connsiteY5014" fmla="*/ 2885645 h 6479439"/>
                <a:gd name="connsiteX5015" fmla="*/ 8371850 w 9586368"/>
                <a:gd name="connsiteY5015" fmla="*/ 2875775 h 6479439"/>
                <a:gd name="connsiteX5016" fmla="*/ 8136553 w 9586368"/>
                <a:gd name="connsiteY5016" fmla="*/ 2871736 h 6479439"/>
                <a:gd name="connsiteX5017" fmla="*/ 8146464 w 9586368"/>
                <a:gd name="connsiteY5017" fmla="*/ 2871736 h 6479439"/>
                <a:gd name="connsiteX5018" fmla="*/ 8150483 w 9586368"/>
                <a:gd name="connsiteY5018" fmla="*/ 2875775 h 6479439"/>
                <a:gd name="connsiteX5019" fmla="*/ 8150483 w 9586368"/>
                <a:gd name="connsiteY5019" fmla="*/ 2885645 h 6479439"/>
                <a:gd name="connsiteX5020" fmla="*/ 8146464 w 9586368"/>
                <a:gd name="connsiteY5020" fmla="*/ 2889684 h 6479439"/>
                <a:gd name="connsiteX5021" fmla="*/ 8136553 w 9586368"/>
                <a:gd name="connsiteY5021" fmla="*/ 2889684 h 6479439"/>
                <a:gd name="connsiteX5022" fmla="*/ 8132534 w 9586368"/>
                <a:gd name="connsiteY5022" fmla="*/ 2885645 h 6479439"/>
                <a:gd name="connsiteX5023" fmla="*/ 8132534 w 9586368"/>
                <a:gd name="connsiteY5023" fmla="*/ 2875775 h 6479439"/>
                <a:gd name="connsiteX5024" fmla="*/ 7897241 w 9586368"/>
                <a:gd name="connsiteY5024" fmla="*/ 2871736 h 6479439"/>
                <a:gd name="connsiteX5025" fmla="*/ 7907151 w 9586368"/>
                <a:gd name="connsiteY5025" fmla="*/ 2871736 h 6479439"/>
                <a:gd name="connsiteX5026" fmla="*/ 7911170 w 9586368"/>
                <a:gd name="connsiteY5026" fmla="*/ 2875775 h 6479439"/>
                <a:gd name="connsiteX5027" fmla="*/ 7911170 w 9586368"/>
                <a:gd name="connsiteY5027" fmla="*/ 2885645 h 6479439"/>
                <a:gd name="connsiteX5028" fmla="*/ 7907151 w 9586368"/>
                <a:gd name="connsiteY5028" fmla="*/ 2889684 h 6479439"/>
                <a:gd name="connsiteX5029" fmla="*/ 7897241 w 9586368"/>
                <a:gd name="connsiteY5029" fmla="*/ 2889684 h 6479439"/>
                <a:gd name="connsiteX5030" fmla="*/ 7893222 w 9586368"/>
                <a:gd name="connsiteY5030" fmla="*/ 2885645 h 6479439"/>
                <a:gd name="connsiteX5031" fmla="*/ 7893222 w 9586368"/>
                <a:gd name="connsiteY5031" fmla="*/ 2875775 h 6479439"/>
                <a:gd name="connsiteX5032" fmla="*/ 7657926 w 9586368"/>
                <a:gd name="connsiteY5032" fmla="*/ 2871736 h 6479439"/>
                <a:gd name="connsiteX5033" fmla="*/ 7667836 w 9586368"/>
                <a:gd name="connsiteY5033" fmla="*/ 2871736 h 6479439"/>
                <a:gd name="connsiteX5034" fmla="*/ 7671855 w 9586368"/>
                <a:gd name="connsiteY5034" fmla="*/ 2875775 h 6479439"/>
                <a:gd name="connsiteX5035" fmla="*/ 7671855 w 9586368"/>
                <a:gd name="connsiteY5035" fmla="*/ 2885645 h 6479439"/>
                <a:gd name="connsiteX5036" fmla="*/ 7667836 w 9586368"/>
                <a:gd name="connsiteY5036" fmla="*/ 2889684 h 6479439"/>
                <a:gd name="connsiteX5037" fmla="*/ 7657926 w 9586368"/>
                <a:gd name="connsiteY5037" fmla="*/ 2889684 h 6479439"/>
                <a:gd name="connsiteX5038" fmla="*/ 7653906 w 9586368"/>
                <a:gd name="connsiteY5038" fmla="*/ 2885645 h 6479439"/>
                <a:gd name="connsiteX5039" fmla="*/ 7653906 w 9586368"/>
                <a:gd name="connsiteY5039" fmla="*/ 2875775 h 6479439"/>
                <a:gd name="connsiteX5040" fmla="*/ 7418611 w 9586368"/>
                <a:gd name="connsiteY5040" fmla="*/ 2871736 h 6479439"/>
                <a:gd name="connsiteX5041" fmla="*/ 7428521 w 9586368"/>
                <a:gd name="connsiteY5041" fmla="*/ 2871736 h 6479439"/>
                <a:gd name="connsiteX5042" fmla="*/ 7432540 w 9586368"/>
                <a:gd name="connsiteY5042" fmla="*/ 2875775 h 6479439"/>
                <a:gd name="connsiteX5043" fmla="*/ 7432540 w 9586368"/>
                <a:gd name="connsiteY5043" fmla="*/ 2885645 h 6479439"/>
                <a:gd name="connsiteX5044" fmla="*/ 7428521 w 9586368"/>
                <a:gd name="connsiteY5044" fmla="*/ 2889684 h 6479439"/>
                <a:gd name="connsiteX5045" fmla="*/ 7418611 w 9586368"/>
                <a:gd name="connsiteY5045" fmla="*/ 2889684 h 6479439"/>
                <a:gd name="connsiteX5046" fmla="*/ 7414592 w 9586368"/>
                <a:gd name="connsiteY5046" fmla="*/ 2885645 h 6479439"/>
                <a:gd name="connsiteX5047" fmla="*/ 7414592 w 9586368"/>
                <a:gd name="connsiteY5047" fmla="*/ 2875775 h 6479439"/>
                <a:gd name="connsiteX5048" fmla="*/ 7179298 w 9586368"/>
                <a:gd name="connsiteY5048" fmla="*/ 2871736 h 6479439"/>
                <a:gd name="connsiteX5049" fmla="*/ 7189209 w 9586368"/>
                <a:gd name="connsiteY5049" fmla="*/ 2871736 h 6479439"/>
                <a:gd name="connsiteX5050" fmla="*/ 7193228 w 9586368"/>
                <a:gd name="connsiteY5050" fmla="*/ 2875775 h 6479439"/>
                <a:gd name="connsiteX5051" fmla="*/ 7193228 w 9586368"/>
                <a:gd name="connsiteY5051" fmla="*/ 2885645 h 6479439"/>
                <a:gd name="connsiteX5052" fmla="*/ 7189209 w 9586368"/>
                <a:gd name="connsiteY5052" fmla="*/ 2889684 h 6479439"/>
                <a:gd name="connsiteX5053" fmla="*/ 7179298 w 9586368"/>
                <a:gd name="connsiteY5053" fmla="*/ 2889684 h 6479439"/>
                <a:gd name="connsiteX5054" fmla="*/ 7175279 w 9586368"/>
                <a:gd name="connsiteY5054" fmla="*/ 2885645 h 6479439"/>
                <a:gd name="connsiteX5055" fmla="*/ 7175279 w 9586368"/>
                <a:gd name="connsiteY5055" fmla="*/ 2875775 h 6479439"/>
                <a:gd name="connsiteX5056" fmla="*/ 6939983 w 9586368"/>
                <a:gd name="connsiteY5056" fmla="*/ 2871736 h 6479439"/>
                <a:gd name="connsiteX5057" fmla="*/ 6949894 w 9586368"/>
                <a:gd name="connsiteY5057" fmla="*/ 2871736 h 6479439"/>
                <a:gd name="connsiteX5058" fmla="*/ 6953913 w 9586368"/>
                <a:gd name="connsiteY5058" fmla="*/ 2875775 h 6479439"/>
                <a:gd name="connsiteX5059" fmla="*/ 6953913 w 9586368"/>
                <a:gd name="connsiteY5059" fmla="*/ 2885645 h 6479439"/>
                <a:gd name="connsiteX5060" fmla="*/ 6949894 w 9586368"/>
                <a:gd name="connsiteY5060" fmla="*/ 2889684 h 6479439"/>
                <a:gd name="connsiteX5061" fmla="*/ 6939983 w 9586368"/>
                <a:gd name="connsiteY5061" fmla="*/ 2889684 h 6479439"/>
                <a:gd name="connsiteX5062" fmla="*/ 6935964 w 9586368"/>
                <a:gd name="connsiteY5062" fmla="*/ 2885645 h 6479439"/>
                <a:gd name="connsiteX5063" fmla="*/ 6935964 w 9586368"/>
                <a:gd name="connsiteY5063" fmla="*/ 2875775 h 6479439"/>
                <a:gd name="connsiteX5064" fmla="*/ 6700670 w 9586368"/>
                <a:gd name="connsiteY5064" fmla="*/ 2871736 h 6479439"/>
                <a:gd name="connsiteX5065" fmla="*/ 6710581 w 9586368"/>
                <a:gd name="connsiteY5065" fmla="*/ 2871736 h 6479439"/>
                <a:gd name="connsiteX5066" fmla="*/ 6714600 w 9586368"/>
                <a:gd name="connsiteY5066" fmla="*/ 2875775 h 6479439"/>
                <a:gd name="connsiteX5067" fmla="*/ 6714600 w 9586368"/>
                <a:gd name="connsiteY5067" fmla="*/ 2885645 h 6479439"/>
                <a:gd name="connsiteX5068" fmla="*/ 6710581 w 9586368"/>
                <a:gd name="connsiteY5068" fmla="*/ 2889684 h 6479439"/>
                <a:gd name="connsiteX5069" fmla="*/ 6700670 w 9586368"/>
                <a:gd name="connsiteY5069" fmla="*/ 2889684 h 6479439"/>
                <a:gd name="connsiteX5070" fmla="*/ 6696651 w 9586368"/>
                <a:gd name="connsiteY5070" fmla="*/ 2885645 h 6479439"/>
                <a:gd name="connsiteX5071" fmla="*/ 6696651 w 9586368"/>
                <a:gd name="connsiteY5071" fmla="*/ 2875775 h 6479439"/>
                <a:gd name="connsiteX5072" fmla="*/ 6461356 w 9586368"/>
                <a:gd name="connsiteY5072" fmla="*/ 2871736 h 6479439"/>
                <a:gd name="connsiteX5073" fmla="*/ 6471266 w 9586368"/>
                <a:gd name="connsiteY5073" fmla="*/ 2871736 h 6479439"/>
                <a:gd name="connsiteX5074" fmla="*/ 6475285 w 9586368"/>
                <a:gd name="connsiteY5074" fmla="*/ 2875775 h 6479439"/>
                <a:gd name="connsiteX5075" fmla="*/ 6475285 w 9586368"/>
                <a:gd name="connsiteY5075" fmla="*/ 2885645 h 6479439"/>
                <a:gd name="connsiteX5076" fmla="*/ 6471266 w 9586368"/>
                <a:gd name="connsiteY5076" fmla="*/ 2889684 h 6479439"/>
                <a:gd name="connsiteX5077" fmla="*/ 6461356 w 9586368"/>
                <a:gd name="connsiteY5077" fmla="*/ 2889684 h 6479439"/>
                <a:gd name="connsiteX5078" fmla="*/ 6457337 w 9586368"/>
                <a:gd name="connsiteY5078" fmla="*/ 2885645 h 6479439"/>
                <a:gd name="connsiteX5079" fmla="*/ 6457337 w 9586368"/>
                <a:gd name="connsiteY5079" fmla="*/ 2875775 h 6479439"/>
                <a:gd name="connsiteX5080" fmla="*/ 6222042 w 9586368"/>
                <a:gd name="connsiteY5080" fmla="*/ 2871736 h 6479439"/>
                <a:gd name="connsiteX5081" fmla="*/ 6231952 w 9586368"/>
                <a:gd name="connsiteY5081" fmla="*/ 2871736 h 6479439"/>
                <a:gd name="connsiteX5082" fmla="*/ 6235971 w 9586368"/>
                <a:gd name="connsiteY5082" fmla="*/ 2875775 h 6479439"/>
                <a:gd name="connsiteX5083" fmla="*/ 6235971 w 9586368"/>
                <a:gd name="connsiteY5083" fmla="*/ 2885645 h 6479439"/>
                <a:gd name="connsiteX5084" fmla="*/ 6231952 w 9586368"/>
                <a:gd name="connsiteY5084" fmla="*/ 2889684 h 6479439"/>
                <a:gd name="connsiteX5085" fmla="*/ 6222042 w 9586368"/>
                <a:gd name="connsiteY5085" fmla="*/ 2889684 h 6479439"/>
                <a:gd name="connsiteX5086" fmla="*/ 6218023 w 9586368"/>
                <a:gd name="connsiteY5086" fmla="*/ 2885645 h 6479439"/>
                <a:gd name="connsiteX5087" fmla="*/ 6218023 w 9586368"/>
                <a:gd name="connsiteY5087" fmla="*/ 2875775 h 6479439"/>
                <a:gd name="connsiteX5088" fmla="*/ 5982729 w 9586368"/>
                <a:gd name="connsiteY5088" fmla="*/ 2871736 h 6479439"/>
                <a:gd name="connsiteX5089" fmla="*/ 5992639 w 9586368"/>
                <a:gd name="connsiteY5089" fmla="*/ 2871736 h 6479439"/>
                <a:gd name="connsiteX5090" fmla="*/ 5996658 w 9586368"/>
                <a:gd name="connsiteY5090" fmla="*/ 2875775 h 6479439"/>
                <a:gd name="connsiteX5091" fmla="*/ 5996658 w 9586368"/>
                <a:gd name="connsiteY5091" fmla="*/ 2885645 h 6479439"/>
                <a:gd name="connsiteX5092" fmla="*/ 5992639 w 9586368"/>
                <a:gd name="connsiteY5092" fmla="*/ 2889684 h 6479439"/>
                <a:gd name="connsiteX5093" fmla="*/ 5982729 w 9586368"/>
                <a:gd name="connsiteY5093" fmla="*/ 2889684 h 6479439"/>
                <a:gd name="connsiteX5094" fmla="*/ 5978710 w 9586368"/>
                <a:gd name="connsiteY5094" fmla="*/ 2885645 h 6479439"/>
                <a:gd name="connsiteX5095" fmla="*/ 5978710 w 9586368"/>
                <a:gd name="connsiteY5095" fmla="*/ 2875775 h 6479439"/>
                <a:gd name="connsiteX5096" fmla="*/ 5743412 w 9586368"/>
                <a:gd name="connsiteY5096" fmla="*/ 2871736 h 6479439"/>
                <a:gd name="connsiteX5097" fmla="*/ 5753323 w 9586368"/>
                <a:gd name="connsiteY5097" fmla="*/ 2871736 h 6479439"/>
                <a:gd name="connsiteX5098" fmla="*/ 5757342 w 9586368"/>
                <a:gd name="connsiteY5098" fmla="*/ 2875775 h 6479439"/>
                <a:gd name="connsiteX5099" fmla="*/ 5757342 w 9586368"/>
                <a:gd name="connsiteY5099" fmla="*/ 2885645 h 6479439"/>
                <a:gd name="connsiteX5100" fmla="*/ 5753323 w 9586368"/>
                <a:gd name="connsiteY5100" fmla="*/ 2889684 h 6479439"/>
                <a:gd name="connsiteX5101" fmla="*/ 5743412 w 9586368"/>
                <a:gd name="connsiteY5101" fmla="*/ 2889684 h 6479439"/>
                <a:gd name="connsiteX5102" fmla="*/ 5739393 w 9586368"/>
                <a:gd name="connsiteY5102" fmla="*/ 2885645 h 6479439"/>
                <a:gd name="connsiteX5103" fmla="*/ 5739393 w 9586368"/>
                <a:gd name="connsiteY5103" fmla="*/ 2875775 h 6479439"/>
                <a:gd name="connsiteX5104" fmla="*/ 5504099 w 9586368"/>
                <a:gd name="connsiteY5104" fmla="*/ 2871736 h 6479439"/>
                <a:gd name="connsiteX5105" fmla="*/ 5514010 w 9586368"/>
                <a:gd name="connsiteY5105" fmla="*/ 2871736 h 6479439"/>
                <a:gd name="connsiteX5106" fmla="*/ 5518029 w 9586368"/>
                <a:gd name="connsiteY5106" fmla="*/ 2875775 h 6479439"/>
                <a:gd name="connsiteX5107" fmla="*/ 5518029 w 9586368"/>
                <a:gd name="connsiteY5107" fmla="*/ 2885645 h 6479439"/>
                <a:gd name="connsiteX5108" fmla="*/ 5514010 w 9586368"/>
                <a:gd name="connsiteY5108" fmla="*/ 2889684 h 6479439"/>
                <a:gd name="connsiteX5109" fmla="*/ 5504099 w 9586368"/>
                <a:gd name="connsiteY5109" fmla="*/ 2889684 h 6479439"/>
                <a:gd name="connsiteX5110" fmla="*/ 5500080 w 9586368"/>
                <a:gd name="connsiteY5110" fmla="*/ 2885645 h 6479439"/>
                <a:gd name="connsiteX5111" fmla="*/ 5500080 w 9586368"/>
                <a:gd name="connsiteY5111" fmla="*/ 2875775 h 6479439"/>
                <a:gd name="connsiteX5112" fmla="*/ 5264784 w 9586368"/>
                <a:gd name="connsiteY5112" fmla="*/ 2871736 h 6479439"/>
                <a:gd name="connsiteX5113" fmla="*/ 5274694 w 9586368"/>
                <a:gd name="connsiteY5113" fmla="*/ 2871736 h 6479439"/>
                <a:gd name="connsiteX5114" fmla="*/ 5278713 w 9586368"/>
                <a:gd name="connsiteY5114" fmla="*/ 2875775 h 6479439"/>
                <a:gd name="connsiteX5115" fmla="*/ 5278713 w 9586368"/>
                <a:gd name="connsiteY5115" fmla="*/ 2885645 h 6479439"/>
                <a:gd name="connsiteX5116" fmla="*/ 5274694 w 9586368"/>
                <a:gd name="connsiteY5116" fmla="*/ 2889684 h 6479439"/>
                <a:gd name="connsiteX5117" fmla="*/ 5264784 w 9586368"/>
                <a:gd name="connsiteY5117" fmla="*/ 2889684 h 6479439"/>
                <a:gd name="connsiteX5118" fmla="*/ 5260765 w 9586368"/>
                <a:gd name="connsiteY5118" fmla="*/ 2885645 h 6479439"/>
                <a:gd name="connsiteX5119" fmla="*/ 5260765 w 9586368"/>
                <a:gd name="connsiteY5119" fmla="*/ 2875775 h 6479439"/>
                <a:gd name="connsiteX5120" fmla="*/ 5025470 w 9586368"/>
                <a:gd name="connsiteY5120" fmla="*/ 2871736 h 6479439"/>
                <a:gd name="connsiteX5121" fmla="*/ 5035381 w 9586368"/>
                <a:gd name="connsiteY5121" fmla="*/ 2871736 h 6479439"/>
                <a:gd name="connsiteX5122" fmla="*/ 5039400 w 9586368"/>
                <a:gd name="connsiteY5122" fmla="*/ 2875775 h 6479439"/>
                <a:gd name="connsiteX5123" fmla="*/ 5039400 w 9586368"/>
                <a:gd name="connsiteY5123" fmla="*/ 2885645 h 6479439"/>
                <a:gd name="connsiteX5124" fmla="*/ 5035381 w 9586368"/>
                <a:gd name="connsiteY5124" fmla="*/ 2889684 h 6479439"/>
                <a:gd name="connsiteX5125" fmla="*/ 5025470 w 9586368"/>
                <a:gd name="connsiteY5125" fmla="*/ 2889684 h 6479439"/>
                <a:gd name="connsiteX5126" fmla="*/ 5021451 w 9586368"/>
                <a:gd name="connsiteY5126" fmla="*/ 2885645 h 6479439"/>
                <a:gd name="connsiteX5127" fmla="*/ 5021451 w 9586368"/>
                <a:gd name="connsiteY5127" fmla="*/ 2875775 h 6479439"/>
                <a:gd name="connsiteX5128" fmla="*/ 4786241 w 9586368"/>
                <a:gd name="connsiteY5128" fmla="*/ 2871736 h 6479439"/>
                <a:gd name="connsiteX5129" fmla="*/ 4796152 w 9586368"/>
                <a:gd name="connsiteY5129" fmla="*/ 2871736 h 6479439"/>
                <a:gd name="connsiteX5130" fmla="*/ 4800171 w 9586368"/>
                <a:gd name="connsiteY5130" fmla="*/ 2875775 h 6479439"/>
                <a:gd name="connsiteX5131" fmla="*/ 4800171 w 9586368"/>
                <a:gd name="connsiteY5131" fmla="*/ 2885645 h 6479439"/>
                <a:gd name="connsiteX5132" fmla="*/ 4796152 w 9586368"/>
                <a:gd name="connsiteY5132" fmla="*/ 2889684 h 6479439"/>
                <a:gd name="connsiteX5133" fmla="*/ 4786241 w 9586368"/>
                <a:gd name="connsiteY5133" fmla="*/ 2889684 h 6479439"/>
                <a:gd name="connsiteX5134" fmla="*/ 4782224 w 9586368"/>
                <a:gd name="connsiteY5134" fmla="*/ 2885645 h 6479439"/>
                <a:gd name="connsiteX5135" fmla="*/ 4782224 w 9586368"/>
                <a:gd name="connsiteY5135" fmla="*/ 2875775 h 6479439"/>
                <a:gd name="connsiteX5136" fmla="*/ 4546929 w 9586368"/>
                <a:gd name="connsiteY5136" fmla="*/ 2871736 h 6479439"/>
                <a:gd name="connsiteX5137" fmla="*/ 4556840 w 9586368"/>
                <a:gd name="connsiteY5137" fmla="*/ 2871736 h 6479439"/>
                <a:gd name="connsiteX5138" fmla="*/ 4560859 w 9586368"/>
                <a:gd name="connsiteY5138" fmla="*/ 2875775 h 6479439"/>
                <a:gd name="connsiteX5139" fmla="*/ 4560859 w 9586368"/>
                <a:gd name="connsiteY5139" fmla="*/ 2885645 h 6479439"/>
                <a:gd name="connsiteX5140" fmla="*/ 4556840 w 9586368"/>
                <a:gd name="connsiteY5140" fmla="*/ 2889684 h 6479439"/>
                <a:gd name="connsiteX5141" fmla="*/ 4546929 w 9586368"/>
                <a:gd name="connsiteY5141" fmla="*/ 2889684 h 6479439"/>
                <a:gd name="connsiteX5142" fmla="*/ 4542910 w 9586368"/>
                <a:gd name="connsiteY5142" fmla="*/ 2885645 h 6479439"/>
                <a:gd name="connsiteX5143" fmla="*/ 4542910 w 9586368"/>
                <a:gd name="connsiteY5143" fmla="*/ 2875775 h 6479439"/>
                <a:gd name="connsiteX5144" fmla="*/ 4307612 w 9586368"/>
                <a:gd name="connsiteY5144" fmla="*/ 2871736 h 6479439"/>
                <a:gd name="connsiteX5145" fmla="*/ 4317523 w 9586368"/>
                <a:gd name="connsiteY5145" fmla="*/ 2871736 h 6479439"/>
                <a:gd name="connsiteX5146" fmla="*/ 4321543 w 9586368"/>
                <a:gd name="connsiteY5146" fmla="*/ 2875775 h 6479439"/>
                <a:gd name="connsiteX5147" fmla="*/ 4321543 w 9586368"/>
                <a:gd name="connsiteY5147" fmla="*/ 2885645 h 6479439"/>
                <a:gd name="connsiteX5148" fmla="*/ 4317523 w 9586368"/>
                <a:gd name="connsiteY5148" fmla="*/ 2889684 h 6479439"/>
                <a:gd name="connsiteX5149" fmla="*/ 4307612 w 9586368"/>
                <a:gd name="connsiteY5149" fmla="*/ 2889684 h 6479439"/>
                <a:gd name="connsiteX5150" fmla="*/ 4303595 w 9586368"/>
                <a:gd name="connsiteY5150" fmla="*/ 2885645 h 6479439"/>
                <a:gd name="connsiteX5151" fmla="*/ 4303595 w 9586368"/>
                <a:gd name="connsiteY5151" fmla="*/ 2875775 h 6479439"/>
                <a:gd name="connsiteX5152" fmla="*/ 4068297 w 9586368"/>
                <a:gd name="connsiteY5152" fmla="*/ 2871736 h 6479439"/>
                <a:gd name="connsiteX5153" fmla="*/ 4078210 w 9586368"/>
                <a:gd name="connsiteY5153" fmla="*/ 2871736 h 6479439"/>
                <a:gd name="connsiteX5154" fmla="*/ 4082229 w 9586368"/>
                <a:gd name="connsiteY5154" fmla="*/ 2875775 h 6479439"/>
                <a:gd name="connsiteX5155" fmla="*/ 4082229 w 9586368"/>
                <a:gd name="connsiteY5155" fmla="*/ 2885645 h 6479439"/>
                <a:gd name="connsiteX5156" fmla="*/ 4078210 w 9586368"/>
                <a:gd name="connsiteY5156" fmla="*/ 2889684 h 6479439"/>
                <a:gd name="connsiteX5157" fmla="*/ 4068297 w 9586368"/>
                <a:gd name="connsiteY5157" fmla="*/ 2889684 h 6479439"/>
                <a:gd name="connsiteX5158" fmla="*/ 4064278 w 9586368"/>
                <a:gd name="connsiteY5158" fmla="*/ 2885645 h 6479439"/>
                <a:gd name="connsiteX5159" fmla="*/ 4064278 w 9586368"/>
                <a:gd name="connsiteY5159" fmla="*/ 2875775 h 6479439"/>
                <a:gd name="connsiteX5160" fmla="*/ 3828990 w 9586368"/>
                <a:gd name="connsiteY5160" fmla="*/ 2871736 h 6479439"/>
                <a:gd name="connsiteX5161" fmla="*/ 3838899 w 9586368"/>
                <a:gd name="connsiteY5161" fmla="*/ 2871736 h 6479439"/>
                <a:gd name="connsiteX5162" fmla="*/ 3842917 w 9586368"/>
                <a:gd name="connsiteY5162" fmla="*/ 2875775 h 6479439"/>
                <a:gd name="connsiteX5163" fmla="*/ 3842917 w 9586368"/>
                <a:gd name="connsiteY5163" fmla="*/ 2885645 h 6479439"/>
                <a:gd name="connsiteX5164" fmla="*/ 3838899 w 9586368"/>
                <a:gd name="connsiteY5164" fmla="*/ 2889684 h 6479439"/>
                <a:gd name="connsiteX5165" fmla="*/ 3828990 w 9586368"/>
                <a:gd name="connsiteY5165" fmla="*/ 2889684 h 6479439"/>
                <a:gd name="connsiteX5166" fmla="*/ 3824971 w 9586368"/>
                <a:gd name="connsiteY5166" fmla="*/ 2885645 h 6479439"/>
                <a:gd name="connsiteX5167" fmla="*/ 3824971 w 9586368"/>
                <a:gd name="connsiteY5167" fmla="*/ 2875775 h 6479439"/>
                <a:gd name="connsiteX5168" fmla="*/ 3589676 w 9586368"/>
                <a:gd name="connsiteY5168" fmla="*/ 2871736 h 6479439"/>
                <a:gd name="connsiteX5169" fmla="*/ 3599585 w 9586368"/>
                <a:gd name="connsiteY5169" fmla="*/ 2871736 h 6479439"/>
                <a:gd name="connsiteX5170" fmla="*/ 3603604 w 9586368"/>
                <a:gd name="connsiteY5170" fmla="*/ 2875775 h 6479439"/>
                <a:gd name="connsiteX5171" fmla="*/ 3603604 w 9586368"/>
                <a:gd name="connsiteY5171" fmla="*/ 2885645 h 6479439"/>
                <a:gd name="connsiteX5172" fmla="*/ 3599585 w 9586368"/>
                <a:gd name="connsiteY5172" fmla="*/ 2889684 h 6479439"/>
                <a:gd name="connsiteX5173" fmla="*/ 3589676 w 9586368"/>
                <a:gd name="connsiteY5173" fmla="*/ 2889684 h 6479439"/>
                <a:gd name="connsiteX5174" fmla="*/ 3585657 w 9586368"/>
                <a:gd name="connsiteY5174" fmla="*/ 2885645 h 6479439"/>
                <a:gd name="connsiteX5175" fmla="*/ 3585657 w 9586368"/>
                <a:gd name="connsiteY5175" fmla="*/ 2875775 h 6479439"/>
                <a:gd name="connsiteX5176" fmla="*/ 3350359 w 9586368"/>
                <a:gd name="connsiteY5176" fmla="*/ 2871736 h 6479439"/>
                <a:gd name="connsiteX5177" fmla="*/ 3360268 w 9586368"/>
                <a:gd name="connsiteY5177" fmla="*/ 2871736 h 6479439"/>
                <a:gd name="connsiteX5178" fmla="*/ 3364287 w 9586368"/>
                <a:gd name="connsiteY5178" fmla="*/ 2875775 h 6479439"/>
                <a:gd name="connsiteX5179" fmla="*/ 3364287 w 9586368"/>
                <a:gd name="connsiteY5179" fmla="*/ 2885645 h 6479439"/>
                <a:gd name="connsiteX5180" fmla="*/ 3360268 w 9586368"/>
                <a:gd name="connsiteY5180" fmla="*/ 2889684 h 6479439"/>
                <a:gd name="connsiteX5181" fmla="*/ 3350359 w 9586368"/>
                <a:gd name="connsiteY5181" fmla="*/ 2889684 h 6479439"/>
                <a:gd name="connsiteX5182" fmla="*/ 3346340 w 9586368"/>
                <a:gd name="connsiteY5182" fmla="*/ 2885645 h 6479439"/>
                <a:gd name="connsiteX5183" fmla="*/ 3346340 w 9586368"/>
                <a:gd name="connsiteY5183" fmla="*/ 2875775 h 6479439"/>
                <a:gd name="connsiteX5184" fmla="*/ 3111048 w 9586368"/>
                <a:gd name="connsiteY5184" fmla="*/ 2871736 h 6479439"/>
                <a:gd name="connsiteX5185" fmla="*/ 3120959 w 9586368"/>
                <a:gd name="connsiteY5185" fmla="*/ 2871736 h 6479439"/>
                <a:gd name="connsiteX5186" fmla="*/ 3124977 w 9586368"/>
                <a:gd name="connsiteY5186" fmla="*/ 2875775 h 6479439"/>
                <a:gd name="connsiteX5187" fmla="*/ 3124977 w 9586368"/>
                <a:gd name="connsiteY5187" fmla="*/ 2885645 h 6479439"/>
                <a:gd name="connsiteX5188" fmla="*/ 3120959 w 9586368"/>
                <a:gd name="connsiteY5188" fmla="*/ 2889684 h 6479439"/>
                <a:gd name="connsiteX5189" fmla="*/ 3111048 w 9586368"/>
                <a:gd name="connsiteY5189" fmla="*/ 2889684 h 6479439"/>
                <a:gd name="connsiteX5190" fmla="*/ 3107029 w 9586368"/>
                <a:gd name="connsiteY5190" fmla="*/ 2885645 h 6479439"/>
                <a:gd name="connsiteX5191" fmla="*/ 3107029 w 9586368"/>
                <a:gd name="connsiteY5191" fmla="*/ 2875775 h 6479439"/>
                <a:gd name="connsiteX5192" fmla="*/ 2871737 w 9586368"/>
                <a:gd name="connsiteY5192" fmla="*/ 2871736 h 6479439"/>
                <a:gd name="connsiteX5193" fmla="*/ 2881646 w 9586368"/>
                <a:gd name="connsiteY5193" fmla="*/ 2871736 h 6479439"/>
                <a:gd name="connsiteX5194" fmla="*/ 2885666 w 9586368"/>
                <a:gd name="connsiteY5194" fmla="*/ 2875775 h 6479439"/>
                <a:gd name="connsiteX5195" fmla="*/ 2885666 w 9586368"/>
                <a:gd name="connsiteY5195" fmla="*/ 2885645 h 6479439"/>
                <a:gd name="connsiteX5196" fmla="*/ 2881646 w 9586368"/>
                <a:gd name="connsiteY5196" fmla="*/ 2889684 h 6479439"/>
                <a:gd name="connsiteX5197" fmla="*/ 2871737 w 9586368"/>
                <a:gd name="connsiteY5197" fmla="*/ 2889684 h 6479439"/>
                <a:gd name="connsiteX5198" fmla="*/ 2867717 w 9586368"/>
                <a:gd name="connsiteY5198" fmla="*/ 2885645 h 6479439"/>
                <a:gd name="connsiteX5199" fmla="*/ 2867717 w 9586368"/>
                <a:gd name="connsiteY5199" fmla="*/ 2875775 h 6479439"/>
                <a:gd name="connsiteX5200" fmla="*/ 2632423 w 9586368"/>
                <a:gd name="connsiteY5200" fmla="*/ 2871736 h 6479439"/>
                <a:gd name="connsiteX5201" fmla="*/ 2642334 w 9586368"/>
                <a:gd name="connsiteY5201" fmla="*/ 2871736 h 6479439"/>
                <a:gd name="connsiteX5202" fmla="*/ 2646352 w 9586368"/>
                <a:gd name="connsiteY5202" fmla="*/ 2875775 h 6479439"/>
                <a:gd name="connsiteX5203" fmla="*/ 2646352 w 9586368"/>
                <a:gd name="connsiteY5203" fmla="*/ 2885645 h 6479439"/>
                <a:gd name="connsiteX5204" fmla="*/ 2642334 w 9586368"/>
                <a:gd name="connsiteY5204" fmla="*/ 2889684 h 6479439"/>
                <a:gd name="connsiteX5205" fmla="*/ 2632423 w 9586368"/>
                <a:gd name="connsiteY5205" fmla="*/ 2889684 h 6479439"/>
                <a:gd name="connsiteX5206" fmla="*/ 2628404 w 9586368"/>
                <a:gd name="connsiteY5206" fmla="*/ 2885645 h 6479439"/>
                <a:gd name="connsiteX5207" fmla="*/ 2628404 w 9586368"/>
                <a:gd name="connsiteY5207" fmla="*/ 2875775 h 6479439"/>
                <a:gd name="connsiteX5208" fmla="*/ 2393104 w 9586368"/>
                <a:gd name="connsiteY5208" fmla="*/ 2871736 h 6479439"/>
                <a:gd name="connsiteX5209" fmla="*/ 2403015 w 9586368"/>
                <a:gd name="connsiteY5209" fmla="*/ 2871736 h 6479439"/>
                <a:gd name="connsiteX5210" fmla="*/ 2407034 w 9586368"/>
                <a:gd name="connsiteY5210" fmla="*/ 2875775 h 6479439"/>
                <a:gd name="connsiteX5211" fmla="*/ 2407034 w 9586368"/>
                <a:gd name="connsiteY5211" fmla="*/ 2885645 h 6479439"/>
                <a:gd name="connsiteX5212" fmla="*/ 2403015 w 9586368"/>
                <a:gd name="connsiteY5212" fmla="*/ 2889684 h 6479439"/>
                <a:gd name="connsiteX5213" fmla="*/ 2393104 w 9586368"/>
                <a:gd name="connsiteY5213" fmla="*/ 2889684 h 6479439"/>
                <a:gd name="connsiteX5214" fmla="*/ 2389087 w 9586368"/>
                <a:gd name="connsiteY5214" fmla="*/ 2885645 h 6479439"/>
                <a:gd name="connsiteX5215" fmla="*/ 2389087 w 9586368"/>
                <a:gd name="connsiteY5215" fmla="*/ 2875775 h 6479439"/>
                <a:gd name="connsiteX5216" fmla="*/ 721969 w 9586368"/>
                <a:gd name="connsiteY5216" fmla="*/ 2871736 h 6479439"/>
                <a:gd name="connsiteX5217" fmla="*/ 731879 w 9586368"/>
                <a:gd name="connsiteY5217" fmla="*/ 2871736 h 6479439"/>
                <a:gd name="connsiteX5218" fmla="*/ 735898 w 9586368"/>
                <a:gd name="connsiteY5218" fmla="*/ 2875775 h 6479439"/>
                <a:gd name="connsiteX5219" fmla="*/ 735898 w 9586368"/>
                <a:gd name="connsiteY5219" fmla="*/ 2885645 h 6479439"/>
                <a:gd name="connsiteX5220" fmla="*/ 731879 w 9586368"/>
                <a:gd name="connsiteY5220" fmla="*/ 2889684 h 6479439"/>
                <a:gd name="connsiteX5221" fmla="*/ 721969 w 9586368"/>
                <a:gd name="connsiteY5221" fmla="*/ 2889684 h 6479439"/>
                <a:gd name="connsiteX5222" fmla="*/ 717950 w 9586368"/>
                <a:gd name="connsiteY5222" fmla="*/ 2885645 h 6479439"/>
                <a:gd name="connsiteX5223" fmla="*/ 717950 w 9586368"/>
                <a:gd name="connsiteY5223" fmla="*/ 2875775 h 6479439"/>
                <a:gd name="connsiteX5224" fmla="*/ 482656 w 9586368"/>
                <a:gd name="connsiteY5224" fmla="*/ 2871736 h 6479439"/>
                <a:gd name="connsiteX5225" fmla="*/ 492567 w 9586368"/>
                <a:gd name="connsiteY5225" fmla="*/ 2871736 h 6479439"/>
                <a:gd name="connsiteX5226" fmla="*/ 496586 w 9586368"/>
                <a:gd name="connsiteY5226" fmla="*/ 2875775 h 6479439"/>
                <a:gd name="connsiteX5227" fmla="*/ 496586 w 9586368"/>
                <a:gd name="connsiteY5227" fmla="*/ 2885645 h 6479439"/>
                <a:gd name="connsiteX5228" fmla="*/ 492567 w 9586368"/>
                <a:gd name="connsiteY5228" fmla="*/ 2889684 h 6479439"/>
                <a:gd name="connsiteX5229" fmla="*/ 482656 w 9586368"/>
                <a:gd name="connsiteY5229" fmla="*/ 2889684 h 6479439"/>
                <a:gd name="connsiteX5230" fmla="*/ 478637 w 9586368"/>
                <a:gd name="connsiteY5230" fmla="*/ 2885645 h 6479439"/>
                <a:gd name="connsiteX5231" fmla="*/ 478637 w 9586368"/>
                <a:gd name="connsiteY5231" fmla="*/ 2875775 h 6479439"/>
                <a:gd name="connsiteX5232" fmla="*/ 243343 w 9586368"/>
                <a:gd name="connsiteY5232" fmla="*/ 2871736 h 6479439"/>
                <a:gd name="connsiteX5233" fmla="*/ 253253 w 9586368"/>
                <a:gd name="connsiteY5233" fmla="*/ 2871736 h 6479439"/>
                <a:gd name="connsiteX5234" fmla="*/ 257272 w 9586368"/>
                <a:gd name="connsiteY5234" fmla="*/ 2875775 h 6479439"/>
                <a:gd name="connsiteX5235" fmla="*/ 257272 w 9586368"/>
                <a:gd name="connsiteY5235" fmla="*/ 2885645 h 6479439"/>
                <a:gd name="connsiteX5236" fmla="*/ 253253 w 9586368"/>
                <a:gd name="connsiteY5236" fmla="*/ 2889684 h 6479439"/>
                <a:gd name="connsiteX5237" fmla="*/ 243343 w 9586368"/>
                <a:gd name="connsiteY5237" fmla="*/ 2889684 h 6479439"/>
                <a:gd name="connsiteX5238" fmla="*/ 239324 w 9586368"/>
                <a:gd name="connsiteY5238" fmla="*/ 2885645 h 6479439"/>
                <a:gd name="connsiteX5239" fmla="*/ 239324 w 9586368"/>
                <a:gd name="connsiteY5239" fmla="*/ 2875775 h 6479439"/>
                <a:gd name="connsiteX5240" fmla="*/ 4030 w 9586368"/>
                <a:gd name="connsiteY5240" fmla="*/ 2871736 h 6479439"/>
                <a:gd name="connsiteX5241" fmla="*/ 13940 w 9586368"/>
                <a:gd name="connsiteY5241" fmla="*/ 2871736 h 6479439"/>
                <a:gd name="connsiteX5242" fmla="*/ 17959 w 9586368"/>
                <a:gd name="connsiteY5242" fmla="*/ 2875775 h 6479439"/>
                <a:gd name="connsiteX5243" fmla="*/ 17959 w 9586368"/>
                <a:gd name="connsiteY5243" fmla="*/ 2885645 h 6479439"/>
                <a:gd name="connsiteX5244" fmla="*/ 13940 w 9586368"/>
                <a:gd name="connsiteY5244" fmla="*/ 2889684 h 6479439"/>
                <a:gd name="connsiteX5245" fmla="*/ 4030 w 9586368"/>
                <a:gd name="connsiteY5245" fmla="*/ 2889684 h 6479439"/>
                <a:gd name="connsiteX5246" fmla="*/ 11 w 9586368"/>
                <a:gd name="connsiteY5246" fmla="*/ 2885645 h 6479439"/>
                <a:gd name="connsiteX5247" fmla="*/ 11 w 9586368"/>
                <a:gd name="connsiteY5247" fmla="*/ 2875775 h 6479439"/>
                <a:gd name="connsiteX5248" fmla="*/ 9572438 w 9586368"/>
                <a:gd name="connsiteY5248" fmla="*/ 2632457 h 6479439"/>
                <a:gd name="connsiteX5249" fmla="*/ 9582349 w 9586368"/>
                <a:gd name="connsiteY5249" fmla="*/ 2632457 h 6479439"/>
                <a:gd name="connsiteX5250" fmla="*/ 9586368 w 9586368"/>
                <a:gd name="connsiteY5250" fmla="*/ 2636496 h 6479439"/>
                <a:gd name="connsiteX5251" fmla="*/ 9586368 w 9586368"/>
                <a:gd name="connsiteY5251" fmla="*/ 2646366 h 6479439"/>
                <a:gd name="connsiteX5252" fmla="*/ 9582349 w 9586368"/>
                <a:gd name="connsiteY5252" fmla="*/ 2650405 h 6479439"/>
                <a:gd name="connsiteX5253" fmla="*/ 9572438 w 9586368"/>
                <a:gd name="connsiteY5253" fmla="*/ 2650405 h 6479439"/>
                <a:gd name="connsiteX5254" fmla="*/ 9568419 w 9586368"/>
                <a:gd name="connsiteY5254" fmla="*/ 2646366 h 6479439"/>
                <a:gd name="connsiteX5255" fmla="*/ 9568419 w 9586368"/>
                <a:gd name="connsiteY5255" fmla="*/ 2636496 h 6479439"/>
                <a:gd name="connsiteX5256" fmla="*/ 9333125 w 9586368"/>
                <a:gd name="connsiteY5256" fmla="*/ 2632457 h 6479439"/>
                <a:gd name="connsiteX5257" fmla="*/ 9343036 w 9586368"/>
                <a:gd name="connsiteY5257" fmla="*/ 2632457 h 6479439"/>
                <a:gd name="connsiteX5258" fmla="*/ 9347055 w 9586368"/>
                <a:gd name="connsiteY5258" fmla="*/ 2636496 h 6479439"/>
                <a:gd name="connsiteX5259" fmla="*/ 9347055 w 9586368"/>
                <a:gd name="connsiteY5259" fmla="*/ 2646366 h 6479439"/>
                <a:gd name="connsiteX5260" fmla="*/ 9343036 w 9586368"/>
                <a:gd name="connsiteY5260" fmla="*/ 2650405 h 6479439"/>
                <a:gd name="connsiteX5261" fmla="*/ 9333125 w 9586368"/>
                <a:gd name="connsiteY5261" fmla="*/ 2650405 h 6479439"/>
                <a:gd name="connsiteX5262" fmla="*/ 9329106 w 9586368"/>
                <a:gd name="connsiteY5262" fmla="*/ 2646366 h 6479439"/>
                <a:gd name="connsiteX5263" fmla="*/ 9329106 w 9586368"/>
                <a:gd name="connsiteY5263" fmla="*/ 2636496 h 6479439"/>
                <a:gd name="connsiteX5264" fmla="*/ 9093811 w 9586368"/>
                <a:gd name="connsiteY5264" fmla="*/ 2632457 h 6479439"/>
                <a:gd name="connsiteX5265" fmla="*/ 9103722 w 9586368"/>
                <a:gd name="connsiteY5265" fmla="*/ 2632457 h 6479439"/>
                <a:gd name="connsiteX5266" fmla="*/ 9107741 w 9586368"/>
                <a:gd name="connsiteY5266" fmla="*/ 2636496 h 6479439"/>
                <a:gd name="connsiteX5267" fmla="*/ 9107741 w 9586368"/>
                <a:gd name="connsiteY5267" fmla="*/ 2646366 h 6479439"/>
                <a:gd name="connsiteX5268" fmla="*/ 9103722 w 9586368"/>
                <a:gd name="connsiteY5268" fmla="*/ 2650405 h 6479439"/>
                <a:gd name="connsiteX5269" fmla="*/ 9093811 w 9586368"/>
                <a:gd name="connsiteY5269" fmla="*/ 2650405 h 6479439"/>
                <a:gd name="connsiteX5270" fmla="*/ 9089792 w 9586368"/>
                <a:gd name="connsiteY5270" fmla="*/ 2646366 h 6479439"/>
                <a:gd name="connsiteX5271" fmla="*/ 9089792 w 9586368"/>
                <a:gd name="connsiteY5271" fmla="*/ 2636496 h 6479439"/>
                <a:gd name="connsiteX5272" fmla="*/ 8854496 w 9586368"/>
                <a:gd name="connsiteY5272" fmla="*/ 2632457 h 6479439"/>
                <a:gd name="connsiteX5273" fmla="*/ 8864407 w 9586368"/>
                <a:gd name="connsiteY5273" fmla="*/ 2632457 h 6479439"/>
                <a:gd name="connsiteX5274" fmla="*/ 8868426 w 9586368"/>
                <a:gd name="connsiteY5274" fmla="*/ 2636496 h 6479439"/>
                <a:gd name="connsiteX5275" fmla="*/ 8868426 w 9586368"/>
                <a:gd name="connsiteY5275" fmla="*/ 2646366 h 6479439"/>
                <a:gd name="connsiteX5276" fmla="*/ 8864407 w 9586368"/>
                <a:gd name="connsiteY5276" fmla="*/ 2650405 h 6479439"/>
                <a:gd name="connsiteX5277" fmla="*/ 8854496 w 9586368"/>
                <a:gd name="connsiteY5277" fmla="*/ 2650405 h 6479439"/>
                <a:gd name="connsiteX5278" fmla="*/ 8850477 w 9586368"/>
                <a:gd name="connsiteY5278" fmla="*/ 2646366 h 6479439"/>
                <a:gd name="connsiteX5279" fmla="*/ 8850477 w 9586368"/>
                <a:gd name="connsiteY5279" fmla="*/ 2636496 h 6479439"/>
                <a:gd name="connsiteX5280" fmla="*/ 8615184 w 9586368"/>
                <a:gd name="connsiteY5280" fmla="*/ 2632457 h 6479439"/>
                <a:gd name="connsiteX5281" fmla="*/ 8625095 w 9586368"/>
                <a:gd name="connsiteY5281" fmla="*/ 2632457 h 6479439"/>
                <a:gd name="connsiteX5282" fmla="*/ 8629114 w 9586368"/>
                <a:gd name="connsiteY5282" fmla="*/ 2636496 h 6479439"/>
                <a:gd name="connsiteX5283" fmla="*/ 8629114 w 9586368"/>
                <a:gd name="connsiteY5283" fmla="*/ 2646366 h 6479439"/>
                <a:gd name="connsiteX5284" fmla="*/ 8625095 w 9586368"/>
                <a:gd name="connsiteY5284" fmla="*/ 2650405 h 6479439"/>
                <a:gd name="connsiteX5285" fmla="*/ 8615184 w 9586368"/>
                <a:gd name="connsiteY5285" fmla="*/ 2650405 h 6479439"/>
                <a:gd name="connsiteX5286" fmla="*/ 8611165 w 9586368"/>
                <a:gd name="connsiteY5286" fmla="*/ 2646366 h 6479439"/>
                <a:gd name="connsiteX5287" fmla="*/ 8611165 w 9586368"/>
                <a:gd name="connsiteY5287" fmla="*/ 2636496 h 6479439"/>
                <a:gd name="connsiteX5288" fmla="*/ 8375869 w 9586368"/>
                <a:gd name="connsiteY5288" fmla="*/ 2632457 h 6479439"/>
                <a:gd name="connsiteX5289" fmla="*/ 8385779 w 9586368"/>
                <a:gd name="connsiteY5289" fmla="*/ 2632457 h 6479439"/>
                <a:gd name="connsiteX5290" fmla="*/ 8389799 w 9586368"/>
                <a:gd name="connsiteY5290" fmla="*/ 2636496 h 6479439"/>
                <a:gd name="connsiteX5291" fmla="*/ 8389799 w 9586368"/>
                <a:gd name="connsiteY5291" fmla="*/ 2646366 h 6479439"/>
                <a:gd name="connsiteX5292" fmla="*/ 8385779 w 9586368"/>
                <a:gd name="connsiteY5292" fmla="*/ 2650405 h 6479439"/>
                <a:gd name="connsiteX5293" fmla="*/ 8375869 w 9586368"/>
                <a:gd name="connsiteY5293" fmla="*/ 2650405 h 6479439"/>
                <a:gd name="connsiteX5294" fmla="*/ 8371850 w 9586368"/>
                <a:gd name="connsiteY5294" fmla="*/ 2646366 h 6479439"/>
                <a:gd name="connsiteX5295" fmla="*/ 8371850 w 9586368"/>
                <a:gd name="connsiteY5295" fmla="*/ 2636496 h 6479439"/>
                <a:gd name="connsiteX5296" fmla="*/ 8136553 w 9586368"/>
                <a:gd name="connsiteY5296" fmla="*/ 2632457 h 6479439"/>
                <a:gd name="connsiteX5297" fmla="*/ 8146464 w 9586368"/>
                <a:gd name="connsiteY5297" fmla="*/ 2632457 h 6479439"/>
                <a:gd name="connsiteX5298" fmla="*/ 8150483 w 9586368"/>
                <a:gd name="connsiteY5298" fmla="*/ 2636496 h 6479439"/>
                <a:gd name="connsiteX5299" fmla="*/ 8150483 w 9586368"/>
                <a:gd name="connsiteY5299" fmla="*/ 2646366 h 6479439"/>
                <a:gd name="connsiteX5300" fmla="*/ 8146464 w 9586368"/>
                <a:gd name="connsiteY5300" fmla="*/ 2650405 h 6479439"/>
                <a:gd name="connsiteX5301" fmla="*/ 8136553 w 9586368"/>
                <a:gd name="connsiteY5301" fmla="*/ 2650405 h 6479439"/>
                <a:gd name="connsiteX5302" fmla="*/ 8132534 w 9586368"/>
                <a:gd name="connsiteY5302" fmla="*/ 2646366 h 6479439"/>
                <a:gd name="connsiteX5303" fmla="*/ 8132534 w 9586368"/>
                <a:gd name="connsiteY5303" fmla="*/ 2636496 h 6479439"/>
                <a:gd name="connsiteX5304" fmla="*/ 7897241 w 9586368"/>
                <a:gd name="connsiteY5304" fmla="*/ 2632457 h 6479439"/>
                <a:gd name="connsiteX5305" fmla="*/ 7907151 w 9586368"/>
                <a:gd name="connsiteY5305" fmla="*/ 2632457 h 6479439"/>
                <a:gd name="connsiteX5306" fmla="*/ 7911170 w 9586368"/>
                <a:gd name="connsiteY5306" fmla="*/ 2636496 h 6479439"/>
                <a:gd name="connsiteX5307" fmla="*/ 7911170 w 9586368"/>
                <a:gd name="connsiteY5307" fmla="*/ 2646366 h 6479439"/>
                <a:gd name="connsiteX5308" fmla="*/ 7907151 w 9586368"/>
                <a:gd name="connsiteY5308" fmla="*/ 2650405 h 6479439"/>
                <a:gd name="connsiteX5309" fmla="*/ 7897241 w 9586368"/>
                <a:gd name="connsiteY5309" fmla="*/ 2650405 h 6479439"/>
                <a:gd name="connsiteX5310" fmla="*/ 7893222 w 9586368"/>
                <a:gd name="connsiteY5310" fmla="*/ 2646366 h 6479439"/>
                <a:gd name="connsiteX5311" fmla="*/ 7893222 w 9586368"/>
                <a:gd name="connsiteY5311" fmla="*/ 2636496 h 6479439"/>
                <a:gd name="connsiteX5312" fmla="*/ 7657926 w 9586368"/>
                <a:gd name="connsiteY5312" fmla="*/ 2632457 h 6479439"/>
                <a:gd name="connsiteX5313" fmla="*/ 7667836 w 9586368"/>
                <a:gd name="connsiteY5313" fmla="*/ 2632457 h 6479439"/>
                <a:gd name="connsiteX5314" fmla="*/ 7671855 w 9586368"/>
                <a:gd name="connsiteY5314" fmla="*/ 2636496 h 6479439"/>
                <a:gd name="connsiteX5315" fmla="*/ 7671855 w 9586368"/>
                <a:gd name="connsiteY5315" fmla="*/ 2646366 h 6479439"/>
                <a:gd name="connsiteX5316" fmla="*/ 7667836 w 9586368"/>
                <a:gd name="connsiteY5316" fmla="*/ 2650405 h 6479439"/>
                <a:gd name="connsiteX5317" fmla="*/ 7657926 w 9586368"/>
                <a:gd name="connsiteY5317" fmla="*/ 2650405 h 6479439"/>
                <a:gd name="connsiteX5318" fmla="*/ 7653906 w 9586368"/>
                <a:gd name="connsiteY5318" fmla="*/ 2646366 h 6479439"/>
                <a:gd name="connsiteX5319" fmla="*/ 7653906 w 9586368"/>
                <a:gd name="connsiteY5319" fmla="*/ 2636496 h 6479439"/>
                <a:gd name="connsiteX5320" fmla="*/ 7418611 w 9586368"/>
                <a:gd name="connsiteY5320" fmla="*/ 2632457 h 6479439"/>
                <a:gd name="connsiteX5321" fmla="*/ 7428521 w 9586368"/>
                <a:gd name="connsiteY5321" fmla="*/ 2632457 h 6479439"/>
                <a:gd name="connsiteX5322" fmla="*/ 7432540 w 9586368"/>
                <a:gd name="connsiteY5322" fmla="*/ 2636496 h 6479439"/>
                <a:gd name="connsiteX5323" fmla="*/ 7432540 w 9586368"/>
                <a:gd name="connsiteY5323" fmla="*/ 2646366 h 6479439"/>
                <a:gd name="connsiteX5324" fmla="*/ 7428521 w 9586368"/>
                <a:gd name="connsiteY5324" fmla="*/ 2650405 h 6479439"/>
                <a:gd name="connsiteX5325" fmla="*/ 7418611 w 9586368"/>
                <a:gd name="connsiteY5325" fmla="*/ 2650405 h 6479439"/>
                <a:gd name="connsiteX5326" fmla="*/ 7414592 w 9586368"/>
                <a:gd name="connsiteY5326" fmla="*/ 2646366 h 6479439"/>
                <a:gd name="connsiteX5327" fmla="*/ 7414592 w 9586368"/>
                <a:gd name="connsiteY5327" fmla="*/ 2636496 h 6479439"/>
                <a:gd name="connsiteX5328" fmla="*/ 7179298 w 9586368"/>
                <a:gd name="connsiteY5328" fmla="*/ 2632457 h 6479439"/>
                <a:gd name="connsiteX5329" fmla="*/ 7189209 w 9586368"/>
                <a:gd name="connsiteY5329" fmla="*/ 2632457 h 6479439"/>
                <a:gd name="connsiteX5330" fmla="*/ 7193228 w 9586368"/>
                <a:gd name="connsiteY5330" fmla="*/ 2636496 h 6479439"/>
                <a:gd name="connsiteX5331" fmla="*/ 7193228 w 9586368"/>
                <a:gd name="connsiteY5331" fmla="*/ 2646366 h 6479439"/>
                <a:gd name="connsiteX5332" fmla="*/ 7189209 w 9586368"/>
                <a:gd name="connsiteY5332" fmla="*/ 2650405 h 6479439"/>
                <a:gd name="connsiteX5333" fmla="*/ 7179298 w 9586368"/>
                <a:gd name="connsiteY5333" fmla="*/ 2650405 h 6479439"/>
                <a:gd name="connsiteX5334" fmla="*/ 7175279 w 9586368"/>
                <a:gd name="connsiteY5334" fmla="*/ 2646366 h 6479439"/>
                <a:gd name="connsiteX5335" fmla="*/ 7175279 w 9586368"/>
                <a:gd name="connsiteY5335" fmla="*/ 2636496 h 6479439"/>
                <a:gd name="connsiteX5336" fmla="*/ 6939983 w 9586368"/>
                <a:gd name="connsiteY5336" fmla="*/ 2632457 h 6479439"/>
                <a:gd name="connsiteX5337" fmla="*/ 6949894 w 9586368"/>
                <a:gd name="connsiteY5337" fmla="*/ 2632457 h 6479439"/>
                <a:gd name="connsiteX5338" fmla="*/ 6953913 w 9586368"/>
                <a:gd name="connsiteY5338" fmla="*/ 2636496 h 6479439"/>
                <a:gd name="connsiteX5339" fmla="*/ 6953913 w 9586368"/>
                <a:gd name="connsiteY5339" fmla="*/ 2646366 h 6479439"/>
                <a:gd name="connsiteX5340" fmla="*/ 6949894 w 9586368"/>
                <a:gd name="connsiteY5340" fmla="*/ 2650405 h 6479439"/>
                <a:gd name="connsiteX5341" fmla="*/ 6939983 w 9586368"/>
                <a:gd name="connsiteY5341" fmla="*/ 2650405 h 6479439"/>
                <a:gd name="connsiteX5342" fmla="*/ 6935964 w 9586368"/>
                <a:gd name="connsiteY5342" fmla="*/ 2646366 h 6479439"/>
                <a:gd name="connsiteX5343" fmla="*/ 6935964 w 9586368"/>
                <a:gd name="connsiteY5343" fmla="*/ 2636496 h 6479439"/>
                <a:gd name="connsiteX5344" fmla="*/ 6700670 w 9586368"/>
                <a:gd name="connsiteY5344" fmla="*/ 2632457 h 6479439"/>
                <a:gd name="connsiteX5345" fmla="*/ 6710581 w 9586368"/>
                <a:gd name="connsiteY5345" fmla="*/ 2632457 h 6479439"/>
                <a:gd name="connsiteX5346" fmla="*/ 6714600 w 9586368"/>
                <a:gd name="connsiteY5346" fmla="*/ 2636496 h 6479439"/>
                <a:gd name="connsiteX5347" fmla="*/ 6714600 w 9586368"/>
                <a:gd name="connsiteY5347" fmla="*/ 2646366 h 6479439"/>
                <a:gd name="connsiteX5348" fmla="*/ 6710581 w 9586368"/>
                <a:gd name="connsiteY5348" fmla="*/ 2650405 h 6479439"/>
                <a:gd name="connsiteX5349" fmla="*/ 6700670 w 9586368"/>
                <a:gd name="connsiteY5349" fmla="*/ 2650405 h 6479439"/>
                <a:gd name="connsiteX5350" fmla="*/ 6696651 w 9586368"/>
                <a:gd name="connsiteY5350" fmla="*/ 2646366 h 6479439"/>
                <a:gd name="connsiteX5351" fmla="*/ 6696651 w 9586368"/>
                <a:gd name="connsiteY5351" fmla="*/ 2636496 h 6479439"/>
                <a:gd name="connsiteX5352" fmla="*/ 6461356 w 9586368"/>
                <a:gd name="connsiteY5352" fmla="*/ 2632457 h 6479439"/>
                <a:gd name="connsiteX5353" fmla="*/ 6471266 w 9586368"/>
                <a:gd name="connsiteY5353" fmla="*/ 2632457 h 6479439"/>
                <a:gd name="connsiteX5354" fmla="*/ 6475285 w 9586368"/>
                <a:gd name="connsiteY5354" fmla="*/ 2636496 h 6479439"/>
                <a:gd name="connsiteX5355" fmla="*/ 6475285 w 9586368"/>
                <a:gd name="connsiteY5355" fmla="*/ 2646366 h 6479439"/>
                <a:gd name="connsiteX5356" fmla="*/ 6471266 w 9586368"/>
                <a:gd name="connsiteY5356" fmla="*/ 2650405 h 6479439"/>
                <a:gd name="connsiteX5357" fmla="*/ 6461356 w 9586368"/>
                <a:gd name="connsiteY5357" fmla="*/ 2650405 h 6479439"/>
                <a:gd name="connsiteX5358" fmla="*/ 6457337 w 9586368"/>
                <a:gd name="connsiteY5358" fmla="*/ 2646366 h 6479439"/>
                <a:gd name="connsiteX5359" fmla="*/ 6457337 w 9586368"/>
                <a:gd name="connsiteY5359" fmla="*/ 2636496 h 6479439"/>
                <a:gd name="connsiteX5360" fmla="*/ 6222042 w 9586368"/>
                <a:gd name="connsiteY5360" fmla="*/ 2632457 h 6479439"/>
                <a:gd name="connsiteX5361" fmla="*/ 6231952 w 9586368"/>
                <a:gd name="connsiteY5361" fmla="*/ 2632457 h 6479439"/>
                <a:gd name="connsiteX5362" fmla="*/ 6235971 w 9586368"/>
                <a:gd name="connsiteY5362" fmla="*/ 2636496 h 6479439"/>
                <a:gd name="connsiteX5363" fmla="*/ 6235971 w 9586368"/>
                <a:gd name="connsiteY5363" fmla="*/ 2646366 h 6479439"/>
                <a:gd name="connsiteX5364" fmla="*/ 6231952 w 9586368"/>
                <a:gd name="connsiteY5364" fmla="*/ 2650405 h 6479439"/>
                <a:gd name="connsiteX5365" fmla="*/ 6222042 w 9586368"/>
                <a:gd name="connsiteY5365" fmla="*/ 2650405 h 6479439"/>
                <a:gd name="connsiteX5366" fmla="*/ 6218023 w 9586368"/>
                <a:gd name="connsiteY5366" fmla="*/ 2646366 h 6479439"/>
                <a:gd name="connsiteX5367" fmla="*/ 6218023 w 9586368"/>
                <a:gd name="connsiteY5367" fmla="*/ 2636496 h 6479439"/>
                <a:gd name="connsiteX5368" fmla="*/ 5982729 w 9586368"/>
                <a:gd name="connsiteY5368" fmla="*/ 2632457 h 6479439"/>
                <a:gd name="connsiteX5369" fmla="*/ 5992639 w 9586368"/>
                <a:gd name="connsiteY5369" fmla="*/ 2632457 h 6479439"/>
                <a:gd name="connsiteX5370" fmla="*/ 5996658 w 9586368"/>
                <a:gd name="connsiteY5370" fmla="*/ 2636496 h 6479439"/>
                <a:gd name="connsiteX5371" fmla="*/ 5996658 w 9586368"/>
                <a:gd name="connsiteY5371" fmla="*/ 2646366 h 6479439"/>
                <a:gd name="connsiteX5372" fmla="*/ 5992639 w 9586368"/>
                <a:gd name="connsiteY5372" fmla="*/ 2650405 h 6479439"/>
                <a:gd name="connsiteX5373" fmla="*/ 5982729 w 9586368"/>
                <a:gd name="connsiteY5373" fmla="*/ 2650405 h 6479439"/>
                <a:gd name="connsiteX5374" fmla="*/ 5978710 w 9586368"/>
                <a:gd name="connsiteY5374" fmla="*/ 2646366 h 6479439"/>
                <a:gd name="connsiteX5375" fmla="*/ 5978710 w 9586368"/>
                <a:gd name="connsiteY5375" fmla="*/ 2636496 h 6479439"/>
                <a:gd name="connsiteX5376" fmla="*/ 5743412 w 9586368"/>
                <a:gd name="connsiteY5376" fmla="*/ 2632457 h 6479439"/>
                <a:gd name="connsiteX5377" fmla="*/ 5753323 w 9586368"/>
                <a:gd name="connsiteY5377" fmla="*/ 2632457 h 6479439"/>
                <a:gd name="connsiteX5378" fmla="*/ 5757342 w 9586368"/>
                <a:gd name="connsiteY5378" fmla="*/ 2636496 h 6479439"/>
                <a:gd name="connsiteX5379" fmla="*/ 5757342 w 9586368"/>
                <a:gd name="connsiteY5379" fmla="*/ 2646366 h 6479439"/>
                <a:gd name="connsiteX5380" fmla="*/ 5753323 w 9586368"/>
                <a:gd name="connsiteY5380" fmla="*/ 2650405 h 6479439"/>
                <a:gd name="connsiteX5381" fmla="*/ 5743412 w 9586368"/>
                <a:gd name="connsiteY5381" fmla="*/ 2650405 h 6479439"/>
                <a:gd name="connsiteX5382" fmla="*/ 5739393 w 9586368"/>
                <a:gd name="connsiteY5382" fmla="*/ 2646366 h 6479439"/>
                <a:gd name="connsiteX5383" fmla="*/ 5739393 w 9586368"/>
                <a:gd name="connsiteY5383" fmla="*/ 2636496 h 6479439"/>
                <a:gd name="connsiteX5384" fmla="*/ 5504099 w 9586368"/>
                <a:gd name="connsiteY5384" fmla="*/ 2632457 h 6479439"/>
                <a:gd name="connsiteX5385" fmla="*/ 5514010 w 9586368"/>
                <a:gd name="connsiteY5385" fmla="*/ 2632457 h 6479439"/>
                <a:gd name="connsiteX5386" fmla="*/ 5518029 w 9586368"/>
                <a:gd name="connsiteY5386" fmla="*/ 2636496 h 6479439"/>
                <a:gd name="connsiteX5387" fmla="*/ 5518029 w 9586368"/>
                <a:gd name="connsiteY5387" fmla="*/ 2646366 h 6479439"/>
                <a:gd name="connsiteX5388" fmla="*/ 5514010 w 9586368"/>
                <a:gd name="connsiteY5388" fmla="*/ 2650405 h 6479439"/>
                <a:gd name="connsiteX5389" fmla="*/ 5504099 w 9586368"/>
                <a:gd name="connsiteY5389" fmla="*/ 2650405 h 6479439"/>
                <a:gd name="connsiteX5390" fmla="*/ 5500080 w 9586368"/>
                <a:gd name="connsiteY5390" fmla="*/ 2646366 h 6479439"/>
                <a:gd name="connsiteX5391" fmla="*/ 5500080 w 9586368"/>
                <a:gd name="connsiteY5391" fmla="*/ 2636496 h 6479439"/>
                <a:gd name="connsiteX5392" fmla="*/ 5264784 w 9586368"/>
                <a:gd name="connsiteY5392" fmla="*/ 2632457 h 6479439"/>
                <a:gd name="connsiteX5393" fmla="*/ 5274694 w 9586368"/>
                <a:gd name="connsiteY5393" fmla="*/ 2632457 h 6479439"/>
                <a:gd name="connsiteX5394" fmla="*/ 5278713 w 9586368"/>
                <a:gd name="connsiteY5394" fmla="*/ 2636496 h 6479439"/>
                <a:gd name="connsiteX5395" fmla="*/ 5278713 w 9586368"/>
                <a:gd name="connsiteY5395" fmla="*/ 2646366 h 6479439"/>
                <a:gd name="connsiteX5396" fmla="*/ 5274694 w 9586368"/>
                <a:gd name="connsiteY5396" fmla="*/ 2650405 h 6479439"/>
                <a:gd name="connsiteX5397" fmla="*/ 5264784 w 9586368"/>
                <a:gd name="connsiteY5397" fmla="*/ 2650405 h 6479439"/>
                <a:gd name="connsiteX5398" fmla="*/ 5260765 w 9586368"/>
                <a:gd name="connsiteY5398" fmla="*/ 2646366 h 6479439"/>
                <a:gd name="connsiteX5399" fmla="*/ 5260765 w 9586368"/>
                <a:gd name="connsiteY5399" fmla="*/ 2636496 h 6479439"/>
                <a:gd name="connsiteX5400" fmla="*/ 5025470 w 9586368"/>
                <a:gd name="connsiteY5400" fmla="*/ 2632457 h 6479439"/>
                <a:gd name="connsiteX5401" fmla="*/ 5035381 w 9586368"/>
                <a:gd name="connsiteY5401" fmla="*/ 2632457 h 6479439"/>
                <a:gd name="connsiteX5402" fmla="*/ 5039400 w 9586368"/>
                <a:gd name="connsiteY5402" fmla="*/ 2636496 h 6479439"/>
                <a:gd name="connsiteX5403" fmla="*/ 5039400 w 9586368"/>
                <a:gd name="connsiteY5403" fmla="*/ 2646366 h 6479439"/>
                <a:gd name="connsiteX5404" fmla="*/ 5035381 w 9586368"/>
                <a:gd name="connsiteY5404" fmla="*/ 2650405 h 6479439"/>
                <a:gd name="connsiteX5405" fmla="*/ 5025470 w 9586368"/>
                <a:gd name="connsiteY5405" fmla="*/ 2650405 h 6479439"/>
                <a:gd name="connsiteX5406" fmla="*/ 5021451 w 9586368"/>
                <a:gd name="connsiteY5406" fmla="*/ 2646366 h 6479439"/>
                <a:gd name="connsiteX5407" fmla="*/ 5021451 w 9586368"/>
                <a:gd name="connsiteY5407" fmla="*/ 2636496 h 6479439"/>
                <a:gd name="connsiteX5408" fmla="*/ 4786241 w 9586368"/>
                <a:gd name="connsiteY5408" fmla="*/ 2632457 h 6479439"/>
                <a:gd name="connsiteX5409" fmla="*/ 4796152 w 9586368"/>
                <a:gd name="connsiteY5409" fmla="*/ 2632457 h 6479439"/>
                <a:gd name="connsiteX5410" fmla="*/ 4800171 w 9586368"/>
                <a:gd name="connsiteY5410" fmla="*/ 2636496 h 6479439"/>
                <a:gd name="connsiteX5411" fmla="*/ 4800171 w 9586368"/>
                <a:gd name="connsiteY5411" fmla="*/ 2646366 h 6479439"/>
                <a:gd name="connsiteX5412" fmla="*/ 4796152 w 9586368"/>
                <a:gd name="connsiteY5412" fmla="*/ 2650405 h 6479439"/>
                <a:gd name="connsiteX5413" fmla="*/ 4786241 w 9586368"/>
                <a:gd name="connsiteY5413" fmla="*/ 2650405 h 6479439"/>
                <a:gd name="connsiteX5414" fmla="*/ 4782224 w 9586368"/>
                <a:gd name="connsiteY5414" fmla="*/ 2646366 h 6479439"/>
                <a:gd name="connsiteX5415" fmla="*/ 4782224 w 9586368"/>
                <a:gd name="connsiteY5415" fmla="*/ 2636496 h 6479439"/>
                <a:gd name="connsiteX5416" fmla="*/ 4546929 w 9586368"/>
                <a:gd name="connsiteY5416" fmla="*/ 2632457 h 6479439"/>
                <a:gd name="connsiteX5417" fmla="*/ 4556840 w 9586368"/>
                <a:gd name="connsiteY5417" fmla="*/ 2632457 h 6479439"/>
                <a:gd name="connsiteX5418" fmla="*/ 4560859 w 9586368"/>
                <a:gd name="connsiteY5418" fmla="*/ 2636496 h 6479439"/>
                <a:gd name="connsiteX5419" fmla="*/ 4560859 w 9586368"/>
                <a:gd name="connsiteY5419" fmla="*/ 2646366 h 6479439"/>
                <a:gd name="connsiteX5420" fmla="*/ 4556840 w 9586368"/>
                <a:gd name="connsiteY5420" fmla="*/ 2650405 h 6479439"/>
                <a:gd name="connsiteX5421" fmla="*/ 4546929 w 9586368"/>
                <a:gd name="connsiteY5421" fmla="*/ 2650405 h 6479439"/>
                <a:gd name="connsiteX5422" fmla="*/ 4542910 w 9586368"/>
                <a:gd name="connsiteY5422" fmla="*/ 2646366 h 6479439"/>
                <a:gd name="connsiteX5423" fmla="*/ 4542910 w 9586368"/>
                <a:gd name="connsiteY5423" fmla="*/ 2636496 h 6479439"/>
                <a:gd name="connsiteX5424" fmla="*/ 4307612 w 9586368"/>
                <a:gd name="connsiteY5424" fmla="*/ 2632457 h 6479439"/>
                <a:gd name="connsiteX5425" fmla="*/ 4317523 w 9586368"/>
                <a:gd name="connsiteY5425" fmla="*/ 2632457 h 6479439"/>
                <a:gd name="connsiteX5426" fmla="*/ 4321543 w 9586368"/>
                <a:gd name="connsiteY5426" fmla="*/ 2636496 h 6479439"/>
                <a:gd name="connsiteX5427" fmla="*/ 4321543 w 9586368"/>
                <a:gd name="connsiteY5427" fmla="*/ 2646366 h 6479439"/>
                <a:gd name="connsiteX5428" fmla="*/ 4317523 w 9586368"/>
                <a:gd name="connsiteY5428" fmla="*/ 2650405 h 6479439"/>
                <a:gd name="connsiteX5429" fmla="*/ 4307612 w 9586368"/>
                <a:gd name="connsiteY5429" fmla="*/ 2650405 h 6479439"/>
                <a:gd name="connsiteX5430" fmla="*/ 4303595 w 9586368"/>
                <a:gd name="connsiteY5430" fmla="*/ 2646366 h 6479439"/>
                <a:gd name="connsiteX5431" fmla="*/ 4303595 w 9586368"/>
                <a:gd name="connsiteY5431" fmla="*/ 2636496 h 6479439"/>
                <a:gd name="connsiteX5432" fmla="*/ 4068297 w 9586368"/>
                <a:gd name="connsiteY5432" fmla="*/ 2632457 h 6479439"/>
                <a:gd name="connsiteX5433" fmla="*/ 4078210 w 9586368"/>
                <a:gd name="connsiteY5433" fmla="*/ 2632457 h 6479439"/>
                <a:gd name="connsiteX5434" fmla="*/ 4082229 w 9586368"/>
                <a:gd name="connsiteY5434" fmla="*/ 2636496 h 6479439"/>
                <a:gd name="connsiteX5435" fmla="*/ 4082229 w 9586368"/>
                <a:gd name="connsiteY5435" fmla="*/ 2646366 h 6479439"/>
                <a:gd name="connsiteX5436" fmla="*/ 4078210 w 9586368"/>
                <a:gd name="connsiteY5436" fmla="*/ 2650405 h 6479439"/>
                <a:gd name="connsiteX5437" fmla="*/ 4068297 w 9586368"/>
                <a:gd name="connsiteY5437" fmla="*/ 2650405 h 6479439"/>
                <a:gd name="connsiteX5438" fmla="*/ 4064278 w 9586368"/>
                <a:gd name="connsiteY5438" fmla="*/ 2646366 h 6479439"/>
                <a:gd name="connsiteX5439" fmla="*/ 4064278 w 9586368"/>
                <a:gd name="connsiteY5439" fmla="*/ 2636496 h 6479439"/>
                <a:gd name="connsiteX5440" fmla="*/ 3828990 w 9586368"/>
                <a:gd name="connsiteY5440" fmla="*/ 2632457 h 6479439"/>
                <a:gd name="connsiteX5441" fmla="*/ 3838899 w 9586368"/>
                <a:gd name="connsiteY5441" fmla="*/ 2632457 h 6479439"/>
                <a:gd name="connsiteX5442" fmla="*/ 3842917 w 9586368"/>
                <a:gd name="connsiteY5442" fmla="*/ 2636496 h 6479439"/>
                <a:gd name="connsiteX5443" fmla="*/ 3842917 w 9586368"/>
                <a:gd name="connsiteY5443" fmla="*/ 2646366 h 6479439"/>
                <a:gd name="connsiteX5444" fmla="*/ 3838899 w 9586368"/>
                <a:gd name="connsiteY5444" fmla="*/ 2650405 h 6479439"/>
                <a:gd name="connsiteX5445" fmla="*/ 3828990 w 9586368"/>
                <a:gd name="connsiteY5445" fmla="*/ 2650405 h 6479439"/>
                <a:gd name="connsiteX5446" fmla="*/ 3824971 w 9586368"/>
                <a:gd name="connsiteY5446" fmla="*/ 2646366 h 6479439"/>
                <a:gd name="connsiteX5447" fmla="*/ 3824971 w 9586368"/>
                <a:gd name="connsiteY5447" fmla="*/ 2636496 h 6479439"/>
                <a:gd name="connsiteX5448" fmla="*/ 3589676 w 9586368"/>
                <a:gd name="connsiteY5448" fmla="*/ 2632457 h 6479439"/>
                <a:gd name="connsiteX5449" fmla="*/ 3599585 w 9586368"/>
                <a:gd name="connsiteY5449" fmla="*/ 2632457 h 6479439"/>
                <a:gd name="connsiteX5450" fmla="*/ 3603604 w 9586368"/>
                <a:gd name="connsiteY5450" fmla="*/ 2636496 h 6479439"/>
                <a:gd name="connsiteX5451" fmla="*/ 3603604 w 9586368"/>
                <a:gd name="connsiteY5451" fmla="*/ 2646366 h 6479439"/>
                <a:gd name="connsiteX5452" fmla="*/ 3599585 w 9586368"/>
                <a:gd name="connsiteY5452" fmla="*/ 2650405 h 6479439"/>
                <a:gd name="connsiteX5453" fmla="*/ 3589676 w 9586368"/>
                <a:gd name="connsiteY5453" fmla="*/ 2650405 h 6479439"/>
                <a:gd name="connsiteX5454" fmla="*/ 3585657 w 9586368"/>
                <a:gd name="connsiteY5454" fmla="*/ 2646366 h 6479439"/>
                <a:gd name="connsiteX5455" fmla="*/ 3585657 w 9586368"/>
                <a:gd name="connsiteY5455" fmla="*/ 2636496 h 6479439"/>
                <a:gd name="connsiteX5456" fmla="*/ 3350359 w 9586368"/>
                <a:gd name="connsiteY5456" fmla="*/ 2632457 h 6479439"/>
                <a:gd name="connsiteX5457" fmla="*/ 3360268 w 9586368"/>
                <a:gd name="connsiteY5457" fmla="*/ 2632457 h 6479439"/>
                <a:gd name="connsiteX5458" fmla="*/ 3364287 w 9586368"/>
                <a:gd name="connsiteY5458" fmla="*/ 2636496 h 6479439"/>
                <a:gd name="connsiteX5459" fmla="*/ 3364287 w 9586368"/>
                <a:gd name="connsiteY5459" fmla="*/ 2646366 h 6479439"/>
                <a:gd name="connsiteX5460" fmla="*/ 3360268 w 9586368"/>
                <a:gd name="connsiteY5460" fmla="*/ 2650405 h 6479439"/>
                <a:gd name="connsiteX5461" fmla="*/ 3350359 w 9586368"/>
                <a:gd name="connsiteY5461" fmla="*/ 2650405 h 6479439"/>
                <a:gd name="connsiteX5462" fmla="*/ 3346340 w 9586368"/>
                <a:gd name="connsiteY5462" fmla="*/ 2646366 h 6479439"/>
                <a:gd name="connsiteX5463" fmla="*/ 3346340 w 9586368"/>
                <a:gd name="connsiteY5463" fmla="*/ 2636496 h 6479439"/>
                <a:gd name="connsiteX5464" fmla="*/ 3111048 w 9586368"/>
                <a:gd name="connsiteY5464" fmla="*/ 2632457 h 6479439"/>
                <a:gd name="connsiteX5465" fmla="*/ 3120959 w 9586368"/>
                <a:gd name="connsiteY5465" fmla="*/ 2632457 h 6479439"/>
                <a:gd name="connsiteX5466" fmla="*/ 3124977 w 9586368"/>
                <a:gd name="connsiteY5466" fmla="*/ 2636496 h 6479439"/>
                <a:gd name="connsiteX5467" fmla="*/ 3124977 w 9586368"/>
                <a:gd name="connsiteY5467" fmla="*/ 2646366 h 6479439"/>
                <a:gd name="connsiteX5468" fmla="*/ 3120959 w 9586368"/>
                <a:gd name="connsiteY5468" fmla="*/ 2650405 h 6479439"/>
                <a:gd name="connsiteX5469" fmla="*/ 3111048 w 9586368"/>
                <a:gd name="connsiteY5469" fmla="*/ 2650405 h 6479439"/>
                <a:gd name="connsiteX5470" fmla="*/ 3107029 w 9586368"/>
                <a:gd name="connsiteY5470" fmla="*/ 2646366 h 6479439"/>
                <a:gd name="connsiteX5471" fmla="*/ 3107029 w 9586368"/>
                <a:gd name="connsiteY5471" fmla="*/ 2636496 h 6479439"/>
                <a:gd name="connsiteX5472" fmla="*/ 2871737 w 9586368"/>
                <a:gd name="connsiteY5472" fmla="*/ 2632457 h 6479439"/>
                <a:gd name="connsiteX5473" fmla="*/ 2881646 w 9586368"/>
                <a:gd name="connsiteY5473" fmla="*/ 2632457 h 6479439"/>
                <a:gd name="connsiteX5474" fmla="*/ 2885666 w 9586368"/>
                <a:gd name="connsiteY5474" fmla="*/ 2636496 h 6479439"/>
                <a:gd name="connsiteX5475" fmla="*/ 2885666 w 9586368"/>
                <a:gd name="connsiteY5475" fmla="*/ 2646366 h 6479439"/>
                <a:gd name="connsiteX5476" fmla="*/ 2881646 w 9586368"/>
                <a:gd name="connsiteY5476" fmla="*/ 2650405 h 6479439"/>
                <a:gd name="connsiteX5477" fmla="*/ 2871737 w 9586368"/>
                <a:gd name="connsiteY5477" fmla="*/ 2650405 h 6479439"/>
                <a:gd name="connsiteX5478" fmla="*/ 2867717 w 9586368"/>
                <a:gd name="connsiteY5478" fmla="*/ 2646366 h 6479439"/>
                <a:gd name="connsiteX5479" fmla="*/ 2867717 w 9586368"/>
                <a:gd name="connsiteY5479" fmla="*/ 2636496 h 6479439"/>
                <a:gd name="connsiteX5480" fmla="*/ 2632423 w 9586368"/>
                <a:gd name="connsiteY5480" fmla="*/ 2632457 h 6479439"/>
                <a:gd name="connsiteX5481" fmla="*/ 2642334 w 9586368"/>
                <a:gd name="connsiteY5481" fmla="*/ 2632457 h 6479439"/>
                <a:gd name="connsiteX5482" fmla="*/ 2646352 w 9586368"/>
                <a:gd name="connsiteY5482" fmla="*/ 2636496 h 6479439"/>
                <a:gd name="connsiteX5483" fmla="*/ 2646352 w 9586368"/>
                <a:gd name="connsiteY5483" fmla="*/ 2646366 h 6479439"/>
                <a:gd name="connsiteX5484" fmla="*/ 2642334 w 9586368"/>
                <a:gd name="connsiteY5484" fmla="*/ 2650405 h 6479439"/>
                <a:gd name="connsiteX5485" fmla="*/ 2632423 w 9586368"/>
                <a:gd name="connsiteY5485" fmla="*/ 2650405 h 6479439"/>
                <a:gd name="connsiteX5486" fmla="*/ 2628404 w 9586368"/>
                <a:gd name="connsiteY5486" fmla="*/ 2646366 h 6479439"/>
                <a:gd name="connsiteX5487" fmla="*/ 2628404 w 9586368"/>
                <a:gd name="connsiteY5487" fmla="*/ 2636496 h 6479439"/>
                <a:gd name="connsiteX5488" fmla="*/ 2393104 w 9586368"/>
                <a:gd name="connsiteY5488" fmla="*/ 2632457 h 6479439"/>
                <a:gd name="connsiteX5489" fmla="*/ 2403015 w 9586368"/>
                <a:gd name="connsiteY5489" fmla="*/ 2632457 h 6479439"/>
                <a:gd name="connsiteX5490" fmla="*/ 2407034 w 9586368"/>
                <a:gd name="connsiteY5490" fmla="*/ 2636496 h 6479439"/>
                <a:gd name="connsiteX5491" fmla="*/ 2407034 w 9586368"/>
                <a:gd name="connsiteY5491" fmla="*/ 2646366 h 6479439"/>
                <a:gd name="connsiteX5492" fmla="*/ 2403015 w 9586368"/>
                <a:gd name="connsiteY5492" fmla="*/ 2650405 h 6479439"/>
                <a:gd name="connsiteX5493" fmla="*/ 2393104 w 9586368"/>
                <a:gd name="connsiteY5493" fmla="*/ 2650405 h 6479439"/>
                <a:gd name="connsiteX5494" fmla="*/ 2389087 w 9586368"/>
                <a:gd name="connsiteY5494" fmla="*/ 2646366 h 6479439"/>
                <a:gd name="connsiteX5495" fmla="*/ 2389087 w 9586368"/>
                <a:gd name="connsiteY5495" fmla="*/ 2636496 h 6479439"/>
                <a:gd name="connsiteX5496" fmla="*/ 2157821 w 9586368"/>
                <a:gd name="connsiteY5496" fmla="*/ 2632457 h 6479439"/>
                <a:gd name="connsiteX5497" fmla="*/ 2167732 w 9586368"/>
                <a:gd name="connsiteY5497" fmla="*/ 2632457 h 6479439"/>
                <a:gd name="connsiteX5498" fmla="*/ 2171750 w 9586368"/>
                <a:gd name="connsiteY5498" fmla="*/ 2636496 h 6479439"/>
                <a:gd name="connsiteX5499" fmla="*/ 2171750 w 9586368"/>
                <a:gd name="connsiteY5499" fmla="*/ 2646366 h 6479439"/>
                <a:gd name="connsiteX5500" fmla="*/ 2167732 w 9586368"/>
                <a:gd name="connsiteY5500" fmla="*/ 2650405 h 6479439"/>
                <a:gd name="connsiteX5501" fmla="*/ 2157821 w 9586368"/>
                <a:gd name="connsiteY5501" fmla="*/ 2650405 h 6479439"/>
                <a:gd name="connsiteX5502" fmla="*/ 2153802 w 9586368"/>
                <a:gd name="connsiteY5502" fmla="*/ 2646366 h 6479439"/>
                <a:gd name="connsiteX5503" fmla="*/ 2153802 w 9586368"/>
                <a:gd name="connsiteY5503" fmla="*/ 2636496 h 6479439"/>
                <a:gd name="connsiteX5504" fmla="*/ 1918513 w 9586368"/>
                <a:gd name="connsiteY5504" fmla="*/ 2632457 h 6479439"/>
                <a:gd name="connsiteX5505" fmla="*/ 1928422 w 9586368"/>
                <a:gd name="connsiteY5505" fmla="*/ 2632457 h 6479439"/>
                <a:gd name="connsiteX5506" fmla="*/ 1932441 w 9586368"/>
                <a:gd name="connsiteY5506" fmla="*/ 2636496 h 6479439"/>
                <a:gd name="connsiteX5507" fmla="*/ 1932441 w 9586368"/>
                <a:gd name="connsiteY5507" fmla="*/ 2646366 h 6479439"/>
                <a:gd name="connsiteX5508" fmla="*/ 1928422 w 9586368"/>
                <a:gd name="connsiteY5508" fmla="*/ 2650405 h 6479439"/>
                <a:gd name="connsiteX5509" fmla="*/ 1918513 w 9586368"/>
                <a:gd name="connsiteY5509" fmla="*/ 2650405 h 6479439"/>
                <a:gd name="connsiteX5510" fmla="*/ 1914494 w 9586368"/>
                <a:gd name="connsiteY5510" fmla="*/ 2646366 h 6479439"/>
                <a:gd name="connsiteX5511" fmla="*/ 1914494 w 9586368"/>
                <a:gd name="connsiteY5511" fmla="*/ 2636496 h 6479439"/>
                <a:gd name="connsiteX5512" fmla="*/ 1679212 w 9586368"/>
                <a:gd name="connsiteY5512" fmla="*/ 2632457 h 6479439"/>
                <a:gd name="connsiteX5513" fmla="*/ 1689122 w 9586368"/>
                <a:gd name="connsiteY5513" fmla="*/ 2632457 h 6479439"/>
                <a:gd name="connsiteX5514" fmla="*/ 1693141 w 9586368"/>
                <a:gd name="connsiteY5514" fmla="*/ 2636496 h 6479439"/>
                <a:gd name="connsiteX5515" fmla="*/ 1693141 w 9586368"/>
                <a:gd name="connsiteY5515" fmla="*/ 2646366 h 6479439"/>
                <a:gd name="connsiteX5516" fmla="*/ 1689122 w 9586368"/>
                <a:gd name="connsiteY5516" fmla="*/ 2650405 h 6479439"/>
                <a:gd name="connsiteX5517" fmla="*/ 1679212 w 9586368"/>
                <a:gd name="connsiteY5517" fmla="*/ 2650405 h 6479439"/>
                <a:gd name="connsiteX5518" fmla="*/ 1675193 w 9586368"/>
                <a:gd name="connsiteY5518" fmla="*/ 2646366 h 6479439"/>
                <a:gd name="connsiteX5519" fmla="*/ 1675193 w 9586368"/>
                <a:gd name="connsiteY5519" fmla="*/ 2636496 h 6479439"/>
                <a:gd name="connsiteX5520" fmla="*/ 1439896 w 9586368"/>
                <a:gd name="connsiteY5520" fmla="*/ 2632457 h 6479439"/>
                <a:gd name="connsiteX5521" fmla="*/ 1449806 w 9586368"/>
                <a:gd name="connsiteY5521" fmla="*/ 2632457 h 6479439"/>
                <a:gd name="connsiteX5522" fmla="*/ 1453824 w 9586368"/>
                <a:gd name="connsiteY5522" fmla="*/ 2636496 h 6479439"/>
                <a:gd name="connsiteX5523" fmla="*/ 1453824 w 9586368"/>
                <a:gd name="connsiteY5523" fmla="*/ 2646366 h 6479439"/>
                <a:gd name="connsiteX5524" fmla="*/ 1449806 w 9586368"/>
                <a:gd name="connsiteY5524" fmla="*/ 2650405 h 6479439"/>
                <a:gd name="connsiteX5525" fmla="*/ 1439896 w 9586368"/>
                <a:gd name="connsiteY5525" fmla="*/ 2650405 h 6479439"/>
                <a:gd name="connsiteX5526" fmla="*/ 1435876 w 9586368"/>
                <a:gd name="connsiteY5526" fmla="*/ 2646366 h 6479439"/>
                <a:gd name="connsiteX5527" fmla="*/ 1435876 w 9586368"/>
                <a:gd name="connsiteY5527" fmla="*/ 2636496 h 6479439"/>
                <a:gd name="connsiteX5528" fmla="*/ 1200580 w 9586368"/>
                <a:gd name="connsiteY5528" fmla="*/ 2632457 h 6479439"/>
                <a:gd name="connsiteX5529" fmla="*/ 1210490 w 9586368"/>
                <a:gd name="connsiteY5529" fmla="*/ 2632457 h 6479439"/>
                <a:gd name="connsiteX5530" fmla="*/ 1214509 w 9586368"/>
                <a:gd name="connsiteY5530" fmla="*/ 2636496 h 6479439"/>
                <a:gd name="connsiteX5531" fmla="*/ 1214509 w 9586368"/>
                <a:gd name="connsiteY5531" fmla="*/ 2646366 h 6479439"/>
                <a:gd name="connsiteX5532" fmla="*/ 1210490 w 9586368"/>
                <a:gd name="connsiteY5532" fmla="*/ 2650405 h 6479439"/>
                <a:gd name="connsiteX5533" fmla="*/ 1200580 w 9586368"/>
                <a:gd name="connsiteY5533" fmla="*/ 2650405 h 6479439"/>
                <a:gd name="connsiteX5534" fmla="*/ 1196561 w 9586368"/>
                <a:gd name="connsiteY5534" fmla="*/ 2646366 h 6479439"/>
                <a:gd name="connsiteX5535" fmla="*/ 1196561 w 9586368"/>
                <a:gd name="connsiteY5535" fmla="*/ 2636496 h 6479439"/>
                <a:gd name="connsiteX5536" fmla="*/ 961267 w 9586368"/>
                <a:gd name="connsiteY5536" fmla="*/ 2632457 h 6479439"/>
                <a:gd name="connsiteX5537" fmla="*/ 971178 w 9586368"/>
                <a:gd name="connsiteY5537" fmla="*/ 2632457 h 6479439"/>
                <a:gd name="connsiteX5538" fmla="*/ 975196 w 9586368"/>
                <a:gd name="connsiteY5538" fmla="*/ 2636496 h 6479439"/>
                <a:gd name="connsiteX5539" fmla="*/ 975196 w 9586368"/>
                <a:gd name="connsiteY5539" fmla="*/ 2646366 h 6479439"/>
                <a:gd name="connsiteX5540" fmla="*/ 971178 w 9586368"/>
                <a:gd name="connsiteY5540" fmla="*/ 2650405 h 6479439"/>
                <a:gd name="connsiteX5541" fmla="*/ 961267 w 9586368"/>
                <a:gd name="connsiteY5541" fmla="*/ 2650405 h 6479439"/>
                <a:gd name="connsiteX5542" fmla="*/ 957249 w 9586368"/>
                <a:gd name="connsiteY5542" fmla="*/ 2646366 h 6479439"/>
                <a:gd name="connsiteX5543" fmla="*/ 957249 w 9586368"/>
                <a:gd name="connsiteY5543" fmla="*/ 2636496 h 6479439"/>
                <a:gd name="connsiteX5544" fmla="*/ 721970 w 9586368"/>
                <a:gd name="connsiteY5544" fmla="*/ 2632457 h 6479439"/>
                <a:gd name="connsiteX5545" fmla="*/ 731879 w 9586368"/>
                <a:gd name="connsiteY5545" fmla="*/ 2632457 h 6479439"/>
                <a:gd name="connsiteX5546" fmla="*/ 735898 w 9586368"/>
                <a:gd name="connsiteY5546" fmla="*/ 2636496 h 6479439"/>
                <a:gd name="connsiteX5547" fmla="*/ 735898 w 9586368"/>
                <a:gd name="connsiteY5547" fmla="*/ 2646366 h 6479439"/>
                <a:gd name="connsiteX5548" fmla="*/ 731879 w 9586368"/>
                <a:gd name="connsiteY5548" fmla="*/ 2650405 h 6479439"/>
                <a:gd name="connsiteX5549" fmla="*/ 721970 w 9586368"/>
                <a:gd name="connsiteY5549" fmla="*/ 2650405 h 6479439"/>
                <a:gd name="connsiteX5550" fmla="*/ 717951 w 9586368"/>
                <a:gd name="connsiteY5550" fmla="*/ 2646366 h 6479439"/>
                <a:gd name="connsiteX5551" fmla="*/ 717951 w 9586368"/>
                <a:gd name="connsiteY5551" fmla="*/ 2636496 h 6479439"/>
                <a:gd name="connsiteX5552" fmla="*/ 482657 w 9586368"/>
                <a:gd name="connsiteY5552" fmla="*/ 2632457 h 6479439"/>
                <a:gd name="connsiteX5553" fmla="*/ 492567 w 9586368"/>
                <a:gd name="connsiteY5553" fmla="*/ 2632457 h 6479439"/>
                <a:gd name="connsiteX5554" fmla="*/ 496586 w 9586368"/>
                <a:gd name="connsiteY5554" fmla="*/ 2636496 h 6479439"/>
                <a:gd name="connsiteX5555" fmla="*/ 496586 w 9586368"/>
                <a:gd name="connsiteY5555" fmla="*/ 2646366 h 6479439"/>
                <a:gd name="connsiteX5556" fmla="*/ 492567 w 9586368"/>
                <a:gd name="connsiteY5556" fmla="*/ 2650405 h 6479439"/>
                <a:gd name="connsiteX5557" fmla="*/ 482657 w 9586368"/>
                <a:gd name="connsiteY5557" fmla="*/ 2650405 h 6479439"/>
                <a:gd name="connsiteX5558" fmla="*/ 478638 w 9586368"/>
                <a:gd name="connsiteY5558" fmla="*/ 2646366 h 6479439"/>
                <a:gd name="connsiteX5559" fmla="*/ 478638 w 9586368"/>
                <a:gd name="connsiteY5559" fmla="*/ 2636496 h 6479439"/>
                <a:gd name="connsiteX5560" fmla="*/ 243344 w 9586368"/>
                <a:gd name="connsiteY5560" fmla="*/ 2632457 h 6479439"/>
                <a:gd name="connsiteX5561" fmla="*/ 253254 w 9586368"/>
                <a:gd name="connsiteY5561" fmla="*/ 2632457 h 6479439"/>
                <a:gd name="connsiteX5562" fmla="*/ 257273 w 9586368"/>
                <a:gd name="connsiteY5562" fmla="*/ 2636496 h 6479439"/>
                <a:gd name="connsiteX5563" fmla="*/ 257273 w 9586368"/>
                <a:gd name="connsiteY5563" fmla="*/ 2646366 h 6479439"/>
                <a:gd name="connsiteX5564" fmla="*/ 253254 w 9586368"/>
                <a:gd name="connsiteY5564" fmla="*/ 2650405 h 6479439"/>
                <a:gd name="connsiteX5565" fmla="*/ 243344 w 9586368"/>
                <a:gd name="connsiteY5565" fmla="*/ 2650405 h 6479439"/>
                <a:gd name="connsiteX5566" fmla="*/ 239325 w 9586368"/>
                <a:gd name="connsiteY5566" fmla="*/ 2646366 h 6479439"/>
                <a:gd name="connsiteX5567" fmla="*/ 239325 w 9586368"/>
                <a:gd name="connsiteY5567" fmla="*/ 2636496 h 6479439"/>
                <a:gd name="connsiteX5568" fmla="*/ 4030 w 9586368"/>
                <a:gd name="connsiteY5568" fmla="*/ 2632457 h 6479439"/>
                <a:gd name="connsiteX5569" fmla="*/ 13941 w 9586368"/>
                <a:gd name="connsiteY5569" fmla="*/ 2632457 h 6479439"/>
                <a:gd name="connsiteX5570" fmla="*/ 17960 w 9586368"/>
                <a:gd name="connsiteY5570" fmla="*/ 2636496 h 6479439"/>
                <a:gd name="connsiteX5571" fmla="*/ 17960 w 9586368"/>
                <a:gd name="connsiteY5571" fmla="*/ 2646366 h 6479439"/>
                <a:gd name="connsiteX5572" fmla="*/ 13941 w 9586368"/>
                <a:gd name="connsiteY5572" fmla="*/ 2650405 h 6479439"/>
                <a:gd name="connsiteX5573" fmla="*/ 4030 w 9586368"/>
                <a:gd name="connsiteY5573" fmla="*/ 2650405 h 6479439"/>
                <a:gd name="connsiteX5574" fmla="*/ 11 w 9586368"/>
                <a:gd name="connsiteY5574" fmla="*/ 2646366 h 6479439"/>
                <a:gd name="connsiteX5575" fmla="*/ 11 w 9586368"/>
                <a:gd name="connsiteY5575" fmla="*/ 2636496 h 6479439"/>
                <a:gd name="connsiteX5576" fmla="*/ 2157821 w 9586368"/>
                <a:gd name="connsiteY5576" fmla="*/ 2393178 h 6479439"/>
                <a:gd name="connsiteX5577" fmla="*/ 2167732 w 9586368"/>
                <a:gd name="connsiteY5577" fmla="*/ 2393178 h 6479439"/>
                <a:gd name="connsiteX5578" fmla="*/ 2171750 w 9586368"/>
                <a:gd name="connsiteY5578" fmla="*/ 2397216 h 6479439"/>
                <a:gd name="connsiteX5579" fmla="*/ 2171750 w 9586368"/>
                <a:gd name="connsiteY5579" fmla="*/ 2407087 h 6479439"/>
                <a:gd name="connsiteX5580" fmla="*/ 2167732 w 9586368"/>
                <a:gd name="connsiteY5580" fmla="*/ 2411126 h 6479439"/>
                <a:gd name="connsiteX5581" fmla="*/ 2157821 w 9586368"/>
                <a:gd name="connsiteY5581" fmla="*/ 2411126 h 6479439"/>
                <a:gd name="connsiteX5582" fmla="*/ 2153802 w 9586368"/>
                <a:gd name="connsiteY5582" fmla="*/ 2407087 h 6479439"/>
                <a:gd name="connsiteX5583" fmla="*/ 2153802 w 9586368"/>
                <a:gd name="connsiteY5583" fmla="*/ 2397216 h 6479439"/>
                <a:gd name="connsiteX5584" fmla="*/ 1918513 w 9586368"/>
                <a:gd name="connsiteY5584" fmla="*/ 2393178 h 6479439"/>
                <a:gd name="connsiteX5585" fmla="*/ 1928422 w 9586368"/>
                <a:gd name="connsiteY5585" fmla="*/ 2393178 h 6479439"/>
                <a:gd name="connsiteX5586" fmla="*/ 1932443 w 9586368"/>
                <a:gd name="connsiteY5586" fmla="*/ 2397216 h 6479439"/>
                <a:gd name="connsiteX5587" fmla="*/ 1932443 w 9586368"/>
                <a:gd name="connsiteY5587" fmla="*/ 2407087 h 6479439"/>
                <a:gd name="connsiteX5588" fmla="*/ 1928422 w 9586368"/>
                <a:gd name="connsiteY5588" fmla="*/ 2411126 h 6479439"/>
                <a:gd name="connsiteX5589" fmla="*/ 1918513 w 9586368"/>
                <a:gd name="connsiteY5589" fmla="*/ 2411126 h 6479439"/>
                <a:gd name="connsiteX5590" fmla="*/ 1914494 w 9586368"/>
                <a:gd name="connsiteY5590" fmla="*/ 2407087 h 6479439"/>
                <a:gd name="connsiteX5591" fmla="*/ 1914494 w 9586368"/>
                <a:gd name="connsiteY5591" fmla="*/ 2397216 h 6479439"/>
                <a:gd name="connsiteX5592" fmla="*/ 1679212 w 9586368"/>
                <a:gd name="connsiteY5592" fmla="*/ 2393178 h 6479439"/>
                <a:gd name="connsiteX5593" fmla="*/ 1689123 w 9586368"/>
                <a:gd name="connsiteY5593" fmla="*/ 2393178 h 6479439"/>
                <a:gd name="connsiteX5594" fmla="*/ 1693142 w 9586368"/>
                <a:gd name="connsiteY5594" fmla="*/ 2397216 h 6479439"/>
                <a:gd name="connsiteX5595" fmla="*/ 1693142 w 9586368"/>
                <a:gd name="connsiteY5595" fmla="*/ 2407087 h 6479439"/>
                <a:gd name="connsiteX5596" fmla="*/ 1689123 w 9586368"/>
                <a:gd name="connsiteY5596" fmla="*/ 2411126 h 6479439"/>
                <a:gd name="connsiteX5597" fmla="*/ 1679212 w 9586368"/>
                <a:gd name="connsiteY5597" fmla="*/ 2411126 h 6479439"/>
                <a:gd name="connsiteX5598" fmla="*/ 1675194 w 9586368"/>
                <a:gd name="connsiteY5598" fmla="*/ 2407087 h 6479439"/>
                <a:gd name="connsiteX5599" fmla="*/ 1675194 w 9586368"/>
                <a:gd name="connsiteY5599" fmla="*/ 2397216 h 6479439"/>
                <a:gd name="connsiteX5600" fmla="*/ 1439896 w 9586368"/>
                <a:gd name="connsiteY5600" fmla="*/ 2393178 h 6479439"/>
                <a:gd name="connsiteX5601" fmla="*/ 1449806 w 9586368"/>
                <a:gd name="connsiteY5601" fmla="*/ 2393178 h 6479439"/>
                <a:gd name="connsiteX5602" fmla="*/ 1453826 w 9586368"/>
                <a:gd name="connsiteY5602" fmla="*/ 2397216 h 6479439"/>
                <a:gd name="connsiteX5603" fmla="*/ 1453826 w 9586368"/>
                <a:gd name="connsiteY5603" fmla="*/ 2407087 h 6479439"/>
                <a:gd name="connsiteX5604" fmla="*/ 1449806 w 9586368"/>
                <a:gd name="connsiteY5604" fmla="*/ 2411126 h 6479439"/>
                <a:gd name="connsiteX5605" fmla="*/ 1439896 w 9586368"/>
                <a:gd name="connsiteY5605" fmla="*/ 2411126 h 6479439"/>
                <a:gd name="connsiteX5606" fmla="*/ 1435878 w 9586368"/>
                <a:gd name="connsiteY5606" fmla="*/ 2407087 h 6479439"/>
                <a:gd name="connsiteX5607" fmla="*/ 1435878 w 9586368"/>
                <a:gd name="connsiteY5607" fmla="*/ 2397216 h 6479439"/>
                <a:gd name="connsiteX5608" fmla="*/ 1200580 w 9586368"/>
                <a:gd name="connsiteY5608" fmla="*/ 2393178 h 6479439"/>
                <a:gd name="connsiteX5609" fmla="*/ 1210491 w 9586368"/>
                <a:gd name="connsiteY5609" fmla="*/ 2393178 h 6479439"/>
                <a:gd name="connsiteX5610" fmla="*/ 1214510 w 9586368"/>
                <a:gd name="connsiteY5610" fmla="*/ 2397216 h 6479439"/>
                <a:gd name="connsiteX5611" fmla="*/ 1214510 w 9586368"/>
                <a:gd name="connsiteY5611" fmla="*/ 2407087 h 6479439"/>
                <a:gd name="connsiteX5612" fmla="*/ 1210491 w 9586368"/>
                <a:gd name="connsiteY5612" fmla="*/ 2411126 h 6479439"/>
                <a:gd name="connsiteX5613" fmla="*/ 1200580 w 9586368"/>
                <a:gd name="connsiteY5613" fmla="*/ 2411126 h 6479439"/>
                <a:gd name="connsiteX5614" fmla="*/ 1196562 w 9586368"/>
                <a:gd name="connsiteY5614" fmla="*/ 2407087 h 6479439"/>
                <a:gd name="connsiteX5615" fmla="*/ 1196562 w 9586368"/>
                <a:gd name="connsiteY5615" fmla="*/ 2397216 h 6479439"/>
                <a:gd name="connsiteX5616" fmla="*/ 961268 w 9586368"/>
                <a:gd name="connsiteY5616" fmla="*/ 2393178 h 6479439"/>
                <a:gd name="connsiteX5617" fmla="*/ 971178 w 9586368"/>
                <a:gd name="connsiteY5617" fmla="*/ 2393178 h 6479439"/>
                <a:gd name="connsiteX5618" fmla="*/ 975196 w 9586368"/>
                <a:gd name="connsiteY5618" fmla="*/ 2397216 h 6479439"/>
                <a:gd name="connsiteX5619" fmla="*/ 975196 w 9586368"/>
                <a:gd name="connsiteY5619" fmla="*/ 2407087 h 6479439"/>
                <a:gd name="connsiteX5620" fmla="*/ 971178 w 9586368"/>
                <a:gd name="connsiteY5620" fmla="*/ 2411126 h 6479439"/>
                <a:gd name="connsiteX5621" fmla="*/ 961268 w 9586368"/>
                <a:gd name="connsiteY5621" fmla="*/ 2411126 h 6479439"/>
                <a:gd name="connsiteX5622" fmla="*/ 957249 w 9586368"/>
                <a:gd name="connsiteY5622" fmla="*/ 2407087 h 6479439"/>
                <a:gd name="connsiteX5623" fmla="*/ 957249 w 9586368"/>
                <a:gd name="connsiteY5623" fmla="*/ 2397216 h 6479439"/>
                <a:gd name="connsiteX5624" fmla="*/ 9572438 w 9586368"/>
                <a:gd name="connsiteY5624" fmla="*/ 2393127 h 6479439"/>
                <a:gd name="connsiteX5625" fmla="*/ 9582349 w 9586368"/>
                <a:gd name="connsiteY5625" fmla="*/ 2393127 h 6479439"/>
                <a:gd name="connsiteX5626" fmla="*/ 9586368 w 9586368"/>
                <a:gd name="connsiteY5626" fmla="*/ 2397165 h 6479439"/>
                <a:gd name="connsiteX5627" fmla="*/ 9586368 w 9586368"/>
                <a:gd name="connsiteY5627" fmla="*/ 2407036 h 6479439"/>
                <a:gd name="connsiteX5628" fmla="*/ 9582349 w 9586368"/>
                <a:gd name="connsiteY5628" fmla="*/ 2411074 h 6479439"/>
                <a:gd name="connsiteX5629" fmla="*/ 9572438 w 9586368"/>
                <a:gd name="connsiteY5629" fmla="*/ 2411074 h 6479439"/>
                <a:gd name="connsiteX5630" fmla="*/ 9568419 w 9586368"/>
                <a:gd name="connsiteY5630" fmla="*/ 2407036 h 6479439"/>
                <a:gd name="connsiteX5631" fmla="*/ 9568419 w 9586368"/>
                <a:gd name="connsiteY5631" fmla="*/ 2397165 h 6479439"/>
                <a:gd name="connsiteX5632" fmla="*/ 9333125 w 9586368"/>
                <a:gd name="connsiteY5632" fmla="*/ 2393127 h 6479439"/>
                <a:gd name="connsiteX5633" fmla="*/ 9343036 w 9586368"/>
                <a:gd name="connsiteY5633" fmla="*/ 2393127 h 6479439"/>
                <a:gd name="connsiteX5634" fmla="*/ 9347055 w 9586368"/>
                <a:gd name="connsiteY5634" fmla="*/ 2397165 h 6479439"/>
                <a:gd name="connsiteX5635" fmla="*/ 9347055 w 9586368"/>
                <a:gd name="connsiteY5635" fmla="*/ 2407036 h 6479439"/>
                <a:gd name="connsiteX5636" fmla="*/ 9343036 w 9586368"/>
                <a:gd name="connsiteY5636" fmla="*/ 2411074 h 6479439"/>
                <a:gd name="connsiteX5637" fmla="*/ 9333125 w 9586368"/>
                <a:gd name="connsiteY5637" fmla="*/ 2411074 h 6479439"/>
                <a:gd name="connsiteX5638" fmla="*/ 9329106 w 9586368"/>
                <a:gd name="connsiteY5638" fmla="*/ 2407036 h 6479439"/>
                <a:gd name="connsiteX5639" fmla="*/ 9329106 w 9586368"/>
                <a:gd name="connsiteY5639" fmla="*/ 2397165 h 6479439"/>
                <a:gd name="connsiteX5640" fmla="*/ 9093811 w 9586368"/>
                <a:gd name="connsiteY5640" fmla="*/ 2393127 h 6479439"/>
                <a:gd name="connsiteX5641" fmla="*/ 9103722 w 9586368"/>
                <a:gd name="connsiteY5641" fmla="*/ 2393127 h 6479439"/>
                <a:gd name="connsiteX5642" fmla="*/ 9107741 w 9586368"/>
                <a:gd name="connsiteY5642" fmla="*/ 2397165 h 6479439"/>
                <a:gd name="connsiteX5643" fmla="*/ 9107741 w 9586368"/>
                <a:gd name="connsiteY5643" fmla="*/ 2407036 h 6479439"/>
                <a:gd name="connsiteX5644" fmla="*/ 9103722 w 9586368"/>
                <a:gd name="connsiteY5644" fmla="*/ 2411074 h 6479439"/>
                <a:gd name="connsiteX5645" fmla="*/ 9093811 w 9586368"/>
                <a:gd name="connsiteY5645" fmla="*/ 2411074 h 6479439"/>
                <a:gd name="connsiteX5646" fmla="*/ 9089792 w 9586368"/>
                <a:gd name="connsiteY5646" fmla="*/ 2407036 h 6479439"/>
                <a:gd name="connsiteX5647" fmla="*/ 9089792 w 9586368"/>
                <a:gd name="connsiteY5647" fmla="*/ 2397165 h 6479439"/>
                <a:gd name="connsiteX5648" fmla="*/ 8854496 w 9586368"/>
                <a:gd name="connsiteY5648" fmla="*/ 2393127 h 6479439"/>
                <a:gd name="connsiteX5649" fmla="*/ 8864407 w 9586368"/>
                <a:gd name="connsiteY5649" fmla="*/ 2393127 h 6479439"/>
                <a:gd name="connsiteX5650" fmla="*/ 8868426 w 9586368"/>
                <a:gd name="connsiteY5650" fmla="*/ 2397165 h 6479439"/>
                <a:gd name="connsiteX5651" fmla="*/ 8868426 w 9586368"/>
                <a:gd name="connsiteY5651" fmla="*/ 2407036 h 6479439"/>
                <a:gd name="connsiteX5652" fmla="*/ 8864407 w 9586368"/>
                <a:gd name="connsiteY5652" fmla="*/ 2411074 h 6479439"/>
                <a:gd name="connsiteX5653" fmla="*/ 8854496 w 9586368"/>
                <a:gd name="connsiteY5653" fmla="*/ 2411074 h 6479439"/>
                <a:gd name="connsiteX5654" fmla="*/ 8850477 w 9586368"/>
                <a:gd name="connsiteY5654" fmla="*/ 2407036 h 6479439"/>
                <a:gd name="connsiteX5655" fmla="*/ 8850477 w 9586368"/>
                <a:gd name="connsiteY5655" fmla="*/ 2397165 h 6479439"/>
                <a:gd name="connsiteX5656" fmla="*/ 8615184 w 9586368"/>
                <a:gd name="connsiteY5656" fmla="*/ 2393127 h 6479439"/>
                <a:gd name="connsiteX5657" fmla="*/ 8625095 w 9586368"/>
                <a:gd name="connsiteY5657" fmla="*/ 2393127 h 6479439"/>
                <a:gd name="connsiteX5658" fmla="*/ 8629114 w 9586368"/>
                <a:gd name="connsiteY5658" fmla="*/ 2397165 h 6479439"/>
                <a:gd name="connsiteX5659" fmla="*/ 8629114 w 9586368"/>
                <a:gd name="connsiteY5659" fmla="*/ 2407036 h 6479439"/>
                <a:gd name="connsiteX5660" fmla="*/ 8625095 w 9586368"/>
                <a:gd name="connsiteY5660" fmla="*/ 2411074 h 6479439"/>
                <a:gd name="connsiteX5661" fmla="*/ 8615184 w 9586368"/>
                <a:gd name="connsiteY5661" fmla="*/ 2411074 h 6479439"/>
                <a:gd name="connsiteX5662" fmla="*/ 8611165 w 9586368"/>
                <a:gd name="connsiteY5662" fmla="*/ 2407036 h 6479439"/>
                <a:gd name="connsiteX5663" fmla="*/ 8611165 w 9586368"/>
                <a:gd name="connsiteY5663" fmla="*/ 2397165 h 6479439"/>
                <a:gd name="connsiteX5664" fmla="*/ 8375869 w 9586368"/>
                <a:gd name="connsiteY5664" fmla="*/ 2393127 h 6479439"/>
                <a:gd name="connsiteX5665" fmla="*/ 8385779 w 9586368"/>
                <a:gd name="connsiteY5665" fmla="*/ 2393127 h 6479439"/>
                <a:gd name="connsiteX5666" fmla="*/ 8389799 w 9586368"/>
                <a:gd name="connsiteY5666" fmla="*/ 2397165 h 6479439"/>
                <a:gd name="connsiteX5667" fmla="*/ 8389799 w 9586368"/>
                <a:gd name="connsiteY5667" fmla="*/ 2407036 h 6479439"/>
                <a:gd name="connsiteX5668" fmla="*/ 8385779 w 9586368"/>
                <a:gd name="connsiteY5668" fmla="*/ 2411074 h 6479439"/>
                <a:gd name="connsiteX5669" fmla="*/ 8375869 w 9586368"/>
                <a:gd name="connsiteY5669" fmla="*/ 2411074 h 6479439"/>
                <a:gd name="connsiteX5670" fmla="*/ 8371850 w 9586368"/>
                <a:gd name="connsiteY5670" fmla="*/ 2407036 h 6479439"/>
                <a:gd name="connsiteX5671" fmla="*/ 8371850 w 9586368"/>
                <a:gd name="connsiteY5671" fmla="*/ 2397165 h 6479439"/>
                <a:gd name="connsiteX5672" fmla="*/ 8136553 w 9586368"/>
                <a:gd name="connsiteY5672" fmla="*/ 2393127 h 6479439"/>
                <a:gd name="connsiteX5673" fmla="*/ 8146464 w 9586368"/>
                <a:gd name="connsiteY5673" fmla="*/ 2393127 h 6479439"/>
                <a:gd name="connsiteX5674" fmla="*/ 8150483 w 9586368"/>
                <a:gd name="connsiteY5674" fmla="*/ 2397165 h 6479439"/>
                <a:gd name="connsiteX5675" fmla="*/ 8150483 w 9586368"/>
                <a:gd name="connsiteY5675" fmla="*/ 2407036 h 6479439"/>
                <a:gd name="connsiteX5676" fmla="*/ 8146464 w 9586368"/>
                <a:gd name="connsiteY5676" fmla="*/ 2411074 h 6479439"/>
                <a:gd name="connsiteX5677" fmla="*/ 8136553 w 9586368"/>
                <a:gd name="connsiteY5677" fmla="*/ 2411074 h 6479439"/>
                <a:gd name="connsiteX5678" fmla="*/ 8132534 w 9586368"/>
                <a:gd name="connsiteY5678" fmla="*/ 2407036 h 6479439"/>
                <a:gd name="connsiteX5679" fmla="*/ 8132534 w 9586368"/>
                <a:gd name="connsiteY5679" fmla="*/ 2397165 h 6479439"/>
                <a:gd name="connsiteX5680" fmla="*/ 7897241 w 9586368"/>
                <a:gd name="connsiteY5680" fmla="*/ 2393127 h 6479439"/>
                <a:gd name="connsiteX5681" fmla="*/ 7907151 w 9586368"/>
                <a:gd name="connsiteY5681" fmla="*/ 2393127 h 6479439"/>
                <a:gd name="connsiteX5682" fmla="*/ 7911170 w 9586368"/>
                <a:gd name="connsiteY5682" fmla="*/ 2397165 h 6479439"/>
                <a:gd name="connsiteX5683" fmla="*/ 7911170 w 9586368"/>
                <a:gd name="connsiteY5683" fmla="*/ 2407036 h 6479439"/>
                <a:gd name="connsiteX5684" fmla="*/ 7907151 w 9586368"/>
                <a:gd name="connsiteY5684" fmla="*/ 2411074 h 6479439"/>
                <a:gd name="connsiteX5685" fmla="*/ 7897241 w 9586368"/>
                <a:gd name="connsiteY5685" fmla="*/ 2411074 h 6479439"/>
                <a:gd name="connsiteX5686" fmla="*/ 7893222 w 9586368"/>
                <a:gd name="connsiteY5686" fmla="*/ 2407036 h 6479439"/>
                <a:gd name="connsiteX5687" fmla="*/ 7893222 w 9586368"/>
                <a:gd name="connsiteY5687" fmla="*/ 2397165 h 6479439"/>
                <a:gd name="connsiteX5688" fmla="*/ 7657926 w 9586368"/>
                <a:gd name="connsiteY5688" fmla="*/ 2393127 h 6479439"/>
                <a:gd name="connsiteX5689" fmla="*/ 7667836 w 9586368"/>
                <a:gd name="connsiteY5689" fmla="*/ 2393127 h 6479439"/>
                <a:gd name="connsiteX5690" fmla="*/ 7671855 w 9586368"/>
                <a:gd name="connsiteY5690" fmla="*/ 2397165 h 6479439"/>
                <a:gd name="connsiteX5691" fmla="*/ 7671855 w 9586368"/>
                <a:gd name="connsiteY5691" fmla="*/ 2407036 h 6479439"/>
                <a:gd name="connsiteX5692" fmla="*/ 7667836 w 9586368"/>
                <a:gd name="connsiteY5692" fmla="*/ 2411074 h 6479439"/>
                <a:gd name="connsiteX5693" fmla="*/ 7657926 w 9586368"/>
                <a:gd name="connsiteY5693" fmla="*/ 2411074 h 6479439"/>
                <a:gd name="connsiteX5694" fmla="*/ 7653906 w 9586368"/>
                <a:gd name="connsiteY5694" fmla="*/ 2407036 h 6479439"/>
                <a:gd name="connsiteX5695" fmla="*/ 7653906 w 9586368"/>
                <a:gd name="connsiteY5695" fmla="*/ 2397165 h 6479439"/>
                <a:gd name="connsiteX5696" fmla="*/ 7418611 w 9586368"/>
                <a:gd name="connsiteY5696" fmla="*/ 2393127 h 6479439"/>
                <a:gd name="connsiteX5697" fmla="*/ 7428521 w 9586368"/>
                <a:gd name="connsiteY5697" fmla="*/ 2393127 h 6479439"/>
                <a:gd name="connsiteX5698" fmla="*/ 7432540 w 9586368"/>
                <a:gd name="connsiteY5698" fmla="*/ 2397165 h 6479439"/>
                <a:gd name="connsiteX5699" fmla="*/ 7432540 w 9586368"/>
                <a:gd name="connsiteY5699" fmla="*/ 2407036 h 6479439"/>
                <a:gd name="connsiteX5700" fmla="*/ 7428521 w 9586368"/>
                <a:gd name="connsiteY5700" fmla="*/ 2411074 h 6479439"/>
                <a:gd name="connsiteX5701" fmla="*/ 7418611 w 9586368"/>
                <a:gd name="connsiteY5701" fmla="*/ 2411074 h 6479439"/>
                <a:gd name="connsiteX5702" fmla="*/ 7414592 w 9586368"/>
                <a:gd name="connsiteY5702" fmla="*/ 2407036 h 6479439"/>
                <a:gd name="connsiteX5703" fmla="*/ 7414592 w 9586368"/>
                <a:gd name="connsiteY5703" fmla="*/ 2397165 h 6479439"/>
                <a:gd name="connsiteX5704" fmla="*/ 7179298 w 9586368"/>
                <a:gd name="connsiteY5704" fmla="*/ 2393127 h 6479439"/>
                <a:gd name="connsiteX5705" fmla="*/ 7189209 w 9586368"/>
                <a:gd name="connsiteY5705" fmla="*/ 2393127 h 6479439"/>
                <a:gd name="connsiteX5706" fmla="*/ 7193228 w 9586368"/>
                <a:gd name="connsiteY5706" fmla="*/ 2397165 h 6479439"/>
                <a:gd name="connsiteX5707" fmla="*/ 7193228 w 9586368"/>
                <a:gd name="connsiteY5707" fmla="*/ 2407036 h 6479439"/>
                <a:gd name="connsiteX5708" fmla="*/ 7189209 w 9586368"/>
                <a:gd name="connsiteY5708" fmla="*/ 2411074 h 6479439"/>
                <a:gd name="connsiteX5709" fmla="*/ 7179298 w 9586368"/>
                <a:gd name="connsiteY5709" fmla="*/ 2411074 h 6479439"/>
                <a:gd name="connsiteX5710" fmla="*/ 7175279 w 9586368"/>
                <a:gd name="connsiteY5710" fmla="*/ 2407036 h 6479439"/>
                <a:gd name="connsiteX5711" fmla="*/ 7175279 w 9586368"/>
                <a:gd name="connsiteY5711" fmla="*/ 2397165 h 6479439"/>
                <a:gd name="connsiteX5712" fmla="*/ 6939983 w 9586368"/>
                <a:gd name="connsiteY5712" fmla="*/ 2393127 h 6479439"/>
                <a:gd name="connsiteX5713" fmla="*/ 6949894 w 9586368"/>
                <a:gd name="connsiteY5713" fmla="*/ 2393127 h 6479439"/>
                <a:gd name="connsiteX5714" fmla="*/ 6953913 w 9586368"/>
                <a:gd name="connsiteY5714" fmla="*/ 2397165 h 6479439"/>
                <a:gd name="connsiteX5715" fmla="*/ 6953913 w 9586368"/>
                <a:gd name="connsiteY5715" fmla="*/ 2407036 h 6479439"/>
                <a:gd name="connsiteX5716" fmla="*/ 6949894 w 9586368"/>
                <a:gd name="connsiteY5716" fmla="*/ 2411074 h 6479439"/>
                <a:gd name="connsiteX5717" fmla="*/ 6939983 w 9586368"/>
                <a:gd name="connsiteY5717" fmla="*/ 2411074 h 6479439"/>
                <a:gd name="connsiteX5718" fmla="*/ 6935964 w 9586368"/>
                <a:gd name="connsiteY5718" fmla="*/ 2407036 h 6479439"/>
                <a:gd name="connsiteX5719" fmla="*/ 6935964 w 9586368"/>
                <a:gd name="connsiteY5719" fmla="*/ 2397165 h 6479439"/>
                <a:gd name="connsiteX5720" fmla="*/ 6700670 w 9586368"/>
                <a:gd name="connsiteY5720" fmla="*/ 2393127 h 6479439"/>
                <a:gd name="connsiteX5721" fmla="*/ 6710581 w 9586368"/>
                <a:gd name="connsiteY5721" fmla="*/ 2393127 h 6479439"/>
                <a:gd name="connsiteX5722" fmla="*/ 6714600 w 9586368"/>
                <a:gd name="connsiteY5722" fmla="*/ 2397165 h 6479439"/>
                <a:gd name="connsiteX5723" fmla="*/ 6714600 w 9586368"/>
                <a:gd name="connsiteY5723" fmla="*/ 2407036 h 6479439"/>
                <a:gd name="connsiteX5724" fmla="*/ 6710581 w 9586368"/>
                <a:gd name="connsiteY5724" fmla="*/ 2411074 h 6479439"/>
                <a:gd name="connsiteX5725" fmla="*/ 6700670 w 9586368"/>
                <a:gd name="connsiteY5725" fmla="*/ 2411074 h 6479439"/>
                <a:gd name="connsiteX5726" fmla="*/ 6696651 w 9586368"/>
                <a:gd name="connsiteY5726" fmla="*/ 2407036 h 6479439"/>
                <a:gd name="connsiteX5727" fmla="*/ 6696651 w 9586368"/>
                <a:gd name="connsiteY5727" fmla="*/ 2397165 h 6479439"/>
                <a:gd name="connsiteX5728" fmla="*/ 6461356 w 9586368"/>
                <a:gd name="connsiteY5728" fmla="*/ 2393127 h 6479439"/>
                <a:gd name="connsiteX5729" fmla="*/ 6471266 w 9586368"/>
                <a:gd name="connsiteY5729" fmla="*/ 2393127 h 6479439"/>
                <a:gd name="connsiteX5730" fmla="*/ 6475285 w 9586368"/>
                <a:gd name="connsiteY5730" fmla="*/ 2397165 h 6479439"/>
                <a:gd name="connsiteX5731" fmla="*/ 6475285 w 9586368"/>
                <a:gd name="connsiteY5731" fmla="*/ 2407036 h 6479439"/>
                <a:gd name="connsiteX5732" fmla="*/ 6471266 w 9586368"/>
                <a:gd name="connsiteY5732" fmla="*/ 2411074 h 6479439"/>
                <a:gd name="connsiteX5733" fmla="*/ 6461356 w 9586368"/>
                <a:gd name="connsiteY5733" fmla="*/ 2411074 h 6479439"/>
                <a:gd name="connsiteX5734" fmla="*/ 6457337 w 9586368"/>
                <a:gd name="connsiteY5734" fmla="*/ 2407036 h 6479439"/>
                <a:gd name="connsiteX5735" fmla="*/ 6457337 w 9586368"/>
                <a:gd name="connsiteY5735" fmla="*/ 2397165 h 6479439"/>
                <a:gd name="connsiteX5736" fmla="*/ 6222042 w 9586368"/>
                <a:gd name="connsiteY5736" fmla="*/ 2393127 h 6479439"/>
                <a:gd name="connsiteX5737" fmla="*/ 6231952 w 9586368"/>
                <a:gd name="connsiteY5737" fmla="*/ 2393127 h 6479439"/>
                <a:gd name="connsiteX5738" fmla="*/ 6235971 w 9586368"/>
                <a:gd name="connsiteY5738" fmla="*/ 2397165 h 6479439"/>
                <a:gd name="connsiteX5739" fmla="*/ 6235971 w 9586368"/>
                <a:gd name="connsiteY5739" fmla="*/ 2407036 h 6479439"/>
                <a:gd name="connsiteX5740" fmla="*/ 6231952 w 9586368"/>
                <a:gd name="connsiteY5740" fmla="*/ 2411074 h 6479439"/>
                <a:gd name="connsiteX5741" fmla="*/ 6222042 w 9586368"/>
                <a:gd name="connsiteY5741" fmla="*/ 2411074 h 6479439"/>
                <a:gd name="connsiteX5742" fmla="*/ 6218023 w 9586368"/>
                <a:gd name="connsiteY5742" fmla="*/ 2407036 h 6479439"/>
                <a:gd name="connsiteX5743" fmla="*/ 6218023 w 9586368"/>
                <a:gd name="connsiteY5743" fmla="*/ 2397165 h 6479439"/>
                <a:gd name="connsiteX5744" fmla="*/ 5982729 w 9586368"/>
                <a:gd name="connsiteY5744" fmla="*/ 2393127 h 6479439"/>
                <a:gd name="connsiteX5745" fmla="*/ 5992639 w 9586368"/>
                <a:gd name="connsiteY5745" fmla="*/ 2393127 h 6479439"/>
                <a:gd name="connsiteX5746" fmla="*/ 5996658 w 9586368"/>
                <a:gd name="connsiteY5746" fmla="*/ 2397165 h 6479439"/>
                <a:gd name="connsiteX5747" fmla="*/ 5996658 w 9586368"/>
                <a:gd name="connsiteY5747" fmla="*/ 2407036 h 6479439"/>
                <a:gd name="connsiteX5748" fmla="*/ 5992639 w 9586368"/>
                <a:gd name="connsiteY5748" fmla="*/ 2411074 h 6479439"/>
                <a:gd name="connsiteX5749" fmla="*/ 5982729 w 9586368"/>
                <a:gd name="connsiteY5749" fmla="*/ 2411074 h 6479439"/>
                <a:gd name="connsiteX5750" fmla="*/ 5978710 w 9586368"/>
                <a:gd name="connsiteY5750" fmla="*/ 2407036 h 6479439"/>
                <a:gd name="connsiteX5751" fmla="*/ 5978710 w 9586368"/>
                <a:gd name="connsiteY5751" fmla="*/ 2397165 h 6479439"/>
                <a:gd name="connsiteX5752" fmla="*/ 5743412 w 9586368"/>
                <a:gd name="connsiteY5752" fmla="*/ 2393127 h 6479439"/>
                <a:gd name="connsiteX5753" fmla="*/ 5753323 w 9586368"/>
                <a:gd name="connsiteY5753" fmla="*/ 2393127 h 6479439"/>
                <a:gd name="connsiteX5754" fmla="*/ 5757342 w 9586368"/>
                <a:gd name="connsiteY5754" fmla="*/ 2397165 h 6479439"/>
                <a:gd name="connsiteX5755" fmla="*/ 5757342 w 9586368"/>
                <a:gd name="connsiteY5755" fmla="*/ 2407036 h 6479439"/>
                <a:gd name="connsiteX5756" fmla="*/ 5753323 w 9586368"/>
                <a:gd name="connsiteY5756" fmla="*/ 2411074 h 6479439"/>
                <a:gd name="connsiteX5757" fmla="*/ 5743412 w 9586368"/>
                <a:gd name="connsiteY5757" fmla="*/ 2411074 h 6479439"/>
                <a:gd name="connsiteX5758" fmla="*/ 5739393 w 9586368"/>
                <a:gd name="connsiteY5758" fmla="*/ 2407036 h 6479439"/>
                <a:gd name="connsiteX5759" fmla="*/ 5739393 w 9586368"/>
                <a:gd name="connsiteY5759" fmla="*/ 2397165 h 6479439"/>
                <a:gd name="connsiteX5760" fmla="*/ 5504099 w 9586368"/>
                <a:gd name="connsiteY5760" fmla="*/ 2393127 h 6479439"/>
                <a:gd name="connsiteX5761" fmla="*/ 5514010 w 9586368"/>
                <a:gd name="connsiteY5761" fmla="*/ 2393127 h 6479439"/>
                <a:gd name="connsiteX5762" fmla="*/ 5518029 w 9586368"/>
                <a:gd name="connsiteY5762" fmla="*/ 2397165 h 6479439"/>
                <a:gd name="connsiteX5763" fmla="*/ 5518029 w 9586368"/>
                <a:gd name="connsiteY5763" fmla="*/ 2407036 h 6479439"/>
                <a:gd name="connsiteX5764" fmla="*/ 5514010 w 9586368"/>
                <a:gd name="connsiteY5764" fmla="*/ 2411074 h 6479439"/>
                <a:gd name="connsiteX5765" fmla="*/ 5504099 w 9586368"/>
                <a:gd name="connsiteY5765" fmla="*/ 2411074 h 6479439"/>
                <a:gd name="connsiteX5766" fmla="*/ 5500080 w 9586368"/>
                <a:gd name="connsiteY5766" fmla="*/ 2407036 h 6479439"/>
                <a:gd name="connsiteX5767" fmla="*/ 5500080 w 9586368"/>
                <a:gd name="connsiteY5767" fmla="*/ 2397165 h 6479439"/>
                <a:gd name="connsiteX5768" fmla="*/ 5264784 w 9586368"/>
                <a:gd name="connsiteY5768" fmla="*/ 2393127 h 6479439"/>
                <a:gd name="connsiteX5769" fmla="*/ 5274694 w 9586368"/>
                <a:gd name="connsiteY5769" fmla="*/ 2393127 h 6479439"/>
                <a:gd name="connsiteX5770" fmla="*/ 5278713 w 9586368"/>
                <a:gd name="connsiteY5770" fmla="*/ 2397165 h 6479439"/>
                <a:gd name="connsiteX5771" fmla="*/ 5278713 w 9586368"/>
                <a:gd name="connsiteY5771" fmla="*/ 2407036 h 6479439"/>
                <a:gd name="connsiteX5772" fmla="*/ 5274694 w 9586368"/>
                <a:gd name="connsiteY5772" fmla="*/ 2411074 h 6479439"/>
                <a:gd name="connsiteX5773" fmla="*/ 5264784 w 9586368"/>
                <a:gd name="connsiteY5773" fmla="*/ 2411074 h 6479439"/>
                <a:gd name="connsiteX5774" fmla="*/ 5260765 w 9586368"/>
                <a:gd name="connsiteY5774" fmla="*/ 2407036 h 6479439"/>
                <a:gd name="connsiteX5775" fmla="*/ 5260765 w 9586368"/>
                <a:gd name="connsiteY5775" fmla="*/ 2397165 h 6479439"/>
                <a:gd name="connsiteX5776" fmla="*/ 5025470 w 9586368"/>
                <a:gd name="connsiteY5776" fmla="*/ 2393127 h 6479439"/>
                <a:gd name="connsiteX5777" fmla="*/ 5035381 w 9586368"/>
                <a:gd name="connsiteY5777" fmla="*/ 2393127 h 6479439"/>
                <a:gd name="connsiteX5778" fmla="*/ 5039400 w 9586368"/>
                <a:gd name="connsiteY5778" fmla="*/ 2397165 h 6479439"/>
                <a:gd name="connsiteX5779" fmla="*/ 5039400 w 9586368"/>
                <a:gd name="connsiteY5779" fmla="*/ 2407036 h 6479439"/>
                <a:gd name="connsiteX5780" fmla="*/ 5035381 w 9586368"/>
                <a:gd name="connsiteY5780" fmla="*/ 2411074 h 6479439"/>
                <a:gd name="connsiteX5781" fmla="*/ 5025470 w 9586368"/>
                <a:gd name="connsiteY5781" fmla="*/ 2411074 h 6479439"/>
                <a:gd name="connsiteX5782" fmla="*/ 5021451 w 9586368"/>
                <a:gd name="connsiteY5782" fmla="*/ 2407036 h 6479439"/>
                <a:gd name="connsiteX5783" fmla="*/ 5021451 w 9586368"/>
                <a:gd name="connsiteY5783" fmla="*/ 2397165 h 6479439"/>
                <a:gd name="connsiteX5784" fmla="*/ 4786241 w 9586368"/>
                <a:gd name="connsiteY5784" fmla="*/ 2393127 h 6479439"/>
                <a:gd name="connsiteX5785" fmla="*/ 4796152 w 9586368"/>
                <a:gd name="connsiteY5785" fmla="*/ 2393127 h 6479439"/>
                <a:gd name="connsiteX5786" fmla="*/ 4800171 w 9586368"/>
                <a:gd name="connsiteY5786" fmla="*/ 2397165 h 6479439"/>
                <a:gd name="connsiteX5787" fmla="*/ 4800171 w 9586368"/>
                <a:gd name="connsiteY5787" fmla="*/ 2407036 h 6479439"/>
                <a:gd name="connsiteX5788" fmla="*/ 4796152 w 9586368"/>
                <a:gd name="connsiteY5788" fmla="*/ 2411074 h 6479439"/>
                <a:gd name="connsiteX5789" fmla="*/ 4786241 w 9586368"/>
                <a:gd name="connsiteY5789" fmla="*/ 2411074 h 6479439"/>
                <a:gd name="connsiteX5790" fmla="*/ 4782224 w 9586368"/>
                <a:gd name="connsiteY5790" fmla="*/ 2407036 h 6479439"/>
                <a:gd name="connsiteX5791" fmla="*/ 4782224 w 9586368"/>
                <a:gd name="connsiteY5791" fmla="*/ 2397165 h 6479439"/>
                <a:gd name="connsiteX5792" fmla="*/ 4546929 w 9586368"/>
                <a:gd name="connsiteY5792" fmla="*/ 2393127 h 6479439"/>
                <a:gd name="connsiteX5793" fmla="*/ 4556840 w 9586368"/>
                <a:gd name="connsiteY5793" fmla="*/ 2393127 h 6479439"/>
                <a:gd name="connsiteX5794" fmla="*/ 4560859 w 9586368"/>
                <a:gd name="connsiteY5794" fmla="*/ 2397165 h 6479439"/>
                <a:gd name="connsiteX5795" fmla="*/ 4560859 w 9586368"/>
                <a:gd name="connsiteY5795" fmla="*/ 2407036 h 6479439"/>
                <a:gd name="connsiteX5796" fmla="*/ 4556840 w 9586368"/>
                <a:gd name="connsiteY5796" fmla="*/ 2411074 h 6479439"/>
                <a:gd name="connsiteX5797" fmla="*/ 4546929 w 9586368"/>
                <a:gd name="connsiteY5797" fmla="*/ 2411074 h 6479439"/>
                <a:gd name="connsiteX5798" fmla="*/ 4542910 w 9586368"/>
                <a:gd name="connsiteY5798" fmla="*/ 2407036 h 6479439"/>
                <a:gd name="connsiteX5799" fmla="*/ 4542910 w 9586368"/>
                <a:gd name="connsiteY5799" fmla="*/ 2397165 h 6479439"/>
                <a:gd name="connsiteX5800" fmla="*/ 4307612 w 9586368"/>
                <a:gd name="connsiteY5800" fmla="*/ 2393127 h 6479439"/>
                <a:gd name="connsiteX5801" fmla="*/ 4317523 w 9586368"/>
                <a:gd name="connsiteY5801" fmla="*/ 2393127 h 6479439"/>
                <a:gd name="connsiteX5802" fmla="*/ 4321543 w 9586368"/>
                <a:gd name="connsiteY5802" fmla="*/ 2397165 h 6479439"/>
                <a:gd name="connsiteX5803" fmla="*/ 4321543 w 9586368"/>
                <a:gd name="connsiteY5803" fmla="*/ 2407036 h 6479439"/>
                <a:gd name="connsiteX5804" fmla="*/ 4317523 w 9586368"/>
                <a:gd name="connsiteY5804" fmla="*/ 2411074 h 6479439"/>
                <a:gd name="connsiteX5805" fmla="*/ 4307612 w 9586368"/>
                <a:gd name="connsiteY5805" fmla="*/ 2411074 h 6479439"/>
                <a:gd name="connsiteX5806" fmla="*/ 4303595 w 9586368"/>
                <a:gd name="connsiteY5806" fmla="*/ 2407036 h 6479439"/>
                <a:gd name="connsiteX5807" fmla="*/ 4303595 w 9586368"/>
                <a:gd name="connsiteY5807" fmla="*/ 2397165 h 6479439"/>
                <a:gd name="connsiteX5808" fmla="*/ 4068297 w 9586368"/>
                <a:gd name="connsiteY5808" fmla="*/ 2393127 h 6479439"/>
                <a:gd name="connsiteX5809" fmla="*/ 4078210 w 9586368"/>
                <a:gd name="connsiteY5809" fmla="*/ 2393127 h 6479439"/>
                <a:gd name="connsiteX5810" fmla="*/ 4082229 w 9586368"/>
                <a:gd name="connsiteY5810" fmla="*/ 2397165 h 6479439"/>
                <a:gd name="connsiteX5811" fmla="*/ 4082229 w 9586368"/>
                <a:gd name="connsiteY5811" fmla="*/ 2407036 h 6479439"/>
                <a:gd name="connsiteX5812" fmla="*/ 4078210 w 9586368"/>
                <a:gd name="connsiteY5812" fmla="*/ 2411074 h 6479439"/>
                <a:gd name="connsiteX5813" fmla="*/ 4068297 w 9586368"/>
                <a:gd name="connsiteY5813" fmla="*/ 2411074 h 6479439"/>
                <a:gd name="connsiteX5814" fmla="*/ 4064278 w 9586368"/>
                <a:gd name="connsiteY5814" fmla="*/ 2407036 h 6479439"/>
                <a:gd name="connsiteX5815" fmla="*/ 4064278 w 9586368"/>
                <a:gd name="connsiteY5815" fmla="*/ 2397165 h 6479439"/>
                <a:gd name="connsiteX5816" fmla="*/ 3828990 w 9586368"/>
                <a:gd name="connsiteY5816" fmla="*/ 2393127 h 6479439"/>
                <a:gd name="connsiteX5817" fmla="*/ 3838899 w 9586368"/>
                <a:gd name="connsiteY5817" fmla="*/ 2393127 h 6479439"/>
                <a:gd name="connsiteX5818" fmla="*/ 3842917 w 9586368"/>
                <a:gd name="connsiteY5818" fmla="*/ 2397165 h 6479439"/>
                <a:gd name="connsiteX5819" fmla="*/ 3842917 w 9586368"/>
                <a:gd name="connsiteY5819" fmla="*/ 2407036 h 6479439"/>
                <a:gd name="connsiteX5820" fmla="*/ 3838899 w 9586368"/>
                <a:gd name="connsiteY5820" fmla="*/ 2411074 h 6479439"/>
                <a:gd name="connsiteX5821" fmla="*/ 3828990 w 9586368"/>
                <a:gd name="connsiteY5821" fmla="*/ 2411074 h 6479439"/>
                <a:gd name="connsiteX5822" fmla="*/ 3824971 w 9586368"/>
                <a:gd name="connsiteY5822" fmla="*/ 2407036 h 6479439"/>
                <a:gd name="connsiteX5823" fmla="*/ 3824971 w 9586368"/>
                <a:gd name="connsiteY5823" fmla="*/ 2397165 h 6479439"/>
                <a:gd name="connsiteX5824" fmla="*/ 3589676 w 9586368"/>
                <a:gd name="connsiteY5824" fmla="*/ 2393127 h 6479439"/>
                <a:gd name="connsiteX5825" fmla="*/ 3599585 w 9586368"/>
                <a:gd name="connsiteY5825" fmla="*/ 2393127 h 6479439"/>
                <a:gd name="connsiteX5826" fmla="*/ 3603604 w 9586368"/>
                <a:gd name="connsiteY5826" fmla="*/ 2397165 h 6479439"/>
                <a:gd name="connsiteX5827" fmla="*/ 3603604 w 9586368"/>
                <a:gd name="connsiteY5827" fmla="*/ 2407036 h 6479439"/>
                <a:gd name="connsiteX5828" fmla="*/ 3599585 w 9586368"/>
                <a:gd name="connsiteY5828" fmla="*/ 2411074 h 6479439"/>
                <a:gd name="connsiteX5829" fmla="*/ 3589676 w 9586368"/>
                <a:gd name="connsiteY5829" fmla="*/ 2411074 h 6479439"/>
                <a:gd name="connsiteX5830" fmla="*/ 3585657 w 9586368"/>
                <a:gd name="connsiteY5830" fmla="*/ 2407036 h 6479439"/>
                <a:gd name="connsiteX5831" fmla="*/ 3585657 w 9586368"/>
                <a:gd name="connsiteY5831" fmla="*/ 2397165 h 6479439"/>
                <a:gd name="connsiteX5832" fmla="*/ 3350359 w 9586368"/>
                <a:gd name="connsiteY5832" fmla="*/ 2393127 h 6479439"/>
                <a:gd name="connsiteX5833" fmla="*/ 3360268 w 9586368"/>
                <a:gd name="connsiteY5833" fmla="*/ 2393127 h 6479439"/>
                <a:gd name="connsiteX5834" fmla="*/ 3364287 w 9586368"/>
                <a:gd name="connsiteY5834" fmla="*/ 2397165 h 6479439"/>
                <a:gd name="connsiteX5835" fmla="*/ 3364287 w 9586368"/>
                <a:gd name="connsiteY5835" fmla="*/ 2407036 h 6479439"/>
                <a:gd name="connsiteX5836" fmla="*/ 3360268 w 9586368"/>
                <a:gd name="connsiteY5836" fmla="*/ 2411074 h 6479439"/>
                <a:gd name="connsiteX5837" fmla="*/ 3350359 w 9586368"/>
                <a:gd name="connsiteY5837" fmla="*/ 2411074 h 6479439"/>
                <a:gd name="connsiteX5838" fmla="*/ 3346340 w 9586368"/>
                <a:gd name="connsiteY5838" fmla="*/ 2407036 h 6479439"/>
                <a:gd name="connsiteX5839" fmla="*/ 3346340 w 9586368"/>
                <a:gd name="connsiteY5839" fmla="*/ 2397165 h 6479439"/>
                <a:gd name="connsiteX5840" fmla="*/ 3111048 w 9586368"/>
                <a:gd name="connsiteY5840" fmla="*/ 2393127 h 6479439"/>
                <a:gd name="connsiteX5841" fmla="*/ 3120959 w 9586368"/>
                <a:gd name="connsiteY5841" fmla="*/ 2393127 h 6479439"/>
                <a:gd name="connsiteX5842" fmla="*/ 3124977 w 9586368"/>
                <a:gd name="connsiteY5842" fmla="*/ 2397165 h 6479439"/>
                <a:gd name="connsiteX5843" fmla="*/ 3124977 w 9586368"/>
                <a:gd name="connsiteY5843" fmla="*/ 2407036 h 6479439"/>
                <a:gd name="connsiteX5844" fmla="*/ 3120959 w 9586368"/>
                <a:gd name="connsiteY5844" fmla="*/ 2411074 h 6479439"/>
                <a:gd name="connsiteX5845" fmla="*/ 3111048 w 9586368"/>
                <a:gd name="connsiteY5845" fmla="*/ 2411074 h 6479439"/>
                <a:gd name="connsiteX5846" fmla="*/ 3107029 w 9586368"/>
                <a:gd name="connsiteY5846" fmla="*/ 2407036 h 6479439"/>
                <a:gd name="connsiteX5847" fmla="*/ 3107029 w 9586368"/>
                <a:gd name="connsiteY5847" fmla="*/ 2397165 h 6479439"/>
                <a:gd name="connsiteX5848" fmla="*/ 2871737 w 9586368"/>
                <a:gd name="connsiteY5848" fmla="*/ 2393127 h 6479439"/>
                <a:gd name="connsiteX5849" fmla="*/ 2881646 w 9586368"/>
                <a:gd name="connsiteY5849" fmla="*/ 2393127 h 6479439"/>
                <a:gd name="connsiteX5850" fmla="*/ 2885666 w 9586368"/>
                <a:gd name="connsiteY5850" fmla="*/ 2397165 h 6479439"/>
                <a:gd name="connsiteX5851" fmla="*/ 2885666 w 9586368"/>
                <a:gd name="connsiteY5851" fmla="*/ 2407036 h 6479439"/>
                <a:gd name="connsiteX5852" fmla="*/ 2881646 w 9586368"/>
                <a:gd name="connsiteY5852" fmla="*/ 2411074 h 6479439"/>
                <a:gd name="connsiteX5853" fmla="*/ 2871737 w 9586368"/>
                <a:gd name="connsiteY5853" fmla="*/ 2411074 h 6479439"/>
                <a:gd name="connsiteX5854" fmla="*/ 2867717 w 9586368"/>
                <a:gd name="connsiteY5854" fmla="*/ 2407036 h 6479439"/>
                <a:gd name="connsiteX5855" fmla="*/ 2867717 w 9586368"/>
                <a:gd name="connsiteY5855" fmla="*/ 2397165 h 6479439"/>
                <a:gd name="connsiteX5856" fmla="*/ 2632423 w 9586368"/>
                <a:gd name="connsiteY5856" fmla="*/ 2393127 h 6479439"/>
                <a:gd name="connsiteX5857" fmla="*/ 2642334 w 9586368"/>
                <a:gd name="connsiteY5857" fmla="*/ 2393127 h 6479439"/>
                <a:gd name="connsiteX5858" fmla="*/ 2646352 w 9586368"/>
                <a:gd name="connsiteY5858" fmla="*/ 2397165 h 6479439"/>
                <a:gd name="connsiteX5859" fmla="*/ 2646352 w 9586368"/>
                <a:gd name="connsiteY5859" fmla="*/ 2407036 h 6479439"/>
                <a:gd name="connsiteX5860" fmla="*/ 2642334 w 9586368"/>
                <a:gd name="connsiteY5860" fmla="*/ 2411074 h 6479439"/>
                <a:gd name="connsiteX5861" fmla="*/ 2632423 w 9586368"/>
                <a:gd name="connsiteY5861" fmla="*/ 2411074 h 6479439"/>
                <a:gd name="connsiteX5862" fmla="*/ 2628404 w 9586368"/>
                <a:gd name="connsiteY5862" fmla="*/ 2407036 h 6479439"/>
                <a:gd name="connsiteX5863" fmla="*/ 2628404 w 9586368"/>
                <a:gd name="connsiteY5863" fmla="*/ 2397165 h 6479439"/>
                <a:gd name="connsiteX5864" fmla="*/ 2393104 w 9586368"/>
                <a:gd name="connsiteY5864" fmla="*/ 2393127 h 6479439"/>
                <a:gd name="connsiteX5865" fmla="*/ 2403015 w 9586368"/>
                <a:gd name="connsiteY5865" fmla="*/ 2393127 h 6479439"/>
                <a:gd name="connsiteX5866" fmla="*/ 2407034 w 9586368"/>
                <a:gd name="connsiteY5866" fmla="*/ 2397165 h 6479439"/>
                <a:gd name="connsiteX5867" fmla="*/ 2407034 w 9586368"/>
                <a:gd name="connsiteY5867" fmla="*/ 2407036 h 6479439"/>
                <a:gd name="connsiteX5868" fmla="*/ 2403015 w 9586368"/>
                <a:gd name="connsiteY5868" fmla="*/ 2411074 h 6479439"/>
                <a:gd name="connsiteX5869" fmla="*/ 2393104 w 9586368"/>
                <a:gd name="connsiteY5869" fmla="*/ 2411074 h 6479439"/>
                <a:gd name="connsiteX5870" fmla="*/ 2389087 w 9586368"/>
                <a:gd name="connsiteY5870" fmla="*/ 2407036 h 6479439"/>
                <a:gd name="connsiteX5871" fmla="*/ 2389087 w 9586368"/>
                <a:gd name="connsiteY5871" fmla="*/ 2397165 h 6479439"/>
                <a:gd name="connsiteX5872" fmla="*/ 721970 w 9586368"/>
                <a:gd name="connsiteY5872" fmla="*/ 2393127 h 6479439"/>
                <a:gd name="connsiteX5873" fmla="*/ 731881 w 9586368"/>
                <a:gd name="connsiteY5873" fmla="*/ 2393127 h 6479439"/>
                <a:gd name="connsiteX5874" fmla="*/ 735899 w 9586368"/>
                <a:gd name="connsiteY5874" fmla="*/ 2397165 h 6479439"/>
                <a:gd name="connsiteX5875" fmla="*/ 735899 w 9586368"/>
                <a:gd name="connsiteY5875" fmla="*/ 2407036 h 6479439"/>
                <a:gd name="connsiteX5876" fmla="*/ 731881 w 9586368"/>
                <a:gd name="connsiteY5876" fmla="*/ 2411074 h 6479439"/>
                <a:gd name="connsiteX5877" fmla="*/ 721970 w 9586368"/>
                <a:gd name="connsiteY5877" fmla="*/ 2411074 h 6479439"/>
                <a:gd name="connsiteX5878" fmla="*/ 717951 w 9586368"/>
                <a:gd name="connsiteY5878" fmla="*/ 2407036 h 6479439"/>
                <a:gd name="connsiteX5879" fmla="*/ 717951 w 9586368"/>
                <a:gd name="connsiteY5879" fmla="*/ 2397165 h 6479439"/>
                <a:gd name="connsiteX5880" fmla="*/ 482658 w 9586368"/>
                <a:gd name="connsiteY5880" fmla="*/ 2393127 h 6479439"/>
                <a:gd name="connsiteX5881" fmla="*/ 492568 w 9586368"/>
                <a:gd name="connsiteY5881" fmla="*/ 2393127 h 6479439"/>
                <a:gd name="connsiteX5882" fmla="*/ 496588 w 9586368"/>
                <a:gd name="connsiteY5882" fmla="*/ 2397165 h 6479439"/>
                <a:gd name="connsiteX5883" fmla="*/ 496588 w 9586368"/>
                <a:gd name="connsiteY5883" fmla="*/ 2407036 h 6479439"/>
                <a:gd name="connsiteX5884" fmla="*/ 492568 w 9586368"/>
                <a:gd name="connsiteY5884" fmla="*/ 2411074 h 6479439"/>
                <a:gd name="connsiteX5885" fmla="*/ 482658 w 9586368"/>
                <a:gd name="connsiteY5885" fmla="*/ 2411074 h 6479439"/>
                <a:gd name="connsiteX5886" fmla="*/ 478639 w 9586368"/>
                <a:gd name="connsiteY5886" fmla="*/ 2407036 h 6479439"/>
                <a:gd name="connsiteX5887" fmla="*/ 478639 w 9586368"/>
                <a:gd name="connsiteY5887" fmla="*/ 2397165 h 6479439"/>
                <a:gd name="connsiteX5888" fmla="*/ 243344 w 9586368"/>
                <a:gd name="connsiteY5888" fmla="*/ 2393127 h 6479439"/>
                <a:gd name="connsiteX5889" fmla="*/ 253255 w 9586368"/>
                <a:gd name="connsiteY5889" fmla="*/ 2393127 h 6479439"/>
                <a:gd name="connsiteX5890" fmla="*/ 257274 w 9586368"/>
                <a:gd name="connsiteY5890" fmla="*/ 2397165 h 6479439"/>
                <a:gd name="connsiteX5891" fmla="*/ 257274 w 9586368"/>
                <a:gd name="connsiteY5891" fmla="*/ 2407036 h 6479439"/>
                <a:gd name="connsiteX5892" fmla="*/ 253255 w 9586368"/>
                <a:gd name="connsiteY5892" fmla="*/ 2411074 h 6479439"/>
                <a:gd name="connsiteX5893" fmla="*/ 243344 w 9586368"/>
                <a:gd name="connsiteY5893" fmla="*/ 2411074 h 6479439"/>
                <a:gd name="connsiteX5894" fmla="*/ 239325 w 9586368"/>
                <a:gd name="connsiteY5894" fmla="*/ 2407036 h 6479439"/>
                <a:gd name="connsiteX5895" fmla="*/ 239325 w 9586368"/>
                <a:gd name="connsiteY5895" fmla="*/ 2397165 h 6479439"/>
                <a:gd name="connsiteX5896" fmla="*/ 4031 w 9586368"/>
                <a:gd name="connsiteY5896" fmla="*/ 2393127 h 6479439"/>
                <a:gd name="connsiteX5897" fmla="*/ 13941 w 9586368"/>
                <a:gd name="connsiteY5897" fmla="*/ 2393127 h 6479439"/>
                <a:gd name="connsiteX5898" fmla="*/ 17961 w 9586368"/>
                <a:gd name="connsiteY5898" fmla="*/ 2397165 h 6479439"/>
                <a:gd name="connsiteX5899" fmla="*/ 17961 w 9586368"/>
                <a:gd name="connsiteY5899" fmla="*/ 2407036 h 6479439"/>
                <a:gd name="connsiteX5900" fmla="*/ 13941 w 9586368"/>
                <a:gd name="connsiteY5900" fmla="*/ 2411074 h 6479439"/>
                <a:gd name="connsiteX5901" fmla="*/ 4031 w 9586368"/>
                <a:gd name="connsiteY5901" fmla="*/ 2411074 h 6479439"/>
                <a:gd name="connsiteX5902" fmla="*/ 12 w 9586368"/>
                <a:gd name="connsiteY5902" fmla="*/ 2407036 h 6479439"/>
                <a:gd name="connsiteX5903" fmla="*/ 12 w 9586368"/>
                <a:gd name="connsiteY5903" fmla="*/ 2397165 h 6479439"/>
                <a:gd name="connsiteX5904" fmla="*/ 3111048 w 9586368"/>
                <a:gd name="connsiteY5904" fmla="*/ 2153996 h 6479439"/>
                <a:gd name="connsiteX5905" fmla="*/ 3120959 w 9586368"/>
                <a:gd name="connsiteY5905" fmla="*/ 2153996 h 6479439"/>
                <a:gd name="connsiteX5906" fmla="*/ 3124977 w 9586368"/>
                <a:gd name="connsiteY5906" fmla="*/ 2158034 h 6479439"/>
                <a:gd name="connsiteX5907" fmla="*/ 3124977 w 9586368"/>
                <a:gd name="connsiteY5907" fmla="*/ 2167907 h 6479439"/>
                <a:gd name="connsiteX5908" fmla="*/ 3120959 w 9586368"/>
                <a:gd name="connsiteY5908" fmla="*/ 2171946 h 6479439"/>
                <a:gd name="connsiteX5909" fmla="*/ 3111048 w 9586368"/>
                <a:gd name="connsiteY5909" fmla="*/ 2171946 h 6479439"/>
                <a:gd name="connsiteX5910" fmla="*/ 3107029 w 9586368"/>
                <a:gd name="connsiteY5910" fmla="*/ 2167907 h 6479439"/>
                <a:gd name="connsiteX5911" fmla="*/ 3107029 w 9586368"/>
                <a:gd name="connsiteY5911" fmla="*/ 2158034 h 6479439"/>
                <a:gd name="connsiteX5912" fmla="*/ 2871737 w 9586368"/>
                <a:gd name="connsiteY5912" fmla="*/ 2153996 h 6479439"/>
                <a:gd name="connsiteX5913" fmla="*/ 2881646 w 9586368"/>
                <a:gd name="connsiteY5913" fmla="*/ 2153996 h 6479439"/>
                <a:gd name="connsiteX5914" fmla="*/ 2885666 w 9586368"/>
                <a:gd name="connsiteY5914" fmla="*/ 2158034 h 6479439"/>
                <a:gd name="connsiteX5915" fmla="*/ 2885666 w 9586368"/>
                <a:gd name="connsiteY5915" fmla="*/ 2167907 h 6479439"/>
                <a:gd name="connsiteX5916" fmla="*/ 2881646 w 9586368"/>
                <a:gd name="connsiteY5916" fmla="*/ 2171946 h 6479439"/>
                <a:gd name="connsiteX5917" fmla="*/ 2871737 w 9586368"/>
                <a:gd name="connsiteY5917" fmla="*/ 2171946 h 6479439"/>
                <a:gd name="connsiteX5918" fmla="*/ 2867717 w 9586368"/>
                <a:gd name="connsiteY5918" fmla="*/ 2167907 h 6479439"/>
                <a:gd name="connsiteX5919" fmla="*/ 2867717 w 9586368"/>
                <a:gd name="connsiteY5919" fmla="*/ 2158034 h 6479439"/>
                <a:gd name="connsiteX5920" fmla="*/ 2632423 w 9586368"/>
                <a:gd name="connsiteY5920" fmla="*/ 2153996 h 6479439"/>
                <a:gd name="connsiteX5921" fmla="*/ 2642334 w 9586368"/>
                <a:gd name="connsiteY5921" fmla="*/ 2153996 h 6479439"/>
                <a:gd name="connsiteX5922" fmla="*/ 2646352 w 9586368"/>
                <a:gd name="connsiteY5922" fmla="*/ 2158034 h 6479439"/>
                <a:gd name="connsiteX5923" fmla="*/ 2646352 w 9586368"/>
                <a:gd name="connsiteY5923" fmla="*/ 2167907 h 6479439"/>
                <a:gd name="connsiteX5924" fmla="*/ 2642334 w 9586368"/>
                <a:gd name="connsiteY5924" fmla="*/ 2171947 h 6479439"/>
                <a:gd name="connsiteX5925" fmla="*/ 2632423 w 9586368"/>
                <a:gd name="connsiteY5925" fmla="*/ 2171947 h 6479439"/>
                <a:gd name="connsiteX5926" fmla="*/ 2628404 w 9586368"/>
                <a:gd name="connsiteY5926" fmla="*/ 2167907 h 6479439"/>
                <a:gd name="connsiteX5927" fmla="*/ 2628404 w 9586368"/>
                <a:gd name="connsiteY5927" fmla="*/ 2158034 h 6479439"/>
                <a:gd name="connsiteX5928" fmla="*/ 2393104 w 9586368"/>
                <a:gd name="connsiteY5928" fmla="*/ 2153996 h 6479439"/>
                <a:gd name="connsiteX5929" fmla="*/ 2403015 w 9586368"/>
                <a:gd name="connsiteY5929" fmla="*/ 2153996 h 6479439"/>
                <a:gd name="connsiteX5930" fmla="*/ 2407034 w 9586368"/>
                <a:gd name="connsiteY5930" fmla="*/ 2158034 h 6479439"/>
                <a:gd name="connsiteX5931" fmla="*/ 2407034 w 9586368"/>
                <a:gd name="connsiteY5931" fmla="*/ 2167907 h 6479439"/>
                <a:gd name="connsiteX5932" fmla="*/ 2403015 w 9586368"/>
                <a:gd name="connsiteY5932" fmla="*/ 2171947 h 6479439"/>
                <a:gd name="connsiteX5933" fmla="*/ 2393104 w 9586368"/>
                <a:gd name="connsiteY5933" fmla="*/ 2171947 h 6479439"/>
                <a:gd name="connsiteX5934" fmla="*/ 2389087 w 9586368"/>
                <a:gd name="connsiteY5934" fmla="*/ 2167907 h 6479439"/>
                <a:gd name="connsiteX5935" fmla="*/ 2389087 w 9586368"/>
                <a:gd name="connsiteY5935" fmla="*/ 2158034 h 6479439"/>
                <a:gd name="connsiteX5936" fmla="*/ 3350359 w 9586368"/>
                <a:gd name="connsiteY5936" fmla="*/ 2153995 h 6479439"/>
                <a:gd name="connsiteX5937" fmla="*/ 3360268 w 9586368"/>
                <a:gd name="connsiteY5937" fmla="*/ 2153995 h 6479439"/>
                <a:gd name="connsiteX5938" fmla="*/ 3364287 w 9586368"/>
                <a:gd name="connsiteY5938" fmla="*/ 2158034 h 6479439"/>
                <a:gd name="connsiteX5939" fmla="*/ 3364287 w 9586368"/>
                <a:gd name="connsiteY5939" fmla="*/ 2167907 h 6479439"/>
                <a:gd name="connsiteX5940" fmla="*/ 3360268 w 9586368"/>
                <a:gd name="connsiteY5940" fmla="*/ 2171946 h 6479439"/>
                <a:gd name="connsiteX5941" fmla="*/ 3350359 w 9586368"/>
                <a:gd name="connsiteY5941" fmla="*/ 2171946 h 6479439"/>
                <a:gd name="connsiteX5942" fmla="*/ 3346340 w 9586368"/>
                <a:gd name="connsiteY5942" fmla="*/ 2167907 h 6479439"/>
                <a:gd name="connsiteX5943" fmla="*/ 3346340 w 9586368"/>
                <a:gd name="connsiteY5943" fmla="*/ 2158034 h 6479439"/>
                <a:gd name="connsiteX5944" fmla="*/ 4546929 w 9586368"/>
                <a:gd name="connsiteY5944" fmla="*/ 2153976 h 6479439"/>
                <a:gd name="connsiteX5945" fmla="*/ 4556840 w 9586368"/>
                <a:gd name="connsiteY5945" fmla="*/ 2153976 h 6479439"/>
                <a:gd name="connsiteX5946" fmla="*/ 4560859 w 9586368"/>
                <a:gd name="connsiteY5946" fmla="*/ 2158014 h 6479439"/>
                <a:gd name="connsiteX5947" fmla="*/ 4560859 w 9586368"/>
                <a:gd name="connsiteY5947" fmla="*/ 2167886 h 6479439"/>
                <a:gd name="connsiteX5948" fmla="*/ 4556840 w 9586368"/>
                <a:gd name="connsiteY5948" fmla="*/ 2171926 h 6479439"/>
                <a:gd name="connsiteX5949" fmla="*/ 4546929 w 9586368"/>
                <a:gd name="connsiteY5949" fmla="*/ 2171926 h 6479439"/>
                <a:gd name="connsiteX5950" fmla="*/ 4542910 w 9586368"/>
                <a:gd name="connsiteY5950" fmla="*/ 2167886 h 6479439"/>
                <a:gd name="connsiteX5951" fmla="*/ 4542910 w 9586368"/>
                <a:gd name="connsiteY5951" fmla="*/ 2158014 h 6479439"/>
                <a:gd name="connsiteX5952" fmla="*/ 4307612 w 9586368"/>
                <a:gd name="connsiteY5952" fmla="*/ 2153976 h 6479439"/>
                <a:gd name="connsiteX5953" fmla="*/ 4317523 w 9586368"/>
                <a:gd name="connsiteY5953" fmla="*/ 2153976 h 6479439"/>
                <a:gd name="connsiteX5954" fmla="*/ 4321543 w 9586368"/>
                <a:gd name="connsiteY5954" fmla="*/ 2158014 h 6479439"/>
                <a:gd name="connsiteX5955" fmla="*/ 4321543 w 9586368"/>
                <a:gd name="connsiteY5955" fmla="*/ 2167887 h 6479439"/>
                <a:gd name="connsiteX5956" fmla="*/ 4317523 w 9586368"/>
                <a:gd name="connsiteY5956" fmla="*/ 2171926 h 6479439"/>
                <a:gd name="connsiteX5957" fmla="*/ 4307612 w 9586368"/>
                <a:gd name="connsiteY5957" fmla="*/ 2171926 h 6479439"/>
                <a:gd name="connsiteX5958" fmla="*/ 4303595 w 9586368"/>
                <a:gd name="connsiteY5958" fmla="*/ 2167887 h 6479439"/>
                <a:gd name="connsiteX5959" fmla="*/ 4303595 w 9586368"/>
                <a:gd name="connsiteY5959" fmla="*/ 2158014 h 6479439"/>
                <a:gd name="connsiteX5960" fmla="*/ 4068297 w 9586368"/>
                <a:gd name="connsiteY5960" fmla="*/ 2153976 h 6479439"/>
                <a:gd name="connsiteX5961" fmla="*/ 4078210 w 9586368"/>
                <a:gd name="connsiteY5961" fmla="*/ 2153976 h 6479439"/>
                <a:gd name="connsiteX5962" fmla="*/ 4082229 w 9586368"/>
                <a:gd name="connsiteY5962" fmla="*/ 2158014 h 6479439"/>
                <a:gd name="connsiteX5963" fmla="*/ 4082229 w 9586368"/>
                <a:gd name="connsiteY5963" fmla="*/ 2167887 h 6479439"/>
                <a:gd name="connsiteX5964" fmla="*/ 4078210 w 9586368"/>
                <a:gd name="connsiteY5964" fmla="*/ 2171926 h 6479439"/>
                <a:gd name="connsiteX5965" fmla="*/ 4068297 w 9586368"/>
                <a:gd name="connsiteY5965" fmla="*/ 2171926 h 6479439"/>
                <a:gd name="connsiteX5966" fmla="*/ 4064278 w 9586368"/>
                <a:gd name="connsiteY5966" fmla="*/ 2167887 h 6479439"/>
                <a:gd name="connsiteX5967" fmla="*/ 4064278 w 9586368"/>
                <a:gd name="connsiteY5967" fmla="*/ 2158014 h 6479439"/>
                <a:gd name="connsiteX5968" fmla="*/ 3828990 w 9586368"/>
                <a:gd name="connsiteY5968" fmla="*/ 2153976 h 6479439"/>
                <a:gd name="connsiteX5969" fmla="*/ 3838899 w 9586368"/>
                <a:gd name="connsiteY5969" fmla="*/ 2153976 h 6479439"/>
                <a:gd name="connsiteX5970" fmla="*/ 3842917 w 9586368"/>
                <a:gd name="connsiteY5970" fmla="*/ 2158014 h 6479439"/>
                <a:gd name="connsiteX5971" fmla="*/ 3842917 w 9586368"/>
                <a:gd name="connsiteY5971" fmla="*/ 2167887 h 6479439"/>
                <a:gd name="connsiteX5972" fmla="*/ 3838899 w 9586368"/>
                <a:gd name="connsiteY5972" fmla="*/ 2171926 h 6479439"/>
                <a:gd name="connsiteX5973" fmla="*/ 3828990 w 9586368"/>
                <a:gd name="connsiteY5973" fmla="*/ 2171926 h 6479439"/>
                <a:gd name="connsiteX5974" fmla="*/ 3824971 w 9586368"/>
                <a:gd name="connsiteY5974" fmla="*/ 2167887 h 6479439"/>
                <a:gd name="connsiteX5975" fmla="*/ 3824971 w 9586368"/>
                <a:gd name="connsiteY5975" fmla="*/ 2158014 h 6479439"/>
                <a:gd name="connsiteX5976" fmla="*/ 3589676 w 9586368"/>
                <a:gd name="connsiteY5976" fmla="*/ 2153976 h 6479439"/>
                <a:gd name="connsiteX5977" fmla="*/ 3599585 w 9586368"/>
                <a:gd name="connsiteY5977" fmla="*/ 2153976 h 6479439"/>
                <a:gd name="connsiteX5978" fmla="*/ 3603604 w 9586368"/>
                <a:gd name="connsiteY5978" fmla="*/ 2158014 h 6479439"/>
                <a:gd name="connsiteX5979" fmla="*/ 3603604 w 9586368"/>
                <a:gd name="connsiteY5979" fmla="*/ 2167887 h 6479439"/>
                <a:gd name="connsiteX5980" fmla="*/ 3599585 w 9586368"/>
                <a:gd name="connsiteY5980" fmla="*/ 2171926 h 6479439"/>
                <a:gd name="connsiteX5981" fmla="*/ 3589676 w 9586368"/>
                <a:gd name="connsiteY5981" fmla="*/ 2171926 h 6479439"/>
                <a:gd name="connsiteX5982" fmla="*/ 3585657 w 9586368"/>
                <a:gd name="connsiteY5982" fmla="*/ 2167887 h 6479439"/>
                <a:gd name="connsiteX5983" fmla="*/ 3585657 w 9586368"/>
                <a:gd name="connsiteY5983" fmla="*/ 2158014 h 6479439"/>
                <a:gd name="connsiteX5984" fmla="*/ 5504099 w 9586368"/>
                <a:gd name="connsiteY5984" fmla="*/ 2153956 h 6479439"/>
                <a:gd name="connsiteX5985" fmla="*/ 5514010 w 9586368"/>
                <a:gd name="connsiteY5985" fmla="*/ 2153956 h 6479439"/>
                <a:gd name="connsiteX5986" fmla="*/ 5518029 w 9586368"/>
                <a:gd name="connsiteY5986" fmla="*/ 2157994 h 6479439"/>
                <a:gd name="connsiteX5987" fmla="*/ 5518029 w 9586368"/>
                <a:gd name="connsiteY5987" fmla="*/ 2167867 h 6479439"/>
                <a:gd name="connsiteX5988" fmla="*/ 5514010 w 9586368"/>
                <a:gd name="connsiteY5988" fmla="*/ 2171905 h 6479439"/>
                <a:gd name="connsiteX5989" fmla="*/ 5504099 w 9586368"/>
                <a:gd name="connsiteY5989" fmla="*/ 2171905 h 6479439"/>
                <a:gd name="connsiteX5990" fmla="*/ 5500080 w 9586368"/>
                <a:gd name="connsiteY5990" fmla="*/ 2167867 h 6479439"/>
                <a:gd name="connsiteX5991" fmla="*/ 5500080 w 9586368"/>
                <a:gd name="connsiteY5991" fmla="*/ 2157994 h 6479439"/>
                <a:gd name="connsiteX5992" fmla="*/ 5264784 w 9586368"/>
                <a:gd name="connsiteY5992" fmla="*/ 2153956 h 6479439"/>
                <a:gd name="connsiteX5993" fmla="*/ 5274694 w 9586368"/>
                <a:gd name="connsiteY5993" fmla="*/ 2153956 h 6479439"/>
                <a:gd name="connsiteX5994" fmla="*/ 5278713 w 9586368"/>
                <a:gd name="connsiteY5994" fmla="*/ 2157994 h 6479439"/>
                <a:gd name="connsiteX5995" fmla="*/ 5278713 w 9586368"/>
                <a:gd name="connsiteY5995" fmla="*/ 2167867 h 6479439"/>
                <a:gd name="connsiteX5996" fmla="*/ 5274694 w 9586368"/>
                <a:gd name="connsiteY5996" fmla="*/ 2171905 h 6479439"/>
                <a:gd name="connsiteX5997" fmla="*/ 5264784 w 9586368"/>
                <a:gd name="connsiteY5997" fmla="*/ 2171905 h 6479439"/>
                <a:gd name="connsiteX5998" fmla="*/ 5260765 w 9586368"/>
                <a:gd name="connsiteY5998" fmla="*/ 2167867 h 6479439"/>
                <a:gd name="connsiteX5999" fmla="*/ 5260765 w 9586368"/>
                <a:gd name="connsiteY5999" fmla="*/ 2157994 h 6479439"/>
                <a:gd name="connsiteX6000" fmla="*/ 5025470 w 9586368"/>
                <a:gd name="connsiteY6000" fmla="*/ 2153956 h 6479439"/>
                <a:gd name="connsiteX6001" fmla="*/ 5035381 w 9586368"/>
                <a:gd name="connsiteY6001" fmla="*/ 2153956 h 6479439"/>
                <a:gd name="connsiteX6002" fmla="*/ 5039400 w 9586368"/>
                <a:gd name="connsiteY6002" fmla="*/ 2157994 h 6479439"/>
                <a:gd name="connsiteX6003" fmla="*/ 5039400 w 9586368"/>
                <a:gd name="connsiteY6003" fmla="*/ 2167867 h 6479439"/>
                <a:gd name="connsiteX6004" fmla="*/ 5035381 w 9586368"/>
                <a:gd name="connsiteY6004" fmla="*/ 2171906 h 6479439"/>
                <a:gd name="connsiteX6005" fmla="*/ 5025470 w 9586368"/>
                <a:gd name="connsiteY6005" fmla="*/ 2171906 h 6479439"/>
                <a:gd name="connsiteX6006" fmla="*/ 5021451 w 9586368"/>
                <a:gd name="connsiteY6006" fmla="*/ 2167867 h 6479439"/>
                <a:gd name="connsiteX6007" fmla="*/ 5021451 w 9586368"/>
                <a:gd name="connsiteY6007" fmla="*/ 2157994 h 6479439"/>
                <a:gd name="connsiteX6008" fmla="*/ 4786241 w 9586368"/>
                <a:gd name="connsiteY6008" fmla="*/ 2153956 h 6479439"/>
                <a:gd name="connsiteX6009" fmla="*/ 4796152 w 9586368"/>
                <a:gd name="connsiteY6009" fmla="*/ 2153956 h 6479439"/>
                <a:gd name="connsiteX6010" fmla="*/ 4800171 w 9586368"/>
                <a:gd name="connsiteY6010" fmla="*/ 2157994 h 6479439"/>
                <a:gd name="connsiteX6011" fmla="*/ 4800171 w 9586368"/>
                <a:gd name="connsiteY6011" fmla="*/ 2167867 h 6479439"/>
                <a:gd name="connsiteX6012" fmla="*/ 4796152 w 9586368"/>
                <a:gd name="connsiteY6012" fmla="*/ 2171906 h 6479439"/>
                <a:gd name="connsiteX6013" fmla="*/ 4786241 w 9586368"/>
                <a:gd name="connsiteY6013" fmla="*/ 2171906 h 6479439"/>
                <a:gd name="connsiteX6014" fmla="*/ 4782224 w 9586368"/>
                <a:gd name="connsiteY6014" fmla="*/ 2167867 h 6479439"/>
                <a:gd name="connsiteX6015" fmla="*/ 4782224 w 9586368"/>
                <a:gd name="connsiteY6015" fmla="*/ 2157994 h 6479439"/>
                <a:gd name="connsiteX6016" fmla="*/ 5743412 w 9586368"/>
                <a:gd name="connsiteY6016" fmla="*/ 2153955 h 6479439"/>
                <a:gd name="connsiteX6017" fmla="*/ 5753323 w 9586368"/>
                <a:gd name="connsiteY6017" fmla="*/ 2153955 h 6479439"/>
                <a:gd name="connsiteX6018" fmla="*/ 5757342 w 9586368"/>
                <a:gd name="connsiteY6018" fmla="*/ 2157994 h 6479439"/>
                <a:gd name="connsiteX6019" fmla="*/ 5757342 w 9586368"/>
                <a:gd name="connsiteY6019" fmla="*/ 2167866 h 6479439"/>
                <a:gd name="connsiteX6020" fmla="*/ 5753323 w 9586368"/>
                <a:gd name="connsiteY6020" fmla="*/ 2171905 h 6479439"/>
                <a:gd name="connsiteX6021" fmla="*/ 5743412 w 9586368"/>
                <a:gd name="connsiteY6021" fmla="*/ 2171905 h 6479439"/>
                <a:gd name="connsiteX6022" fmla="*/ 5739393 w 9586368"/>
                <a:gd name="connsiteY6022" fmla="*/ 2167866 h 6479439"/>
                <a:gd name="connsiteX6023" fmla="*/ 5739393 w 9586368"/>
                <a:gd name="connsiteY6023" fmla="*/ 2157994 h 6479439"/>
                <a:gd name="connsiteX6024" fmla="*/ 6222042 w 9586368"/>
                <a:gd name="connsiteY6024" fmla="*/ 2153936 h 6479439"/>
                <a:gd name="connsiteX6025" fmla="*/ 6231952 w 9586368"/>
                <a:gd name="connsiteY6025" fmla="*/ 2153936 h 6479439"/>
                <a:gd name="connsiteX6026" fmla="*/ 6235971 w 9586368"/>
                <a:gd name="connsiteY6026" fmla="*/ 2157974 h 6479439"/>
                <a:gd name="connsiteX6027" fmla="*/ 6235971 w 9586368"/>
                <a:gd name="connsiteY6027" fmla="*/ 2167846 h 6479439"/>
                <a:gd name="connsiteX6028" fmla="*/ 6231952 w 9586368"/>
                <a:gd name="connsiteY6028" fmla="*/ 2171885 h 6479439"/>
                <a:gd name="connsiteX6029" fmla="*/ 6222042 w 9586368"/>
                <a:gd name="connsiteY6029" fmla="*/ 2171885 h 6479439"/>
                <a:gd name="connsiteX6030" fmla="*/ 6218023 w 9586368"/>
                <a:gd name="connsiteY6030" fmla="*/ 2167846 h 6479439"/>
                <a:gd name="connsiteX6031" fmla="*/ 6218023 w 9586368"/>
                <a:gd name="connsiteY6031" fmla="*/ 2157974 h 6479439"/>
                <a:gd name="connsiteX6032" fmla="*/ 5982729 w 9586368"/>
                <a:gd name="connsiteY6032" fmla="*/ 2153936 h 6479439"/>
                <a:gd name="connsiteX6033" fmla="*/ 5992639 w 9586368"/>
                <a:gd name="connsiteY6033" fmla="*/ 2153936 h 6479439"/>
                <a:gd name="connsiteX6034" fmla="*/ 5996658 w 9586368"/>
                <a:gd name="connsiteY6034" fmla="*/ 2157974 h 6479439"/>
                <a:gd name="connsiteX6035" fmla="*/ 5996658 w 9586368"/>
                <a:gd name="connsiteY6035" fmla="*/ 2167846 h 6479439"/>
                <a:gd name="connsiteX6036" fmla="*/ 5992639 w 9586368"/>
                <a:gd name="connsiteY6036" fmla="*/ 2171885 h 6479439"/>
                <a:gd name="connsiteX6037" fmla="*/ 5982729 w 9586368"/>
                <a:gd name="connsiteY6037" fmla="*/ 2171885 h 6479439"/>
                <a:gd name="connsiteX6038" fmla="*/ 5978710 w 9586368"/>
                <a:gd name="connsiteY6038" fmla="*/ 2167846 h 6479439"/>
                <a:gd name="connsiteX6039" fmla="*/ 5978710 w 9586368"/>
                <a:gd name="connsiteY6039" fmla="*/ 2157974 h 6479439"/>
                <a:gd name="connsiteX6040" fmla="*/ 6939983 w 9586368"/>
                <a:gd name="connsiteY6040" fmla="*/ 2153935 h 6479439"/>
                <a:gd name="connsiteX6041" fmla="*/ 6949894 w 9586368"/>
                <a:gd name="connsiteY6041" fmla="*/ 2153935 h 6479439"/>
                <a:gd name="connsiteX6042" fmla="*/ 6953913 w 9586368"/>
                <a:gd name="connsiteY6042" fmla="*/ 2157974 h 6479439"/>
                <a:gd name="connsiteX6043" fmla="*/ 6953913 w 9586368"/>
                <a:gd name="connsiteY6043" fmla="*/ 2167845 h 6479439"/>
                <a:gd name="connsiteX6044" fmla="*/ 6949894 w 9586368"/>
                <a:gd name="connsiteY6044" fmla="*/ 2171885 h 6479439"/>
                <a:gd name="connsiteX6045" fmla="*/ 6939983 w 9586368"/>
                <a:gd name="connsiteY6045" fmla="*/ 2171885 h 6479439"/>
                <a:gd name="connsiteX6046" fmla="*/ 6935964 w 9586368"/>
                <a:gd name="connsiteY6046" fmla="*/ 2167845 h 6479439"/>
                <a:gd name="connsiteX6047" fmla="*/ 6935964 w 9586368"/>
                <a:gd name="connsiteY6047" fmla="*/ 2157974 h 6479439"/>
                <a:gd name="connsiteX6048" fmla="*/ 6700670 w 9586368"/>
                <a:gd name="connsiteY6048" fmla="*/ 2153935 h 6479439"/>
                <a:gd name="connsiteX6049" fmla="*/ 6710581 w 9586368"/>
                <a:gd name="connsiteY6049" fmla="*/ 2153935 h 6479439"/>
                <a:gd name="connsiteX6050" fmla="*/ 6714600 w 9586368"/>
                <a:gd name="connsiteY6050" fmla="*/ 2157974 h 6479439"/>
                <a:gd name="connsiteX6051" fmla="*/ 6714600 w 9586368"/>
                <a:gd name="connsiteY6051" fmla="*/ 2167846 h 6479439"/>
                <a:gd name="connsiteX6052" fmla="*/ 6710581 w 9586368"/>
                <a:gd name="connsiteY6052" fmla="*/ 2171885 h 6479439"/>
                <a:gd name="connsiteX6053" fmla="*/ 6700670 w 9586368"/>
                <a:gd name="connsiteY6053" fmla="*/ 2171885 h 6479439"/>
                <a:gd name="connsiteX6054" fmla="*/ 6696651 w 9586368"/>
                <a:gd name="connsiteY6054" fmla="*/ 2167846 h 6479439"/>
                <a:gd name="connsiteX6055" fmla="*/ 6696651 w 9586368"/>
                <a:gd name="connsiteY6055" fmla="*/ 2157974 h 6479439"/>
                <a:gd name="connsiteX6056" fmla="*/ 6461356 w 9586368"/>
                <a:gd name="connsiteY6056" fmla="*/ 2153935 h 6479439"/>
                <a:gd name="connsiteX6057" fmla="*/ 6471266 w 9586368"/>
                <a:gd name="connsiteY6057" fmla="*/ 2153935 h 6479439"/>
                <a:gd name="connsiteX6058" fmla="*/ 6475285 w 9586368"/>
                <a:gd name="connsiteY6058" fmla="*/ 2157974 h 6479439"/>
                <a:gd name="connsiteX6059" fmla="*/ 6475285 w 9586368"/>
                <a:gd name="connsiteY6059" fmla="*/ 2167846 h 6479439"/>
                <a:gd name="connsiteX6060" fmla="*/ 6471266 w 9586368"/>
                <a:gd name="connsiteY6060" fmla="*/ 2171885 h 6479439"/>
                <a:gd name="connsiteX6061" fmla="*/ 6461356 w 9586368"/>
                <a:gd name="connsiteY6061" fmla="*/ 2171885 h 6479439"/>
                <a:gd name="connsiteX6062" fmla="*/ 6457337 w 9586368"/>
                <a:gd name="connsiteY6062" fmla="*/ 2167846 h 6479439"/>
                <a:gd name="connsiteX6063" fmla="*/ 6457337 w 9586368"/>
                <a:gd name="connsiteY6063" fmla="*/ 2157974 h 6479439"/>
                <a:gd name="connsiteX6064" fmla="*/ 7418611 w 9586368"/>
                <a:gd name="connsiteY6064" fmla="*/ 2153916 h 6479439"/>
                <a:gd name="connsiteX6065" fmla="*/ 7428521 w 9586368"/>
                <a:gd name="connsiteY6065" fmla="*/ 2153916 h 6479439"/>
                <a:gd name="connsiteX6066" fmla="*/ 7432540 w 9586368"/>
                <a:gd name="connsiteY6066" fmla="*/ 2157955 h 6479439"/>
                <a:gd name="connsiteX6067" fmla="*/ 7432540 w 9586368"/>
                <a:gd name="connsiteY6067" fmla="*/ 2167826 h 6479439"/>
                <a:gd name="connsiteX6068" fmla="*/ 7428521 w 9586368"/>
                <a:gd name="connsiteY6068" fmla="*/ 2171865 h 6479439"/>
                <a:gd name="connsiteX6069" fmla="*/ 7418611 w 9586368"/>
                <a:gd name="connsiteY6069" fmla="*/ 2171865 h 6479439"/>
                <a:gd name="connsiteX6070" fmla="*/ 7414592 w 9586368"/>
                <a:gd name="connsiteY6070" fmla="*/ 2167826 h 6479439"/>
                <a:gd name="connsiteX6071" fmla="*/ 7414592 w 9586368"/>
                <a:gd name="connsiteY6071" fmla="*/ 2157955 h 6479439"/>
                <a:gd name="connsiteX6072" fmla="*/ 7179298 w 9586368"/>
                <a:gd name="connsiteY6072" fmla="*/ 2153916 h 6479439"/>
                <a:gd name="connsiteX6073" fmla="*/ 7189209 w 9586368"/>
                <a:gd name="connsiteY6073" fmla="*/ 2153916 h 6479439"/>
                <a:gd name="connsiteX6074" fmla="*/ 7193228 w 9586368"/>
                <a:gd name="connsiteY6074" fmla="*/ 2157955 h 6479439"/>
                <a:gd name="connsiteX6075" fmla="*/ 7193228 w 9586368"/>
                <a:gd name="connsiteY6075" fmla="*/ 2167826 h 6479439"/>
                <a:gd name="connsiteX6076" fmla="*/ 7189209 w 9586368"/>
                <a:gd name="connsiteY6076" fmla="*/ 2171865 h 6479439"/>
                <a:gd name="connsiteX6077" fmla="*/ 7179298 w 9586368"/>
                <a:gd name="connsiteY6077" fmla="*/ 2171865 h 6479439"/>
                <a:gd name="connsiteX6078" fmla="*/ 7175279 w 9586368"/>
                <a:gd name="connsiteY6078" fmla="*/ 2167826 h 6479439"/>
                <a:gd name="connsiteX6079" fmla="*/ 7175279 w 9586368"/>
                <a:gd name="connsiteY6079" fmla="*/ 2157955 h 6479439"/>
                <a:gd name="connsiteX6080" fmla="*/ 8136553 w 9586368"/>
                <a:gd name="connsiteY6080" fmla="*/ 2153915 h 6479439"/>
                <a:gd name="connsiteX6081" fmla="*/ 8146464 w 9586368"/>
                <a:gd name="connsiteY6081" fmla="*/ 2153915 h 6479439"/>
                <a:gd name="connsiteX6082" fmla="*/ 8150483 w 9586368"/>
                <a:gd name="connsiteY6082" fmla="*/ 2157955 h 6479439"/>
                <a:gd name="connsiteX6083" fmla="*/ 8150483 w 9586368"/>
                <a:gd name="connsiteY6083" fmla="*/ 2167825 h 6479439"/>
                <a:gd name="connsiteX6084" fmla="*/ 8146464 w 9586368"/>
                <a:gd name="connsiteY6084" fmla="*/ 2171864 h 6479439"/>
                <a:gd name="connsiteX6085" fmla="*/ 8136553 w 9586368"/>
                <a:gd name="connsiteY6085" fmla="*/ 2171864 h 6479439"/>
                <a:gd name="connsiteX6086" fmla="*/ 8132534 w 9586368"/>
                <a:gd name="connsiteY6086" fmla="*/ 2167825 h 6479439"/>
                <a:gd name="connsiteX6087" fmla="*/ 8132534 w 9586368"/>
                <a:gd name="connsiteY6087" fmla="*/ 2157955 h 6479439"/>
                <a:gd name="connsiteX6088" fmla="*/ 7897241 w 9586368"/>
                <a:gd name="connsiteY6088" fmla="*/ 2153915 h 6479439"/>
                <a:gd name="connsiteX6089" fmla="*/ 7907151 w 9586368"/>
                <a:gd name="connsiteY6089" fmla="*/ 2153915 h 6479439"/>
                <a:gd name="connsiteX6090" fmla="*/ 7911170 w 9586368"/>
                <a:gd name="connsiteY6090" fmla="*/ 2157955 h 6479439"/>
                <a:gd name="connsiteX6091" fmla="*/ 7911170 w 9586368"/>
                <a:gd name="connsiteY6091" fmla="*/ 2167826 h 6479439"/>
                <a:gd name="connsiteX6092" fmla="*/ 7907151 w 9586368"/>
                <a:gd name="connsiteY6092" fmla="*/ 2171864 h 6479439"/>
                <a:gd name="connsiteX6093" fmla="*/ 7897241 w 9586368"/>
                <a:gd name="connsiteY6093" fmla="*/ 2171864 h 6479439"/>
                <a:gd name="connsiteX6094" fmla="*/ 7893222 w 9586368"/>
                <a:gd name="connsiteY6094" fmla="*/ 2167826 h 6479439"/>
                <a:gd name="connsiteX6095" fmla="*/ 7893222 w 9586368"/>
                <a:gd name="connsiteY6095" fmla="*/ 2157955 h 6479439"/>
                <a:gd name="connsiteX6096" fmla="*/ 7657926 w 9586368"/>
                <a:gd name="connsiteY6096" fmla="*/ 2153915 h 6479439"/>
                <a:gd name="connsiteX6097" fmla="*/ 7667836 w 9586368"/>
                <a:gd name="connsiteY6097" fmla="*/ 2153915 h 6479439"/>
                <a:gd name="connsiteX6098" fmla="*/ 7671855 w 9586368"/>
                <a:gd name="connsiteY6098" fmla="*/ 2157955 h 6479439"/>
                <a:gd name="connsiteX6099" fmla="*/ 7671855 w 9586368"/>
                <a:gd name="connsiteY6099" fmla="*/ 2167826 h 6479439"/>
                <a:gd name="connsiteX6100" fmla="*/ 7667836 w 9586368"/>
                <a:gd name="connsiteY6100" fmla="*/ 2171864 h 6479439"/>
                <a:gd name="connsiteX6101" fmla="*/ 7657926 w 9586368"/>
                <a:gd name="connsiteY6101" fmla="*/ 2171864 h 6479439"/>
                <a:gd name="connsiteX6102" fmla="*/ 7653906 w 9586368"/>
                <a:gd name="connsiteY6102" fmla="*/ 2167826 h 6479439"/>
                <a:gd name="connsiteX6103" fmla="*/ 7653906 w 9586368"/>
                <a:gd name="connsiteY6103" fmla="*/ 2157955 h 6479439"/>
                <a:gd name="connsiteX6104" fmla="*/ 8615184 w 9586368"/>
                <a:gd name="connsiteY6104" fmla="*/ 2153896 h 6479439"/>
                <a:gd name="connsiteX6105" fmla="*/ 8625095 w 9586368"/>
                <a:gd name="connsiteY6105" fmla="*/ 2153896 h 6479439"/>
                <a:gd name="connsiteX6106" fmla="*/ 8629114 w 9586368"/>
                <a:gd name="connsiteY6106" fmla="*/ 2157935 h 6479439"/>
                <a:gd name="connsiteX6107" fmla="*/ 8629114 w 9586368"/>
                <a:gd name="connsiteY6107" fmla="*/ 2167805 h 6479439"/>
                <a:gd name="connsiteX6108" fmla="*/ 8625095 w 9586368"/>
                <a:gd name="connsiteY6108" fmla="*/ 2171844 h 6479439"/>
                <a:gd name="connsiteX6109" fmla="*/ 8615184 w 9586368"/>
                <a:gd name="connsiteY6109" fmla="*/ 2171844 h 6479439"/>
                <a:gd name="connsiteX6110" fmla="*/ 8611165 w 9586368"/>
                <a:gd name="connsiteY6110" fmla="*/ 2167805 h 6479439"/>
                <a:gd name="connsiteX6111" fmla="*/ 8611165 w 9586368"/>
                <a:gd name="connsiteY6111" fmla="*/ 2157935 h 6479439"/>
                <a:gd name="connsiteX6112" fmla="*/ 8375869 w 9586368"/>
                <a:gd name="connsiteY6112" fmla="*/ 2153896 h 6479439"/>
                <a:gd name="connsiteX6113" fmla="*/ 8385779 w 9586368"/>
                <a:gd name="connsiteY6113" fmla="*/ 2153896 h 6479439"/>
                <a:gd name="connsiteX6114" fmla="*/ 8389799 w 9586368"/>
                <a:gd name="connsiteY6114" fmla="*/ 2157935 h 6479439"/>
                <a:gd name="connsiteX6115" fmla="*/ 8389799 w 9586368"/>
                <a:gd name="connsiteY6115" fmla="*/ 2167805 h 6479439"/>
                <a:gd name="connsiteX6116" fmla="*/ 8385779 w 9586368"/>
                <a:gd name="connsiteY6116" fmla="*/ 2171844 h 6479439"/>
                <a:gd name="connsiteX6117" fmla="*/ 8375869 w 9586368"/>
                <a:gd name="connsiteY6117" fmla="*/ 2171844 h 6479439"/>
                <a:gd name="connsiteX6118" fmla="*/ 8371850 w 9586368"/>
                <a:gd name="connsiteY6118" fmla="*/ 2167805 h 6479439"/>
                <a:gd name="connsiteX6119" fmla="*/ 8371850 w 9586368"/>
                <a:gd name="connsiteY6119" fmla="*/ 2157935 h 6479439"/>
                <a:gd name="connsiteX6120" fmla="*/ 9333125 w 9586368"/>
                <a:gd name="connsiteY6120" fmla="*/ 2153895 h 6479439"/>
                <a:gd name="connsiteX6121" fmla="*/ 9343036 w 9586368"/>
                <a:gd name="connsiteY6121" fmla="*/ 2153895 h 6479439"/>
                <a:gd name="connsiteX6122" fmla="*/ 9347055 w 9586368"/>
                <a:gd name="connsiteY6122" fmla="*/ 2157934 h 6479439"/>
                <a:gd name="connsiteX6123" fmla="*/ 9347055 w 9586368"/>
                <a:gd name="connsiteY6123" fmla="*/ 2167805 h 6479439"/>
                <a:gd name="connsiteX6124" fmla="*/ 9343036 w 9586368"/>
                <a:gd name="connsiteY6124" fmla="*/ 2171844 h 6479439"/>
                <a:gd name="connsiteX6125" fmla="*/ 9333125 w 9586368"/>
                <a:gd name="connsiteY6125" fmla="*/ 2171844 h 6479439"/>
                <a:gd name="connsiteX6126" fmla="*/ 9329106 w 9586368"/>
                <a:gd name="connsiteY6126" fmla="*/ 2167805 h 6479439"/>
                <a:gd name="connsiteX6127" fmla="*/ 9329106 w 9586368"/>
                <a:gd name="connsiteY6127" fmla="*/ 2157934 h 6479439"/>
                <a:gd name="connsiteX6128" fmla="*/ 9093811 w 9586368"/>
                <a:gd name="connsiteY6128" fmla="*/ 2153895 h 6479439"/>
                <a:gd name="connsiteX6129" fmla="*/ 9103722 w 9586368"/>
                <a:gd name="connsiteY6129" fmla="*/ 2153895 h 6479439"/>
                <a:gd name="connsiteX6130" fmla="*/ 9107741 w 9586368"/>
                <a:gd name="connsiteY6130" fmla="*/ 2157935 h 6479439"/>
                <a:gd name="connsiteX6131" fmla="*/ 9107741 w 9586368"/>
                <a:gd name="connsiteY6131" fmla="*/ 2167805 h 6479439"/>
                <a:gd name="connsiteX6132" fmla="*/ 9103722 w 9586368"/>
                <a:gd name="connsiteY6132" fmla="*/ 2171844 h 6479439"/>
                <a:gd name="connsiteX6133" fmla="*/ 9093811 w 9586368"/>
                <a:gd name="connsiteY6133" fmla="*/ 2171844 h 6479439"/>
                <a:gd name="connsiteX6134" fmla="*/ 9089792 w 9586368"/>
                <a:gd name="connsiteY6134" fmla="*/ 2167805 h 6479439"/>
                <a:gd name="connsiteX6135" fmla="*/ 9089792 w 9586368"/>
                <a:gd name="connsiteY6135" fmla="*/ 2157935 h 6479439"/>
                <a:gd name="connsiteX6136" fmla="*/ 8854496 w 9586368"/>
                <a:gd name="connsiteY6136" fmla="*/ 2153895 h 6479439"/>
                <a:gd name="connsiteX6137" fmla="*/ 8864407 w 9586368"/>
                <a:gd name="connsiteY6137" fmla="*/ 2153895 h 6479439"/>
                <a:gd name="connsiteX6138" fmla="*/ 8868426 w 9586368"/>
                <a:gd name="connsiteY6138" fmla="*/ 2157935 h 6479439"/>
                <a:gd name="connsiteX6139" fmla="*/ 8868426 w 9586368"/>
                <a:gd name="connsiteY6139" fmla="*/ 2167805 h 6479439"/>
                <a:gd name="connsiteX6140" fmla="*/ 8864407 w 9586368"/>
                <a:gd name="connsiteY6140" fmla="*/ 2171844 h 6479439"/>
                <a:gd name="connsiteX6141" fmla="*/ 8854496 w 9586368"/>
                <a:gd name="connsiteY6141" fmla="*/ 2171844 h 6479439"/>
                <a:gd name="connsiteX6142" fmla="*/ 8850477 w 9586368"/>
                <a:gd name="connsiteY6142" fmla="*/ 2167805 h 6479439"/>
                <a:gd name="connsiteX6143" fmla="*/ 8850477 w 9586368"/>
                <a:gd name="connsiteY6143" fmla="*/ 2157935 h 6479439"/>
                <a:gd name="connsiteX6144" fmla="*/ 9572438 w 9586368"/>
                <a:gd name="connsiteY6144" fmla="*/ 2153876 h 6479439"/>
                <a:gd name="connsiteX6145" fmla="*/ 9582349 w 9586368"/>
                <a:gd name="connsiteY6145" fmla="*/ 2153876 h 6479439"/>
                <a:gd name="connsiteX6146" fmla="*/ 9586368 w 9586368"/>
                <a:gd name="connsiteY6146" fmla="*/ 2157914 h 6479439"/>
                <a:gd name="connsiteX6147" fmla="*/ 9586368 w 9586368"/>
                <a:gd name="connsiteY6147" fmla="*/ 2167786 h 6479439"/>
                <a:gd name="connsiteX6148" fmla="*/ 9582349 w 9586368"/>
                <a:gd name="connsiteY6148" fmla="*/ 2171824 h 6479439"/>
                <a:gd name="connsiteX6149" fmla="*/ 9572438 w 9586368"/>
                <a:gd name="connsiteY6149" fmla="*/ 2171824 h 6479439"/>
                <a:gd name="connsiteX6150" fmla="*/ 9568419 w 9586368"/>
                <a:gd name="connsiteY6150" fmla="*/ 2167786 h 6479439"/>
                <a:gd name="connsiteX6151" fmla="*/ 9568419 w 9586368"/>
                <a:gd name="connsiteY6151" fmla="*/ 2157914 h 6479439"/>
                <a:gd name="connsiteX6152" fmla="*/ 1200582 w 9586368"/>
                <a:gd name="connsiteY6152" fmla="*/ 2153867 h 6479439"/>
                <a:gd name="connsiteX6153" fmla="*/ 1210491 w 9586368"/>
                <a:gd name="connsiteY6153" fmla="*/ 2153867 h 6479439"/>
                <a:gd name="connsiteX6154" fmla="*/ 1214510 w 9586368"/>
                <a:gd name="connsiteY6154" fmla="*/ 2157906 h 6479439"/>
                <a:gd name="connsiteX6155" fmla="*/ 1214510 w 9586368"/>
                <a:gd name="connsiteY6155" fmla="*/ 2167776 h 6479439"/>
                <a:gd name="connsiteX6156" fmla="*/ 1210491 w 9586368"/>
                <a:gd name="connsiteY6156" fmla="*/ 2171815 h 6479439"/>
                <a:gd name="connsiteX6157" fmla="*/ 1200582 w 9586368"/>
                <a:gd name="connsiteY6157" fmla="*/ 2171815 h 6479439"/>
                <a:gd name="connsiteX6158" fmla="*/ 1196562 w 9586368"/>
                <a:gd name="connsiteY6158" fmla="*/ 2167776 h 6479439"/>
                <a:gd name="connsiteX6159" fmla="*/ 1196562 w 9586368"/>
                <a:gd name="connsiteY6159" fmla="*/ 2157906 h 6479439"/>
                <a:gd name="connsiteX6160" fmla="*/ 961268 w 9586368"/>
                <a:gd name="connsiteY6160" fmla="*/ 2153867 h 6479439"/>
                <a:gd name="connsiteX6161" fmla="*/ 971179 w 9586368"/>
                <a:gd name="connsiteY6161" fmla="*/ 2153867 h 6479439"/>
                <a:gd name="connsiteX6162" fmla="*/ 975198 w 9586368"/>
                <a:gd name="connsiteY6162" fmla="*/ 2157906 h 6479439"/>
                <a:gd name="connsiteX6163" fmla="*/ 975198 w 9586368"/>
                <a:gd name="connsiteY6163" fmla="*/ 2167776 h 6479439"/>
                <a:gd name="connsiteX6164" fmla="*/ 971179 w 9586368"/>
                <a:gd name="connsiteY6164" fmla="*/ 2171815 h 6479439"/>
                <a:gd name="connsiteX6165" fmla="*/ 961268 w 9586368"/>
                <a:gd name="connsiteY6165" fmla="*/ 2171815 h 6479439"/>
                <a:gd name="connsiteX6166" fmla="*/ 957250 w 9586368"/>
                <a:gd name="connsiteY6166" fmla="*/ 2167776 h 6479439"/>
                <a:gd name="connsiteX6167" fmla="*/ 957250 w 9586368"/>
                <a:gd name="connsiteY6167" fmla="*/ 2157906 h 6479439"/>
                <a:gd name="connsiteX6168" fmla="*/ 1679214 w 9586368"/>
                <a:gd name="connsiteY6168" fmla="*/ 2153867 h 6479439"/>
                <a:gd name="connsiteX6169" fmla="*/ 1689123 w 9586368"/>
                <a:gd name="connsiteY6169" fmla="*/ 2153867 h 6479439"/>
                <a:gd name="connsiteX6170" fmla="*/ 1693144 w 9586368"/>
                <a:gd name="connsiteY6170" fmla="*/ 2157905 h 6479439"/>
                <a:gd name="connsiteX6171" fmla="*/ 1693144 w 9586368"/>
                <a:gd name="connsiteY6171" fmla="*/ 2167775 h 6479439"/>
                <a:gd name="connsiteX6172" fmla="*/ 1689123 w 9586368"/>
                <a:gd name="connsiteY6172" fmla="*/ 2171814 h 6479439"/>
                <a:gd name="connsiteX6173" fmla="*/ 1679214 w 9586368"/>
                <a:gd name="connsiteY6173" fmla="*/ 2171814 h 6479439"/>
                <a:gd name="connsiteX6174" fmla="*/ 1675195 w 9586368"/>
                <a:gd name="connsiteY6174" fmla="*/ 2167775 h 6479439"/>
                <a:gd name="connsiteX6175" fmla="*/ 1675195 w 9586368"/>
                <a:gd name="connsiteY6175" fmla="*/ 2157905 h 6479439"/>
                <a:gd name="connsiteX6176" fmla="*/ 1439897 w 9586368"/>
                <a:gd name="connsiteY6176" fmla="*/ 2153867 h 6479439"/>
                <a:gd name="connsiteX6177" fmla="*/ 1449807 w 9586368"/>
                <a:gd name="connsiteY6177" fmla="*/ 2153867 h 6479439"/>
                <a:gd name="connsiteX6178" fmla="*/ 1453826 w 9586368"/>
                <a:gd name="connsiteY6178" fmla="*/ 2157905 h 6479439"/>
                <a:gd name="connsiteX6179" fmla="*/ 1453826 w 9586368"/>
                <a:gd name="connsiteY6179" fmla="*/ 2167776 h 6479439"/>
                <a:gd name="connsiteX6180" fmla="*/ 1449807 w 9586368"/>
                <a:gd name="connsiteY6180" fmla="*/ 2171814 h 6479439"/>
                <a:gd name="connsiteX6181" fmla="*/ 1439897 w 9586368"/>
                <a:gd name="connsiteY6181" fmla="*/ 2171814 h 6479439"/>
                <a:gd name="connsiteX6182" fmla="*/ 1435878 w 9586368"/>
                <a:gd name="connsiteY6182" fmla="*/ 2167776 h 6479439"/>
                <a:gd name="connsiteX6183" fmla="*/ 1435878 w 9586368"/>
                <a:gd name="connsiteY6183" fmla="*/ 2157905 h 6479439"/>
                <a:gd name="connsiteX6184" fmla="*/ 1918513 w 9586368"/>
                <a:gd name="connsiteY6184" fmla="*/ 2153855 h 6479439"/>
                <a:gd name="connsiteX6185" fmla="*/ 1928422 w 9586368"/>
                <a:gd name="connsiteY6185" fmla="*/ 2153855 h 6479439"/>
                <a:gd name="connsiteX6186" fmla="*/ 1932443 w 9586368"/>
                <a:gd name="connsiteY6186" fmla="*/ 2157892 h 6479439"/>
                <a:gd name="connsiteX6187" fmla="*/ 1932443 w 9586368"/>
                <a:gd name="connsiteY6187" fmla="*/ 2167763 h 6479439"/>
                <a:gd name="connsiteX6188" fmla="*/ 1928422 w 9586368"/>
                <a:gd name="connsiteY6188" fmla="*/ 2171803 h 6479439"/>
                <a:gd name="connsiteX6189" fmla="*/ 1918513 w 9586368"/>
                <a:gd name="connsiteY6189" fmla="*/ 2171803 h 6479439"/>
                <a:gd name="connsiteX6190" fmla="*/ 1914494 w 9586368"/>
                <a:gd name="connsiteY6190" fmla="*/ 2167763 h 6479439"/>
                <a:gd name="connsiteX6191" fmla="*/ 1914494 w 9586368"/>
                <a:gd name="connsiteY6191" fmla="*/ 2157892 h 6479439"/>
                <a:gd name="connsiteX6192" fmla="*/ 2157821 w 9586368"/>
                <a:gd name="connsiteY6192" fmla="*/ 2153850 h 6479439"/>
                <a:gd name="connsiteX6193" fmla="*/ 2167732 w 9586368"/>
                <a:gd name="connsiteY6193" fmla="*/ 2153850 h 6479439"/>
                <a:gd name="connsiteX6194" fmla="*/ 2171750 w 9586368"/>
                <a:gd name="connsiteY6194" fmla="*/ 2157889 h 6479439"/>
                <a:gd name="connsiteX6195" fmla="*/ 2171750 w 9586368"/>
                <a:gd name="connsiteY6195" fmla="*/ 2167759 h 6479439"/>
                <a:gd name="connsiteX6196" fmla="*/ 2167732 w 9586368"/>
                <a:gd name="connsiteY6196" fmla="*/ 2171798 h 6479439"/>
                <a:gd name="connsiteX6197" fmla="*/ 2157821 w 9586368"/>
                <a:gd name="connsiteY6197" fmla="*/ 2171798 h 6479439"/>
                <a:gd name="connsiteX6198" fmla="*/ 2153803 w 9586368"/>
                <a:gd name="connsiteY6198" fmla="*/ 2167759 h 6479439"/>
                <a:gd name="connsiteX6199" fmla="*/ 2153803 w 9586368"/>
                <a:gd name="connsiteY6199" fmla="*/ 2157889 h 6479439"/>
                <a:gd name="connsiteX6200" fmla="*/ 4032 w 9586368"/>
                <a:gd name="connsiteY6200" fmla="*/ 2153832 h 6479439"/>
                <a:gd name="connsiteX6201" fmla="*/ 13942 w 9586368"/>
                <a:gd name="connsiteY6201" fmla="*/ 2153832 h 6479439"/>
                <a:gd name="connsiteX6202" fmla="*/ 17961 w 9586368"/>
                <a:gd name="connsiteY6202" fmla="*/ 2157870 h 6479439"/>
                <a:gd name="connsiteX6203" fmla="*/ 17961 w 9586368"/>
                <a:gd name="connsiteY6203" fmla="*/ 2167741 h 6479439"/>
                <a:gd name="connsiteX6204" fmla="*/ 13942 w 9586368"/>
                <a:gd name="connsiteY6204" fmla="*/ 2171780 h 6479439"/>
                <a:gd name="connsiteX6205" fmla="*/ 4032 w 9586368"/>
                <a:gd name="connsiteY6205" fmla="*/ 2171780 h 6479439"/>
                <a:gd name="connsiteX6206" fmla="*/ 13 w 9586368"/>
                <a:gd name="connsiteY6206" fmla="*/ 2167741 h 6479439"/>
                <a:gd name="connsiteX6207" fmla="*/ 13 w 9586368"/>
                <a:gd name="connsiteY6207" fmla="*/ 2157870 h 6479439"/>
                <a:gd name="connsiteX6208" fmla="*/ 721971 w 9586368"/>
                <a:gd name="connsiteY6208" fmla="*/ 2153832 h 6479439"/>
                <a:gd name="connsiteX6209" fmla="*/ 731881 w 9586368"/>
                <a:gd name="connsiteY6209" fmla="*/ 2153832 h 6479439"/>
                <a:gd name="connsiteX6210" fmla="*/ 735900 w 9586368"/>
                <a:gd name="connsiteY6210" fmla="*/ 2157870 h 6479439"/>
                <a:gd name="connsiteX6211" fmla="*/ 735900 w 9586368"/>
                <a:gd name="connsiteY6211" fmla="*/ 2167740 h 6479439"/>
                <a:gd name="connsiteX6212" fmla="*/ 731881 w 9586368"/>
                <a:gd name="connsiteY6212" fmla="*/ 2171780 h 6479439"/>
                <a:gd name="connsiteX6213" fmla="*/ 721971 w 9586368"/>
                <a:gd name="connsiteY6213" fmla="*/ 2171780 h 6479439"/>
                <a:gd name="connsiteX6214" fmla="*/ 717952 w 9586368"/>
                <a:gd name="connsiteY6214" fmla="*/ 2167740 h 6479439"/>
                <a:gd name="connsiteX6215" fmla="*/ 717952 w 9586368"/>
                <a:gd name="connsiteY6215" fmla="*/ 2157870 h 6479439"/>
                <a:gd name="connsiteX6216" fmla="*/ 482659 w 9586368"/>
                <a:gd name="connsiteY6216" fmla="*/ 2153832 h 6479439"/>
                <a:gd name="connsiteX6217" fmla="*/ 492569 w 9586368"/>
                <a:gd name="connsiteY6217" fmla="*/ 2153832 h 6479439"/>
                <a:gd name="connsiteX6218" fmla="*/ 496588 w 9586368"/>
                <a:gd name="connsiteY6218" fmla="*/ 2157870 h 6479439"/>
                <a:gd name="connsiteX6219" fmla="*/ 496588 w 9586368"/>
                <a:gd name="connsiteY6219" fmla="*/ 2167741 h 6479439"/>
                <a:gd name="connsiteX6220" fmla="*/ 492569 w 9586368"/>
                <a:gd name="connsiteY6220" fmla="*/ 2171780 h 6479439"/>
                <a:gd name="connsiteX6221" fmla="*/ 482659 w 9586368"/>
                <a:gd name="connsiteY6221" fmla="*/ 2171780 h 6479439"/>
                <a:gd name="connsiteX6222" fmla="*/ 478640 w 9586368"/>
                <a:gd name="connsiteY6222" fmla="*/ 2167741 h 6479439"/>
                <a:gd name="connsiteX6223" fmla="*/ 478640 w 9586368"/>
                <a:gd name="connsiteY6223" fmla="*/ 2157870 h 6479439"/>
                <a:gd name="connsiteX6224" fmla="*/ 243345 w 9586368"/>
                <a:gd name="connsiteY6224" fmla="*/ 2153832 h 6479439"/>
                <a:gd name="connsiteX6225" fmla="*/ 253255 w 9586368"/>
                <a:gd name="connsiteY6225" fmla="*/ 2153832 h 6479439"/>
                <a:gd name="connsiteX6226" fmla="*/ 257274 w 9586368"/>
                <a:gd name="connsiteY6226" fmla="*/ 2157870 h 6479439"/>
                <a:gd name="connsiteX6227" fmla="*/ 257274 w 9586368"/>
                <a:gd name="connsiteY6227" fmla="*/ 2167741 h 6479439"/>
                <a:gd name="connsiteX6228" fmla="*/ 253255 w 9586368"/>
                <a:gd name="connsiteY6228" fmla="*/ 2171780 h 6479439"/>
                <a:gd name="connsiteX6229" fmla="*/ 243345 w 9586368"/>
                <a:gd name="connsiteY6229" fmla="*/ 2171780 h 6479439"/>
                <a:gd name="connsiteX6230" fmla="*/ 239326 w 9586368"/>
                <a:gd name="connsiteY6230" fmla="*/ 2167741 h 6479439"/>
                <a:gd name="connsiteX6231" fmla="*/ 239326 w 9586368"/>
                <a:gd name="connsiteY6231" fmla="*/ 2157870 h 6479439"/>
                <a:gd name="connsiteX6232" fmla="*/ 2393104 w 9586368"/>
                <a:gd name="connsiteY6232" fmla="*/ 1914701 h 6479439"/>
                <a:gd name="connsiteX6233" fmla="*/ 2403015 w 9586368"/>
                <a:gd name="connsiteY6233" fmla="*/ 1914701 h 6479439"/>
                <a:gd name="connsiteX6234" fmla="*/ 2407034 w 9586368"/>
                <a:gd name="connsiteY6234" fmla="*/ 1918739 h 6479439"/>
                <a:gd name="connsiteX6235" fmla="*/ 2407034 w 9586368"/>
                <a:gd name="connsiteY6235" fmla="*/ 1928610 h 6479439"/>
                <a:gd name="connsiteX6236" fmla="*/ 2403015 w 9586368"/>
                <a:gd name="connsiteY6236" fmla="*/ 1932649 h 6479439"/>
                <a:gd name="connsiteX6237" fmla="*/ 2393104 w 9586368"/>
                <a:gd name="connsiteY6237" fmla="*/ 1932649 h 6479439"/>
                <a:gd name="connsiteX6238" fmla="*/ 2389087 w 9586368"/>
                <a:gd name="connsiteY6238" fmla="*/ 1928610 h 6479439"/>
                <a:gd name="connsiteX6239" fmla="*/ 2389087 w 9586368"/>
                <a:gd name="connsiteY6239" fmla="*/ 1918739 h 6479439"/>
                <a:gd name="connsiteX6240" fmla="*/ 3350359 w 9586368"/>
                <a:gd name="connsiteY6240" fmla="*/ 1914699 h 6479439"/>
                <a:gd name="connsiteX6241" fmla="*/ 3360268 w 9586368"/>
                <a:gd name="connsiteY6241" fmla="*/ 1914699 h 6479439"/>
                <a:gd name="connsiteX6242" fmla="*/ 3364287 w 9586368"/>
                <a:gd name="connsiteY6242" fmla="*/ 1918738 h 6479439"/>
                <a:gd name="connsiteX6243" fmla="*/ 3364287 w 9586368"/>
                <a:gd name="connsiteY6243" fmla="*/ 1928610 h 6479439"/>
                <a:gd name="connsiteX6244" fmla="*/ 3360268 w 9586368"/>
                <a:gd name="connsiteY6244" fmla="*/ 1932649 h 6479439"/>
                <a:gd name="connsiteX6245" fmla="*/ 3350359 w 9586368"/>
                <a:gd name="connsiteY6245" fmla="*/ 1932649 h 6479439"/>
                <a:gd name="connsiteX6246" fmla="*/ 3346340 w 9586368"/>
                <a:gd name="connsiteY6246" fmla="*/ 1928610 h 6479439"/>
                <a:gd name="connsiteX6247" fmla="*/ 3346340 w 9586368"/>
                <a:gd name="connsiteY6247" fmla="*/ 1918738 h 6479439"/>
                <a:gd name="connsiteX6248" fmla="*/ 3111048 w 9586368"/>
                <a:gd name="connsiteY6248" fmla="*/ 1914699 h 6479439"/>
                <a:gd name="connsiteX6249" fmla="*/ 3120959 w 9586368"/>
                <a:gd name="connsiteY6249" fmla="*/ 1914699 h 6479439"/>
                <a:gd name="connsiteX6250" fmla="*/ 3124977 w 9586368"/>
                <a:gd name="connsiteY6250" fmla="*/ 1918739 h 6479439"/>
                <a:gd name="connsiteX6251" fmla="*/ 3124977 w 9586368"/>
                <a:gd name="connsiteY6251" fmla="*/ 1928610 h 6479439"/>
                <a:gd name="connsiteX6252" fmla="*/ 3120959 w 9586368"/>
                <a:gd name="connsiteY6252" fmla="*/ 1932649 h 6479439"/>
                <a:gd name="connsiteX6253" fmla="*/ 3111048 w 9586368"/>
                <a:gd name="connsiteY6253" fmla="*/ 1932649 h 6479439"/>
                <a:gd name="connsiteX6254" fmla="*/ 3107029 w 9586368"/>
                <a:gd name="connsiteY6254" fmla="*/ 1928610 h 6479439"/>
                <a:gd name="connsiteX6255" fmla="*/ 3107029 w 9586368"/>
                <a:gd name="connsiteY6255" fmla="*/ 1918739 h 6479439"/>
                <a:gd name="connsiteX6256" fmla="*/ 2871737 w 9586368"/>
                <a:gd name="connsiteY6256" fmla="*/ 1914699 h 6479439"/>
                <a:gd name="connsiteX6257" fmla="*/ 2881646 w 9586368"/>
                <a:gd name="connsiteY6257" fmla="*/ 1914699 h 6479439"/>
                <a:gd name="connsiteX6258" fmla="*/ 2885666 w 9586368"/>
                <a:gd name="connsiteY6258" fmla="*/ 1918739 h 6479439"/>
                <a:gd name="connsiteX6259" fmla="*/ 2885666 w 9586368"/>
                <a:gd name="connsiteY6259" fmla="*/ 1928610 h 6479439"/>
                <a:gd name="connsiteX6260" fmla="*/ 2881646 w 9586368"/>
                <a:gd name="connsiteY6260" fmla="*/ 1932649 h 6479439"/>
                <a:gd name="connsiteX6261" fmla="*/ 2871737 w 9586368"/>
                <a:gd name="connsiteY6261" fmla="*/ 1932649 h 6479439"/>
                <a:gd name="connsiteX6262" fmla="*/ 2867717 w 9586368"/>
                <a:gd name="connsiteY6262" fmla="*/ 1928610 h 6479439"/>
                <a:gd name="connsiteX6263" fmla="*/ 2867717 w 9586368"/>
                <a:gd name="connsiteY6263" fmla="*/ 1918739 h 6479439"/>
                <a:gd name="connsiteX6264" fmla="*/ 2632423 w 9586368"/>
                <a:gd name="connsiteY6264" fmla="*/ 1914699 h 6479439"/>
                <a:gd name="connsiteX6265" fmla="*/ 2642334 w 9586368"/>
                <a:gd name="connsiteY6265" fmla="*/ 1914699 h 6479439"/>
                <a:gd name="connsiteX6266" fmla="*/ 2646352 w 9586368"/>
                <a:gd name="connsiteY6266" fmla="*/ 1918739 h 6479439"/>
                <a:gd name="connsiteX6267" fmla="*/ 2646352 w 9586368"/>
                <a:gd name="connsiteY6267" fmla="*/ 1928610 h 6479439"/>
                <a:gd name="connsiteX6268" fmla="*/ 2642334 w 9586368"/>
                <a:gd name="connsiteY6268" fmla="*/ 1932649 h 6479439"/>
                <a:gd name="connsiteX6269" fmla="*/ 2632423 w 9586368"/>
                <a:gd name="connsiteY6269" fmla="*/ 1932649 h 6479439"/>
                <a:gd name="connsiteX6270" fmla="*/ 2628404 w 9586368"/>
                <a:gd name="connsiteY6270" fmla="*/ 1928610 h 6479439"/>
                <a:gd name="connsiteX6271" fmla="*/ 2628404 w 9586368"/>
                <a:gd name="connsiteY6271" fmla="*/ 1918739 h 6479439"/>
                <a:gd name="connsiteX6272" fmla="*/ 3589676 w 9586368"/>
                <a:gd name="connsiteY6272" fmla="*/ 1914682 h 6479439"/>
                <a:gd name="connsiteX6273" fmla="*/ 3599585 w 9586368"/>
                <a:gd name="connsiteY6273" fmla="*/ 1914682 h 6479439"/>
                <a:gd name="connsiteX6274" fmla="*/ 3603604 w 9586368"/>
                <a:gd name="connsiteY6274" fmla="*/ 1918721 h 6479439"/>
                <a:gd name="connsiteX6275" fmla="*/ 3603604 w 9586368"/>
                <a:gd name="connsiteY6275" fmla="*/ 1928592 h 6479439"/>
                <a:gd name="connsiteX6276" fmla="*/ 3599585 w 9586368"/>
                <a:gd name="connsiteY6276" fmla="*/ 1932631 h 6479439"/>
                <a:gd name="connsiteX6277" fmla="*/ 3589676 w 9586368"/>
                <a:gd name="connsiteY6277" fmla="*/ 1932631 h 6479439"/>
                <a:gd name="connsiteX6278" fmla="*/ 3585657 w 9586368"/>
                <a:gd name="connsiteY6278" fmla="*/ 1928592 h 6479439"/>
                <a:gd name="connsiteX6279" fmla="*/ 3585657 w 9586368"/>
                <a:gd name="connsiteY6279" fmla="*/ 1918721 h 6479439"/>
                <a:gd name="connsiteX6280" fmla="*/ 4546929 w 9586368"/>
                <a:gd name="connsiteY6280" fmla="*/ 1914681 h 6479439"/>
                <a:gd name="connsiteX6281" fmla="*/ 4556840 w 9586368"/>
                <a:gd name="connsiteY6281" fmla="*/ 1914681 h 6479439"/>
                <a:gd name="connsiteX6282" fmla="*/ 4560859 w 9586368"/>
                <a:gd name="connsiteY6282" fmla="*/ 1918719 h 6479439"/>
                <a:gd name="connsiteX6283" fmla="*/ 4560859 w 9586368"/>
                <a:gd name="connsiteY6283" fmla="*/ 1928592 h 6479439"/>
                <a:gd name="connsiteX6284" fmla="*/ 4556840 w 9586368"/>
                <a:gd name="connsiteY6284" fmla="*/ 1932631 h 6479439"/>
                <a:gd name="connsiteX6285" fmla="*/ 4546929 w 9586368"/>
                <a:gd name="connsiteY6285" fmla="*/ 1932631 h 6479439"/>
                <a:gd name="connsiteX6286" fmla="*/ 4542910 w 9586368"/>
                <a:gd name="connsiteY6286" fmla="*/ 1928592 h 6479439"/>
                <a:gd name="connsiteX6287" fmla="*/ 4542910 w 9586368"/>
                <a:gd name="connsiteY6287" fmla="*/ 1918719 h 6479439"/>
                <a:gd name="connsiteX6288" fmla="*/ 4307612 w 9586368"/>
                <a:gd name="connsiteY6288" fmla="*/ 1914681 h 6479439"/>
                <a:gd name="connsiteX6289" fmla="*/ 4317523 w 9586368"/>
                <a:gd name="connsiteY6289" fmla="*/ 1914681 h 6479439"/>
                <a:gd name="connsiteX6290" fmla="*/ 4321543 w 9586368"/>
                <a:gd name="connsiteY6290" fmla="*/ 1918720 h 6479439"/>
                <a:gd name="connsiteX6291" fmla="*/ 4321543 w 9586368"/>
                <a:gd name="connsiteY6291" fmla="*/ 1928592 h 6479439"/>
                <a:gd name="connsiteX6292" fmla="*/ 4317523 w 9586368"/>
                <a:gd name="connsiteY6292" fmla="*/ 1932631 h 6479439"/>
                <a:gd name="connsiteX6293" fmla="*/ 4307612 w 9586368"/>
                <a:gd name="connsiteY6293" fmla="*/ 1932631 h 6479439"/>
                <a:gd name="connsiteX6294" fmla="*/ 4303595 w 9586368"/>
                <a:gd name="connsiteY6294" fmla="*/ 1928592 h 6479439"/>
                <a:gd name="connsiteX6295" fmla="*/ 4303595 w 9586368"/>
                <a:gd name="connsiteY6295" fmla="*/ 1918720 h 6479439"/>
                <a:gd name="connsiteX6296" fmla="*/ 4068297 w 9586368"/>
                <a:gd name="connsiteY6296" fmla="*/ 1914681 h 6479439"/>
                <a:gd name="connsiteX6297" fmla="*/ 4078210 w 9586368"/>
                <a:gd name="connsiteY6297" fmla="*/ 1914681 h 6479439"/>
                <a:gd name="connsiteX6298" fmla="*/ 4082229 w 9586368"/>
                <a:gd name="connsiteY6298" fmla="*/ 1918720 h 6479439"/>
                <a:gd name="connsiteX6299" fmla="*/ 4082229 w 9586368"/>
                <a:gd name="connsiteY6299" fmla="*/ 1928592 h 6479439"/>
                <a:gd name="connsiteX6300" fmla="*/ 4078210 w 9586368"/>
                <a:gd name="connsiteY6300" fmla="*/ 1932631 h 6479439"/>
                <a:gd name="connsiteX6301" fmla="*/ 4068297 w 9586368"/>
                <a:gd name="connsiteY6301" fmla="*/ 1932631 h 6479439"/>
                <a:gd name="connsiteX6302" fmla="*/ 4064278 w 9586368"/>
                <a:gd name="connsiteY6302" fmla="*/ 1928592 h 6479439"/>
                <a:gd name="connsiteX6303" fmla="*/ 4064278 w 9586368"/>
                <a:gd name="connsiteY6303" fmla="*/ 1918720 h 6479439"/>
                <a:gd name="connsiteX6304" fmla="*/ 3828990 w 9586368"/>
                <a:gd name="connsiteY6304" fmla="*/ 1914681 h 6479439"/>
                <a:gd name="connsiteX6305" fmla="*/ 3838899 w 9586368"/>
                <a:gd name="connsiteY6305" fmla="*/ 1914681 h 6479439"/>
                <a:gd name="connsiteX6306" fmla="*/ 3842917 w 9586368"/>
                <a:gd name="connsiteY6306" fmla="*/ 1918720 h 6479439"/>
                <a:gd name="connsiteX6307" fmla="*/ 3842917 w 9586368"/>
                <a:gd name="connsiteY6307" fmla="*/ 1928592 h 6479439"/>
                <a:gd name="connsiteX6308" fmla="*/ 3838899 w 9586368"/>
                <a:gd name="connsiteY6308" fmla="*/ 1932631 h 6479439"/>
                <a:gd name="connsiteX6309" fmla="*/ 3828990 w 9586368"/>
                <a:gd name="connsiteY6309" fmla="*/ 1932631 h 6479439"/>
                <a:gd name="connsiteX6310" fmla="*/ 3824971 w 9586368"/>
                <a:gd name="connsiteY6310" fmla="*/ 1928592 h 6479439"/>
                <a:gd name="connsiteX6311" fmla="*/ 3824971 w 9586368"/>
                <a:gd name="connsiteY6311" fmla="*/ 1918720 h 6479439"/>
                <a:gd name="connsiteX6312" fmla="*/ 4786241 w 9586368"/>
                <a:gd name="connsiteY6312" fmla="*/ 1914664 h 6479439"/>
                <a:gd name="connsiteX6313" fmla="*/ 4796152 w 9586368"/>
                <a:gd name="connsiteY6313" fmla="*/ 1914664 h 6479439"/>
                <a:gd name="connsiteX6314" fmla="*/ 4800171 w 9586368"/>
                <a:gd name="connsiteY6314" fmla="*/ 1918702 h 6479439"/>
                <a:gd name="connsiteX6315" fmla="*/ 4800171 w 9586368"/>
                <a:gd name="connsiteY6315" fmla="*/ 1928573 h 6479439"/>
                <a:gd name="connsiteX6316" fmla="*/ 4796152 w 9586368"/>
                <a:gd name="connsiteY6316" fmla="*/ 1932612 h 6479439"/>
                <a:gd name="connsiteX6317" fmla="*/ 4786241 w 9586368"/>
                <a:gd name="connsiteY6317" fmla="*/ 1932612 h 6479439"/>
                <a:gd name="connsiteX6318" fmla="*/ 4782224 w 9586368"/>
                <a:gd name="connsiteY6318" fmla="*/ 1928573 h 6479439"/>
                <a:gd name="connsiteX6319" fmla="*/ 4782224 w 9586368"/>
                <a:gd name="connsiteY6319" fmla="*/ 1918702 h 6479439"/>
                <a:gd name="connsiteX6320" fmla="*/ 5504099 w 9586368"/>
                <a:gd name="connsiteY6320" fmla="*/ 1914663 h 6479439"/>
                <a:gd name="connsiteX6321" fmla="*/ 5514010 w 9586368"/>
                <a:gd name="connsiteY6321" fmla="*/ 1914663 h 6479439"/>
                <a:gd name="connsiteX6322" fmla="*/ 5518029 w 9586368"/>
                <a:gd name="connsiteY6322" fmla="*/ 1918702 h 6479439"/>
                <a:gd name="connsiteX6323" fmla="*/ 5518029 w 9586368"/>
                <a:gd name="connsiteY6323" fmla="*/ 1928572 h 6479439"/>
                <a:gd name="connsiteX6324" fmla="*/ 5514010 w 9586368"/>
                <a:gd name="connsiteY6324" fmla="*/ 1932612 h 6479439"/>
                <a:gd name="connsiteX6325" fmla="*/ 5504099 w 9586368"/>
                <a:gd name="connsiteY6325" fmla="*/ 1932612 h 6479439"/>
                <a:gd name="connsiteX6326" fmla="*/ 5500080 w 9586368"/>
                <a:gd name="connsiteY6326" fmla="*/ 1928572 h 6479439"/>
                <a:gd name="connsiteX6327" fmla="*/ 5500080 w 9586368"/>
                <a:gd name="connsiteY6327" fmla="*/ 1918702 h 6479439"/>
                <a:gd name="connsiteX6328" fmla="*/ 5264784 w 9586368"/>
                <a:gd name="connsiteY6328" fmla="*/ 1914663 h 6479439"/>
                <a:gd name="connsiteX6329" fmla="*/ 5274694 w 9586368"/>
                <a:gd name="connsiteY6329" fmla="*/ 1914663 h 6479439"/>
                <a:gd name="connsiteX6330" fmla="*/ 5278713 w 9586368"/>
                <a:gd name="connsiteY6330" fmla="*/ 1918702 h 6479439"/>
                <a:gd name="connsiteX6331" fmla="*/ 5278713 w 9586368"/>
                <a:gd name="connsiteY6331" fmla="*/ 1928573 h 6479439"/>
                <a:gd name="connsiteX6332" fmla="*/ 5274694 w 9586368"/>
                <a:gd name="connsiteY6332" fmla="*/ 1932612 h 6479439"/>
                <a:gd name="connsiteX6333" fmla="*/ 5264784 w 9586368"/>
                <a:gd name="connsiteY6333" fmla="*/ 1932612 h 6479439"/>
                <a:gd name="connsiteX6334" fmla="*/ 5260765 w 9586368"/>
                <a:gd name="connsiteY6334" fmla="*/ 1928573 h 6479439"/>
                <a:gd name="connsiteX6335" fmla="*/ 5260765 w 9586368"/>
                <a:gd name="connsiteY6335" fmla="*/ 1918702 h 6479439"/>
                <a:gd name="connsiteX6336" fmla="*/ 5025470 w 9586368"/>
                <a:gd name="connsiteY6336" fmla="*/ 1914663 h 6479439"/>
                <a:gd name="connsiteX6337" fmla="*/ 5035381 w 9586368"/>
                <a:gd name="connsiteY6337" fmla="*/ 1914663 h 6479439"/>
                <a:gd name="connsiteX6338" fmla="*/ 5039400 w 9586368"/>
                <a:gd name="connsiteY6338" fmla="*/ 1918702 h 6479439"/>
                <a:gd name="connsiteX6339" fmla="*/ 5039400 w 9586368"/>
                <a:gd name="connsiteY6339" fmla="*/ 1928573 h 6479439"/>
                <a:gd name="connsiteX6340" fmla="*/ 5035381 w 9586368"/>
                <a:gd name="connsiteY6340" fmla="*/ 1932612 h 6479439"/>
                <a:gd name="connsiteX6341" fmla="*/ 5025470 w 9586368"/>
                <a:gd name="connsiteY6341" fmla="*/ 1932612 h 6479439"/>
                <a:gd name="connsiteX6342" fmla="*/ 5021451 w 9586368"/>
                <a:gd name="connsiteY6342" fmla="*/ 1928573 h 6479439"/>
                <a:gd name="connsiteX6343" fmla="*/ 5021451 w 9586368"/>
                <a:gd name="connsiteY6343" fmla="*/ 1918702 h 6479439"/>
                <a:gd name="connsiteX6344" fmla="*/ 5743412 w 9586368"/>
                <a:gd name="connsiteY6344" fmla="*/ 1914662 h 6479439"/>
                <a:gd name="connsiteX6345" fmla="*/ 5753323 w 9586368"/>
                <a:gd name="connsiteY6345" fmla="*/ 1914662 h 6479439"/>
                <a:gd name="connsiteX6346" fmla="*/ 5757342 w 9586368"/>
                <a:gd name="connsiteY6346" fmla="*/ 1918701 h 6479439"/>
                <a:gd name="connsiteX6347" fmla="*/ 5757342 w 9586368"/>
                <a:gd name="connsiteY6347" fmla="*/ 1928572 h 6479439"/>
                <a:gd name="connsiteX6348" fmla="*/ 5753323 w 9586368"/>
                <a:gd name="connsiteY6348" fmla="*/ 1932612 h 6479439"/>
                <a:gd name="connsiteX6349" fmla="*/ 5743412 w 9586368"/>
                <a:gd name="connsiteY6349" fmla="*/ 1932612 h 6479439"/>
                <a:gd name="connsiteX6350" fmla="*/ 5739393 w 9586368"/>
                <a:gd name="connsiteY6350" fmla="*/ 1928572 h 6479439"/>
                <a:gd name="connsiteX6351" fmla="*/ 5739393 w 9586368"/>
                <a:gd name="connsiteY6351" fmla="*/ 1918701 h 6479439"/>
                <a:gd name="connsiteX6352" fmla="*/ 5982729 w 9586368"/>
                <a:gd name="connsiteY6352" fmla="*/ 1914645 h 6479439"/>
                <a:gd name="connsiteX6353" fmla="*/ 5992639 w 9586368"/>
                <a:gd name="connsiteY6353" fmla="*/ 1914645 h 6479439"/>
                <a:gd name="connsiteX6354" fmla="*/ 5996658 w 9586368"/>
                <a:gd name="connsiteY6354" fmla="*/ 1918684 h 6479439"/>
                <a:gd name="connsiteX6355" fmla="*/ 5996658 w 9586368"/>
                <a:gd name="connsiteY6355" fmla="*/ 1928555 h 6479439"/>
                <a:gd name="connsiteX6356" fmla="*/ 5992639 w 9586368"/>
                <a:gd name="connsiteY6356" fmla="*/ 1932594 h 6479439"/>
                <a:gd name="connsiteX6357" fmla="*/ 5982729 w 9586368"/>
                <a:gd name="connsiteY6357" fmla="*/ 1932594 h 6479439"/>
                <a:gd name="connsiteX6358" fmla="*/ 5978710 w 9586368"/>
                <a:gd name="connsiteY6358" fmla="*/ 1928555 h 6479439"/>
                <a:gd name="connsiteX6359" fmla="*/ 5978710 w 9586368"/>
                <a:gd name="connsiteY6359" fmla="*/ 1918684 h 6479439"/>
                <a:gd name="connsiteX6360" fmla="*/ 6939983 w 9586368"/>
                <a:gd name="connsiteY6360" fmla="*/ 1914645 h 6479439"/>
                <a:gd name="connsiteX6361" fmla="*/ 6949894 w 9586368"/>
                <a:gd name="connsiteY6361" fmla="*/ 1914645 h 6479439"/>
                <a:gd name="connsiteX6362" fmla="*/ 6953913 w 9586368"/>
                <a:gd name="connsiteY6362" fmla="*/ 1918682 h 6479439"/>
                <a:gd name="connsiteX6363" fmla="*/ 6953913 w 9586368"/>
                <a:gd name="connsiteY6363" fmla="*/ 1928554 h 6479439"/>
                <a:gd name="connsiteX6364" fmla="*/ 6949894 w 9586368"/>
                <a:gd name="connsiteY6364" fmla="*/ 1932594 h 6479439"/>
                <a:gd name="connsiteX6365" fmla="*/ 6939983 w 9586368"/>
                <a:gd name="connsiteY6365" fmla="*/ 1932594 h 6479439"/>
                <a:gd name="connsiteX6366" fmla="*/ 6935964 w 9586368"/>
                <a:gd name="connsiteY6366" fmla="*/ 1928554 h 6479439"/>
                <a:gd name="connsiteX6367" fmla="*/ 6935964 w 9586368"/>
                <a:gd name="connsiteY6367" fmla="*/ 1918682 h 6479439"/>
                <a:gd name="connsiteX6368" fmla="*/ 6700670 w 9586368"/>
                <a:gd name="connsiteY6368" fmla="*/ 1914645 h 6479439"/>
                <a:gd name="connsiteX6369" fmla="*/ 6710581 w 9586368"/>
                <a:gd name="connsiteY6369" fmla="*/ 1914645 h 6479439"/>
                <a:gd name="connsiteX6370" fmla="*/ 6714600 w 9586368"/>
                <a:gd name="connsiteY6370" fmla="*/ 1918683 h 6479439"/>
                <a:gd name="connsiteX6371" fmla="*/ 6714600 w 9586368"/>
                <a:gd name="connsiteY6371" fmla="*/ 1928554 h 6479439"/>
                <a:gd name="connsiteX6372" fmla="*/ 6710581 w 9586368"/>
                <a:gd name="connsiteY6372" fmla="*/ 1932594 h 6479439"/>
                <a:gd name="connsiteX6373" fmla="*/ 6700670 w 9586368"/>
                <a:gd name="connsiteY6373" fmla="*/ 1932594 h 6479439"/>
                <a:gd name="connsiteX6374" fmla="*/ 6696651 w 9586368"/>
                <a:gd name="connsiteY6374" fmla="*/ 1928554 h 6479439"/>
                <a:gd name="connsiteX6375" fmla="*/ 6696651 w 9586368"/>
                <a:gd name="connsiteY6375" fmla="*/ 1918683 h 6479439"/>
                <a:gd name="connsiteX6376" fmla="*/ 6461356 w 9586368"/>
                <a:gd name="connsiteY6376" fmla="*/ 1914645 h 6479439"/>
                <a:gd name="connsiteX6377" fmla="*/ 6471266 w 9586368"/>
                <a:gd name="connsiteY6377" fmla="*/ 1914645 h 6479439"/>
                <a:gd name="connsiteX6378" fmla="*/ 6475285 w 9586368"/>
                <a:gd name="connsiteY6378" fmla="*/ 1918683 h 6479439"/>
                <a:gd name="connsiteX6379" fmla="*/ 6475285 w 9586368"/>
                <a:gd name="connsiteY6379" fmla="*/ 1928555 h 6479439"/>
                <a:gd name="connsiteX6380" fmla="*/ 6471266 w 9586368"/>
                <a:gd name="connsiteY6380" fmla="*/ 1932594 h 6479439"/>
                <a:gd name="connsiteX6381" fmla="*/ 6461356 w 9586368"/>
                <a:gd name="connsiteY6381" fmla="*/ 1932594 h 6479439"/>
                <a:gd name="connsiteX6382" fmla="*/ 6457337 w 9586368"/>
                <a:gd name="connsiteY6382" fmla="*/ 1928555 h 6479439"/>
                <a:gd name="connsiteX6383" fmla="*/ 6457337 w 9586368"/>
                <a:gd name="connsiteY6383" fmla="*/ 1918683 h 6479439"/>
                <a:gd name="connsiteX6384" fmla="*/ 6222042 w 9586368"/>
                <a:gd name="connsiteY6384" fmla="*/ 1914645 h 6479439"/>
                <a:gd name="connsiteX6385" fmla="*/ 6231952 w 9586368"/>
                <a:gd name="connsiteY6385" fmla="*/ 1914645 h 6479439"/>
                <a:gd name="connsiteX6386" fmla="*/ 6235971 w 9586368"/>
                <a:gd name="connsiteY6386" fmla="*/ 1918683 h 6479439"/>
                <a:gd name="connsiteX6387" fmla="*/ 6235971 w 9586368"/>
                <a:gd name="connsiteY6387" fmla="*/ 1928555 h 6479439"/>
                <a:gd name="connsiteX6388" fmla="*/ 6231952 w 9586368"/>
                <a:gd name="connsiteY6388" fmla="*/ 1932594 h 6479439"/>
                <a:gd name="connsiteX6389" fmla="*/ 6222042 w 9586368"/>
                <a:gd name="connsiteY6389" fmla="*/ 1932594 h 6479439"/>
                <a:gd name="connsiteX6390" fmla="*/ 6218023 w 9586368"/>
                <a:gd name="connsiteY6390" fmla="*/ 1928555 h 6479439"/>
                <a:gd name="connsiteX6391" fmla="*/ 6218023 w 9586368"/>
                <a:gd name="connsiteY6391" fmla="*/ 1918683 h 6479439"/>
                <a:gd name="connsiteX6392" fmla="*/ 7179298 w 9586368"/>
                <a:gd name="connsiteY6392" fmla="*/ 1914627 h 6479439"/>
                <a:gd name="connsiteX6393" fmla="*/ 7189209 w 9586368"/>
                <a:gd name="connsiteY6393" fmla="*/ 1914627 h 6479439"/>
                <a:gd name="connsiteX6394" fmla="*/ 7193228 w 9586368"/>
                <a:gd name="connsiteY6394" fmla="*/ 1918666 h 6479439"/>
                <a:gd name="connsiteX6395" fmla="*/ 7193228 w 9586368"/>
                <a:gd name="connsiteY6395" fmla="*/ 1928536 h 6479439"/>
                <a:gd name="connsiteX6396" fmla="*/ 7189209 w 9586368"/>
                <a:gd name="connsiteY6396" fmla="*/ 1932575 h 6479439"/>
                <a:gd name="connsiteX6397" fmla="*/ 7179298 w 9586368"/>
                <a:gd name="connsiteY6397" fmla="*/ 1932575 h 6479439"/>
                <a:gd name="connsiteX6398" fmla="*/ 7175279 w 9586368"/>
                <a:gd name="connsiteY6398" fmla="*/ 1928536 h 6479439"/>
                <a:gd name="connsiteX6399" fmla="*/ 7175279 w 9586368"/>
                <a:gd name="connsiteY6399" fmla="*/ 1918666 h 6479439"/>
                <a:gd name="connsiteX6400" fmla="*/ 7897241 w 9586368"/>
                <a:gd name="connsiteY6400" fmla="*/ 1914627 h 6479439"/>
                <a:gd name="connsiteX6401" fmla="*/ 7907151 w 9586368"/>
                <a:gd name="connsiteY6401" fmla="*/ 1914627 h 6479439"/>
                <a:gd name="connsiteX6402" fmla="*/ 7911170 w 9586368"/>
                <a:gd name="connsiteY6402" fmla="*/ 1918664 h 6479439"/>
                <a:gd name="connsiteX6403" fmla="*/ 7911170 w 9586368"/>
                <a:gd name="connsiteY6403" fmla="*/ 1928535 h 6479439"/>
                <a:gd name="connsiteX6404" fmla="*/ 7907151 w 9586368"/>
                <a:gd name="connsiteY6404" fmla="*/ 1932575 h 6479439"/>
                <a:gd name="connsiteX6405" fmla="*/ 7897241 w 9586368"/>
                <a:gd name="connsiteY6405" fmla="*/ 1932575 h 6479439"/>
                <a:gd name="connsiteX6406" fmla="*/ 7893222 w 9586368"/>
                <a:gd name="connsiteY6406" fmla="*/ 1928535 h 6479439"/>
                <a:gd name="connsiteX6407" fmla="*/ 7893222 w 9586368"/>
                <a:gd name="connsiteY6407" fmla="*/ 1918664 h 6479439"/>
                <a:gd name="connsiteX6408" fmla="*/ 7657926 w 9586368"/>
                <a:gd name="connsiteY6408" fmla="*/ 1914627 h 6479439"/>
                <a:gd name="connsiteX6409" fmla="*/ 7667836 w 9586368"/>
                <a:gd name="connsiteY6409" fmla="*/ 1914627 h 6479439"/>
                <a:gd name="connsiteX6410" fmla="*/ 7671855 w 9586368"/>
                <a:gd name="connsiteY6410" fmla="*/ 1918664 h 6479439"/>
                <a:gd name="connsiteX6411" fmla="*/ 7671855 w 9586368"/>
                <a:gd name="connsiteY6411" fmla="*/ 1928536 h 6479439"/>
                <a:gd name="connsiteX6412" fmla="*/ 7667836 w 9586368"/>
                <a:gd name="connsiteY6412" fmla="*/ 1932575 h 6479439"/>
                <a:gd name="connsiteX6413" fmla="*/ 7657926 w 9586368"/>
                <a:gd name="connsiteY6413" fmla="*/ 1932575 h 6479439"/>
                <a:gd name="connsiteX6414" fmla="*/ 7653906 w 9586368"/>
                <a:gd name="connsiteY6414" fmla="*/ 1928536 h 6479439"/>
                <a:gd name="connsiteX6415" fmla="*/ 7653906 w 9586368"/>
                <a:gd name="connsiteY6415" fmla="*/ 1918664 h 6479439"/>
                <a:gd name="connsiteX6416" fmla="*/ 7418611 w 9586368"/>
                <a:gd name="connsiteY6416" fmla="*/ 1914627 h 6479439"/>
                <a:gd name="connsiteX6417" fmla="*/ 7428521 w 9586368"/>
                <a:gd name="connsiteY6417" fmla="*/ 1914627 h 6479439"/>
                <a:gd name="connsiteX6418" fmla="*/ 7432540 w 9586368"/>
                <a:gd name="connsiteY6418" fmla="*/ 1918664 h 6479439"/>
                <a:gd name="connsiteX6419" fmla="*/ 7432540 w 9586368"/>
                <a:gd name="connsiteY6419" fmla="*/ 1928536 h 6479439"/>
                <a:gd name="connsiteX6420" fmla="*/ 7428521 w 9586368"/>
                <a:gd name="connsiteY6420" fmla="*/ 1932575 h 6479439"/>
                <a:gd name="connsiteX6421" fmla="*/ 7418611 w 9586368"/>
                <a:gd name="connsiteY6421" fmla="*/ 1932575 h 6479439"/>
                <a:gd name="connsiteX6422" fmla="*/ 7414592 w 9586368"/>
                <a:gd name="connsiteY6422" fmla="*/ 1928536 h 6479439"/>
                <a:gd name="connsiteX6423" fmla="*/ 7414592 w 9586368"/>
                <a:gd name="connsiteY6423" fmla="*/ 1918664 h 6479439"/>
                <a:gd name="connsiteX6424" fmla="*/ 8136553 w 9586368"/>
                <a:gd name="connsiteY6424" fmla="*/ 1914626 h 6479439"/>
                <a:gd name="connsiteX6425" fmla="*/ 8146464 w 9586368"/>
                <a:gd name="connsiteY6425" fmla="*/ 1914626 h 6479439"/>
                <a:gd name="connsiteX6426" fmla="*/ 8150483 w 9586368"/>
                <a:gd name="connsiteY6426" fmla="*/ 1918664 h 6479439"/>
                <a:gd name="connsiteX6427" fmla="*/ 8150483 w 9586368"/>
                <a:gd name="connsiteY6427" fmla="*/ 1928535 h 6479439"/>
                <a:gd name="connsiteX6428" fmla="*/ 8146464 w 9586368"/>
                <a:gd name="connsiteY6428" fmla="*/ 1932575 h 6479439"/>
                <a:gd name="connsiteX6429" fmla="*/ 8136553 w 9586368"/>
                <a:gd name="connsiteY6429" fmla="*/ 1932575 h 6479439"/>
                <a:gd name="connsiteX6430" fmla="*/ 8132534 w 9586368"/>
                <a:gd name="connsiteY6430" fmla="*/ 1928535 h 6479439"/>
                <a:gd name="connsiteX6431" fmla="*/ 8132534 w 9586368"/>
                <a:gd name="connsiteY6431" fmla="*/ 1918664 h 6479439"/>
                <a:gd name="connsiteX6432" fmla="*/ 8375869 w 9586368"/>
                <a:gd name="connsiteY6432" fmla="*/ 1914608 h 6479439"/>
                <a:gd name="connsiteX6433" fmla="*/ 8385779 w 9586368"/>
                <a:gd name="connsiteY6433" fmla="*/ 1914608 h 6479439"/>
                <a:gd name="connsiteX6434" fmla="*/ 8389799 w 9586368"/>
                <a:gd name="connsiteY6434" fmla="*/ 1918647 h 6479439"/>
                <a:gd name="connsiteX6435" fmla="*/ 8389799 w 9586368"/>
                <a:gd name="connsiteY6435" fmla="*/ 1928518 h 6479439"/>
                <a:gd name="connsiteX6436" fmla="*/ 8385779 w 9586368"/>
                <a:gd name="connsiteY6436" fmla="*/ 1932557 h 6479439"/>
                <a:gd name="connsiteX6437" fmla="*/ 8375869 w 9586368"/>
                <a:gd name="connsiteY6437" fmla="*/ 1932557 h 6479439"/>
                <a:gd name="connsiteX6438" fmla="*/ 8371850 w 9586368"/>
                <a:gd name="connsiteY6438" fmla="*/ 1928518 h 6479439"/>
                <a:gd name="connsiteX6439" fmla="*/ 8371850 w 9586368"/>
                <a:gd name="connsiteY6439" fmla="*/ 1918647 h 6479439"/>
                <a:gd name="connsiteX6440" fmla="*/ 9333125 w 9586368"/>
                <a:gd name="connsiteY6440" fmla="*/ 1914608 h 6479439"/>
                <a:gd name="connsiteX6441" fmla="*/ 9343036 w 9586368"/>
                <a:gd name="connsiteY6441" fmla="*/ 1914608 h 6479439"/>
                <a:gd name="connsiteX6442" fmla="*/ 9347055 w 9586368"/>
                <a:gd name="connsiteY6442" fmla="*/ 1918646 h 6479439"/>
                <a:gd name="connsiteX6443" fmla="*/ 9347055 w 9586368"/>
                <a:gd name="connsiteY6443" fmla="*/ 1928517 h 6479439"/>
                <a:gd name="connsiteX6444" fmla="*/ 9343036 w 9586368"/>
                <a:gd name="connsiteY6444" fmla="*/ 1932557 h 6479439"/>
                <a:gd name="connsiteX6445" fmla="*/ 9333125 w 9586368"/>
                <a:gd name="connsiteY6445" fmla="*/ 1932557 h 6479439"/>
                <a:gd name="connsiteX6446" fmla="*/ 9329106 w 9586368"/>
                <a:gd name="connsiteY6446" fmla="*/ 1928517 h 6479439"/>
                <a:gd name="connsiteX6447" fmla="*/ 9329106 w 9586368"/>
                <a:gd name="connsiteY6447" fmla="*/ 1918646 h 6479439"/>
                <a:gd name="connsiteX6448" fmla="*/ 9093811 w 9586368"/>
                <a:gd name="connsiteY6448" fmla="*/ 1914608 h 6479439"/>
                <a:gd name="connsiteX6449" fmla="*/ 9103722 w 9586368"/>
                <a:gd name="connsiteY6449" fmla="*/ 1914608 h 6479439"/>
                <a:gd name="connsiteX6450" fmla="*/ 9107741 w 9586368"/>
                <a:gd name="connsiteY6450" fmla="*/ 1918646 h 6479439"/>
                <a:gd name="connsiteX6451" fmla="*/ 9107741 w 9586368"/>
                <a:gd name="connsiteY6451" fmla="*/ 1928517 h 6479439"/>
                <a:gd name="connsiteX6452" fmla="*/ 9103722 w 9586368"/>
                <a:gd name="connsiteY6452" fmla="*/ 1932557 h 6479439"/>
                <a:gd name="connsiteX6453" fmla="*/ 9093811 w 9586368"/>
                <a:gd name="connsiteY6453" fmla="*/ 1932557 h 6479439"/>
                <a:gd name="connsiteX6454" fmla="*/ 9089792 w 9586368"/>
                <a:gd name="connsiteY6454" fmla="*/ 1928517 h 6479439"/>
                <a:gd name="connsiteX6455" fmla="*/ 9089792 w 9586368"/>
                <a:gd name="connsiteY6455" fmla="*/ 1918646 h 6479439"/>
                <a:gd name="connsiteX6456" fmla="*/ 8854496 w 9586368"/>
                <a:gd name="connsiteY6456" fmla="*/ 1914608 h 6479439"/>
                <a:gd name="connsiteX6457" fmla="*/ 8864407 w 9586368"/>
                <a:gd name="connsiteY6457" fmla="*/ 1914608 h 6479439"/>
                <a:gd name="connsiteX6458" fmla="*/ 8868426 w 9586368"/>
                <a:gd name="connsiteY6458" fmla="*/ 1918646 h 6479439"/>
                <a:gd name="connsiteX6459" fmla="*/ 8868426 w 9586368"/>
                <a:gd name="connsiteY6459" fmla="*/ 1928518 h 6479439"/>
                <a:gd name="connsiteX6460" fmla="*/ 8864407 w 9586368"/>
                <a:gd name="connsiteY6460" fmla="*/ 1932557 h 6479439"/>
                <a:gd name="connsiteX6461" fmla="*/ 8854496 w 9586368"/>
                <a:gd name="connsiteY6461" fmla="*/ 1932557 h 6479439"/>
                <a:gd name="connsiteX6462" fmla="*/ 8850477 w 9586368"/>
                <a:gd name="connsiteY6462" fmla="*/ 1928518 h 6479439"/>
                <a:gd name="connsiteX6463" fmla="*/ 8850477 w 9586368"/>
                <a:gd name="connsiteY6463" fmla="*/ 1918646 h 6479439"/>
                <a:gd name="connsiteX6464" fmla="*/ 8615184 w 9586368"/>
                <a:gd name="connsiteY6464" fmla="*/ 1914608 h 6479439"/>
                <a:gd name="connsiteX6465" fmla="*/ 8625095 w 9586368"/>
                <a:gd name="connsiteY6465" fmla="*/ 1914608 h 6479439"/>
                <a:gd name="connsiteX6466" fmla="*/ 8629114 w 9586368"/>
                <a:gd name="connsiteY6466" fmla="*/ 1918646 h 6479439"/>
                <a:gd name="connsiteX6467" fmla="*/ 8629114 w 9586368"/>
                <a:gd name="connsiteY6467" fmla="*/ 1928518 h 6479439"/>
                <a:gd name="connsiteX6468" fmla="*/ 8625095 w 9586368"/>
                <a:gd name="connsiteY6468" fmla="*/ 1932557 h 6479439"/>
                <a:gd name="connsiteX6469" fmla="*/ 8615184 w 9586368"/>
                <a:gd name="connsiteY6469" fmla="*/ 1932557 h 6479439"/>
                <a:gd name="connsiteX6470" fmla="*/ 8611165 w 9586368"/>
                <a:gd name="connsiteY6470" fmla="*/ 1928518 h 6479439"/>
                <a:gd name="connsiteX6471" fmla="*/ 8611165 w 9586368"/>
                <a:gd name="connsiteY6471" fmla="*/ 1918646 h 6479439"/>
                <a:gd name="connsiteX6472" fmla="*/ 9572438 w 9586368"/>
                <a:gd name="connsiteY6472" fmla="*/ 1914590 h 6479439"/>
                <a:gd name="connsiteX6473" fmla="*/ 9582349 w 9586368"/>
                <a:gd name="connsiteY6473" fmla="*/ 1914590 h 6479439"/>
                <a:gd name="connsiteX6474" fmla="*/ 9586368 w 9586368"/>
                <a:gd name="connsiteY6474" fmla="*/ 1918629 h 6479439"/>
                <a:gd name="connsiteX6475" fmla="*/ 9586368 w 9586368"/>
                <a:gd name="connsiteY6475" fmla="*/ 1928499 h 6479439"/>
                <a:gd name="connsiteX6476" fmla="*/ 9582349 w 9586368"/>
                <a:gd name="connsiteY6476" fmla="*/ 1932538 h 6479439"/>
                <a:gd name="connsiteX6477" fmla="*/ 9572438 w 9586368"/>
                <a:gd name="connsiteY6477" fmla="*/ 1932538 h 6479439"/>
                <a:gd name="connsiteX6478" fmla="*/ 9568419 w 9586368"/>
                <a:gd name="connsiteY6478" fmla="*/ 1928499 h 6479439"/>
                <a:gd name="connsiteX6479" fmla="*/ 9568419 w 9586368"/>
                <a:gd name="connsiteY6479" fmla="*/ 1918629 h 6479439"/>
                <a:gd name="connsiteX6480" fmla="*/ 243346 w 9586368"/>
                <a:gd name="connsiteY6480" fmla="*/ 1914550 h 6479439"/>
                <a:gd name="connsiteX6481" fmla="*/ 253256 w 9586368"/>
                <a:gd name="connsiteY6481" fmla="*/ 1914550 h 6479439"/>
                <a:gd name="connsiteX6482" fmla="*/ 257275 w 9586368"/>
                <a:gd name="connsiteY6482" fmla="*/ 1918589 h 6479439"/>
                <a:gd name="connsiteX6483" fmla="*/ 257275 w 9586368"/>
                <a:gd name="connsiteY6483" fmla="*/ 1928459 h 6479439"/>
                <a:gd name="connsiteX6484" fmla="*/ 253256 w 9586368"/>
                <a:gd name="connsiteY6484" fmla="*/ 1932498 h 6479439"/>
                <a:gd name="connsiteX6485" fmla="*/ 243346 w 9586368"/>
                <a:gd name="connsiteY6485" fmla="*/ 1932498 h 6479439"/>
                <a:gd name="connsiteX6486" fmla="*/ 239327 w 9586368"/>
                <a:gd name="connsiteY6486" fmla="*/ 1928459 h 6479439"/>
                <a:gd name="connsiteX6487" fmla="*/ 239327 w 9586368"/>
                <a:gd name="connsiteY6487" fmla="*/ 1918589 h 6479439"/>
                <a:gd name="connsiteX6488" fmla="*/ 4032 w 9586368"/>
                <a:gd name="connsiteY6488" fmla="*/ 1914550 h 6479439"/>
                <a:gd name="connsiteX6489" fmla="*/ 13943 w 9586368"/>
                <a:gd name="connsiteY6489" fmla="*/ 1914550 h 6479439"/>
                <a:gd name="connsiteX6490" fmla="*/ 17962 w 9586368"/>
                <a:gd name="connsiteY6490" fmla="*/ 1918589 h 6479439"/>
                <a:gd name="connsiteX6491" fmla="*/ 17962 w 9586368"/>
                <a:gd name="connsiteY6491" fmla="*/ 1928459 h 6479439"/>
                <a:gd name="connsiteX6492" fmla="*/ 13943 w 9586368"/>
                <a:gd name="connsiteY6492" fmla="*/ 1932498 h 6479439"/>
                <a:gd name="connsiteX6493" fmla="*/ 4032 w 9586368"/>
                <a:gd name="connsiteY6493" fmla="*/ 1932498 h 6479439"/>
                <a:gd name="connsiteX6494" fmla="*/ 13 w 9586368"/>
                <a:gd name="connsiteY6494" fmla="*/ 1928459 h 6479439"/>
                <a:gd name="connsiteX6495" fmla="*/ 13 w 9586368"/>
                <a:gd name="connsiteY6495" fmla="*/ 1918589 h 6479439"/>
                <a:gd name="connsiteX6496" fmla="*/ 721971 w 9586368"/>
                <a:gd name="connsiteY6496" fmla="*/ 1914550 h 6479439"/>
                <a:gd name="connsiteX6497" fmla="*/ 731882 w 9586368"/>
                <a:gd name="connsiteY6497" fmla="*/ 1914550 h 6479439"/>
                <a:gd name="connsiteX6498" fmla="*/ 735901 w 9586368"/>
                <a:gd name="connsiteY6498" fmla="*/ 1918588 h 6479439"/>
                <a:gd name="connsiteX6499" fmla="*/ 735901 w 9586368"/>
                <a:gd name="connsiteY6499" fmla="*/ 1928459 h 6479439"/>
                <a:gd name="connsiteX6500" fmla="*/ 731882 w 9586368"/>
                <a:gd name="connsiteY6500" fmla="*/ 1932497 h 6479439"/>
                <a:gd name="connsiteX6501" fmla="*/ 721971 w 9586368"/>
                <a:gd name="connsiteY6501" fmla="*/ 1932497 h 6479439"/>
                <a:gd name="connsiteX6502" fmla="*/ 717953 w 9586368"/>
                <a:gd name="connsiteY6502" fmla="*/ 1928459 h 6479439"/>
                <a:gd name="connsiteX6503" fmla="*/ 717953 w 9586368"/>
                <a:gd name="connsiteY6503" fmla="*/ 1918588 h 6479439"/>
                <a:gd name="connsiteX6504" fmla="*/ 482660 w 9586368"/>
                <a:gd name="connsiteY6504" fmla="*/ 1914550 h 6479439"/>
                <a:gd name="connsiteX6505" fmla="*/ 492570 w 9586368"/>
                <a:gd name="connsiteY6505" fmla="*/ 1914550 h 6479439"/>
                <a:gd name="connsiteX6506" fmla="*/ 496589 w 9586368"/>
                <a:gd name="connsiteY6506" fmla="*/ 1918588 h 6479439"/>
                <a:gd name="connsiteX6507" fmla="*/ 496589 w 9586368"/>
                <a:gd name="connsiteY6507" fmla="*/ 1928459 h 6479439"/>
                <a:gd name="connsiteX6508" fmla="*/ 492570 w 9586368"/>
                <a:gd name="connsiteY6508" fmla="*/ 1932497 h 6479439"/>
                <a:gd name="connsiteX6509" fmla="*/ 482660 w 9586368"/>
                <a:gd name="connsiteY6509" fmla="*/ 1932497 h 6479439"/>
                <a:gd name="connsiteX6510" fmla="*/ 478640 w 9586368"/>
                <a:gd name="connsiteY6510" fmla="*/ 1928459 h 6479439"/>
                <a:gd name="connsiteX6511" fmla="*/ 478640 w 9586368"/>
                <a:gd name="connsiteY6511" fmla="*/ 1918588 h 6479439"/>
                <a:gd name="connsiteX6512" fmla="*/ 1679215 w 9586368"/>
                <a:gd name="connsiteY6512" fmla="*/ 1914535 h 6479439"/>
                <a:gd name="connsiteX6513" fmla="*/ 1689125 w 9586368"/>
                <a:gd name="connsiteY6513" fmla="*/ 1914535 h 6479439"/>
                <a:gd name="connsiteX6514" fmla="*/ 1693144 w 9586368"/>
                <a:gd name="connsiteY6514" fmla="*/ 1918573 h 6479439"/>
                <a:gd name="connsiteX6515" fmla="*/ 1693144 w 9586368"/>
                <a:gd name="connsiteY6515" fmla="*/ 1928444 h 6479439"/>
                <a:gd name="connsiteX6516" fmla="*/ 1689125 w 9586368"/>
                <a:gd name="connsiteY6516" fmla="*/ 1932482 h 6479439"/>
                <a:gd name="connsiteX6517" fmla="*/ 1679215 w 9586368"/>
                <a:gd name="connsiteY6517" fmla="*/ 1932482 h 6479439"/>
                <a:gd name="connsiteX6518" fmla="*/ 1675195 w 9586368"/>
                <a:gd name="connsiteY6518" fmla="*/ 1928444 h 6479439"/>
                <a:gd name="connsiteX6519" fmla="*/ 1675195 w 9586368"/>
                <a:gd name="connsiteY6519" fmla="*/ 1918573 h 6479439"/>
                <a:gd name="connsiteX6520" fmla="*/ 1439897 w 9586368"/>
                <a:gd name="connsiteY6520" fmla="*/ 1914535 h 6479439"/>
                <a:gd name="connsiteX6521" fmla="*/ 1449808 w 9586368"/>
                <a:gd name="connsiteY6521" fmla="*/ 1914535 h 6479439"/>
                <a:gd name="connsiteX6522" fmla="*/ 1453827 w 9586368"/>
                <a:gd name="connsiteY6522" fmla="*/ 1918573 h 6479439"/>
                <a:gd name="connsiteX6523" fmla="*/ 1453827 w 9586368"/>
                <a:gd name="connsiteY6523" fmla="*/ 1928444 h 6479439"/>
                <a:gd name="connsiteX6524" fmla="*/ 1449808 w 9586368"/>
                <a:gd name="connsiteY6524" fmla="*/ 1932483 h 6479439"/>
                <a:gd name="connsiteX6525" fmla="*/ 1439897 w 9586368"/>
                <a:gd name="connsiteY6525" fmla="*/ 1932483 h 6479439"/>
                <a:gd name="connsiteX6526" fmla="*/ 1435879 w 9586368"/>
                <a:gd name="connsiteY6526" fmla="*/ 1928444 h 6479439"/>
                <a:gd name="connsiteX6527" fmla="*/ 1435879 w 9586368"/>
                <a:gd name="connsiteY6527" fmla="*/ 1918573 h 6479439"/>
                <a:gd name="connsiteX6528" fmla="*/ 1200582 w 9586368"/>
                <a:gd name="connsiteY6528" fmla="*/ 1914535 h 6479439"/>
                <a:gd name="connsiteX6529" fmla="*/ 1210492 w 9586368"/>
                <a:gd name="connsiteY6529" fmla="*/ 1914535 h 6479439"/>
                <a:gd name="connsiteX6530" fmla="*/ 1214511 w 9586368"/>
                <a:gd name="connsiteY6530" fmla="*/ 1918573 h 6479439"/>
                <a:gd name="connsiteX6531" fmla="*/ 1214511 w 9586368"/>
                <a:gd name="connsiteY6531" fmla="*/ 1928444 h 6479439"/>
                <a:gd name="connsiteX6532" fmla="*/ 1210492 w 9586368"/>
                <a:gd name="connsiteY6532" fmla="*/ 1932483 h 6479439"/>
                <a:gd name="connsiteX6533" fmla="*/ 1200582 w 9586368"/>
                <a:gd name="connsiteY6533" fmla="*/ 1932483 h 6479439"/>
                <a:gd name="connsiteX6534" fmla="*/ 1196563 w 9586368"/>
                <a:gd name="connsiteY6534" fmla="*/ 1928444 h 6479439"/>
                <a:gd name="connsiteX6535" fmla="*/ 1196563 w 9586368"/>
                <a:gd name="connsiteY6535" fmla="*/ 1918573 h 6479439"/>
                <a:gd name="connsiteX6536" fmla="*/ 961269 w 9586368"/>
                <a:gd name="connsiteY6536" fmla="*/ 1914535 h 6479439"/>
                <a:gd name="connsiteX6537" fmla="*/ 971179 w 9586368"/>
                <a:gd name="connsiteY6537" fmla="*/ 1914535 h 6479439"/>
                <a:gd name="connsiteX6538" fmla="*/ 975198 w 9586368"/>
                <a:gd name="connsiteY6538" fmla="*/ 1918573 h 6479439"/>
                <a:gd name="connsiteX6539" fmla="*/ 975198 w 9586368"/>
                <a:gd name="connsiteY6539" fmla="*/ 1928444 h 6479439"/>
                <a:gd name="connsiteX6540" fmla="*/ 971179 w 9586368"/>
                <a:gd name="connsiteY6540" fmla="*/ 1932483 h 6479439"/>
                <a:gd name="connsiteX6541" fmla="*/ 961269 w 9586368"/>
                <a:gd name="connsiteY6541" fmla="*/ 1932483 h 6479439"/>
                <a:gd name="connsiteX6542" fmla="*/ 957250 w 9586368"/>
                <a:gd name="connsiteY6542" fmla="*/ 1928444 h 6479439"/>
                <a:gd name="connsiteX6543" fmla="*/ 957250 w 9586368"/>
                <a:gd name="connsiteY6543" fmla="*/ 1918573 h 6479439"/>
                <a:gd name="connsiteX6544" fmla="*/ 1918513 w 9586368"/>
                <a:gd name="connsiteY6544" fmla="*/ 1914523 h 6479439"/>
                <a:gd name="connsiteX6545" fmla="*/ 1928424 w 9586368"/>
                <a:gd name="connsiteY6545" fmla="*/ 1914523 h 6479439"/>
                <a:gd name="connsiteX6546" fmla="*/ 1932443 w 9586368"/>
                <a:gd name="connsiteY6546" fmla="*/ 1918562 h 6479439"/>
                <a:gd name="connsiteX6547" fmla="*/ 1932443 w 9586368"/>
                <a:gd name="connsiteY6547" fmla="*/ 1928432 h 6479439"/>
                <a:gd name="connsiteX6548" fmla="*/ 1928424 w 9586368"/>
                <a:gd name="connsiteY6548" fmla="*/ 1932471 h 6479439"/>
                <a:gd name="connsiteX6549" fmla="*/ 1918513 w 9586368"/>
                <a:gd name="connsiteY6549" fmla="*/ 1932471 h 6479439"/>
                <a:gd name="connsiteX6550" fmla="*/ 1914494 w 9586368"/>
                <a:gd name="connsiteY6550" fmla="*/ 1928432 h 6479439"/>
                <a:gd name="connsiteX6551" fmla="*/ 1914494 w 9586368"/>
                <a:gd name="connsiteY6551" fmla="*/ 1918562 h 6479439"/>
                <a:gd name="connsiteX6552" fmla="*/ 2157821 w 9586368"/>
                <a:gd name="connsiteY6552" fmla="*/ 1914520 h 6479439"/>
                <a:gd name="connsiteX6553" fmla="*/ 2167732 w 9586368"/>
                <a:gd name="connsiteY6553" fmla="*/ 1914520 h 6479439"/>
                <a:gd name="connsiteX6554" fmla="*/ 2171751 w 9586368"/>
                <a:gd name="connsiteY6554" fmla="*/ 1918558 h 6479439"/>
                <a:gd name="connsiteX6555" fmla="*/ 2171751 w 9586368"/>
                <a:gd name="connsiteY6555" fmla="*/ 1928428 h 6479439"/>
                <a:gd name="connsiteX6556" fmla="*/ 2167732 w 9586368"/>
                <a:gd name="connsiteY6556" fmla="*/ 1932467 h 6479439"/>
                <a:gd name="connsiteX6557" fmla="*/ 2157821 w 9586368"/>
                <a:gd name="connsiteY6557" fmla="*/ 1932467 h 6479439"/>
                <a:gd name="connsiteX6558" fmla="*/ 2153803 w 9586368"/>
                <a:gd name="connsiteY6558" fmla="*/ 1928428 h 6479439"/>
                <a:gd name="connsiteX6559" fmla="*/ 2153803 w 9586368"/>
                <a:gd name="connsiteY6559" fmla="*/ 1918558 h 6479439"/>
                <a:gd name="connsiteX6560" fmla="*/ 2871737 w 9586368"/>
                <a:gd name="connsiteY6560" fmla="*/ 1675350 h 6479439"/>
                <a:gd name="connsiteX6561" fmla="*/ 2881646 w 9586368"/>
                <a:gd name="connsiteY6561" fmla="*/ 1675350 h 6479439"/>
                <a:gd name="connsiteX6562" fmla="*/ 2885666 w 9586368"/>
                <a:gd name="connsiteY6562" fmla="*/ 1679389 h 6479439"/>
                <a:gd name="connsiteX6563" fmla="*/ 2885666 w 9586368"/>
                <a:gd name="connsiteY6563" fmla="*/ 1689260 h 6479439"/>
                <a:gd name="connsiteX6564" fmla="*/ 2881646 w 9586368"/>
                <a:gd name="connsiteY6564" fmla="*/ 1693299 h 6479439"/>
                <a:gd name="connsiteX6565" fmla="*/ 2871737 w 9586368"/>
                <a:gd name="connsiteY6565" fmla="*/ 1693299 h 6479439"/>
                <a:gd name="connsiteX6566" fmla="*/ 2867717 w 9586368"/>
                <a:gd name="connsiteY6566" fmla="*/ 1689260 h 6479439"/>
                <a:gd name="connsiteX6567" fmla="*/ 2867717 w 9586368"/>
                <a:gd name="connsiteY6567" fmla="*/ 1679389 h 6479439"/>
                <a:gd name="connsiteX6568" fmla="*/ 2632423 w 9586368"/>
                <a:gd name="connsiteY6568" fmla="*/ 1675350 h 6479439"/>
                <a:gd name="connsiteX6569" fmla="*/ 2642334 w 9586368"/>
                <a:gd name="connsiteY6569" fmla="*/ 1675350 h 6479439"/>
                <a:gd name="connsiteX6570" fmla="*/ 2646352 w 9586368"/>
                <a:gd name="connsiteY6570" fmla="*/ 1679389 h 6479439"/>
                <a:gd name="connsiteX6571" fmla="*/ 2646352 w 9586368"/>
                <a:gd name="connsiteY6571" fmla="*/ 1689260 h 6479439"/>
                <a:gd name="connsiteX6572" fmla="*/ 2642334 w 9586368"/>
                <a:gd name="connsiteY6572" fmla="*/ 1693299 h 6479439"/>
                <a:gd name="connsiteX6573" fmla="*/ 2632423 w 9586368"/>
                <a:gd name="connsiteY6573" fmla="*/ 1693299 h 6479439"/>
                <a:gd name="connsiteX6574" fmla="*/ 2628404 w 9586368"/>
                <a:gd name="connsiteY6574" fmla="*/ 1689260 h 6479439"/>
                <a:gd name="connsiteX6575" fmla="*/ 2628404 w 9586368"/>
                <a:gd name="connsiteY6575" fmla="*/ 1679389 h 6479439"/>
                <a:gd name="connsiteX6576" fmla="*/ 2393104 w 9586368"/>
                <a:gd name="connsiteY6576" fmla="*/ 1675350 h 6479439"/>
                <a:gd name="connsiteX6577" fmla="*/ 2403015 w 9586368"/>
                <a:gd name="connsiteY6577" fmla="*/ 1675350 h 6479439"/>
                <a:gd name="connsiteX6578" fmla="*/ 2407034 w 9586368"/>
                <a:gd name="connsiteY6578" fmla="*/ 1679389 h 6479439"/>
                <a:gd name="connsiteX6579" fmla="*/ 2407034 w 9586368"/>
                <a:gd name="connsiteY6579" fmla="*/ 1689260 h 6479439"/>
                <a:gd name="connsiteX6580" fmla="*/ 2403015 w 9586368"/>
                <a:gd name="connsiteY6580" fmla="*/ 1693299 h 6479439"/>
                <a:gd name="connsiteX6581" fmla="*/ 2393104 w 9586368"/>
                <a:gd name="connsiteY6581" fmla="*/ 1693299 h 6479439"/>
                <a:gd name="connsiteX6582" fmla="*/ 2389087 w 9586368"/>
                <a:gd name="connsiteY6582" fmla="*/ 1689260 h 6479439"/>
                <a:gd name="connsiteX6583" fmla="*/ 2389087 w 9586368"/>
                <a:gd name="connsiteY6583" fmla="*/ 1679389 h 6479439"/>
                <a:gd name="connsiteX6584" fmla="*/ 3350359 w 9586368"/>
                <a:gd name="connsiteY6584" fmla="*/ 1675349 h 6479439"/>
                <a:gd name="connsiteX6585" fmla="*/ 3360268 w 9586368"/>
                <a:gd name="connsiteY6585" fmla="*/ 1675349 h 6479439"/>
                <a:gd name="connsiteX6586" fmla="*/ 3364287 w 9586368"/>
                <a:gd name="connsiteY6586" fmla="*/ 1679388 h 6479439"/>
                <a:gd name="connsiteX6587" fmla="*/ 3364287 w 9586368"/>
                <a:gd name="connsiteY6587" fmla="*/ 1689260 h 6479439"/>
                <a:gd name="connsiteX6588" fmla="*/ 3360268 w 9586368"/>
                <a:gd name="connsiteY6588" fmla="*/ 1693298 h 6479439"/>
                <a:gd name="connsiteX6589" fmla="*/ 3350359 w 9586368"/>
                <a:gd name="connsiteY6589" fmla="*/ 1693298 h 6479439"/>
                <a:gd name="connsiteX6590" fmla="*/ 3346340 w 9586368"/>
                <a:gd name="connsiteY6590" fmla="*/ 1689260 h 6479439"/>
                <a:gd name="connsiteX6591" fmla="*/ 3346340 w 9586368"/>
                <a:gd name="connsiteY6591" fmla="*/ 1679388 h 6479439"/>
                <a:gd name="connsiteX6592" fmla="*/ 3111048 w 9586368"/>
                <a:gd name="connsiteY6592" fmla="*/ 1675349 h 6479439"/>
                <a:gd name="connsiteX6593" fmla="*/ 3120959 w 9586368"/>
                <a:gd name="connsiteY6593" fmla="*/ 1675349 h 6479439"/>
                <a:gd name="connsiteX6594" fmla="*/ 3124977 w 9586368"/>
                <a:gd name="connsiteY6594" fmla="*/ 1679388 h 6479439"/>
                <a:gd name="connsiteX6595" fmla="*/ 3124977 w 9586368"/>
                <a:gd name="connsiteY6595" fmla="*/ 1689260 h 6479439"/>
                <a:gd name="connsiteX6596" fmla="*/ 3120959 w 9586368"/>
                <a:gd name="connsiteY6596" fmla="*/ 1693299 h 6479439"/>
                <a:gd name="connsiteX6597" fmla="*/ 3111048 w 9586368"/>
                <a:gd name="connsiteY6597" fmla="*/ 1693299 h 6479439"/>
                <a:gd name="connsiteX6598" fmla="*/ 3107029 w 9586368"/>
                <a:gd name="connsiteY6598" fmla="*/ 1689260 h 6479439"/>
                <a:gd name="connsiteX6599" fmla="*/ 3107029 w 9586368"/>
                <a:gd name="connsiteY6599" fmla="*/ 1679388 h 6479439"/>
                <a:gd name="connsiteX6600" fmla="*/ 4068297 w 9586368"/>
                <a:gd name="connsiteY6600" fmla="*/ 1675334 h 6479439"/>
                <a:gd name="connsiteX6601" fmla="*/ 4078210 w 9586368"/>
                <a:gd name="connsiteY6601" fmla="*/ 1675334 h 6479439"/>
                <a:gd name="connsiteX6602" fmla="*/ 4082229 w 9586368"/>
                <a:gd name="connsiteY6602" fmla="*/ 1679373 h 6479439"/>
                <a:gd name="connsiteX6603" fmla="*/ 4082229 w 9586368"/>
                <a:gd name="connsiteY6603" fmla="*/ 1689243 h 6479439"/>
                <a:gd name="connsiteX6604" fmla="*/ 4078210 w 9586368"/>
                <a:gd name="connsiteY6604" fmla="*/ 1693282 h 6479439"/>
                <a:gd name="connsiteX6605" fmla="*/ 4068297 w 9586368"/>
                <a:gd name="connsiteY6605" fmla="*/ 1693282 h 6479439"/>
                <a:gd name="connsiteX6606" fmla="*/ 4064278 w 9586368"/>
                <a:gd name="connsiteY6606" fmla="*/ 1689243 h 6479439"/>
                <a:gd name="connsiteX6607" fmla="*/ 4064278 w 9586368"/>
                <a:gd name="connsiteY6607" fmla="*/ 1679373 h 6479439"/>
                <a:gd name="connsiteX6608" fmla="*/ 3828990 w 9586368"/>
                <a:gd name="connsiteY6608" fmla="*/ 1675334 h 6479439"/>
                <a:gd name="connsiteX6609" fmla="*/ 3838899 w 9586368"/>
                <a:gd name="connsiteY6609" fmla="*/ 1675334 h 6479439"/>
                <a:gd name="connsiteX6610" fmla="*/ 3842917 w 9586368"/>
                <a:gd name="connsiteY6610" fmla="*/ 1679373 h 6479439"/>
                <a:gd name="connsiteX6611" fmla="*/ 3842917 w 9586368"/>
                <a:gd name="connsiteY6611" fmla="*/ 1689243 h 6479439"/>
                <a:gd name="connsiteX6612" fmla="*/ 3838899 w 9586368"/>
                <a:gd name="connsiteY6612" fmla="*/ 1693282 h 6479439"/>
                <a:gd name="connsiteX6613" fmla="*/ 3828990 w 9586368"/>
                <a:gd name="connsiteY6613" fmla="*/ 1693282 h 6479439"/>
                <a:gd name="connsiteX6614" fmla="*/ 3824971 w 9586368"/>
                <a:gd name="connsiteY6614" fmla="*/ 1689243 h 6479439"/>
                <a:gd name="connsiteX6615" fmla="*/ 3824971 w 9586368"/>
                <a:gd name="connsiteY6615" fmla="*/ 1679373 h 6479439"/>
                <a:gd name="connsiteX6616" fmla="*/ 3589676 w 9586368"/>
                <a:gd name="connsiteY6616" fmla="*/ 1675334 h 6479439"/>
                <a:gd name="connsiteX6617" fmla="*/ 3599585 w 9586368"/>
                <a:gd name="connsiteY6617" fmla="*/ 1675334 h 6479439"/>
                <a:gd name="connsiteX6618" fmla="*/ 3603604 w 9586368"/>
                <a:gd name="connsiteY6618" fmla="*/ 1679373 h 6479439"/>
                <a:gd name="connsiteX6619" fmla="*/ 3603604 w 9586368"/>
                <a:gd name="connsiteY6619" fmla="*/ 1689243 h 6479439"/>
                <a:gd name="connsiteX6620" fmla="*/ 3599585 w 9586368"/>
                <a:gd name="connsiteY6620" fmla="*/ 1693282 h 6479439"/>
                <a:gd name="connsiteX6621" fmla="*/ 3589676 w 9586368"/>
                <a:gd name="connsiteY6621" fmla="*/ 1693282 h 6479439"/>
                <a:gd name="connsiteX6622" fmla="*/ 3585657 w 9586368"/>
                <a:gd name="connsiteY6622" fmla="*/ 1689243 h 6479439"/>
                <a:gd name="connsiteX6623" fmla="*/ 3585657 w 9586368"/>
                <a:gd name="connsiteY6623" fmla="*/ 1679373 h 6479439"/>
                <a:gd name="connsiteX6624" fmla="*/ 4546929 w 9586368"/>
                <a:gd name="connsiteY6624" fmla="*/ 1675333 h 6479439"/>
                <a:gd name="connsiteX6625" fmla="*/ 4556840 w 9586368"/>
                <a:gd name="connsiteY6625" fmla="*/ 1675333 h 6479439"/>
                <a:gd name="connsiteX6626" fmla="*/ 4560859 w 9586368"/>
                <a:gd name="connsiteY6626" fmla="*/ 1679372 h 6479439"/>
                <a:gd name="connsiteX6627" fmla="*/ 4560859 w 9586368"/>
                <a:gd name="connsiteY6627" fmla="*/ 1689243 h 6479439"/>
                <a:gd name="connsiteX6628" fmla="*/ 4556840 w 9586368"/>
                <a:gd name="connsiteY6628" fmla="*/ 1693281 h 6479439"/>
                <a:gd name="connsiteX6629" fmla="*/ 4546929 w 9586368"/>
                <a:gd name="connsiteY6629" fmla="*/ 1693281 h 6479439"/>
                <a:gd name="connsiteX6630" fmla="*/ 4542910 w 9586368"/>
                <a:gd name="connsiteY6630" fmla="*/ 1689243 h 6479439"/>
                <a:gd name="connsiteX6631" fmla="*/ 4542910 w 9586368"/>
                <a:gd name="connsiteY6631" fmla="*/ 1679372 h 6479439"/>
                <a:gd name="connsiteX6632" fmla="*/ 4307612 w 9586368"/>
                <a:gd name="connsiteY6632" fmla="*/ 1675333 h 6479439"/>
                <a:gd name="connsiteX6633" fmla="*/ 4317523 w 9586368"/>
                <a:gd name="connsiteY6633" fmla="*/ 1675333 h 6479439"/>
                <a:gd name="connsiteX6634" fmla="*/ 4321543 w 9586368"/>
                <a:gd name="connsiteY6634" fmla="*/ 1679372 h 6479439"/>
                <a:gd name="connsiteX6635" fmla="*/ 4321543 w 9586368"/>
                <a:gd name="connsiteY6635" fmla="*/ 1689243 h 6479439"/>
                <a:gd name="connsiteX6636" fmla="*/ 4317523 w 9586368"/>
                <a:gd name="connsiteY6636" fmla="*/ 1693282 h 6479439"/>
                <a:gd name="connsiteX6637" fmla="*/ 4307612 w 9586368"/>
                <a:gd name="connsiteY6637" fmla="*/ 1693282 h 6479439"/>
                <a:gd name="connsiteX6638" fmla="*/ 4303595 w 9586368"/>
                <a:gd name="connsiteY6638" fmla="*/ 1689243 h 6479439"/>
                <a:gd name="connsiteX6639" fmla="*/ 4303595 w 9586368"/>
                <a:gd name="connsiteY6639" fmla="*/ 1679372 h 6479439"/>
                <a:gd name="connsiteX6640" fmla="*/ 5264784 w 9586368"/>
                <a:gd name="connsiteY6640" fmla="*/ 1675318 h 6479439"/>
                <a:gd name="connsiteX6641" fmla="*/ 5274694 w 9586368"/>
                <a:gd name="connsiteY6641" fmla="*/ 1675318 h 6479439"/>
                <a:gd name="connsiteX6642" fmla="*/ 5278713 w 9586368"/>
                <a:gd name="connsiteY6642" fmla="*/ 1679357 h 6479439"/>
                <a:gd name="connsiteX6643" fmla="*/ 5278713 w 9586368"/>
                <a:gd name="connsiteY6643" fmla="*/ 1689227 h 6479439"/>
                <a:gd name="connsiteX6644" fmla="*/ 5274694 w 9586368"/>
                <a:gd name="connsiteY6644" fmla="*/ 1693266 h 6479439"/>
                <a:gd name="connsiteX6645" fmla="*/ 5264784 w 9586368"/>
                <a:gd name="connsiteY6645" fmla="*/ 1693266 h 6479439"/>
                <a:gd name="connsiteX6646" fmla="*/ 5260765 w 9586368"/>
                <a:gd name="connsiteY6646" fmla="*/ 1689227 h 6479439"/>
                <a:gd name="connsiteX6647" fmla="*/ 5260765 w 9586368"/>
                <a:gd name="connsiteY6647" fmla="*/ 1679357 h 6479439"/>
                <a:gd name="connsiteX6648" fmla="*/ 5025470 w 9586368"/>
                <a:gd name="connsiteY6648" fmla="*/ 1675318 h 6479439"/>
                <a:gd name="connsiteX6649" fmla="*/ 5035381 w 9586368"/>
                <a:gd name="connsiteY6649" fmla="*/ 1675318 h 6479439"/>
                <a:gd name="connsiteX6650" fmla="*/ 5039400 w 9586368"/>
                <a:gd name="connsiteY6650" fmla="*/ 1679357 h 6479439"/>
                <a:gd name="connsiteX6651" fmla="*/ 5039400 w 9586368"/>
                <a:gd name="connsiteY6651" fmla="*/ 1689227 h 6479439"/>
                <a:gd name="connsiteX6652" fmla="*/ 5035381 w 9586368"/>
                <a:gd name="connsiteY6652" fmla="*/ 1693266 h 6479439"/>
                <a:gd name="connsiteX6653" fmla="*/ 5025470 w 9586368"/>
                <a:gd name="connsiteY6653" fmla="*/ 1693266 h 6479439"/>
                <a:gd name="connsiteX6654" fmla="*/ 5021451 w 9586368"/>
                <a:gd name="connsiteY6654" fmla="*/ 1689227 h 6479439"/>
                <a:gd name="connsiteX6655" fmla="*/ 5021451 w 9586368"/>
                <a:gd name="connsiteY6655" fmla="*/ 1679357 h 6479439"/>
                <a:gd name="connsiteX6656" fmla="*/ 4786241 w 9586368"/>
                <a:gd name="connsiteY6656" fmla="*/ 1675318 h 6479439"/>
                <a:gd name="connsiteX6657" fmla="*/ 4796152 w 9586368"/>
                <a:gd name="connsiteY6657" fmla="*/ 1675318 h 6479439"/>
                <a:gd name="connsiteX6658" fmla="*/ 4800171 w 9586368"/>
                <a:gd name="connsiteY6658" fmla="*/ 1679357 h 6479439"/>
                <a:gd name="connsiteX6659" fmla="*/ 4800171 w 9586368"/>
                <a:gd name="connsiteY6659" fmla="*/ 1689227 h 6479439"/>
                <a:gd name="connsiteX6660" fmla="*/ 4796152 w 9586368"/>
                <a:gd name="connsiteY6660" fmla="*/ 1693266 h 6479439"/>
                <a:gd name="connsiteX6661" fmla="*/ 4786241 w 9586368"/>
                <a:gd name="connsiteY6661" fmla="*/ 1693266 h 6479439"/>
                <a:gd name="connsiteX6662" fmla="*/ 4782224 w 9586368"/>
                <a:gd name="connsiteY6662" fmla="*/ 1689227 h 6479439"/>
                <a:gd name="connsiteX6663" fmla="*/ 4782224 w 9586368"/>
                <a:gd name="connsiteY6663" fmla="*/ 1679357 h 6479439"/>
                <a:gd name="connsiteX6664" fmla="*/ 5743412 w 9586368"/>
                <a:gd name="connsiteY6664" fmla="*/ 1675316 h 6479439"/>
                <a:gd name="connsiteX6665" fmla="*/ 5753323 w 9586368"/>
                <a:gd name="connsiteY6665" fmla="*/ 1675316 h 6479439"/>
                <a:gd name="connsiteX6666" fmla="*/ 5757342 w 9586368"/>
                <a:gd name="connsiteY6666" fmla="*/ 1679356 h 6479439"/>
                <a:gd name="connsiteX6667" fmla="*/ 5757342 w 9586368"/>
                <a:gd name="connsiteY6667" fmla="*/ 1689227 h 6479439"/>
                <a:gd name="connsiteX6668" fmla="*/ 5753323 w 9586368"/>
                <a:gd name="connsiteY6668" fmla="*/ 1693266 h 6479439"/>
                <a:gd name="connsiteX6669" fmla="*/ 5743412 w 9586368"/>
                <a:gd name="connsiteY6669" fmla="*/ 1693266 h 6479439"/>
                <a:gd name="connsiteX6670" fmla="*/ 5739393 w 9586368"/>
                <a:gd name="connsiteY6670" fmla="*/ 1689227 h 6479439"/>
                <a:gd name="connsiteX6671" fmla="*/ 5739393 w 9586368"/>
                <a:gd name="connsiteY6671" fmla="*/ 1679356 h 6479439"/>
                <a:gd name="connsiteX6672" fmla="*/ 5504099 w 9586368"/>
                <a:gd name="connsiteY6672" fmla="*/ 1675316 h 6479439"/>
                <a:gd name="connsiteX6673" fmla="*/ 5514010 w 9586368"/>
                <a:gd name="connsiteY6673" fmla="*/ 1675316 h 6479439"/>
                <a:gd name="connsiteX6674" fmla="*/ 5518029 w 9586368"/>
                <a:gd name="connsiteY6674" fmla="*/ 1679356 h 6479439"/>
                <a:gd name="connsiteX6675" fmla="*/ 5518029 w 9586368"/>
                <a:gd name="connsiteY6675" fmla="*/ 1689227 h 6479439"/>
                <a:gd name="connsiteX6676" fmla="*/ 5514010 w 9586368"/>
                <a:gd name="connsiteY6676" fmla="*/ 1693266 h 6479439"/>
                <a:gd name="connsiteX6677" fmla="*/ 5504099 w 9586368"/>
                <a:gd name="connsiteY6677" fmla="*/ 1693266 h 6479439"/>
                <a:gd name="connsiteX6678" fmla="*/ 5500080 w 9586368"/>
                <a:gd name="connsiteY6678" fmla="*/ 1689227 h 6479439"/>
                <a:gd name="connsiteX6679" fmla="*/ 5500080 w 9586368"/>
                <a:gd name="connsiteY6679" fmla="*/ 1679356 h 6479439"/>
                <a:gd name="connsiteX6680" fmla="*/ 6461356 w 9586368"/>
                <a:gd name="connsiteY6680" fmla="*/ 1675301 h 6479439"/>
                <a:gd name="connsiteX6681" fmla="*/ 6471266 w 9586368"/>
                <a:gd name="connsiteY6681" fmla="*/ 1675301 h 6479439"/>
                <a:gd name="connsiteX6682" fmla="*/ 6475285 w 9586368"/>
                <a:gd name="connsiteY6682" fmla="*/ 1679339 h 6479439"/>
                <a:gd name="connsiteX6683" fmla="*/ 6475285 w 9586368"/>
                <a:gd name="connsiteY6683" fmla="*/ 1689210 h 6479439"/>
                <a:gd name="connsiteX6684" fmla="*/ 6471266 w 9586368"/>
                <a:gd name="connsiteY6684" fmla="*/ 1693249 h 6479439"/>
                <a:gd name="connsiteX6685" fmla="*/ 6461356 w 9586368"/>
                <a:gd name="connsiteY6685" fmla="*/ 1693249 h 6479439"/>
                <a:gd name="connsiteX6686" fmla="*/ 6457337 w 9586368"/>
                <a:gd name="connsiteY6686" fmla="*/ 1689210 h 6479439"/>
                <a:gd name="connsiteX6687" fmla="*/ 6457337 w 9586368"/>
                <a:gd name="connsiteY6687" fmla="*/ 1679339 h 6479439"/>
                <a:gd name="connsiteX6688" fmla="*/ 6222042 w 9586368"/>
                <a:gd name="connsiteY6688" fmla="*/ 1675301 h 6479439"/>
                <a:gd name="connsiteX6689" fmla="*/ 6231952 w 9586368"/>
                <a:gd name="connsiteY6689" fmla="*/ 1675301 h 6479439"/>
                <a:gd name="connsiteX6690" fmla="*/ 6235971 w 9586368"/>
                <a:gd name="connsiteY6690" fmla="*/ 1679339 h 6479439"/>
                <a:gd name="connsiteX6691" fmla="*/ 6235971 w 9586368"/>
                <a:gd name="connsiteY6691" fmla="*/ 1689211 h 6479439"/>
                <a:gd name="connsiteX6692" fmla="*/ 6231952 w 9586368"/>
                <a:gd name="connsiteY6692" fmla="*/ 1693249 h 6479439"/>
                <a:gd name="connsiteX6693" fmla="*/ 6222042 w 9586368"/>
                <a:gd name="connsiteY6693" fmla="*/ 1693249 h 6479439"/>
                <a:gd name="connsiteX6694" fmla="*/ 6218023 w 9586368"/>
                <a:gd name="connsiteY6694" fmla="*/ 1689211 h 6479439"/>
                <a:gd name="connsiteX6695" fmla="*/ 6218023 w 9586368"/>
                <a:gd name="connsiteY6695" fmla="*/ 1679339 h 6479439"/>
                <a:gd name="connsiteX6696" fmla="*/ 5982729 w 9586368"/>
                <a:gd name="connsiteY6696" fmla="*/ 1675301 h 6479439"/>
                <a:gd name="connsiteX6697" fmla="*/ 5992639 w 9586368"/>
                <a:gd name="connsiteY6697" fmla="*/ 1675301 h 6479439"/>
                <a:gd name="connsiteX6698" fmla="*/ 5996658 w 9586368"/>
                <a:gd name="connsiteY6698" fmla="*/ 1679339 h 6479439"/>
                <a:gd name="connsiteX6699" fmla="*/ 5996658 w 9586368"/>
                <a:gd name="connsiteY6699" fmla="*/ 1689211 h 6479439"/>
                <a:gd name="connsiteX6700" fmla="*/ 5992639 w 9586368"/>
                <a:gd name="connsiteY6700" fmla="*/ 1693251 h 6479439"/>
                <a:gd name="connsiteX6701" fmla="*/ 5982729 w 9586368"/>
                <a:gd name="connsiteY6701" fmla="*/ 1693251 h 6479439"/>
                <a:gd name="connsiteX6702" fmla="*/ 5978710 w 9586368"/>
                <a:gd name="connsiteY6702" fmla="*/ 1689211 h 6479439"/>
                <a:gd name="connsiteX6703" fmla="*/ 5978710 w 9586368"/>
                <a:gd name="connsiteY6703" fmla="*/ 1679339 h 6479439"/>
                <a:gd name="connsiteX6704" fmla="*/ 6939983 w 9586368"/>
                <a:gd name="connsiteY6704" fmla="*/ 1675300 h 6479439"/>
                <a:gd name="connsiteX6705" fmla="*/ 6949894 w 9586368"/>
                <a:gd name="connsiteY6705" fmla="*/ 1675300 h 6479439"/>
                <a:gd name="connsiteX6706" fmla="*/ 6953913 w 9586368"/>
                <a:gd name="connsiteY6706" fmla="*/ 1679339 h 6479439"/>
                <a:gd name="connsiteX6707" fmla="*/ 6953913 w 9586368"/>
                <a:gd name="connsiteY6707" fmla="*/ 1689210 h 6479439"/>
                <a:gd name="connsiteX6708" fmla="*/ 6949894 w 9586368"/>
                <a:gd name="connsiteY6708" fmla="*/ 1693249 h 6479439"/>
                <a:gd name="connsiteX6709" fmla="*/ 6939983 w 9586368"/>
                <a:gd name="connsiteY6709" fmla="*/ 1693249 h 6479439"/>
                <a:gd name="connsiteX6710" fmla="*/ 6935964 w 9586368"/>
                <a:gd name="connsiteY6710" fmla="*/ 1689210 h 6479439"/>
                <a:gd name="connsiteX6711" fmla="*/ 6935964 w 9586368"/>
                <a:gd name="connsiteY6711" fmla="*/ 1679339 h 6479439"/>
                <a:gd name="connsiteX6712" fmla="*/ 6700670 w 9586368"/>
                <a:gd name="connsiteY6712" fmla="*/ 1675300 h 6479439"/>
                <a:gd name="connsiteX6713" fmla="*/ 6710581 w 9586368"/>
                <a:gd name="connsiteY6713" fmla="*/ 1675300 h 6479439"/>
                <a:gd name="connsiteX6714" fmla="*/ 6714600 w 9586368"/>
                <a:gd name="connsiteY6714" fmla="*/ 1679339 h 6479439"/>
                <a:gd name="connsiteX6715" fmla="*/ 6714600 w 9586368"/>
                <a:gd name="connsiteY6715" fmla="*/ 1689210 h 6479439"/>
                <a:gd name="connsiteX6716" fmla="*/ 6710581 w 9586368"/>
                <a:gd name="connsiteY6716" fmla="*/ 1693249 h 6479439"/>
                <a:gd name="connsiteX6717" fmla="*/ 6700670 w 9586368"/>
                <a:gd name="connsiteY6717" fmla="*/ 1693249 h 6479439"/>
                <a:gd name="connsiteX6718" fmla="*/ 6696651 w 9586368"/>
                <a:gd name="connsiteY6718" fmla="*/ 1689210 h 6479439"/>
                <a:gd name="connsiteX6719" fmla="*/ 6696651 w 9586368"/>
                <a:gd name="connsiteY6719" fmla="*/ 1679339 h 6479439"/>
                <a:gd name="connsiteX6720" fmla="*/ 8136553 w 9586368"/>
                <a:gd name="connsiteY6720" fmla="*/ 1675285 h 6479439"/>
                <a:gd name="connsiteX6721" fmla="*/ 8146464 w 9586368"/>
                <a:gd name="connsiteY6721" fmla="*/ 1675285 h 6479439"/>
                <a:gd name="connsiteX6722" fmla="*/ 8150483 w 9586368"/>
                <a:gd name="connsiteY6722" fmla="*/ 1679323 h 6479439"/>
                <a:gd name="connsiteX6723" fmla="*/ 8150483 w 9586368"/>
                <a:gd name="connsiteY6723" fmla="*/ 1689193 h 6479439"/>
                <a:gd name="connsiteX6724" fmla="*/ 8146464 w 9586368"/>
                <a:gd name="connsiteY6724" fmla="*/ 1693232 h 6479439"/>
                <a:gd name="connsiteX6725" fmla="*/ 8136553 w 9586368"/>
                <a:gd name="connsiteY6725" fmla="*/ 1693232 h 6479439"/>
                <a:gd name="connsiteX6726" fmla="*/ 8132534 w 9586368"/>
                <a:gd name="connsiteY6726" fmla="*/ 1689193 h 6479439"/>
                <a:gd name="connsiteX6727" fmla="*/ 8132534 w 9586368"/>
                <a:gd name="connsiteY6727" fmla="*/ 1679323 h 6479439"/>
                <a:gd name="connsiteX6728" fmla="*/ 7897241 w 9586368"/>
                <a:gd name="connsiteY6728" fmla="*/ 1675285 h 6479439"/>
                <a:gd name="connsiteX6729" fmla="*/ 7907151 w 9586368"/>
                <a:gd name="connsiteY6729" fmla="*/ 1675285 h 6479439"/>
                <a:gd name="connsiteX6730" fmla="*/ 7911170 w 9586368"/>
                <a:gd name="connsiteY6730" fmla="*/ 1679323 h 6479439"/>
                <a:gd name="connsiteX6731" fmla="*/ 7911170 w 9586368"/>
                <a:gd name="connsiteY6731" fmla="*/ 1689193 h 6479439"/>
                <a:gd name="connsiteX6732" fmla="*/ 7907151 w 9586368"/>
                <a:gd name="connsiteY6732" fmla="*/ 1693232 h 6479439"/>
                <a:gd name="connsiteX6733" fmla="*/ 7897241 w 9586368"/>
                <a:gd name="connsiteY6733" fmla="*/ 1693232 h 6479439"/>
                <a:gd name="connsiteX6734" fmla="*/ 7893222 w 9586368"/>
                <a:gd name="connsiteY6734" fmla="*/ 1689193 h 6479439"/>
                <a:gd name="connsiteX6735" fmla="*/ 7893222 w 9586368"/>
                <a:gd name="connsiteY6735" fmla="*/ 1679323 h 6479439"/>
                <a:gd name="connsiteX6736" fmla="*/ 7657926 w 9586368"/>
                <a:gd name="connsiteY6736" fmla="*/ 1675285 h 6479439"/>
                <a:gd name="connsiteX6737" fmla="*/ 7667836 w 9586368"/>
                <a:gd name="connsiteY6737" fmla="*/ 1675285 h 6479439"/>
                <a:gd name="connsiteX6738" fmla="*/ 7671855 w 9586368"/>
                <a:gd name="connsiteY6738" fmla="*/ 1679323 h 6479439"/>
                <a:gd name="connsiteX6739" fmla="*/ 7671855 w 9586368"/>
                <a:gd name="connsiteY6739" fmla="*/ 1689193 h 6479439"/>
                <a:gd name="connsiteX6740" fmla="*/ 7667836 w 9586368"/>
                <a:gd name="connsiteY6740" fmla="*/ 1693232 h 6479439"/>
                <a:gd name="connsiteX6741" fmla="*/ 7657926 w 9586368"/>
                <a:gd name="connsiteY6741" fmla="*/ 1693232 h 6479439"/>
                <a:gd name="connsiteX6742" fmla="*/ 7653906 w 9586368"/>
                <a:gd name="connsiteY6742" fmla="*/ 1689193 h 6479439"/>
                <a:gd name="connsiteX6743" fmla="*/ 7653906 w 9586368"/>
                <a:gd name="connsiteY6743" fmla="*/ 1679323 h 6479439"/>
                <a:gd name="connsiteX6744" fmla="*/ 7418611 w 9586368"/>
                <a:gd name="connsiteY6744" fmla="*/ 1675285 h 6479439"/>
                <a:gd name="connsiteX6745" fmla="*/ 7428521 w 9586368"/>
                <a:gd name="connsiteY6745" fmla="*/ 1675285 h 6479439"/>
                <a:gd name="connsiteX6746" fmla="*/ 7432540 w 9586368"/>
                <a:gd name="connsiteY6746" fmla="*/ 1679323 h 6479439"/>
                <a:gd name="connsiteX6747" fmla="*/ 7432540 w 9586368"/>
                <a:gd name="connsiteY6747" fmla="*/ 1689195 h 6479439"/>
                <a:gd name="connsiteX6748" fmla="*/ 7428521 w 9586368"/>
                <a:gd name="connsiteY6748" fmla="*/ 1693232 h 6479439"/>
                <a:gd name="connsiteX6749" fmla="*/ 7418611 w 9586368"/>
                <a:gd name="connsiteY6749" fmla="*/ 1693232 h 6479439"/>
                <a:gd name="connsiteX6750" fmla="*/ 7414592 w 9586368"/>
                <a:gd name="connsiteY6750" fmla="*/ 1689195 h 6479439"/>
                <a:gd name="connsiteX6751" fmla="*/ 7414592 w 9586368"/>
                <a:gd name="connsiteY6751" fmla="*/ 1679323 h 6479439"/>
                <a:gd name="connsiteX6752" fmla="*/ 7179298 w 9586368"/>
                <a:gd name="connsiteY6752" fmla="*/ 1675285 h 6479439"/>
                <a:gd name="connsiteX6753" fmla="*/ 7189209 w 9586368"/>
                <a:gd name="connsiteY6753" fmla="*/ 1675285 h 6479439"/>
                <a:gd name="connsiteX6754" fmla="*/ 7193228 w 9586368"/>
                <a:gd name="connsiteY6754" fmla="*/ 1679323 h 6479439"/>
                <a:gd name="connsiteX6755" fmla="*/ 7193228 w 9586368"/>
                <a:gd name="connsiteY6755" fmla="*/ 1689195 h 6479439"/>
                <a:gd name="connsiteX6756" fmla="*/ 7189209 w 9586368"/>
                <a:gd name="connsiteY6756" fmla="*/ 1693234 h 6479439"/>
                <a:gd name="connsiteX6757" fmla="*/ 7179298 w 9586368"/>
                <a:gd name="connsiteY6757" fmla="*/ 1693234 h 6479439"/>
                <a:gd name="connsiteX6758" fmla="*/ 7175279 w 9586368"/>
                <a:gd name="connsiteY6758" fmla="*/ 1689195 h 6479439"/>
                <a:gd name="connsiteX6759" fmla="*/ 7175279 w 9586368"/>
                <a:gd name="connsiteY6759" fmla="*/ 1679323 h 6479439"/>
                <a:gd name="connsiteX6760" fmla="*/ 9333125 w 9586368"/>
                <a:gd name="connsiteY6760" fmla="*/ 1675268 h 6479439"/>
                <a:gd name="connsiteX6761" fmla="*/ 9343036 w 9586368"/>
                <a:gd name="connsiteY6761" fmla="*/ 1675268 h 6479439"/>
                <a:gd name="connsiteX6762" fmla="*/ 9347055 w 9586368"/>
                <a:gd name="connsiteY6762" fmla="*/ 1679306 h 6479439"/>
                <a:gd name="connsiteX6763" fmla="*/ 9347055 w 9586368"/>
                <a:gd name="connsiteY6763" fmla="*/ 1689177 h 6479439"/>
                <a:gd name="connsiteX6764" fmla="*/ 9343036 w 9586368"/>
                <a:gd name="connsiteY6764" fmla="*/ 1693216 h 6479439"/>
                <a:gd name="connsiteX6765" fmla="*/ 9333125 w 9586368"/>
                <a:gd name="connsiteY6765" fmla="*/ 1693216 h 6479439"/>
                <a:gd name="connsiteX6766" fmla="*/ 9329106 w 9586368"/>
                <a:gd name="connsiteY6766" fmla="*/ 1689177 h 6479439"/>
                <a:gd name="connsiteX6767" fmla="*/ 9329106 w 9586368"/>
                <a:gd name="connsiteY6767" fmla="*/ 1679306 h 6479439"/>
                <a:gd name="connsiteX6768" fmla="*/ 9093811 w 9586368"/>
                <a:gd name="connsiteY6768" fmla="*/ 1675268 h 6479439"/>
                <a:gd name="connsiteX6769" fmla="*/ 9103722 w 9586368"/>
                <a:gd name="connsiteY6769" fmla="*/ 1675268 h 6479439"/>
                <a:gd name="connsiteX6770" fmla="*/ 9107741 w 9586368"/>
                <a:gd name="connsiteY6770" fmla="*/ 1679306 h 6479439"/>
                <a:gd name="connsiteX6771" fmla="*/ 9107741 w 9586368"/>
                <a:gd name="connsiteY6771" fmla="*/ 1689177 h 6479439"/>
                <a:gd name="connsiteX6772" fmla="*/ 9103722 w 9586368"/>
                <a:gd name="connsiteY6772" fmla="*/ 1693217 h 6479439"/>
                <a:gd name="connsiteX6773" fmla="*/ 9093811 w 9586368"/>
                <a:gd name="connsiteY6773" fmla="*/ 1693217 h 6479439"/>
                <a:gd name="connsiteX6774" fmla="*/ 9089792 w 9586368"/>
                <a:gd name="connsiteY6774" fmla="*/ 1689177 h 6479439"/>
                <a:gd name="connsiteX6775" fmla="*/ 9089792 w 9586368"/>
                <a:gd name="connsiteY6775" fmla="*/ 1679306 h 6479439"/>
                <a:gd name="connsiteX6776" fmla="*/ 8854496 w 9586368"/>
                <a:gd name="connsiteY6776" fmla="*/ 1675268 h 6479439"/>
                <a:gd name="connsiteX6777" fmla="*/ 8864407 w 9586368"/>
                <a:gd name="connsiteY6777" fmla="*/ 1675268 h 6479439"/>
                <a:gd name="connsiteX6778" fmla="*/ 8868426 w 9586368"/>
                <a:gd name="connsiteY6778" fmla="*/ 1679307 h 6479439"/>
                <a:gd name="connsiteX6779" fmla="*/ 8868426 w 9586368"/>
                <a:gd name="connsiteY6779" fmla="*/ 1689177 h 6479439"/>
                <a:gd name="connsiteX6780" fmla="*/ 8864407 w 9586368"/>
                <a:gd name="connsiteY6780" fmla="*/ 1693217 h 6479439"/>
                <a:gd name="connsiteX6781" fmla="*/ 8854496 w 9586368"/>
                <a:gd name="connsiteY6781" fmla="*/ 1693217 h 6479439"/>
                <a:gd name="connsiteX6782" fmla="*/ 8850477 w 9586368"/>
                <a:gd name="connsiteY6782" fmla="*/ 1689177 h 6479439"/>
                <a:gd name="connsiteX6783" fmla="*/ 8850477 w 9586368"/>
                <a:gd name="connsiteY6783" fmla="*/ 1679307 h 6479439"/>
                <a:gd name="connsiteX6784" fmla="*/ 8615184 w 9586368"/>
                <a:gd name="connsiteY6784" fmla="*/ 1675268 h 6479439"/>
                <a:gd name="connsiteX6785" fmla="*/ 8625095 w 9586368"/>
                <a:gd name="connsiteY6785" fmla="*/ 1675268 h 6479439"/>
                <a:gd name="connsiteX6786" fmla="*/ 8629114 w 9586368"/>
                <a:gd name="connsiteY6786" fmla="*/ 1679307 h 6479439"/>
                <a:gd name="connsiteX6787" fmla="*/ 8629114 w 9586368"/>
                <a:gd name="connsiteY6787" fmla="*/ 1689178 h 6479439"/>
                <a:gd name="connsiteX6788" fmla="*/ 8625095 w 9586368"/>
                <a:gd name="connsiteY6788" fmla="*/ 1693217 h 6479439"/>
                <a:gd name="connsiteX6789" fmla="*/ 8615184 w 9586368"/>
                <a:gd name="connsiteY6789" fmla="*/ 1693217 h 6479439"/>
                <a:gd name="connsiteX6790" fmla="*/ 8611165 w 9586368"/>
                <a:gd name="connsiteY6790" fmla="*/ 1689178 h 6479439"/>
                <a:gd name="connsiteX6791" fmla="*/ 8611165 w 9586368"/>
                <a:gd name="connsiteY6791" fmla="*/ 1679307 h 6479439"/>
                <a:gd name="connsiteX6792" fmla="*/ 8375869 w 9586368"/>
                <a:gd name="connsiteY6792" fmla="*/ 1675268 h 6479439"/>
                <a:gd name="connsiteX6793" fmla="*/ 8385779 w 9586368"/>
                <a:gd name="connsiteY6793" fmla="*/ 1675268 h 6479439"/>
                <a:gd name="connsiteX6794" fmla="*/ 8389799 w 9586368"/>
                <a:gd name="connsiteY6794" fmla="*/ 1679307 h 6479439"/>
                <a:gd name="connsiteX6795" fmla="*/ 8389799 w 9586368"/>
                <a:gd name="connsiteY6795" fmla="*/ 1689178 h 6479439"/>
                <a:gd name="connsiteX6796" fmla="*/ 8385779 w 9586368"/>
                <a:gd name="connsiteY6796" fmla="*/ 1693217 h 6479439"/>
                <a:gd name="connsiteX6797" fmla="*/ 8375869 w 9586368"/>
                <a:gd name="connsiteY6797" fmla="*/ 1693217 h 6479439"/>
                <a:gd name="connsiteX6798" fmla="*/ 8371850 w 9586368"/>
                <a:gd name="connsiteY6798" fmla="*/ 1689178 h 6479439"/>
                <a:gd name="connsiteX6799" fmla="*/ 8371850 w 9586368"/>
                <a:gd name="connsiteY6799" fmla="*/ 1679307 h 6479439"/>
                <a:gd name="connsiteX6800" fmla="*/ 961270 w 9586368"/>
                <a:gd name="connsiteY6800" fmla="*/ 1675255 h 6479439"/>
                <a:gd name="connsiteX6801" fmla="*/ 971180 w 9586368"/>
                <a:gd name="connsiteY6801" fmla="*/ 1675255 h 6479439"/>
                <a:gd name="connsiteX6802" fmla="*/ 975199 w 9586368"/>
                <a:gd name="connsiteY6802" fmla="*/ 1679292 h 6479439"/>
                <a:gd name="connsiteX6803" fmla="*/ 975199 w 9586368"/>
                <a:gd name="connsiteY6803" fmla="*/ 1689163 h 6479439"/>
                <a:gd name="connsiteX6804" fmla="*/ 971180 w 9586368"/>
                <a:gd name="connsiteY6804" fmla="*/ 1693202 h 6479439"/>
                <a:gd name="connsiteX6805" fmla="*/ 961270 w 9586368"/>
                <a:gd name="connsiteY6805" fmla="*/ 1693202 h 6479439"/>
                <a:gd name="connsiteX6806" fmla="*/ 957251 w 9586368"/>
                <a:gd name="connsiteY6806" fmla="*/ 1689163 h 6479439"/>
                <a:gd name="connsiteX6807" fmla="*/ 957251 w 9586368"/>
                <a:gd name="connsiteY6807" fmla="*/ 1679292 h 6479439"/>
                <a:gd name="connsiteX6808" fmla="*/ 1679215 w 9586368"/>
                <a:gd name="connsiteY6808" fmla="*/ 1675254 h 6479439"/>
                <a:gd name="connsiteX6809" fmla="*/ 1689126 w 9586368"/>
                <a:gd name="connsiteY6809" fmla="*/ 1675254 h 6479439"/>
                <a:gd name="connsiteX6810" fmla="*/ 1693145 w 9586368"/>
                <a:gd name="connsiteY6810" fmla="*/ 1679292 h 6479439"/>
                <a:gd name="connsiteX6811" fmla="*/ 1693145 w 9586368"/>
                <a:gd name="connsiteY6811" fmla="*/ 1689163 h 6479439"/>
                <a:gd name="connsiteX6812" fmla="*/ 1689126 w 9586368"/>
                <a:gd name="connsiteY6812" fmla="*/ 1693202 h 6479439"/>
                <a:gd name="connsiteX6813" fmla="*/ 1679215 w 9586368"/>
                <a:gd name="connsiteY6813" fmla="*/ 1693202 h 6479439"/>
                <a:gd name="connsiteX6814" fmla="*/ 1675196 w 9586368"/>
                <a:gd name="connsiteY6814" fmla="*/ 1689163 h 6479439"/>
                <a:gd name="connsiteX6815" fmla="*/ 1675196 w 9586368"/>
                <a:gd name="connsiteY6815" fmla="*/ 1679292 h 6479439"/>
                <a:gd name="connsiteX6816" fmla="*/ 1439898 w 9586368"/>
                <a:gd name="connsiteY6816" fmla="*/ 1675254 h 6479439"/>
                <a:gd name="connsiteX6817" fmla="*/ 1449808 w 9586368"/>
                <a:gd name="connsiteY6817" fmla="*/ 1675254 h 6479439"/>
                <a:gd name="connsiteX6818" fmla="*/ 1453828 w 9586368"/>
                <a:gd name="connsiteY6818" fmla="*/ 1679292 h 6479439"/>
                <a:gd name="connsiteX6819" fmla="*/ 1453828 w 9586368"/>
                <a:gd name="connsiteY6819" fmla="*/ 1689163 h 6479439"/>
                <a:gd name="connsiteX6820" fmla="*/ 1449808 w 9586368"/>
                <a:gd name="connsiteY6820" fmla="*/ 1693202 h 6479439"/>
                <a:gd name="connsiteX6821" fmla="*/ 1439898 w 9586368"/>
                <a:gd name="connsiteY6821" fmla="*/ 1693202 h 6479439"/>
                <a:gd name="connsiteX6822" fmla="*/ 1435880 w 9586368"/>
                <a:gd name="connsiteY6822" fmla="*/ 1689163 h 6479439"/>
                <a:gd name="connsiteX6823" fmla="*/ 1435880 w 9586368"/>
                <a:gd name="connsiteY6823" fmla="*/ 1679292 h 6479439"/>
                <a:gd name="connsiteX6824" fmla="*/ 1200583 w 9586368"/>
                <a:gd name="connsiteY6824" fmla="*/ 1675254 h 6479439"/>
                <a:gd name="connsiteX6825" fmla="*/ 1210493 w 9586368"/>
                <a:gd name="connsiteY6825" fmla="*/ 1675254 h 6479439"/>
                <a:gd name="connsiteX6826" fmla="*/ 1214511 w 9586368"/>
                <a:gd name="connsiteY6826" fmla="*/ 1679292 h 6479439"/>
                <a:gd name="connsiteX6827" fmla="*/ 1214511 w 9586368"/>
                <a:gd name="connsiteY6827" fmla="*/ 1689163 h 6479439"/>
                <a:gd name="connsiteX6828" fmla="*/ 1210493 w 9586368"/>
                <a:gd name="connsiteY6828" fmla="*/ 1693202 h 6479439"/>
                <a:gd name="connsiteX6829" fmla="*/ 1200583 w 9586368"/>
                <a:gd name="connsiteY6829" fmla="*/ 1693202 h 6479439"/>
                <a:gd name="connsiteX6830" fmla="*/ 1196564 w 9586368"/>
                <a:gd name="connsiteY6830" fmla="*/ 1689163 h 6479439"/>
                <a:gd name="connsiteX6831" fmla="*/ 1196564 w 9586368"/>
                <a:gd name="connsiteY6831" fmla="*/ 1679292 h 6479439"/>
                <a:gd name="connsiteX6832" fmla="*/ 9572438 w 9586368"/>
                <a:gd name="connsiteY6832" fmla="*/ 1675251 h 6479439"/>
                <a:gd name="connsiteX6833" fmla="*/ 9582349 w 9586368"/>
                <a:gd name="connsiteY6833" fmla="*/ 1675251 h 6479439"/>
                <a:gd name="connsiteX6834" fmla="*/ 9586368 w 9586368"/>
                <a:gd name="connsiteY6834" fmla="*/ 1679290 h 6479439"/>
                <a:gd name="connsiteX6835" fmla="*/ 9586368 w 9586368"/>
                <a:gd name="connsiteY6835" fmla="*/ 1689161 h 6479439"/>
                <a:gd name="connsiteX6836" fmla="*/ 9582349 w 9586368"/>
                <a:gd name="connsiteY6836" fmla="*/ 1693201 h 6479439"/>
                <a:gd name="connsiteX6837" fmla="*/ 9572438 w 9586368"/>
                <a:gd name="connsiteY6837" fmla="*/ 1693201 h 6479439"/>
                <a:gd name="connsiteX6838" fmla="*/ 9568419 w 9586368"/>
                <a:gd name="connsiteY6838" fmla="*/ 1689161 h 6479439"/>
                <a:gd name="connsiteX6839" fmla="*/ 9568419 w 9586368"/>
                <a:gd name="connsiteY6839" fmla="*/ 1679290 h 6479439"/>
                <a:gd name="connsiteX6840" fmla="*/ 1918514 w 9586368"/>
                <a:gd name="connsiteY6840" fmla="*/ 1675243 h 6479439"/>
                <a:gd name="connsiteX6841" fmla="*/ 1928424 w 9586368"/>
                <a:gd name="connsiteY6841" fmla="*/ 1675243 h 6479439"/>
                <a:gd name="connsiteX6842" fmla="*/ 1932443 w 9586368"/>
                <a:gd name="connsiteY6842" fmla="*/ 1679282 h 6479439"/>
                <a:gd name="connsiteX6843" fmla="*/ 1932443 w 9586368"/>
                <a:gd name="connsiteY6843" fmla="*/ 1689153 h 6479439"/>
                <a:gd name="connsiteX6844" fmla="*/ 1928424 w 9586368"/>
                <a:gd name="connsiteY6844" fmla="*/ 1693191 h 6479439"/>
                <a:gd name="connsiteX6845" fmla="*/ 1918514 w 9586368"/>
                <a:gd name="connsiteY6845" fmla="*/ 1693191 h 6479439"/>
                <a:gd name="connsiteX6846" fmla="*/ 1914494 w 9586368"/>
                <a:gd name="connsiteY6846" fmla="*/ 1689153 h 6479439"/>
                <a:gd name="connsiteX6847" fmla="*/ 1914494 w 9586368"/>
                <a:gd name="connsiteY6847" fmla="*/ 1679282 h 6479439"/>
                <a:gd name="connsiteX6848" fmla="*/ 2157821 w 9586368"/>
                <a:gd name="connsiteY6848" fmla="*/ 1675240 h 6479439"/>
                <a:gd name="connsiteX6849" fmla="*/ 2167732 w 9586368"/>
                <a:gd name="connsiteY6849" fmla="*/ 1675240 h 6479439"/>
                <a:gd name="connsiteX6850" fmla="*/ 2171751 w 9586368"/>
                <a:gd name="connsiteY6850" fmla="*/ 1679279 h 6479439"/>
                <a:gd name="connsiteX6851" fmla="*/ 2171751 w 9586368"/>
                <a:gd name="connsiteY6851" fmla="*/ 1689149 h 6479439"/>
                <a:gd name="connsiteX6852" fmla="*/ 2167732 w 9586368"/>
                <a:gd name="connsiteY6852" fmla="*/ 1693188 h 6479439"/>
                <a:gd name="connsiteX6853" fmla="*/ 2157821 w 9586368"/>
                <a:gd name="connsiteY6853" fmla="*/ 1693188 h 6479439"/>
                <a:gd name="connsiteX6854" fmla="*/ 2153803 w 9586368"/>
                <a:gd name="connsiteY6854" fmla="*/ 1689149 h 6479439"/>
                <a:gd name="connsiteX6855" fmla="*/ 2153803 w 9586368"/>
                <a:gd name="connsiteY6855" fmla="*/ 1679279 h 6479439"/>
                <a:gd name="connsiteX6856" fmla="*/ 243346 w 9586368"/>
                <a:gd name="connsiteY6856" fmla="*/ 1675216 h 6479439"/>
                <a:gd name="connsiteX6857" fmla="*/ 253257 w 9586368"/>
                <a:gd name="connsiteY6857" fmla="*/ 1675216 h 6479439"/>
                <a:gd name="connsiteX6858" fmla="*/ 257276 w 9586368"/>
                <a:gd name="connsiteY6858" fmla="*/ 1679254 h 6479439"/>
                <a:gd name="connsiteX6859" fmla="*/ 257276 w 9586368"/>
                <a:gd name="connsiteY6859" fmla="*/ 1689125 h 6479439"/>
                <a:gd name="connsiteX6860" fmla="*/ 253257 w 9586368"/>
                <a:gd name="connsiteY6860" fmla="*/ 1693164 h 6479439"/>
                <a:gd name="connsiteX6861" fmla="*/ 243346 w 9586368"/>
                <a:gd name="connsiteY6861" fmla="*/ 1693164 h 6479439"/>
                <a:gd name="connsiteX6862" fmla="*/ 239327 w 9586368"/>
                <a:gd name="connsiteY6862" fmla="*/ 1689125 h 6479439"/>
                <a:gd name="connsiteX6863" fmla="*/ 239327 w 9586368"/>
                <a:gd name="connsiteY6863" fmla="*/ 1679254 h 6479439"/>
                <a:gd name="connsiteX6864" fmla="*/ 4034 w 9586368"/>
                <a:gd name="connsiteY6864" fmla="*/ 1675216 h 6479439"/>
                <a:gd name="connsiteX6865" fmla="*/ 13943 w 9586368"/>
                <a:gd name="connsiteY6865" fmla="*/ 1675216 h 6479439"/>
                <a:gd name="connsiteX6866" fmla="*/ 17962 w 9586368"/>
                <a:gd name="connsiteY6866" fmla="*/ 1679254 h 6479439"/>
                <a:gd name="connsiteX6867" fmla="*/ 17962 w 9586368"/>
                <a:gd name="connsiteY6867" fmla="*/ 1689125 h 6479439"/>
                <a:gd name="connsiteX6868" fmla="*/ 13943 w 9586368"/>
                <a:gd name="connsiteY6868" fmla="*/ 1693164 h 6479439"/>
                <a:gd name="connsiteX6869" fmla="*/ 4034 w 9586368"/>
                <a:gd name="connsiteY6869" fmla="*/ 1693164 h 6479439"/>
                <a:gd name="connsiteX6870" fmla="*/ 14 w 9586368"/>
                <a:gd name="connsiteY6870" fmla="*/ 1689125 h 6479439"/>
                <a:gd name="connsiteX6871" fmla="*/ 14 w 9586368"/>
                <a:gd name="connsiteY6871" fmla="*/ 1679254 h 6479439"/>
                <a:gd name="connsiteX6872" fmla="*/ 721972 w 9586368"/>
                <a:gd name="connsiteY6872" fmla="*/ 1675216 h 6479439"/>
                <a:gd name="connsiteX6873" fmla="*/ 731882 w 9586368"/>
                <a:gd name="connsiteY6873" fmla="*/ 1675216 h 6479439"/>
                <a:gd name="connsiteX6874" fmla="*/ 735902 w 9586368"/>
                <a:gd name="connsiteY6874" fmla="*/ 1679254 h 6479439"/>
                <a:gd name="connsiteX6875" fmla="*/ 735902 w 9586368"/>
                <a:gd name="connsiteY6875" fmla="*/ 1689125 h 6479439"/>
                <a:gd name="connsiteX6876" fmla="*/ 731882 w 9586368"/>
                <a:gd name="connsiteY6876" fmla="*/ 1693164 h 6479439"/>
                <a:gd name="connsiteX6877" fmla="*/ 721972 w 9586368"/>
                <a:gd name="connsiteY6877" fmla="*/ 1693164 h 6479439"/>
                <a:gd name="connsiteX6878" fmla="*/ 717954 w 9586368"/>
                <a:gd name="connsiteY6878" fmla="*/ 1689125 h 6479439"/>
                <a:gd name="connsiteX6879" fmla="*/ 717954 w 9586368"/>
                <a:gd name="connsiteY6879" fmla="*/ 1679254 h 6479439"/>
                <a:gd name="connsiteX6880" fmla="*/ 482660 w 9586368"/>
                <a:gd name="connsiteY6880" fmla="*/ 1675216 h 6479439"/>
                <a:gd name="connsiteX6881" fmla="*/ 492571 w 9586368"/>
                <a:gd name="connsiteY6881" fmla="*/ 1675216 h 6479439"/>
                <a:gd name="connsiteX6882" fmla="*/ 496589 w 9586368"/>
                <a:gd name="connsiteY6882" fmla="*/ 1679254 h 6479439"/>
                <a:gd name="connsiteX6883" fmla="*/ 496589 w 9586368"/>
                <a:gd name="connsiteY6883" fmla="*/ 1689125 h 6479439"/>
                <a:gd name="connsiteX6884" fmla="*/ 492571 w 9586368"/>
                <a:gd name="connsiteY6884" fmla="*/ 1693164 h 6479439"/>
                <a:gd name="connsiteX6885" fmla="*/ 482660 w 9586368"/>
                <a:gd name="connsiteY6885" fmla="*/ 1693164 h 6479439"/>
                <a:gd name="connsiteX6886" fmla="*/ 478641 w 9586368"/>
                <a:gd name="connsiteY6886" fmla="*/ 1689125 h 6479439"/>
                <a:gd name="connsiteX6887" fmla="*/ 478641 w 9586368"/>
                <a:gd name="connsiteY6887" fmla="*/ 1679254 h 6479439"/>
                <a:gd name="connsiteX6888" fmla="*/ 2393104 w 9586368"/>
                <a:gd name="connsiteY6888" fmla="*/ 1436001 h 6479439"/>
                <a:gd name="connsiteX6889" fmla="*/ 2403015 w 9586368"/>
                <a:gd name="connsiteY6889" fmla="*/ 1436001 h 6479439"/>
                <a:gd name="connsiteX6890" fmla="*/ 2407034 w 9586368"/>
                <a:gd name="connsiteY6890" fmla="*/ 1440038 h 6479439"/>
                <a:gd name="connsiteX6891" fmla="*/ 2407034 w 9586368"/>
                <a:gd name="connsiteY6891" fmla="*/ 1449910 h 6479439"/>
                <a:gd name="connsiteX6892" fmla="*/ 2403015 w 9586368"/>
                <a:gd name="connsiteY6892" fmla="*/ 1453949 h 6479439"/>
                <a:gd name="connsiteX6893" fmla="*/ 2393104 w 9586368"/>
                <a:gd name="connsiteY6893" fmla="*/ 1453949 h 6479439"/>
                <a:gd name="connsiteX6894" fmla="*/ 2389087 w 9586368"/>
                <a:gd name="connsiteY6894" fmla="*/ 1449910 h 6479439"/>
                <a:gd name="connsiteX6895" fmla="*/ 2389087 w 9586368"/>
                <a:gd name="connsiteY6895" fmla="*/ 1440038 h 6479439"/>
                <a:gd name="connsiteX6896" fmla="*/ 3350359 w 9586368"/>
                <a:gd name="connsiteY6896" fmla="*/ 1436000 h 6479439"/>
                <a:gd name="connsiteX6897" fmla="*/ 3360268 w 9586368"/>
                <a:gd name="connsiteY6897" fmla="*/ 1436000 h 6479439"/>
                <a:gd name="connsiteX6898" fmla="*/ 3364287 w 9586368"/>
                <a:gd name="connsiteY6898" fmla="*/ 1440038 h 6479439"/>
                <a:gd name="connsiteX6899" fmla="*/ 3364287 w 9586368"/>
                <a:gd name="connsiteY6899" fmla="*/ 1449909 h 6479439"/>
                <a:gd name="connsiteX6900" fmla="*/ 3360268 w 9586368"/>
                <a:gd name="connsiteY6900" fmla="*/ 1453949 h 6479439"/>
                <a:gd name="connsiteX6901" fmla="*/ 3350359 w 9586368"/>
                <a:gd name="connsiteY6901" fmla="*/ 1453949 h 6479439"/>
                <a:gd name="connsiteX6902" fmla="*/ 3346340 w 9586368"/>
                <a:gd name="connsiteY6902" fmla="*/ 1449909 h 6479439"/>
                <a:gd name="connsiteX6903" fmla="*/ 3346340 w 9586368"/>
                <a:gd name="connsiteY6903" fmla="*/ 1440038 h 6479439"/>
                <a:gd name="connsiteX6904" fmla="*/ 3111048 w 9586368"/>
                <a:gd name="connsiteY6904" fmla="*/ 1436000 h 6479439"/>
                <a:gd name="connsiteX6905" fmla="*/ 3120959 w 9586368"/>
                <a:gd name="connsiteY6905" fmla="*/ 1436000 h 6479439"/>
                <a:gd name="connsiteX6906" fmla="*/ 3124977 w 9586368"/>
                <a:gd name="connsiteY6906" fmla="*/ 1440038 h 6479439"/>
                <a:gd name="connsiteX6907" fmla="*/ 3124977 w 9586368"/>
                <a:gd name="connsiteY6907" fmla="*/ 1449910 h 6479439"/>
                <a:gd name="connsiteX6908" fmla="*/ 3120959 w 9586368"/>
                <a:gd name="connsiteY6908" fmla="*/ 1453949 h 6479439"/>
                <a:gd name="connsiteX6909" fmla="*/ 3111048 w 9586368"/>
                <a:gd name="connsiteY6909" fmla="*/ 1453949 h 6479439"/>
                <a:gd name="connsiteX6910" fmla="*/ 3107029 w 9586368"/>
                <a:gd name="connsiteY6910" fmla="*/ 1449910 h 6479439"/>
                <a:gd name="connsiteX6911" fmla="*/ 3107029 w 9586368"/>
                <a:gd name="connsiteY6911" fmla="*/ 1440038 h 6479439"/>
                <a:gd name="connsiteX6912" fmla="*/ 2871737 w 9586368"/>
                <a:gd name="connsiteY6912" fmla="*/ 1436000 h 6479439"/>
                <a:gd name="connsiteX6913" fmla="*/ 2881646 w 9586368"/>
                <a:gd name="connsiteY6913" fmla="*/ 1436000 h 6479439"/>
                <a:gd name="connsiteX6914" fmla="*/ 2885666 w 9586368"/>
                <a:gd name="connsiteY6914" fmla="*/ 1440038 h 6479439"/>
                <a:gd name="connsiteX6915" fmla="*/ 2885666 w 9586368"/>
                <a:gd name="connsiteY6915" fmla="*/ 1449910 h 6479439"/>
                <a:gd name="connsiteX6916" fmla="*/ 2881646 w 9586368"/>
                <a:gd name="connsiteY6916" fmla="*/ 1453949 h 6479439"/>
                <a:gd name="connsiteX6917" fmla="*/ 2871737 w 9586368"/>
                <a:gd name="connsiteY6917" fmla="*/ 1453949 h 6479439"/>
                <a:gd name="connsiteX6918" fmla="*/ 2867717 w 9586368"/>
                <a:gd name="connsiteY6918" fmla="*/ 1449910 h 6479439"/>
                <a:gd name="connsiteX6919" fmla="*/ 2867717 w 9586368"/>
                <a:gd name="connsiteY6919" fmla="*/ 1440038 h 6479439"/>
                <a:gd name="connsiteX6920" fmla="*/ 2632423 w 9586368"/>
                <a:gd name="connsiteY6920" fmla="*/ 1436000 h 6479439"/>
                <a:gd name="connsiteX6921" fmla="*/ 2642334 w 9586368"/>
                <a:gd name="connsiteY6921" fmla="*/ 1436000 h 6479439"/>
                <a:gd name="connsiteX6922" fmla="*/ 2646352 w 9586368"/>
                <a:gd name="connsiteY6922" fmla="*/ 1440038 h 6479439"/>
                <a:gd name="connsiteX6923" fmla="*/ 2646352 w 9586368"/>
                <a:gd name="connsiteY6923" fmla="*/ 1449910 h 6479439"/>
                <a:gd name="connsiteX6924" fmla="*/ 2642334 w 9586368"/>
                <a:gd name="connsiteY6924" fmla="*/ 1453949 h 6479439"/>
                <a:gd name="connsiteX6925" fmla="*/ 2632423 w 9586368"/>
                <a:gd name="connsiteY6925" fmla="*/ 1453949 h 6479439"/>
                <a:gd name="connsiteX6926" fmla="*/ 2628404 w 9586368"/>
                <a:gd name="connsiteY6926" fmla="*/ 1449910 h 6479439"/>
                <a:gd name="connsiteX6927" fmla="*/ 2628404 w 9586368"/>
                <a:gd name="connsiteY6927" fmla="*/ 1440038 h 6479439"/>
                <a:gd name="connsiteX6928" fmla="*/ 3589676 w 9586368"/>
                <a:gd name="connsiteY6928" fmla="*/ 1435986 h 6479439"/>
                <a:gd name="connsiteX6929" fmla="*/ 3599585 w 9586368"/>
                <a:gd name="connsiteY6929" fmla="*/ 1435986 h 6479439"/>
                <a:gd name="connsiteX6930" fmla="*/ 3603604 w 9586368"/>
                <a:gd name="connsiteY6930" fmla="*/ 1440024 h 6479439"/>
                <a:gd name="connsiteX6931" fmla="*/ 3603604 w 9586368"/>
                <a:gd name="connsiteY6931" fmla="*/ 1449895 h 6479439"/>
                <a:gd name="connsiteX6932" fmla="*/ 3599585 w 9586368"/>
                <a:gd name="connsiteY6932" fmla="*/ 1453934 h 6479439"/>
                <a:gd name="connsiteX6933" fmla="*/ 3589676 w 9586368"/>
                <a:gd name="connsiteY6933" fmla="*/ 1453934 h 6479439"/>
                <a:gd name="connsiteX6934" fmla="*/ 3585657 w 9586368"/>
                <a:gd name="connsiteY6934" fmla="*/ 1449895 h 6479439"/>
                <a:gd name="connsiteX6935" fmla="*/ 3585657 w 9586368"/>
                <a:gd name="connsiteY6935" fmla="*/ 1440024 h 6479439"/>
                <a:gd name="connsiteX6936" fmla="*/ 4546929 w 9586368"/>
                <a:gd name="connsiteY6936" fmla="*/ 1435986 h 6479439"/>
                <a:gd name="connsiteX6937" fmla="*/ 4556840 w 9586368"/>
                <a:gd name="connsiteY6937" fmla="*/ 1435986 h 6479439"/>
                <a:gd name="connsiteX6938" fmla="*/ 4560859 w 9586368"/>
                <a:gd name="connsiteY6938" fmla="*/ 1440024 h 6479439"/>
                <a:gd name="connsiteX6939" fmla="*/ 4560859 w 9586368"/>
                <a:gd name="connsiteY6939" fmla="*/ 1449895 h 6479439"/>
                <a:gd name="connsiteX6940" fmla="*/ 4556840 w 9586368"/>
                <a:gd name="connsiteY6940" fmla="*/ 1453934 h 6479439"/>
                <a:gd name="connsiteX6941" fmla="*/ 4546929 w 9586368"/>
                <a:gd name="connsiteY6941" fmla="*/ 1453934 h 6479439"/>
                <a:gd name="connsiteX6942" fmla="*/ 4542910 w 9586368"/>
                <a:gd name="connsiteY6942" fmla="*/ 1449895 h 6479439"/>
                <a:gd name="connsiteX6943" fmla="*/ 4542910 w 9586368"/>
                <a:gd name="connsiteY6943" fmla="*/ 1440024 h 6479439"/>
                <a:gd name="connsiteX6944" fmla="*/ 4307612 w 9586368"/>
                <a:gd name="connsiteY6944" fmla="*/ 1435986 h 6479439"/>
                <a:gd name="connsiteX6945" fmla="*/ 4317523 w 9586368"/>
                <a:gd name="connsiteY6945" fmla="*/ 1435986 h 6479439"/>
                <a:gd name="connsiteX6946" fmla="*/ 4321543 w 9586368"/>
                <a:gd name="connsiteY6946" fmla="*/ 1440024 h 6479439"/>
                <a:gd name="connsiteX6947" fmla="*/ 4321543 w 9586368"/>
                <a:gd name="connsiteY6947" fmla="*/ 1449895 h 6479439"/>
                <a:gd name="connsiteX6948" fmla="*/ 4317523 w 9586368"/>
                <a:gd name="connsiteY6948" fmla="*/ 1453934 h 6479439"/>
                <a:gd name="connsiteX6949" fmla="*/ 4307612 w 9586368"/>
                <a:gd name="connsiteY6949" fmla="*/ 1453934 h 6479439"/>
                <a:gd name="connsiteX6950" fmla="*/ 4303595 w 9586368"/>
                <a:gd name="connsiteY6950" fmla="*/ 1449895 h 6479439"/>
                <a:gd name="connsiteX6951" fmla="*/ 4303595 w 9586368"/>
                <a:gd name="connsiteY6951" fmla="*/ 1440024 h 6479439"/>
                <a:gd name="connsiteX6952" fmla="*/ 4068297 w 9586368"/>
                <a:gd name="connsiteY6952" fmla="*/ 1435986 h 6479439"/>
                <a:gd name="connsiteX6953" fmla="*/ 4078210 w 9586368"/>
                <a:gd name="connsiteY6953" fmla="*/ 1435986 h 6479439"/>
                <a:gd name="connsiteX6954" fmla="*/ 4082229 w 9586368"/>
                <a:gd name="connsiteY6954" fmla="*/ 1440024 h 6479439"/>
                <a:gd name="connsiteX6955" fmla="*/ 4082229 w 9586368"/>
                <a:gd name="connsiteY6955" fmla="*/ 1449895 h 6479439"/>
                <a:gd name="connsiteX6956" fmla="*/ 4078210 w 9586368"/>
                <a:gd name="connsiteY6956" fmla="*/ 1453934 h 6479439"/>
                <a:gd name="connsiteX6957" fmla="*/ 4068297 w 9586368"/>
                <a:gd name="connsiteY6957" fmla="*/ 1453934 h 6479439"/>
                <a:gd name="connsiteX6958" fmla="*/ 4064278 w 9586368"/>
                <a:gd name="connsiteY6958" fmla="*/ 1449895 h 6479439"/>
                <a:gd name="connsiteX6959" fmla="*/ 4064278 w 9586368"/>
                <a:gd name="connsiteY6959" fmla="*/ 1440024 h 6479439"/>
                <a:gd name="connsiteX6960" fmla="*/ 3828990 w 9586368"/>
                <a:gd name="connsiteY6960" fmla="*/ 1435986 h 6479439"/>
                <a:gd name="connsiteX6961" fmla="*/ 3838899 w 9586368"/>
                <a:gd name="connsiteY6961" fmla="*/ 1435986 h 6479439"/>
                <a:gd name="connsiteX6962" fmla="*/ 3842917 w 9586368"/>
                <a:gd name="connsiteY6962" fmla="*/ 1440024 h 6479439"/>
                <a:gd name="connsiteX6963" fmla="*/ 3842917 w 9586368"/>
                <a:gd name="connsiteY6963" fmla="*/ 1449895 h 6479439"/>
                <a:gd name="connsiteX6964" fmla="*/ 3838899 w 9586368"/>
                <a:gd name="connsiteY6964" fmla="*/ 1453934 h 6479439"/>
                <a:gd name="connsiteX6965" fmla="*/ 3828990 w 9586368"/>
                <a:gd name="connsiteY6965" fmla="*/ 1453934 h 6479439"/>
                <a:gd name="connsiteX6966" fmla="*/ 3824971 w 9586368"/>
                <a:gd name="connsiteY6966" fmla="*/ 1449895 h 6479439"/>
                <a:gd name="connsiteX6967" fmla="*/ 3824971 w 9586368"/>
                <a:gd name="connsiteY6967" fmla="*/ 1440024 h 6479439"/>
                <a:gd name="connsiteX6968" fmla="*/ 4786241 w 9586368"/>
                <a:gd name="connsiteY6968" fmla="*/ 1435972 h 6479439"/>
                <a:gd name="connsiteX6969" fmla="*/ 4796152 w 9586368"/>
                <a:gd name="connsiteY6969" fmla="*/ 1435972 h 6479439"/>
                <a:gd name="connsiteX6970" fmla="*/ 4800171 w 9586368"/>
                <a:gd name="connsiteY6970" fmla="*/ 1440010 h 6479439"/>
                <a:gd name="connsiteX6971" fmla="*/ 4800171 w 9586368"/>
                <a:gd name="connsiteY6971" fmla="*/ 1449881 h 6479439"/>
                <a:gd name="connsiteX6972" fmla="*/ 4796152 w 9586368"/>
                <a:gd name="connsiteY6972" fmla="*/ 1453920 h 6479439"/>
                <a:gd name="connsiteX6973" fmla="*/ 4786241 w 9586368"/>
                <a:gd name="connsiteY6973" fmla="*/ 1453920 h 6479439"/>
                <a:gd name="connsiteX6974" fmla="*/ 4782224 w 9586368"/>
                <a:gd name="connsiteY6974" fmla="*/ 1449881 h 6479439"/>
                <a:gd name="connsiteX6975" fmla="*/ 4782224 w 9586368"/>
                <a:gd name="connsiteY6975" fmla="*/ 1440010 h 6479439"/>
                <a:gd name="connsiteX6976" fmla="*/ 5743412 w 9586368"/>
                <a:gd name="connsiteY6976" fmla="*/ 1435971 h 6479439"/>
                <a:gd name="connsiteX6977" fmla="*/ 5753323 w 9586368"/>
                <a:gd name="connsiteY6977" fmla="*/ 1435971 h 6479439"/>
                <a:gd name="connsiteX6978" fmla="*/ 5757342 w 9586368"/>
                <a:gd name="connsiteY6978" fmla="*/ 1440010 h 6479439"/>
                <a:gd name="connsiteX6979" fmla="*/ 5757342 w 9586368"/>
                <a:gd name="connsiteY6979" fmla="*/ 1449880 h 6479439"/>
                <a:gd name="connsiteX6980" fmla="*/ 5753323 w 9586368"/>
                <a:gd name="connsiteY6980" fmla="*/ 1453919 h 6479439"/>
                <a:gd name="connsiteX6981" fmla="*/ 5743412 w 9586368"/>
                <a:gd name="connsiteY6981" fmla="*/ 1453919 h 6479439"/>
                <a:gd name="connsiteX6982" fmla="*/ 5739393 w 9586368"/>
                <a:gd name="connsiteY6982" fmla="*/ 1449880 h 6479439"/>
                <a:gd name="connsiteX6983" fmla="*/ 5739393 w 9586368"/>
                <a:gd name="connsiteY6983" fmla="*/ 1440010 h 6479439"/>
                <a:gd name="connsiteX6984" fmla="*/ 5504099 w 9586368"/>
                <a:gd name="connsiteY6984" fmla="*/ 1435971 h 6479439"/>
                <a:gd name="connsiteX6985" fmla="*/ 5514010 w 9586368"/>
                <a:gd name="connsiteY6985" fmla="*/ 1435971 h 6479439"/>
                <a:gd name="connsiteX6986" fmla="*/ 5518029 w 9586368"/>
                <a:gd name="connsiteY6986" fmla="*/ 1440010 h 6479439"/>
                <a:gd name="connsiteX6987" fmla="*/ 5518029 w 9586368"/>
                <a:gd name="connsiteY6987" fmla="*/ 1449881 h 6479439"/>
                <a:gd name="connsiteX6988" fmla="*/ 5514010 w 9586368"/>
                <a:gd name="connsiteY6988" fmla="*/ 1453919 h 6479439"/>
                <a:gd name="connsiteX6989" fmla="*/ 5504099 w 9586368"/>
                <a:gd name="connsiteY6989" fmla="*/ 1453919 h 6479439"/>
                <a:gd name="connsiteX6990" fmla="*/ 5500080 w 9586368"/>
                <a:gd name="connsiteY6990" fmla="*/ 1449881 h 6479439"/>
                <a:gd name="connsiteX6991" fmla="*/ 5500080 w 9586368"/>
                <a:gd name="connsiteY6991" fmla="*/ 1440010 h 6479439"/>
                <a:gd name="connsiteX6992" fmla="*/ 5264784 w 9586368"/>
                <a:gd name="connsiteY6992" fmla="*/ 1435971 h 6479439"/>
                <a:gd name="connsiteX6993" fmla="*/ 5274694 w 9586368"/>
                <a:gd name="connsiteY6993" fmla="*/ 1435971 h 6479439"/>
                <a:gd name="connsiteX6994" fmla="*/ 5278713 w 9586368"/>
                <a:gd name="connsiteY6994" fmla="*/ 1440010 h 6479439"/>
                <a:gd name="connsiteX6995" fmla="*/ 5278713 w 9586368"/>
                <a:gd name="connsiteY6995" fmla="*/ 1449881 h 6479439"/>
                <a:gd name="connsiteX6996" fmla="*/ 5274694 w 9586368"/>
                <a:gd name="connsiteY6996" fmla="*/ 1453920 h 6479439"/>
                <a:gd name="connsiteX6997" fmla="*/ 5264784 w 9586368"/>
                <a:gd name="connsiteY6997" fmla="*/ 1453920 h 6479439"/>
                <a:gd name="connsiteX6998" fmla="*/ 5260765 w 9586368"/>
                <a:gd name="connsiteY6998" fmla="*/ 1449881 h 6479439"/>
                <a:gd name="connsiteX6999" fmla="*/ 5260765 w 9586368"/>
                <a:gd name="connsiteY6999" fmla="*/ 1440010 h 6479439"/>
                <a:gd name="connsiteX7000" fmla="*/ 5025470 w 9586368"/>
                <a:gd name="connsiteY7000" fmla="*/ 1435971 h 6479439"/>
                <a:gd name="connsiteX7001" fmla="*/ 5035381 w 9586368"/>
                <a:gd name="connsiteY7001" fmla="*/ 1435971 h 6479439"/>
                <a:gd name="connsiteX7002" fmla="*/ 5039400 w 9586368"/>
                <a:gd name="connsiteY7002" fmla="*/ 1440010 h 6479439"/>
                <a:gd name="connsiteX7003" fmla="*/ 5039400 w 9586368"/>
                <a:gd name="connsiteY7003" fmla="*/ 1449881 h 6479439"/>
                <a:gd name="connsiteX7004" fmla="*/ 5035381 w 9586368"/>
                <a:gd name="connsiteY7004" fmla="*/ 1453920 h 6479439"/>
                <a:gd name="connsiteX7005" fmla="*/ 5025470 w 9586368"/>
                <a:gd name="connsiteY7005" fmla="*/ 1453920 h 6479439"/>
                <a:gd name="connsiteX7006" fmla="*/ 5021451 w 9586368"/>
                <a:gd name="connsiteY7006" fmla="*/ 1449881 h 6479439"/>
                <a:gd name="connsiteX7007" fmla="*/ 5021451 w 9586368"/>
                <a:gd name="connsiteY7007" fmla="*/ 1440010 h 6479439"/>
                <a:gd name="connsiteX7008" fmla="*/ 5982729 w 9586368"/>
                <a:gd name="connsiteY7008" fmla="*/ 1435958 h 6479439"/>
                <a:gd name="connsiteX7009" fmla="*/ 5992639 w 9586368"/>
                <a:gd name="connsiteY7009" fmla="*/ 1435958 h 6479439"/>
                <a:gd name="connsiteX7010" fmla="*/ 5996658 w 9586368"/>
                <a:gd name="connsiteY7010" fmla="*/ 1439995 h 6479439"/>
                <a:gd name="connsiteX7011" fmla="*/ 5996658 w 9586368"/>
                <a:gd name="connsiteY7011" fmla="*/ 1449866 h 6479439"/>
                <a:gd name="connsiteX7012" fmla="*/ 5992639 w 9586368"/>
                <a:gd name="connsiteY7012" fmla="*/ 1453905 h 6479439"/>
                <a:gd name="connsiteX7013" fmla="*/ 5982729 w 9586368"/>
                <a:gd name="connsiteY7013" fmla="*/ 1453905 h 6479439"/>
                <a:gd name="connsiteX7014" fmla="*/ 5978710 w 9586368"/>
                <a:gd name="connsiteY7014" fmla="*/ 1449866 h 6479439"/>
                <a:gd name="connsiteX7015" fmla="*/ 5978710 w 9586368"/>
                <a:gd name="connsiteY7015" fmla="*/ 1439995 h 6479439"/>
                <a:gd name="connsiteX7016" fmla="*/ 6939983 w 9586368"/>
                <a:gd name="connsiteY7016" fmla="*/ 1435956 h 6479439"/>
                <a:gd name="connsiteX7017" fmla="*/ 6949894 w 9586368"/>
                <a:gd name="connsiteY7017" fmla="*/ 1435956 h 6479439"/>
                <a:gd name="connsiteX7018" fmla="*/ 6953913 w 9586368"/>
                <a:gd name="connsiteY7018" fmla="*/ 1439995 h 6479439"/>
                <a:gd name="connsiteX7019" fmla="*/ 6953913 w 9586368"/>
                <a:gd name="connsiteY7019" fmla="*/ 1449865 h 6479439"/>
                <a:gd name="connsiteX7020" fmla="*/ 6949894 w 9586368"/>
                <a:gd name="connsiteY7020" fmla="*/ 1453905 h 6479439"/>
                <a:gd name="connsiteX7021" fmla="*/ 6939983 w 9586368"/>
                <a:gd name="connsiteY7021" fmla="*/ 1453905 h 6479439"/>
                <a:gd name="connsiteX7022" fmla="*/ 6935964 w 9586368"/>
                <a:gd name="connsiteY7022" fmla="*/ 1449865 h 6479439"/>
                <a:gd name="connsiteX7023" fmla="*/ 6935964 w 9586368"/>
                <a:gd name="connsiteY7023" fmla="*/ 1439995 h 6479439"/>
                <a:gd name="connsiteX7024" fmla="*/ 6700670 w 9586368"/>
                <a:gd name="connsiteY7024" fmla="*/ 1435956 h 6479439"/>
                <a:gd name="connsiteX7025" fmla="*/ 6710581 w 9586368"/>
                <a:gd name="connsiteY7025" fmla="*/ 1435956 h 6479439"/>
                <a:gd name="connsiteX7026" fmla="*/ 6714600 w 9586368"/>
                <a:gd name="connsiteY7026" fmla="*/ 1439995 h 6479439"/>
                <a:gd name="connsiteX7027" fmla="*/ 6714600 w 9586368"/>
                <a:gd name="connsiteY7027" fmla="*/ 1449866 h 6479439"/>
                <a:gd name="connsiteX7028" fmla="*/ 6710581 w 9586368"/>
                <a:gd name="connsiteY7028" fmla="*/ 1453905 h 6479439"/>
                <a:gd name="connsiteX7029" fmla="*/ 6700670 w 9586368"/>
                <a:gd name="connsiteY7029" fmla="*/ 1453905 h 6479439"/>
                <a:gd name="connsiteX7030" fmla="*/ 6696651 w 9586368"/>
                <a:gd name="connsiteY7030" fmla="*/ 1449866 h 6479439"/>
                <a:gd name="connsiteX7031" fmla="*/ 6696651 w 9586368"/>
                <a:gd name="connsiteY7031" fmla="*/ 1439995 h 6479439"/>
                <a:gd name="connsiteX7032" fmla="*/ 6461356 w 9586368"/>
                <a:gd name="connsiteY7032" fmla="*/ 1435956 h 6479439"/>
                <a:gd name="connsiteX7033" fmla="*/ 6471266 w 9586368"/>
                <a:gd name="connsiteY7033" fmla="*/ 1435956 h 6479439"/>
                <a:gd name="connsiteX7034" fmla="*/ 6475285 w 9586368"/>
                <a:gd name="connsiteY7034" fmla="*/ 1439995 h 6479439"/>
                <a:gd name="connsiteX7035" fmla="*/ 6475285 w 9586368"/>
                <a:gd name="connsiteY7035" fmla="*/ 1449866 h 6479439"/>
                <a:gd name="connsiteX7036" fmla="*/ 6471266 w 9586368"/>
                <a:gd name="connsiteY7036" fmla="*/ 1453905 h 6479439"/>
                <a:gd name="connsiteX7037" fmla="*/ 6461356 w 9586368"/>
                <a:gd name="connsiteY7037" fmla="*/ 1453905 h 6479439"/>
                <a:gd name="connsiteX7038" fmla="*/ 6457337 w 9586368"/>
                <a:gd name="connsiteY7038" fmla="*/ 1449866 h 6479439"/>
                <a:gd name="connsiteX7039" fmla="*/ 6457337 w 9586368"/>
                <a:gd name="connsiteY7039" fmla="*/ 1439995 h 6479439"/>
                <a:gd name="connsiteX7040" fmla="*/ 6222042 w 9586368"/>
                <a:gd name="connsiteY7040" fmla="*/ 1435956 h 6479439"/>
                <a:gd name="connsiteX7041" fmla="*/ 6231952 w 9586368"/>
                <a:gd name="connsiteY7041" fmla="*/ 1435956 h 6479439"/>
                <a:gd name="connsiteX7042" fmla="*/ 6235971 w 9586368"/>
                <a:gd name="connsiteY7042" fmla="*/ 1439995 h 6479439"/>
                <a:gd name="connsiteX7043" fmla="*/ 6235971 w 9586368"/>
                <a:gd name="connsiteY7043" fmla="*/ 1449866 h 6479439"/>
                <a:gd name="connsiteX7044" fmla="*/ 6231952 w 9586368"/>
                <a:gd name="connsiteY7044" fmla="*/ 1453905 h 6479439"/>
                <a:gd name="connsiteX7045" fmla="*/ 6222042 w 9586368"/>
                <a:gd name="connsiteY7045" fmla="*/ 1453905 h 6479439"/>
                <a:gd name="connsiteX7046" fmla="*/ 6218023 w 9586368"/>
                <a:gd name="connsiteY7046" fmla="*/ 1449866 h 6479439"/>
                <a:gd name="connsiteX7047" fmla="*/ 6218023 w 9586368"/>
                <a:gd name="connsiteY7047" fmla="*/ 1439995 h 6479439"/>
                <a:gd name="connsiteX7048" fmla="*/ 7179298 w 9586368"/>
                <a:gd name="connsiteY7048" fmla="*/ 1435943 h 6479439"/>
                <a:gd name="connsiteX7049" fmla="*/ 7189209 w 9586368"/>
                <a:gd name="connsiteY7049" fmla="*/ 1435943 h 6479439"/>
                <a:gd name="connsiteX7050" fmla="*/ 7193228 w 9586368"/>
                <a:gd name="connsiteY7050" fmla="*/ 1439981 h 6479439"/>
                <a:gd name="connsiteX7051" fmla="*/ 7193228 w 9586368"/>
                <a:gd name="connsiteY7051" fmla="*/ 1449852 h 6479439"/>
                <a:gd name="connsiteX7052" fmla="*/ 7189209 w 9586368"/>
                <a:gd name="connsiteY7052" fmla="*/ 1453891 h 6479439"/>
                <a:gd name="connsiteX7053" fmla="*/ 7179298 w 9586368"/>
                <a:gd name="connsiteY7053" fmla="*/ 1453891 h 6479439"/>
                <a:gd name="connsiteX7054" fmla="*/ 7175279 w 9586368"/>
                <a:gd name="connsiteY7054" fmla="*/ 1449852 h 6479439"/>
                <a:gd name="connsiteX7055" fmla="*/ 7175279 w 9586368"/>
                <a:gd name="connsiteY7055" fmla="*/ 1439981 h 6479439"/>
                <a:gd name="connsiteX7056" fmla="*/ 8136553 w 9586368"/>
                <a:gd name="connsiteY7056" fmla="*/ 1435943 h 6479439"/>
                <a:gd name="connsiteX7057" fmla="*/ 8146464 w 9586368"/>
                <a:gd name="connsiteY7057" fmla="*/ 1435943 h 6479439"/>
                <a:gd name="connsiteX7058" fmla="*/ 8150483 w 9586368"/>
                <a:gd name="connsiteY7058" fmla="*/ 1439980 h 6479439"/>
                <a:gd name="connsiteX7059" fmla="*/ 8150483 w 9586368"/>
                <a:gd name="connsiteY7059" fmla="*/ 1449851 h 6479439"/>
                <a:gd name="connsiteX7060" fmla="*/ 8146464 w 9586368"/>
                <a:gd name="connsiteY7060" fmla="*/ 1453890 h 6479439"/>
                <a:gd name="connsiteX7061" fmla="*/ 8136553 w 9586368"/>
                <a:gd name="connsiteY7061" fmla="*/ 1453890 h 6479439"/>
                <a:gd name="connsiteX7062" fmla="*/ 8132534 w 9586368"/>
                <a:gd name="connsiteY7062" fmla="*/ 1449851 h 6479439"/>
                <a:gd name="connsiteX7063" fmla="*/ 8132534 w 9586368"/>
                <a:gd name="connsiteY7063" fmla="*/ 1439980 h 6479439"/>
                <a:gd name="connsiteX7064" fmla="*/ 7897241 w 9586368"/>
                <a:gd name="connsiteY7064" fmla="*/ 1435943 h 6479439"/>
                <a:gd name="connsiteX7065" fmla="*/ 7907151 w 9586368"/>
                <a:gd name="connsiteY7065" fmla="*/ 1435943 h 6479439"/>
                <a:gd name="connsiteX7066" fmla="*/ 7911170 w 9586368"/>
                <a:gd name="connsiteY7066" fmla="*/ 1439980 h 6479439"/>
                <a:gd name="connsiteX7067" fmla="*/ 7911170 w 9586368"/>
                <a:gd name="connsiteY7067" fmla="*/ 1449852 h 6479439"/>
                <a:gd name="connsiteX7068" fmla="*/ 7907151 w 9586368"/>
                <a:gd name="connsiteY7068" fmla="*/ 1453890 h 6479439"/>
                <a:gd name="connsiteX7069" fmla="*/ 7897241 w 9586368"/>
                <a:gd name="connsiteY7069" fmla="*/ 1453890 h 6479439"/>
                <a:gd name="connsiteX7070" fmla="*/ 7893222 w 9586368"/>
                <a:gd name="connsiteY7070" fmla="*/ 1449852 h 6479439"/>
                <a:gd name="connsiteX7071" fmla="*/ 7893222 w 9586368"/>
                <a:gd name="connsiteY7071" fmla="*/ 1439980 h 6479439"/>
                <a:gd name="connsiteX7072" fmla="*/ 7657926 w 9586368"/>
                <a:gd name="connsiteY7072" fmla="*/ 1435943 h 6479439"/>
                <a:gd name="connsiteX7073" fmla="*/ 7667836 w 9586368"/>
                <a:gd name="connsiteY7073" fmla="*/ 1435943 h 6479439"/>
                <a:gd name="connsiteX7074" fmla="*/ 7671855 w 9586368"/>
                <a:gd name="connsiteY7074" fmla="*/ 1439980 h 6479439"/>
                <a:gd name="connsiteX7075" fmla="*/ 7671855 w 9586368"/>
                <a:gd name="connsiteY7075" fmla="*/ 1449852 h 6479439"/>
                <a:gd name="connsiteX7076" fmla="*/ 7667836 w 9586368"/>
                <a:gd name="connsiteY7076" fmla="*/ 1453891 h 6479439"/>
                <a:gd name="connsiteX7077" fmla="*/ 7657926 w 9586368"/>
                <a:gd name="connsiteY7077" fmla="*/ 1453891 h 6479439"/>
                <a:gd name="connsiteX7078" fmla="*/ 7653906 w 9586368"/>
                <a:gd name="connsiteY7078" fmla="*/ 1449852 h 6479439"/>
                <a:gd name="connsiteX7079" fmla="*/ 7653906 w 9586368"/>
                <a:gd name="connsiteY7079" fmla="*/ 1439980 h 6479439"/>
                <a:gd name="connsiteX7080" fmla="*/ 7418611 w 9586368"/>
                <a:gd name="connsiteY7080" fmla="*/ 1435943 h 6479439"/>
                <a:gd name="connsiteX7081" fmla="*/ 7428521 w 9586368"/>
                <a:gd name="connsiteY7081" fmla="*/ 1435943 h 6479439"/>
                <a:gd name="connsiteX7082" fmla="*/ 7432540 w 9586368"/>
                <a:gd name="connsiteY7082" fmla="*/ 1439980 h 6479439"/>
                <a:gd name="connsiteX7083" fmla="*/ 7432540 w 9586368"/>
                <a:gd name="connsiteY7083" fmla="*/ 1449852 h 6479439"/>
                <a:gd name="connsiteX7084" fmla="*/ 7428521 w 9586368"/>
                <a:gd name="connsiteY7084" fmla="*/ 1453891 h 6479439"/>
                <a:gd name="connsiteX7085" fmla="*/ 7418611 w 9586368"/>
                <a:gd name="connsiteY7085" fmla="*/ 1453891 h 6479439"/>
                <a:gd name="connsiteX7086" fmla="*/ 7414592 w 9586368"/>
                <a:gd name="connsiteY7086" fmla="*/ 1449852 h 6479439"/>
                <a:gd name="connsiteX7087" fmla="*/ 7414592 w 9586368"/>
                <a:gd name="connsiteY7087" fmla="*/ 1439980 h 6479439"/>
                <a:gd name="connsiteX7088" fmla="*/ 8375869 w 9586368"/>
                <a:gd name="connsiteY7088" fmla="*/ 1435928 h 6479439"/>
                <a:gd name="connsiteX7089" fmla="*/ 8385779 w 9586368"/>
                <a:gd name="connsiteY7089" fmla="*/ 1435928 h 6479439"/>
                <a:gd name="connsiteX7090" fmla="*/ 8389799 w 9586368"/>
                <a:gd name="connsiteY7090" fmla="*/ 1439967 h 6479439"/>
                <a:gd name="connsiteX7091" fmla="*/ 8389799 w 9586368"/>
                <a:gd name="connsiteY7091" fmla="*/ 1449837 h 6479439"/>
                <a:gd name="connsiteX7092" fmla="*/ 8385779 w 9586368"/>
                <a:gd name="connsiteY7092" fmla="*/ 1453877 h 6479439"/>
                <a:gd name="connsiteX7093" fmla="*/ 8375869 w 9586368"/>
                <a:gd name="connsiteY7093" fmla="*/ 1453877 h 6479439"/>
                <a:gd name="connsiteX7094" fmla="*/ 8371850 w 9586368"/>
                <a:gd name="connsiteY7094" fmla="*/ 1449837 h 6479439"/>
                <a:gd name="connsiteX7095" fmla="*/ 8371850 w 9586368"/>
                <a:gd name="connsiteY7095" fmla="*/ 1439967 h 6479439"/>
                <a:gd name="connsiteX7096" fmla="*/ 9333125 w 9586368"/>
                <a:gd name="connsiteY7096" fmla="*/ 1435928 h 6479439"/>
                <a:gd name="connsiteX7097" fmla="*/ 9343036 w 9586368"/>
                <a:gd name="connsiteY7097" fmla="*/ 1435928 h 6479439"/>
                <a:gd name="connsiteX7098" fmla="*/ 9347055 w 9586368"/>
                <a:gd name="connsiteY7098" fmla="*/ 1439967 h 6479439"/>
                <a:gd name="connsiteX7099" fmla="*/ 9347055 w 9586368"/>
                <a:gd name="connsiteY7099" fmla="*/ 1449836 h 6479439"/>
                <a:gd name="connsiteX7100" fmla="*/ 9343036 w 9586368"/>
                <a:gd name="connsiteY7100" fmla="*/ 1453876 h 6479439"/>
                <a:gd name="connsiteX7101" fmla="*/ 9333125 w 9586368"/>
                <a:gd name="connsiteY7101" fmla="*/ 1453876 h 6479439"/>
                <a:gd name="connsiteX7102" fmla="*/ 9329106 w 9586368"/>
                <a:gd name="connsiteY7102" fmla="*/ 1449836 h 6479439"/>
                <a:gd name="connsiteX7103" fmla="*/ 9329106 w 9586368"/>
                <a:gd name="connsiteY7103" fmla="*/ 1439967 h 6479439"/>
                <a:gd name="connsiteX7104" fmla="*/ 9093811 w 9586368"/>
                <a:gd name="connsiteY7104" fmla="*/ 1435928 h 6479439"/>
                <a:gd name="connsiteX7105" fmla="*/ 9103722 w 9586368"/>
                <a:gd name="connsiteY7105" fmla="*/ 1435928 h 6479439"/>
                <a:gd name="connsiteX7106" fmla="*/ 9107741 w 9586368"/>
                <a:gd name="connsiteY7106" fmla="*/ 1439967 h 6479439"/>
                <a:gd name="connsiteX7107" fmla="*/ 9107741 w 9586368"/>
                <a:gd name="connsiteY7107" fmla="*/ 1449837 h 6479439"/>
                <a:gd name="connsiteX7108" fmla="*/ 9103722 w 9586368"/>
                <a:gd name="connsiteY7108" fmla="*/ 1453876 h 6479439"/>
                <a:gd name="connsiteX7109" fmla="*/ 9093811 w 9586368"/>
                <a:gd name="connsiteY7109" fmla="*/ 1453876 h 6479439"/>
                <a:gd name="connsiteX7110" fmla="*/ 9089792 w 9586368"/>
                <a:gd name="connsiteY7110" fmla="*/ 1449837 h 6479439"/>
                <a:gd name="connsiteX7111" fmla="*/ 9089792 w 9586368"/>
                <a:gd name="connsiteY7111" fmla="*/ 1439967 h 6479439"/>
                <a:gd name="connsiteX7112" fmla="*/ 8854496 w 9586368"/>
                <a:gd name="connsiteY7112" fmla="*/ 1435928 h 6479439"/>
                <a:gd name="connsiteX7113" fmla="*/ 8864407 w 9586368"/>
                <a:gd name="connsiteY7113" fmla="*/ 1435928 h 6479439"/>
                <a:gd name="connsiteX7114" fmla="*/ 8868426 w 9586368"/>
                <a:gd name="connsiteY7114" fmla="*/ 1439967 h 6479439"/>
                <a:gd name="connsiteX7115" fmla="*/ 8868426 w 9586368"/>
                <a:gd name="connsiteY7115" fmla="*/ 1449837 h 6479439"/>
                <a:gd name="connsiteX7116" fmla="*/ 8864407 w 9586368"/>
                <a:gd name="connsiteY7116" fmla="*/ 1453877 h 6479439"/>
                <a:gd name="connsiteX7117" fmla="*/ 8854496 w 9586368"/>
                <a:gd name="connsiteY7117" fmla="*/ 1453877 h 6479439"/>
                <a:gd name="connsiteX7118" fmla="*/ 8850477 w 9586368"/>
                <a:gd name="connsiteY7118" fmla="*/ 1449837 h 6479439"/>
                <a:gd name="connsiteX7119" fmla="*/ 8850477 w 9586368"/>
                <a:gd name="connsiteY7119" fmla="*/ 1439967 h 6479439"/>
                <a:gd name="connsiteX7120" fmla="*/ 8615184 w 9586368"/>
                <a:gd name="connsiteY7120" fmla="*/ 1435928 h 6479439"/>
                <a:gd name="connsiteX7121" fmla="*/ 8625095 w 9586368"/>
                <a:gd name="connsiteY7121" fmla="*/ 1435928 h 6479439"/>
                <a:gd name="connsiteX7122" fmla="*/ 8629114 w 9586368"/>
                <a:gd name="connsiteY7122" fmla="*/ 1439967 h 6479439"/>
                <a:gd name="connsiteX7123" fmla="*/ 8629114 w 9586368"/>
                <a:gd name="connsiteY7123" fmla="*/ 1449837 h 6479439"/>
                <a:gd name="connsiteX7124" fmla="*/ 8625095 w 9586368"/>
                <a:gd name="connsiteY7124" fmla="*/ 1453877 h 6479439"/>
                <a:gd name="connsiteX7125" fmla="*/ 8615184 w 9586368"/>
                <a:gd name="connsiteY7125" fmla="*/ 1453877 h 6479439"/>
                <a:gd name="connsiteX7126" fmla="*/ 8611165 w 9586368"/>
                <a:gd name="connsiteY7126" fmla="*/ 1449837 h 6479439"/>
                <a:gd name="connsiteX7127" fmla="*/ 8611165 w 9586368"/>
                <a:gd name="connsiteY7127" fmla="*/ 1439967 h 6479439"/>
                <a:gd name="connsiteX7128" fmla="*/ 1679216 w 9586368"/>
                <a:gd name="connsiteY7128" fmla="*/ 1435922 h 6479439"/>
                <a:gd name="connsiteX7129" fmla="*/ 1689126 w 9586368"/>
                <a:gd name="connsiteY7129" fmla="*/ 1435922 h 6479439"/>
                <a:gd name="connsiteX7130" fmla="*/ 1693146 w 9586368"/>
                <a:gd name="connsiteY7130" fmla="*/ 1439960 h 6479439"/>
                <a:gd name="connsiteX7131" fmla="*/ 1693146 w 9586368"/>
                <a:gd name="connsiteY7131" fmla="*/ 1449831 h 6479439"/>
                <a:gd name="connsiteX7132" fmla="*/ 1689126 w 9586368"/>
                <a:gd name="connsiteY7132" fmla="*/ 1453870 h 6479439"/>
                <a:gd name="connsiteX7133" fmla="*/ 1679216 w 9586368"/>
                <a:gd name="connsiteY7133" fmla="*/ 1453870 h 6479439"/>
                <a:gd name="connsiteX7134" fmla="*/ 1675198 w 9586368"/>
                <a:gd name="connsiteY7134" fmla="*/ 1449831 h 6479439"/>
                <a:gd name="connsiteX7135" fmla="*/ 1675198 w 9586368"/>
                <a:gd name="connsiteY7135" fmla="*/ 1439960 h 6479439"/>
                <a:gd name="connsiteX7136" fmla="*/ 1439900 w 9586368"/>
                <a:gd name="connsiteY7136" fmla="*/ 1435922 h 6479439"/>
                <a:gd name="connsiteX7137" fmla="*/ 1449810 w 9586368"/>
                <a:gd name="connsiteY7137" fmla="*/ 1435922 h 6479439"/>
                <a:gd name="connsiteX7138" fmla="*/ 1453828 w 9586368"/>
                <a:gd name="connsiteY7138" fmla="*/ 1439960 h 6479439"/>
                <a:gd name="connsiteX7139" fmla="*/ 1453828 w 9586368"/>
                <a:gd name="connsiteY7139" fmla="*/ 1449831 h 6479439"/>
                <a:gd name="connsiteX7140" fmla="*/ 1449810 w 9586368"/>
                <a:gd name="connsiteY7140" fmla="*/ 1453870 h 6479439"/>
                <a:gd name="connsiteX7141" fmla="*/ 1439900 w 9586368"/>
                <a:gd name="connsiteY7141" fmla="*/ 1453870 h 6479439"/>
                <a:gd name="connsiteX7142" fmla="*/ 1435880 w 9586368"/>
                <a:gd name="connsiteY7142" fmla="*/ 1449831 h 6479439"/>
                <a:gd name="connsiteX7143" fmla="*/ 1435880 w 9586368"/>
                <a:gd name="connsiteY7143" fmla="*/ 1439960 h 6479439"/>
                <a:gd name="connsiteX7144" fmla="*/ 1200583 w 9586368"/>
                <a:gd name="connsiteY7144" fmla="*/ 1435922 h 6479439"/>
                <a:gd name="connsiteX7145" fmla="*/ 1210493 w 9586368"/>
                <a:gd name="connsiteY7145" fmla="*/ 1435922 h 6479439"/>
                <a:gd name="connsiteX7146" fmla="*/ 1214512 w 9586368"/>
                <a:gd name="connsiteY7146" fmla="*/ 1439960 h 6479439"/>
                <a:gd name="connsiteX7147" fmla="*/ 1214512 w 9586368"/>
                <a:gd name="connsiteY7147" fmla="*/ 1449831 h 6479439"/>
                <a:gd name="connsiteX7148" fmla="*/ 1210493 w 9586368"/>
                <a:gd name="connsiteY7148" fmla="*/ 1453870 h 6479439"/>
                <a:gd name="connsiteX7149" fmla="*/ 1200583 w 9586368"/>
                <a:gd name="connsiteY7149" fmla="*/ 1453870 h 6479439"/>
                <a:gd name="connsiteX7150" fmla="*/ 1196564 w 9586368"/>
                <a:gd name="connsiteY7150" fmla="*/ 1449831 h 6479439"/>
                <a:gd name="connsiteX7151" fmla="*/ 1196564 w 9586368"/>
                <a:gd name="connsiteY7151" fmla="*/ 1439960 h 6479439"/>
                <a:gd name="connsiteX7152" fmla="*/ 961270 w 9586368"/>
                <a:gd name="connsiteY7152" fmla="*/ 1435922 h 6479439"/>
                <a:gd name="connsiteX7153" fmla="*/ 971181 w 9586368"/>
                <a:gd name="connsiteY7153" fmla="*/ 1435922 h 6479439"/>
                <a:gd name="connsiteX7154" fmla="*/ 975200 w 9586368"/>
                <a:gd name="connsiteY7154" fmla="*/ 1439960 h 6479439"/>
                <a:gd name="connsiteX7155" fmla="*/ 975200 w 9586368"/>
                <a:gd name="connsiteY7155" fmla="*/ 1449831 h 6479439"/>
                <a:gd name="connsiteX7156" fmla="*/ 971181 w 9586368"/>
                <a:gd name="connsiteY7156" fmla="*/ 1453870 h 6479439"/>
                <a:gd name="connsiteX7157" fmla="*/ 961270 w 9586368"/>
                <a:gd name="connsiteY7157" fmla="*/ 1453870 h 6479439"/>
                <a:gd name="connsiteX7158" fmla="*/ 957252 w 9586368"/>
                <a:gd name="connsiteY7158" fmla="*/ 1449831 h 6479439"/>
                <a:gd name="connsiteX7159" fmla="*/ 957252 w 9586368"/>
                <a:gd name="connsiteY7159" fmla="*/ 1439960 h 6479439"/>
                <a:gd name="connsiteX7160" fmla="*/ 9572438 w 9586368"/>
                <a:gd name="connsiteY7160" fmla="*/ 1435914 h 6479439"/>
                <a:gd name="connsiteX7161" fmla="*/ 9582349 w 9586368"/>
                <a:gd name="connsiteY7161" fmla="*/ 1435914 h 6479439"/>
                <a:gd name="connsiteX7162" fmla="*/ 9586368 w 9586368"/>
                <a:gd name="connsiteY7162" fmla="*/ 1439952 h 6479439"/>
                <a:gd name="connsiteX7163" fmla="*/ 9586368 w 9586368"/>
                <a:gd name="connsiteY7163" fmla="*/ 1449823 h 6479439"/>
                <a:gd name="connsiteX7164" fmla="*/ 9582349 w 9586368"/>
                <a:gd name="connsiteY7164" fmla="*/ 1453862 h 6479439"/>
                <a:gd name="connsiteX7165" fmla="*/ 9572438 w 9586368"/>
                <a:gd name="connsiteY7165" fmla="*/ 1453862 h 6479439"/>
                <a:gd name="connsiteX7166" fmla="*/ 9568419 w 9586368"/>
                <a:gd name="connsiteY7166" fmla="*/ 1449823 h 6479439"/>
                <a:gd name="connsiteX7167" fmla="*/ 9568419 w 9586368"/>
                <a:gd name="connsiteY7167" fmla="*/ 1439952 h 6479439"/>
                <a:gd name="connsiteX7168" fmla="*/ 1918514 w 9586368"/>
                <a:gd name="connsiteY7168" fmla="*/ 1435912 h 6479439"/>
                <a:gd name="connsiteX7169" fmla="*/ 1928424 w 9586368"/>
                <a:gd name="connsiteY7169" fmla="*/ 1435912 h 6479439"/>
                <a:gd name="connsiteX7170" fmla="*/ 1932443 w 9586368"/>
                <a:gd name="connsiteY7170" fmla="*/ 1439950 h 6479439"/>
                <a:gd name="connsiteX7171" fmla="*/ 1932443 w 9586368"/>
                <a:gd name="connsiteY7171" fmla="*/ 1449821 h 6479439"/>
                <a:gd name="connsiteX7172" fmla="*/ 1928424 w 9586368"/>
                <a:gd name="connsiteY7172" fmla="*/ 1453860 h 6479439"/>
                <a:gd name="connsiteX7173" fmla="*/ 1918514 w 9586368"/>
                <a:gd name="connsiteY7173" fmla="*/ 1453860 h 6479439"/>
                <a:gd name="connsiteX7174" fmla="*/ 1914494 w 9586368"/>
                <a:gd name="connsiteY7174" fmla="*/ 1449821 h 6479439"/>
                <a:gd name="connsiteX7175" fmla="*/ 1914494 w 9586368"/>
                <a:gd name="connsiteY7175" fmla="*/ 1439950 h 6479439"/>
                <a:gd name="connsiteX7176" fmla="*/ 2157823 w 9586368"/>
                <a:gd name="connsiteY7176" fmla="*/ 1435909 h 6479439"/>
                <a:gd name="connsiteX7177" fmla="*/ 2167733 w 9586368"/>
                <a:gd name="connsiteY7177" fmla="*/ 1435909 h 6479439"/>
                <a:gd name="connsiteX7178" fmla="*/ 2171751 w 9586368"/>
                <a:gd name="connsiteY7178" fmla="*/ 1439947 h 6479439"/>
                <a:gd name="connsiteX7179" fmla="*/ 2171751 w 9586368"/>
                <a:gd name="connsiteY7179" fmla="*/ 1449818 h 6479439"/>
                <a:gd name="connsiteX7180" fmla="*/ 2167733 w 9586368"/>
                <a:gd name="connsiteY7180" fmla="*/ 1453857 h 6479439"/>
                <a:gd name="connsiteX7181" fmla="*/ 2157823 w 9586368"/>
                <a:gd name="connsiteY7181" fmla="*/ 1453857 h 6479439"/>
                <a:gd name="connsiteX7182" fmla="*/ 2153803 w 9586368"/>
                <a:gd name="connsiteY7182" fmla="*/ 1449818 h 6479439"/>
                <a:gd name="connsiteX7183" fmla="*/ 2153803 w 9586368"/>
                <a:gd name="connsiteY7183" fmla="*/ 1439947 h 6479439"/>
                <a:gd name="connsiteX7184" fmla="*/ 243347 w 9586368"/>
                <a:gd name="connsiteY7184" fmla="*/ 1435883 h 6479439"/>
                <a:gd name="connsiteX7185" fmla="*/ 253257 w 9586368"/>
                <a:gd name="connsiteY7185" fmla="*/ 1435883 h 6479439"/>
                <a:gd name="connsiteX7186" fmla="*/ 257276 w 9586368"/>
                <a:gd name="connsiteY7186" fmla="*/ 1439920 h 6479439"/>
                <a:gd name="connsiteX7187" fmla="*/ 257276 w 9586368"/>
                <a:gd name="connsiteY7187" fmla="*/ 1449791 h 6479439"/>
                <a:gd name="connsiteX7188" fmla="*/ 253257 w 9586368"/>
                <a:gd name="connsiteY7188" fmla="*/ 1453830 h 6479439"/>
                <a:gd name="connsiteX7189" fmla="*/ 243347 w 9586368"/>
                <a:gd name="connsiteY7189" fmla="*/ 1453830 h 6479439"/>
                <a:gd name="connsiteX7190" fmla="*/ 239328 w 9586368"/>
                <a:gd name="connsiteY7190" fmla="*/ 1449791 h 6479439"/>
                <a:gd name="connsiteX7191" fmla="*/ 239328 w 9586368"/>
                <a:gd name="connsiteY7191" fmla="*/ 1439920 h 6479439"/>
                <a:gd name="connsiteX7192" fmla="*/ 4034 w 9586368"/>
                <a:gd name="connsiteY7192" fmla="*/ 1435883 h 6479439"/>
                <a:gd name="connsiteX7193" fmla="*/ 13944 w 9586368"/>
                <a:gd name="connsiteY7193" fmla="*/ 1435883 h 6479439"/>
                <a:gd name="connsiteX7194" fmla="*/ 17964 w 9586368"/>
                <a:gd name="connsiteY7194" fmla="*/ 1439920 h 6479439"/>
                <a:gd name="connsiteX7195" fmla="*/ 17964 w 9586368"/>
                <a:gd name="connsiteY7195" fmla="*/ 1449791 h 6479439"/>
                <a:gd name="connsiteX7196" fmla="*/ 13944 w 9586368"/>
                <a:gd name="connsiteY7196" fmla="*/ 1453830 h 6479439"/>
                <a:gd name="connsiteX7197" fmla="*/ 4034 w 9586368"/>
                <a:gd name="connsiteY7197" fmla="*/ 1453830 h 6479439"/>
                <a:gd name="connsiteX7198" fmla="*/ 15 w 9586368"/>
                <a:gd name="connsiteY7198" fmla="*/ 1449791 h 6479439"/>
                <a:gd name="connsiteX7199" fmla="*/ 15 w 9586368"/>
                <a:gd name="connsiteY7199" fmla="*/ 1439920 h 6479439"/>
                <a:gd name="connsiteX7200" fmla="*/ 721973 w 9586368"/>
                <a:gd name="connsiteY7200" fmla="*/ 1435882 h 6479439"/>
                <a:gd name="connsiteX7201" fmla="*/ 731883 w 9586368"/>
                <a:gd name="connsiteY7201" fmla="*/ 1435882 h 6479439"/>
                <a:gd name="connsiteX7202" fmla="*/ 735902 w 9586368"/>
                <a:gd name="connsiteY7202" fmla="*/ 1439920 h 6479439"/>
                <a:gd name="connsiteX7203" fmla="*/ 735902 w 9586368"/>
                <a:gd name="connsiteY7203" fmla="*/ 1449791 h 6479439"/>
                <a:gd name="connsiteX7204" fmla="*/ 731883 w 9586368"/>
                <a:gd name="connsiteY7204" fmla="*/ 1453830 h 6479439"/>
                <a:gd name="connsiteX7205" fmla="*/ 721973 w 9586368"/>
                <a:gd name="connsiteY7205" fmla="*/ 1453830 h 6479439"/>
                <a:gd name="connsiteX7206" fmla="*/ 717954 w 9586368"/>
                <a:gd name="connsiteY7206" fmla="*/ 1449791 h 6479439"/>
                <a:gd name="connsiteX7207" fmla="*/ 717954 w 9586368"/>
                <a:gd name="connsiteY7207" fmla="*/ 1439920 h 6479439"/>
                <a:gd name="connsiteX7208" fmla="*/ 482661 w 9586368"/>
                <a:gd name="connsiteY7208" fmla="*/ 1435882 h 6479439"/>
                <a:gd name="connsiteX7209" fmla="*/ 492571 w 9586368"/>
                <a:gd name="connsiteY7209" fmla="*/ 1435882 h 6479439"/>
                <a:gd name="connsiteX7210" fmla="*/ 496590 w 9586368"/>
                <a:gd name="connsiteY7210" fmla="*/ 1439920 h 6479439"/>
                <a:gd name="connsiteX7211" fmla="*/ 496590 w 9586368"/>
                <a:gd name="connsiteY7211" fmla="*/ 1449791 h 6479439"/>
                <a:gd name="connsiteX7212" fmla="*/ 492571 w 9586368"/>
                <a:gd name="connsiteY7212" fmla="*/ 1453830 h 6479439"/>
                <a:gd name="connsiteX7213" fmla="*/ 482661 w 9586368"/>
                <a:gd name="connsiteY7213" fmla="*/ 1453830 h 6479439"/>
                <a:gd name="connsiteX7214" fmla="*/ 478642 w 9586368"/>
                <a:gd name="connsiteY7214" fmla="*/ 1449791 h 6479439"/>
                <a:gd name="connsiteX7215" fmla="*/ 478642 w 9586368"/>
                <a:gd name="connsiteY7215" fmla="*/ 1439920 h 6479439"/>
                <a:gd name="connsiteX7216" fmla="*/ 3350359 w 9586368"/>
                <a:gd name="connsiteY7216" fmla="*/ 1196701 h 6479439"/>
                <a:gd name="connsiteX7217" fmla="*/ 3360268 w 9586368"/>
                <a:gd name="connsiteY7217" fmla="*/ 1196701 h 6479439"/>
                <a:gd name="connsiteX7218" fmla="*/ 3364287 w 9586368"/>
                <a:gd name="connsiteY7218" fmla="*/ 1200738 h 6479439"/>
                <a:gd name="connsiteX7219" fmla="*/ 3364287 w 9586368"/>
                <a:gd name="connsiteY7219" fmla="*/ 1210610 h 6479439"/>
                <a:gd name="connsiteX7220" fmla="*/ 3360268 w 9586368"/>
                <a:gd name="connsiteY7220" fmla="*/ 1214650 h 6479439"/>
                <a:gd name="connsiteX7221" fmla="*/ 3350359 w 9586368"/>
                <a:gd name="connsiteY7221" fmla="*/ 1214650 h 6479439"/>
                <a:gd name="connsiteX7222" fmla="*/ 3346340 w 9586368"/>
                <a:gd name="connsiteY7222" fmla="*/ 1210610 h 6479439"/>
                <a:gd name="connsiteX7223" fmla="*/ 3346340 w 9586368"/>
                <a:gd name="connsiteY7223" fmla="*/ 1200738 h 6479439"/>
                <a:gd name="connsiteX7224" fmla="*/ 3111048 w 9586368"/>
                <a:gd name="connsiteY7224" fmla="*/ 1196701 h 6479439"/>
                <a:gd name="connsiteX7225" fmla="*/ 3120959 w 9586368"/>
                <a:gd name="connsiteY7225" fmla="*/ 1196701 h 6479439"/>
                <a:gd name="connsiteX7226" fmla="*/ 3124977 w 9586368"/>
                <a:gd name="connsiteY7226" fmla="*/ 1200738 h 6479439"/>
                <a:gd name="connsiteX7227" fmla="*/ 3124977 w 9586368"/>
                <a:gd name="connsiteY7227" fmla="*/ 1210610 h 6479439"/>
                <a:gd name="connsiteX7228" fmla="*/ 3120959 w 9586368"/>
                <a:gd name="connsiteY7228" fmla="*/ 1214650 h 6479439"/>
                <a:gd name="connsiteX7229" fmla="*/ 3111048 w 9586368"/>
                <a:gd name="connsiteY7229" fmla="*/ 1214650 h 6479439"/>
                <a:gd name="connsiteX7230" fmla="*/ 3107029 w 9586368"/>
                <a:gd name="connsiteY7230" fmla="*/ 1210610 h 6479439"/>
                <a:gd name="connsiteX7231" fmla="*/ 3107029 w 9586368"/>
                <a:gd name="connsiteY7231" fmla="*/ 1200738 h 6479439"/>
                <a:gd name="connsiteX7232" fmla="*/ 2871737 w 9586368"/>
                <a:gd name="connsiteY7232" fmla="*/ 1196701 h 6479439"/>
                <a:gd name="connsiteX7233" fmla="*/ 2881646 w 9586368"/>
                <a:gd name="connsiteY7233" fmla="*/ 1196701 h 6479439"/>
                <a:gd name="connsiteX7234" fmla="*/ 2885666 w 9586368"/>
                <a:gd name="connsiteY7234" fmla="*/ 1200738 h 6479439"/>
                <a:gd name="connsiteX7235" fmla="*/ 2885666 w 9586368"/>
                <a:gd name="connsiteY7235" fmla="*/ 1210610 h 6479439"/>
                <a:gd name="connsiteX7236" fmla="*/ 2881646 w 9586368"/>
                <a:gd name="connsiteY7236" fmla="*/ 1214650 h 6479439"/>
                <a:gd name="connsiteX7237" fmla="*/ 2871737 w 9586368"/>
                <a:gd name="connsiteY7237" fmla="*/ 1214650 h 6479439"/>
                <a:gd name="connsiteX7238" fmla="*/ 2867717 w 9586368"/>
                <a:gd name="connsiteY7238" fmla="*/ 1210610 h 6479439"/>
                <a:gd name="connsiteX7239" fmla="*/ 2867717 w 9586368"/>
                <a:gd name="connsiteY7239" fmla="*/ 1200738 h 6479439"/>
                <a:gd name="connsiteX7240" fmla="*/ 2632423 w 9586368"/>
                <a:gd name="connsiteY7240" fmla="*/ 1196701 h 6479439"/>
                <a:gd name="connsiteX7241" fmla="*/ 2642334 w 9586368"/>
                <a:gd name="connsiteY7241" fmla="*/ 1196701 h 6479439"/>
                <a:gd name="connsiteX7242" fmla="*/ 2646352 w 9586368"/>
                <a:gd name="connsiteY7242" fmla="*/ 1200740 h 6479439"/>
                <a:gd name="connsiteX7243" fmla="*/ 2646352 w 9586368"/>
                <a:gd name="connsiteY7243" fmla="*/ 1210610 h 6479439"/>
                <a:gd name="connsiteX7244" fmla="*/ 2642334 w 9586368"/>
                <a:gd name="connsiteY7244" fmla="*/ 1214650 h 6479439"/>
                <a:gd name="connsiteX7245" fmla="*/ 2632423 w 9586368"/>
                <a:gd name="connsiteY7245" fmla="*/ 1214650 h 6479439"/>
                <a:gd name="connsiteX7246" fmla="*/ 2628404 w 9586368"/>
                <a:gd name="connsiteY7246" fmla="*/ 1210610 h 6479439"/>
                <a:gd name="connsiteX7247" fmla="*/ 2628404 w 9586368"/>
                <a:gd name="connsiteY7247" fmla="*/ 1200740 h 6479439"/>
                <a:gd name="connsiteX7248" fmla="*/ 2393104 w 9586368"/>
                <a:gd name="connsiteY7248" fmla="*/ 1196701 h 6479439"/>
                <a:gd name="connsiteX7249" fmla="*/ 2403015 w 9586368"/>
                <a:gd name="connsiteY7249" fmla="*/ 1196701 h 6479439"/>
                <a:gd name="connsiteX7250" fmla="*/ 2407034 w 9586368"/>
                <a:gd name="connsiteY7250" fmla="*/ 1200740 h 6479439"/>
                <a:gd name="connsiteX7251" fmla="*/ 2407034 w 9586368"/>
                <a:gd name="connsiteY7251" fmla="*/ 1210610 h 6479439"/>
                <a:gd name="connsiteX7252" fmla="*/ 2403015 w 9586368"/>
                <a:gd name="connsiteY7252" fmla="*/ 1214650 h 6479439"/>
                <a:gd name="connsiteX7253" fmla="*/ 2393104 w 9586368"/>
                <a:gd name="connsiteY7253" fmla="*/ 1214650 h 6479439"/>
                <a:gd name="connsiteX7254" fmla="*/ 2389087 w 9586368"/>
                <a:gd name="connsiteY7254" fmla="*/ 1210610 h 6479439"/>
                <a:gd name="connsiteX7255" fmla="*/ 2389087 w 9586368"/>
                <a:gd name="connsiteY7255" fmla="*/ 1200740 h 6479439"/>
                <a:gd name="connsiteX7256" fmla="*/ 4546929 w 9586368"/>
                <a:gd name="connsiteY7256" fmla="*/ 1196689 h 6479439"/>
                <a:gd name="connsiteX7257" fmla="*/ 4556840 w 9586368"/>
                <a:gd name="connsiteY7257" fmla="*/ 1196689 h 6479439"/>
                <a:gd name="connsiteX7258" fmla="*/ 4560859 w 9586368"/>
                <a:gd name="connsiteY7258" fmla="*/ 1200726 h 6479439"/>
                <a:gd name="connsiteX7259" fmla="*/ 4560859 w 9586368"/>
                <a:gd name="connsiteY7259" fmla="*/ 1210598 h 6479439"/>
                <a:gd name="connsiteX7260" fmla="*/ 4556840 w 9586368"/>
                <a:gd name="connsiteY7260" fmla="*/ 1214637 h 6479439"/>
                <a:gd name="connsiteX7261" fmla="*/ 4546929 w 9586368"/>
                <a:gd name="connsiteY7261" fmla="*/ 1214637 h 6479439"/>
                <a:gd name="connsiteX7262" fmla="*/ 4542910 w 9586368"/>
                <a:gd name="connsiteY7262" fmla="*/ 1210598 h 6479439"/>
                <a:gd name="connsiteX7263" fmla="*/ 4542910 w 9586368"/>
                <a:gd name="connsiteY7263" fmla="*/ 1200726 h 6479439"/>
                <a:gd name="connsiteX7264" fmla="*/ 4307612 w 9586368"/>
                <a:gd name="connsiteY7264" fmla="*/ 1196689 h 6479439"/>
                <a:gd name="connsiteX7265" fmla="*/ 4317523 w 9586368"/>
                <a:gd name="connsiteY7265" fmla="*/ 1196689 h 6479439"/>
                <a:gd name="connsiteX7266" fmla="*/ 4321543 w 9586368"/>
                <a:gd name="connsiteY7266" fmla="*/ 1200726 h 6479439"/>
                <a:gd name="connsiteX7267" fmla="*/ 4321543 w 9586368"/>
                <a:gd name="connsiteY7267" fmla="*/ 1210598 h 6479439"/>
                <a:gd name="connsiteX7268" fmla="*/ 4317523 w 9586368"/>
                <a:gd name="connsiteY7268" fmla="*/ 1214637 h 6479439"/>
                <a:gd name="connsiteX7269" fmla="*/ 4307612 w 9586368"/>
                <a:gd name="connsiteY7269" fmla="*/ 1214637 h 6479439"/>
                <a:gd name="connsiteX7270" fmla="*/ 4303595 w 9586368"/>
                <a:gd name="connsiteY7270" fmla="*/ 1210598 h 6479439"/>
                <a:gd name="connsiteX7271" fmla="*/ 4303595 w 9586368"/>
                <a:gd name="connsiteY7271" fmla="*/ 1200726 h 6479439"/>
                <a:gd name="connsiteX7272" fmla="*/ 4068297 w 9586368"/>
                <a:gd name="connsiteY7272" fmla="*/ 1196689 h 6479439"/>
                <a:gd name="connsiteX7273" fmla="*/ 4078210 w 9586368"/>
                <a:gd name="connsiteY7273" fmla="*/ 1196689 h 6479439"/>
                <a:gd name="connsiteX7274" fmla="*/ 4082229 w 9586368"/>
                <a:gd name="connsiteY7274" fmla="*/ 1200726 h 6479439"/>
                <a:gd name="connsiteX7275" fmla="*/ 4082229 w 9586368"/>
                <a:gd name="connsiteY7275" fmla="*/ 1210598 h 6479439"/>
                <a:gd name="connsiteX7276" fmla="*/ 4078210 w 9586368"/>
                <a:gd name="connsiteY7276" fmla="*/ 1214637 h 6479439"/>
                <a:gd name="connsiteX7277" fmla="*/ 4068297 w 9586368"/>
                <a:gd name="connsiteY7277" fmla="*/ 1214637 h 6479439"/>
                <a:gd name="connsiteX7278" fmla="*/ 4064278 w 9586368"/>
                <a:gd name="connsiteY7278" fmla="*/ 1210598 h 6479439"/>
                <a:gd name="connsiteX7279" fmla="*/ 4064278 w 9586368"/>
                <a:gd name="connsiteY7279" fmla="*/ 1200726 h 6479439"/>
                <a:gd name="connsiteX7280" fmla="*/ 3828990 w 9586368"/>
                <a:gd name="connsiteY7280" fmla="*/ 1196689 h 6479439"/>
                <a:gd name="connsiteX7281" fmla="*/ 3838899 w 9586368"/>
                <a:gd name="connsiteY7281" fmla="*/ 1196689 h 6479439"/>
                <a:gd name="connsiteX7282" fmla="*/ 3842917 w 9586368"/>
                <a:gd name="connsiteY7282" fmla="*/ 1200728 h 6479439"/>
                <a:gd name="connsiteX7283" fmla="*/ 3842917 w 9586368"/>
                <a:gd name="connsiteY7283" fmla="*/ 1210598 h 6479439"/>
                <a:gd name="connsiteX7284" fmla="*/ 3838899 w 9586368"/>
                <a:gd name="connsiteY7284" fmla="*/ 1214637 h 6479439"/>
                <a:gd name="connsiteX7285" fmla="*/ 3828990 w 9586368"/>
                <a:gd name="connsiteY7285" fmla="*/ 1214637 h 6479439"/>
                <a:gd name="connsiteX7286" fmla="*/ 3824971 w 9586368"/>
                <a:gd name="connsiteY7286" fmla="*/ 1210598 h 6479439"/>
                <a:gd name="connsiteX7287" fmla="*/ 3824971 w 9586368"/>
                <a:gd name="connsiteY7287" fmla="*/ 1200728 h 6479439"/>
                <a:gd name="connsiteX7288" fmla="*/ 3589676 w 9586368"/>
                <a:gd name="connsiteY7288" fmla="*/ 1196689 h 6479439"/>
                <a:gd name="connsiteX7289" fmla="*/ 3599585 w 9586368"/>
                <a:gd name="connsiteY7289" fmla="*/ 1196689 h 6479439"/>
                <a:gd name="connsiteX7290" fmla="*/ 3603604 w 9586368"/>
                <a:gd name="connsiteY7290" fmla="*/ 1200728 h 6479439"/>
                <a:gd name="connsiteX7291" fmla="*/ 3603604 w 9586368"/>
                <a:gd name="connsiteY7291" fmla="*/ 1210598 h 6479439"/>
                <a:gd name="connsiteX7292" fmla="*/ 3599585 w 9586368"/>
                <a:gd name="connsiteY7292" fmla="*/ 1214637 h 6479439"/>
                <a:gd name="connsiteX7293" fmla="*/ 3589676 w 9586368"/>
                <a:gd name="connsiteY7293" fmla="*/ 1214637 h 6479439"/>
                <a:gd name="connsiteX7294" fmla="*/ 3585657 w 9586368"/>
                <a:gd name="connsiteY7294" fmla="*/ 1210598 h 6479439"/>
                <a:gd name="connsiteX7295" fmla="*/ 3585657 w 9586368"/>
                <a:gd name="connsiteY7295" fmla="*/ 1200728 h 6479439"/>
                <a:gd name="connsiteX7296" fmla="*/ 5743412 w 9586368"/>
                <a:gd name="connsiteY7296" fmla="*/ 1196676 h 6479439"/>
                <a:gd name="connsiteX7297" fmla="*/ 5753323 w 9586368"/>
                <a:gd name="connsiteY7297" fmla="*/ 1196676 h 6479439"/>
                <a:gd name="connsiteX7298" fmla="*/ 5757342 w 9586368"/>
                <a:gd name="connsiteY7298" fmla="*/ 1200714 h 6479439"/>
                <a:gd name="connsiteX7299" fmla="*/ 5757342 w 9586368"/>
                <a:gd name="connsiteY7299" fmla="*/ 1210586 h 6479439"/>
                <a:gd name="connsiteX7300" fmla="*/ 5753323 w 9586368"/>
                <a:gd name="connsiteY7300" fmla="*/ 1214625 h 6479439"/>
                <a:gd name="connsiteX7301" fmla="*/ 5743412 w 9586368"/>
                <a:gd name="connsiteY7301" fmla="*/ 1214625 h 6479439"/>
                <a:gd name="connsiteX7302" fmla="*/ 5739393 w 9586368"/>
                <a:gd name="connsiteY7302" fmla="*/ 1210586 h 6479439"/>
                <a:gd name="connsiteX7303" fmla="*/ 5739393 w 9586368"/>
                <a:gd name="connsiteY7303" fmla="*/ 1200714 h 6479439"/>
                <a:gd name="connsiteX7304" fmla="*/ 5504099 w 9586368"/>
                <a:gd name="connsiteY7304" fmla="*/ 1196676 h 6479439"/>
                <a:gd name="connsiteX7305" fmla="*/ 5514010 w 9586368"/>
                <a:gd name="connsiteY7305" fmla="*/ 1196676 h 6479439"/>
                <a:gd name="connsiteX7306" fmla="*/ 5518029 w 9586368"/>
                <a:gd name="connsiteY7306" fmla="*/ 1200714 h 6479439"/>
                <a:gd name="connsiteX7307" fmla="*/ 5518029 w 9586368"/>
                <a:gd name="connsiteY7307" fmla="*/ 1210586 h 6479439"/>
                <a:gd name="connsiteX7308" fmla="*/ 5514010 w 9586368"/>
                <a:gd name="connsiteY7308" fmla="*/ 1214625 h 6479439"/>
                <a:gd name="connsiteX7309" fmla="*/ 5504099 w 9586368"/>
                <a:gd name="connsiteY7309" fmla="*/ 1214625 h 6479439"/>
                <a:gd name="connsiteX7310" fmla="*/ 5500080 w 9586368"/>
                <a:gd name="connsiteY7310" fmla="*/ 1210586 h 6479439"/>
                <a:gd name="connsiteX7311" fmla="*/ 5500080 w 9586368"/>
                <a:gd name="connsiteY7311" fmla="*/ 1200714 h 6479439"/>
                <a:gd name="connsiteX7312" fmla="*/ 5264784 w 9586368"/>
                <a:gd name="connsiteY7312" fmla="*/ 1196676 h 6479439"/>
                <a:gd name="connsiteX7313" fmla="*/ 5274694 w 9586368"/>
                <a:gd name="connsiteY7313" fmla="*/ 1196676 h 6479439"/>
                <a:gd name="connsiteX7314" fmla="*/ 5278713 w 9586368"/>
                <a:gd name="connsiteY7314" fmla="*/ 1200714 h 6479439"/>
                <a:gd name="connsiteX7315" fmla="*/ 5278713 w 9586368"/>
                <a:gd name="connsiteY7315" fmla="*/ 1210586 h 6479439"/>
                <a:gd name="connsiteX7316" fmla="*/ 5274694 w 9586368"/>
                <a:gd name="connsiteY7316" fmla="*/ 1214625 h 6479439"/>
                <a:gd name="connsiteX7317" fmla="*/ 5264784 w 9586368"/>
                <a:gd name="connsiteY7317" fmla="*/ 1214625 h 6479439"/>
                <a:gd name="connsiteX7318" fmla="*/ 5260765 w 9586368"/>
                <a:gd name="connsiteY7318" fmla="*/ 1210586 h 6479439"/>
                <a:gd name="connsiteX7319" fmla="*/ 5260765 w 9586368"/>
                <a:gd name="connsiteY7319" fmla="*/ 1200714 h 6479439"/>
                <a:gd name="connsiteX7320" fmla="*/ 5025470 w 9586368"/>
                <a:gd name="connsiteY7320" fmla="*/ 1196676 h 6479439"/>
                <a:gd name="connsiteX7321" fmla="*/ 5035381 w 9586368"/>
                <a:gd name="connsiteY7321" fmla="*/ 1196676 h 6479439"/>
                <a:gd name="connsiteX7322" fmla="*/ 5039400 w 9586368"/>
                <a:gd name="connsiteY7322" fmla="*/ 1200715 h 6479439"/>
                <a:gd name="connsiteX7323" fmla="*/ 5039400 w 9586368"/>
                <a:gd name="connsiteY7323" fmla="*/ 1210586 h 6479439"/>
                <a:gd name="connsiteX7324" fmla="*/ 5035381 w 9586368"/>
                <a:gd name="connsiteY7324" fmla="*/ 1214625 h 6479439"/>
                <a:gd name="connsiteX7325" fmla="*/ 5025470 w 9586368"/>
                <a:gd name="connsiteY7325" fmla="*/ 1214625 h 6479439"/>
                <a:gd name="connsiteX7326" fmla="*/ 5021451 w 9586368"/>
                <a:gd name="connsiteY7326" fmla="*/ 1210586 h 6479439"/>
                <a:gd name="connsiteX7327" fmla="*/ 5021451 w 9586368"/>
                <a:gd name="connsiteY7327" fmla="*/ 1200715 h 6479439"/>
                <a:gd name="connsiteX7328" fmla="*/ 4786241 w 9586368"/>
                <a:gd name="connsiteY7328" fmla="*/ 1196676 h 6479439"/>
                <a:gd name="connsiteX7329" fmla="*/ 4796152 w 9586368"/>
                <a:gd name="connsiteY7329" fmla="*/ 1196676 h 6479439"/>
                <a:gd name="connsiteX7330" fmla="*/ 4800171 w 9586368"/>
                <a:gd name="connsiteY7330" fmla="*/ 1200715 h 6479439"/>
                <a:gd name="connsiteX7331" fmla="*/ 4800171 w 9586368"/>
                <a:gd name="connsiteY7331" fmla="*/ 1210586 h 6479439"/>
                <a:gd name="connsiteX7332" fmla="*/ 4796152 w 9586368"/>
                <a:gd name="connsiteY7332" fmla="*/ 1214625 h 6479439"/>
                <a:gd name="connsiteX7333" fmla="*/ 4786241 w 9586368"/>
                <a:gd name="connsiteY7333" fmla="*/ 1214625 h 6479439"/>
                <a:gd name="connsiteX7334" fmla="*/ 4782224 w 9586368"/>
                <a:gd name="connsiteY7334" fmla="*/ 1210586 h 6479439"/>
                <a:gd name="connsiteX7335" fmla="*/ 4782224 w 9586368"/>
                <a:gd name="connsiteY7335" fmla="*/ 1200715 h 6479439"/>
                <a:gd name="connsiteX7336" fmla="*/ 6222042 w 9586368"/>
                <a:gd name="connsiteY7336" fmla="*/ 1196664 h 6479439"/>
                <a:gd name="connsiteX7337" fmla="*/ 6231952 w 9586368"/>
                <a:gd name="connsiteY7337" fmla="*/ 1196664 h 6479439"/>
                <a:gd name="connsiteX7338" fmla="*/ 6235971 w 9586368"/>
                <a:gd name="connsiteY7338" fmla="*/ 1200703 h 6479439"/>
                <a:gd name="connsiteX7339" fmla="*/ 6235971 w 9586368"/>
                <a:gd name="connsiteY7339" fmla="*/ 1210573 h 6479439"/>
                <a:gd name="connsiteX7340" fmla="*/ 6231952 w 9586368"/>
                <a:gd name="connsiteY7340" fmla="*/ 1214612 h 6479439"/>
                <a:gd name="connsiteX7341" fmla="*/ 6222042 w 9586368"/>
                <a:gd name="connsiteY7341" fmla="*/ 1214612 h 6479439"/>
                <a:gd name="connsiteX7342" fmla="*/ 6218023 w 9586368"/>
                <a:gd name="connsiteY7342" fmla="*/ 1210573 h 6479439"/>
                <a:gd name="connsiteX7343" fmla="*/ 6218023 w 9586368"/>
                <a:gd name="connsiteY7343" fmla="*/ 1200703 h 6479439"/>
                <a:gd name="connsiteX7344" fmla="*/ 5982729 w 9586368"/>
                <a:gd name="connsiteY7344" fmla="*/ 1196664 h 6479439"/>
                <a:gd name="connsiteX7345" fmla="*/ 5992639 w 9586368"/>
                <a:gd name="connsiteY7345" fmla="*/ 1196664 h 6479439"/>
                <a:gd name="connsiteX7346" fmla="*/ 5996658 w 9586368"/>
                <a:gd name="connsiteY7346" fmla="*/ 1200703 h 6479439"/>
                <a:gd name="connsiteX7347" fmla="*/ 5996658 w 9586368"/>
                <a:gd name="connsiteY7347" fmla="*/ 1210573 h 6479439"/>
                <a:gd name="connsiteX7348" fmla="*/ 5992639 w 9586368"/>
                <a:gd name="connsiteY7348" fmla="*/ 1214612 h 6479439"/>
                <a:gd name="connsiteX7349" fmla="*/ 5982729 w 9586368"/>
                <a:gd name="connsiteY7349" fmla="*/ 1214612 h 6479439"/>
                <a:gd name="connsiteX7350" fmla="*/ 5978710 w 9586368"/>
                <a:gd name="connsiteY7350" fmla="*/ 1210573 h 6479439"/>
                <a:gd name="connsiteX7351" fmla="*/ 5978710 w 9586368"/>
                <a:gd name="connsiteY7351" fmla="*/ 1200703 h 6479439"/>
                <a:gd name="connsiteX7352" fmla="*/ 6939983 w 9586368"/>
                <a:gd name="connsiteY7352" fmla="*/ 1196664 h 6479439"/>
                <a:gd name="connsiteX7353" fmla="*/ 6949894 w 9586368"/>
                <a:gd name="connsiteY7353" fmla="*/ 1196664 h 6479439"/>
                <a:gd name="connsiteX7354" fmla="*/ 6953913 w 9586368"/>
                <a:gd name="connsiteY7354" fmla="*/ 1200702 h 6479439"/>
                <a:gd name="connsiteX7355" fmla="*/ 6953913 w 9586368"/>
                <a:gd name="connsiteY7355" fmla="*/ 1210573 h 6479439"/>
                <a:gd name="connsiteX7356" fmla="*/ 6949894 w 9586368"/>
                <a:gd name="connsiteY7356" fmla="*/ 1214612 h 6479439"/>
                <a:gd name="connsiteX7357" fmla="*/ 6939983 w 9586368"/>
                <a:gd name="connsiteY7357" fmla="*/ 1214612 h 6479439"/>
                <a:gd name="connsiteX7358" fmla="*/ 6935964 w 9586368"/>
                <a:gd name="connsiteY7358" fmla="*/ 1210573 h 6479439"/>
                <a:gd name="connsiteX7359" fmla="*/ 6935964 w 9586368"/>
                <a:gd name="connsiteY7359" fmla="*/ 1200702 h 6479439"/>
                <a:gd name="connsiteX7360" fmla="*/ 6700670 w 9586368"/>
                <a:gd name="connsiteY7360" fmla="*/ 1196664 h 6479439"/>
                <a:gd name="connsiteX7361" fmla="*/ 6710581 w 9586368"/>
                <a:gd name="connsiteY7361" fmla="*/ 1196664 h 6479439"/>
                <a:gd name="connsiteX7362" fmla="*/ 6714600 w 9586368"/>
                <a:gd name="connsiteY7362" fmla="*/ 1200702 h 6479439"/>
                <a:gd name="connsiteX7363" fmla="*/ 6714600 w 9586368"/>
                <a:gd name="connsiteY7363" fmla="*/ 1210573 h 6479439"/>
                <a:gd name="connsiteX7364" fmla="*/ 6710581 w 9586368"/>
                <a:gd name="connsiteY7364" fmla="*/ 1214612 h 6479439"/>
                <a:gd name="connsiteX7365" fmla="*/ 6700670 w 9586368"/>
                <a:gd name="connsiteY7365" fmla="*/ 1214612 h 6479439"/>
                <a:gd name="connsiteX7366" fmla="*/ 6696651 w 9586368"/>
                <a:gd name="connsiteY7366" fmla="*/ 1210573 h 6479439"/>
                <a:gd name="connsiteX7367" fmla="*/ 6696651 w 9586368"/>
                <a:gd name="connsiteY7367" fmla="*/ 1200702 h 6479439"/>
                <a:gd name="connsiteX7368" fmla="*/ 6461356 w 9586368"/>
                <a:gd name="connsiteY7368" fmla="*/ 1196664 h 6479439"/>
                <a:gd name="connsiteX7369" fmla="*/ 6471266 w 9586368"/>
                <a:gd name="connsiteY7369" fmla="*/ 1196664 h 6479439"/>
                <a:gd name="connsiteX7370" fmla="*/ 6475285 w 9586368"/>
                <a:gd name="connsiteY7370" fmla="*/ 1200702 h 6479439"/>
                <a:gd name="connsiteX7371" fmla="*/ 6475285 w 9586368"/>
                <a:gd name="connsiteY7371" fmla="*/ 1210573 h 6479439"/>
                <a:gd name="connsiteX7372" fmla="*/ 6471266 w 9586368"/>
                <a:gd name="connsiteY7372" fmla="*/ 1214612 h 6479439"/>
                <a:gd name="connsiteX7373" fmla="*/ 6461356 w 9586368"/>
                <a:gd name="connsiteY7373" fmla="*/ 1214612 h 6479439"/>
                <a:gd name="connsiteX7374" fmla="*/ 6457337 w 9586368"/>
                <a:gd name="connsiteY7374" fmla="*/ 1210573 h 6479439"/>
                <a:gd name="connsiteX7375" fmla="*/ 6457337 w 9586368"/>
                <a:gd name="connsiteY7375" fmla="*/ 1200702 h 6479439"/>
                <a:gd name="connsiteX7376" fmla="*/ 7418611 w 9586368"/>
                <a:gd name="connsiteY7376" fmla="*/ 1196652 h 6479439"/>
                <a:gd name="connsiteX7377" fmla="*/ 7428521 w 9586368"/>
                <a:gd name="connsiteY7377" fmla="*/ 1196652 h 6479439"/>
                <a:gd name="connsiteX7378" fmla="*/ 7432540 w 9586368"/>
                <a:gd name="connsiteY7378" fmla="*/ 1200690 h 6479439"/>
                <a:gd name="connsiteX7379" fmla="*/ 7432540 w 9586368"/>
                <a:gd name="connsiteY7379" fmla="*/ 1210561 h 6479439"/>
                <a:gd name="connsiteX7380" fmla="*/ 7428521 w 9586368"/>
                <a:gd name="connsiteY7380" fmla="*/ 1214600 h 6479439"/>
                <a:gd name="connsiteX7381" fmla="*/ 7418611 w 9586368"/>
                <a:gd name="connsiteY7381" fmla="*/ 1214600 h 6479439"/>
                <a:gd name="connsiteX7382" fmla="*/ 7414592 w 9586368"/>
                <a:gd name="connsiteY7382" fmla="*/ 1210561 h 6479439"/>
                <a:gd name="connsiteX7383" fmla="*/ 7414592 w 9586368"/>
                <a:gd name="connsiteY7383" fmla="*/ 1200690 h 6479439"/>
                <a:gd name="connsiteX7384" fmla="*/ 7179298 w 9586368"/>
                <a:gd name="connsiteY7384" fmla="*/ 1196652 h 6479439"/>
                <a:gd name="connsiteX7385" fmla="*/ 7189209 w 9586368"/>
                <a:gd name="connsiteY7385" fmla="*/ 1196652 h 6479439"/>
                <a:gd name="connsiteX7386" fmla="*/ 7193228 w 9586368"/>
                <a:gd name="connsiteY7386" fmla="*/ 1200690 h 6479439"/>
                <a:gd name="connsiteX7387" fmla="*/ 7193228 w 9586368"/>
                <a:gd name="connsiteY7387" fmla="*/ 1210561 h 6479439"/>
                <a:gd name="connsiteX7388" fmla="*/ 7189209 w 9586368"/>
                <a:gd name="connsiteY7388" fmla="*/ 1214600 h 6479439"/>
                <a:gd name="connsiteX7389" fmla="*/ 7179298 w 9586368"/>
                <a:gd name="connsiteY7389" fmla="*/ 1214600 h 6479439"/>
                <a:gd name="connsiteX7390" fmla="*/ 7175279 w 9586368"/>
                <a:gd name="connsiteY7390" fmla="*/ 1210561 h 6479439"/>
                <a:gd name="connsiteX7391" fmla="*/ 7175279 w 9586368"/>
                <a:gd name="connsiteY7391" fmla="*/ 1200690 h 6479439"/>
                <a:gd name="connsiteX7392" fmla="*/ 8136553 w 9586368"/>
                <a:gd name="connsiteY7392" fmla="*/ 1196651 h 6479439"/>
                <a:gd name="connsiteX7393" fmla="*/ 8146464 w 9586368"/>
                <a:gd name="connsiteY7393" fmla="*/ 1196651 h 6479439"/>
                <a:gd name="connsiteX7394" fmla="*/ 8150483 w 9586368"/>
                <a:gd name="connsiteY7394" fmla="*/ 1200689 h 6479439"/>
                <a:gd name="connsiteX7395" fmla="*/ 8150483 w 9586368"/>
                <a:gd name="connsiteY7395" fmla="*/ 1210561 h 6479439"/>
                <a:gd name="connsiteX7396" fmla="*/ 8146464 w 9586368"/>
                <a:gd name="connsiteY7396" fmla="*/ 1214600 h 6479439"/>
                <a:gd name="connsiteX7397" fmla="*/ 8136553 w 9586368"/>
                <a:gd name="connsiteY7397" fmla="*/ 1214600 h 6479439"/>
                <a:gd name="connsiteX7398" fmla="*/ 8132534 w 9586368"/>
                <a:gd name="connsiteY7398" fmla="*/ 1210561 h 6479439"/>
                <a:gd name="connsiteX7399" fmla="*/ 8132534 w 9586368"/>
                <a:gd name="connsiteY7399" fmla="*/ 1200689 h 6479439"/>
                <a:gd name="connsiteX7400" fmla="*/ 7897241 w 9586368"/>
                <a:gd name="connsiteY7400" fmla="*/ 1196651 h 6479439"/>
                <a:gd name="connsiteX7401" fmla="*/ 7907151 w 9586368"/>
                <a:gd name="connsiteY7401" fmla="*/ 1196651 h 6479439"/>
                <a:gd name="connsiteX7402" fmla="*/ 7911170 w 9586368"/>
                <a:gd name="connsiteY7402" fmla="*/ 1200689 h 6479439"/>
                <a:gd name="connsiteX7403" fmla="*/ 7911170 w 9586368"/>
                <a:gd name="connsiteY7403" fmla="*/ 1210561 h 6479439"/>
                <a:gd name="connsiteX7404" fmla="*/ 7907151 w 9586368"/>
                <a:gd name="connsiteY7404" fmla="*/ 1214600 h 6479439"/>
                <a:gd name="connsiteX7405" fmla="*/ 7897241 w 9586368"/>
                <a:gd name="connsiteY7405" fmla="*/ 1214600 h 6479439"/>
                <a:gd name="connsiteX7406" fmla="*/ 7893222 w 9586368"/>
                <a:gd name="connsiteY7406" fmla="*/ 1210561 h 6479439"/>
                <a:gd name="connsiteX7407" fmla="*/ 7893222 w 9586368"/>
                <a:gd name="connsiteY7407" fmla="*/ 1200689 h 6479439"/>
                <a:gd name="connsiteX7408" fmla="*/ 7657926 w 9586368"/>
                <a:gd name="connsiteY7408" fmla="*/ 1196651 h 6479439"/>
                <a:gd name="connsiteX7409" fmla="*/ 7667836 w 9586368"/>
                <a:gd name="connsiteY7409" fmla="*/ 1196651 h 6479439"/>
                <a:gd name="connsiteX7410" fmla="*/ 7671855 w 9586368"/>
                <a:gd name="connsiteY7410" fmla="*/ 1200689 h 6479439"/>
                <a:gd name="connsiteX7411" fmla="*/ 7671855 w 9586368"/>
                <a:gd name="connsiteY7411" fmla="*/ 1210561 h 6479439"/>
                <a:gd name="connsiteX7412" fmla="*/ 7667836 w 9586368"/>
                <a:gd name="connsiteY7412" fmla="*/ 1214600 h 6479439"/>
                <a:gd name="connsiteX7413" fmla="*/ 7657926 w 9586368"/>
                <a:gd name="connsiteY7413" fmla="*/ 1214600 h 6479439"/>
                <a:gd name="connsiteX7414" fmla="*/ 7653906 w 9586368"/>
                <a:gd name="connsiteY7414" fmla="*/ 1210561 h 6479439"/>
                <a:gd name="connsiteX7415" fmla="*/ 7653906 w 9586368"/>
                <a:gd name="connsiteY7415" fmla="*/ 1200689 h 6479439"/>
                <a:gd name="connsiteX7416" fmla="*/ 8615184 w 9586368"/>
                <a:gd name="connsiteY7416" fmla="*/ 1196639 h 6479439"/>
                <a:gd name="connsiteX7417" fmla="*/ 8625095 w 9586368"/>
                <a:gd name="connsiteY7417" fmla="*/ 1196639 h 6479439"/>
                <a:gd name="connsiteX7418" fmla="*/ 8629114 w 9586368"/>
                <a:gd name="connsiteY7418" fmla="*/ 1200678 h 6479439"/>
                <a:gd name="connsiteX7419" fmla="*/ 8629114 w 9586368"/>
                <a:gd name="connsiteY7419" fmla="*/ 1210548 h 6479439"/>
                <a:gd name="connsiteX7420" fmla="*/ 8625095 w 9586368"/>
                <a:gd name="connsiteY7420" fmla="*/ 1214587 h 6479439"/>
                <a:gd name="connsiteX7421" fmla="*/ 8615184 w 9586368"/>
                <a:gd name="connsiteY7421" fmla="*/ 1214587 h 6479439"/>
                <a:gd name="connsiteX7422" fmla="*/ 8611165 w 9586368"/>
                <a:gd name="connsiteY7422" fmla="*/ 1210548 h 6479439"/>
                <a:gd name="connsiteX7423" fmla="*/ 8611165 w 9586368"/>
                <a:gd name="connsiteY7423" fmla="*/ 1200678 h 6479439"/>
                <a:gd name="connsiteX7424" fmla="*/ 8375869 w 9586368"/>
                <a:gd name="connsiteY7424" fmla="*/ 1196639 h 6479439"/>
                <a:gd name="connsiteX7425" fmla="*/ 8385779 w 9586368"/>
                <a:gd name="connsiteY7425" fmla="*/ 1196639 h 6479439"/>
                <a:gd name="connsiteX7426" fmla="*/ 8389799 w 9586368"/>
                <a:gd name="connsiteY7426" fmla="*/ 1200678 h 6479439"/>
                <a:gd name="connsiteX7427" fmla="*/ 8389799 w 9586368"/>
                <a:gd name="connsiteY7427" fmla="*/ 1210549 h 6479439"/>
                <a:gd name="connsiteX7428" fmla="*/ 8385779 w 9586368"/>
                <a:gd name="connsiteY7428" fmla="*/ 1214587 h 6479439"/>
                <a:gd name="connsiteX7429" fmla="*/ 8375869 w 9586368"/>
                <a:gd name="connsiteY7429" fmla="*/ 1214587 h 6479439"/>
                <a:gd name="connsiteX7430" fmla="*/ 8371850 w 9586368"/>
                <a:gd name="connsiteY7430" fmla="*/ 1210549 h 6479439"/>
                <a:gd name="connsiteX7431" fmla="*/ 8371850 w 9586368"/>
                <a:gd name="connsiteY7431" fmla="*/ 1200678 h 6479439"/>
                <a:gd name="connsiteX7432" fmla="*/ 9333125 w 9586368"/>
                <a:gd name="connsiteY7432" fmla="*/ 1196639 h 6479439"/>
                <a:gd name="connsiteX7433" fmla="*/ 9343036 w 9586368"/>
                <a:gd name="connsiteY7433" fmla="*/ 1196639 h 6479439"/>
                <a:gd name="connsiteX7434" fmla="*/ 9347055 w 9586368"/>
                <a:gd name="connsiteY7434" fmla="*/ 1200677 h 6479439"/>
                <a:gd name="connsiteX7435" fmla="*/ 9347055 w 9586368"/>
                <a:gd name="connsiteY7435" fmla="*/ 1210548 h 6479439"/>
                <a:gd name="connsiteX7436" fmla="*/ 9343036 w 9586368"/>
                <a:gd name="connsiteY7436" fmla="*/ 1214587 h 6479439"/>
                <a:gd name="connsiteX7437" fmla="*/ 9333125 w 9586368"/>
                <a:gd name="connsiteY7437" fmla="*/ 1214587 h 6479439"/>
                <a:gd name="connsiteX7438" fmla="*/ 9329106 w 9586368"/>
                <a:gd name="connsiteY7438" fmla="*/ 1210548 h 6479439"/>
                <a:gd name="connsiteX7439" fmla="*/ 9329106 w 9586368"/>
                <a:gd name="connsiteY7439" fmla="*/ 1200677 h 6479439"/>
                <a:gd name="connsiteX7440" fmla="*/ 9093811 w 9586368"/>
                <a:gd name="connsiteY7440" fmla="*/ 1196639 h 6479439"/>
                <a:gd name="connsiteX7441" fmla="*/ 9103722 w 9586368"/>
                <a:gd name="connsiteY7441" fmla="*/ 1196639 h 6479439"/>
                <a:gd name="connsiteX7442" fmla="*/ 9107741 w 9586368"/>
                <a:gd name="connsiteY7442" fmla="*/ 1200677 h 6479439"/>
                <a:gd name="connsiteX7443" fmla="*/ 9107741 w 9586368"/>
                <a:gd name="connsiteY7443" fmla="*/ 1210548 h 6479439"/>
                <a:gd name="connsiteX7444" fmla="*/ 9103722 w 9586368"/>
                <a:gd name="connsiteY7444" fmla="*/ 1214587 h 6479439"/>
                <a:gd name="connsiteX7445" fmla="*/ 9093811 w 9586368"/>
                <a:gd name="connsiteY7445" fmla="*/ 1214587 h 6479439"/>
                <a:gd name="connsiteX7446" fmla="*/ 9089792 w 9586368"/>
                <a:gd name="connsiteY7446" fmla="*/ 1210548 h 6479439"/>
                <a:gd name="connsiteX7447" fmla="*/ 9089792 w 9586368"/>
                <a:gd name="connsiteY7447" fmla="*/ 1200677 h 6479439"/>
                <a:gd name="connsiteX7448" fmla="*/ 8854496 w 9586368"/>
                <a:gd name="connsiteY7448" fmla="*/ 1196639 h 6479439"/>
                <a:gd name="connsiteX7449" fmla="*/ 8864407 w 9586368"/>
                <a:gd name="connsiteY7449" fmla="*/ 1196639 h 6479439"/>
                <a:gd name="connsiteX7450" fmla="*/ 8868426 w 9586368"/>
                <a:gd name="connsiteY7450" fmla="*/ 1200677 h 6479439"/>
                <a:gd name="connsiteX7451" fmla="*/ 8868426 w 9586368"/>
                <a:gd name="connsiteY7451" fmla="*/ 1210548 h 6479439"/>
                <a:gd name="connsiteX7452" fmla="*/ 8864407 w 9586368"/>
                <a:gd name="connsiteY7452" fmla="*/ 1214587 h 6479439"/>
                <a:gd name="connsiteX7453" fmla="*/ 8854496 w 9586368"/>
                <a:gd name="connsiteY7453" fmla="*/ 1214587 h 6479439"/>
                <a:gd name="connsiteX7454" fmla="*/ 8850477 w 9586368"/>
                <a:gd name="connsiteY7454" fmla="*/ 1210548 h 6479439"/>
                <a:gd name="connsiteX7455" fmla="*/ 8850477 w 9586368"/>
                <a:gd name="connsiteY7455" fmla="*/ 1200677 h 6479439"/>
                <a:gd name="connsiteX7456" fmla="*/ 9572438 w 9586368"/>
                <a:gd name="connsiteY7456" fmla="*/ 1196627 h 6479439"/>
                <a:gd name="connsiteX7457" fmla="*/ 9582349 w 9586368"/>
                <a:gd name="connsiteY7457" fmla="*/ 1196627 h 6479439"/>
                <a:gd name="connsiteX7458" fmla="*/ 9586368 w 9586368"/>
                <a:gd name="connsiteY7458" fmla="*/ 1200665 h 6479439"/>
                <a:gd name="connsiteX7459" fmla="*/ 9586368 w 9586368"/>
                <a:gd name="connsiteY7459" fmla="*/ 1210536 h 6479439"/>
                <a:gd name="connsiteX7460" fmla="*/ 9582349 w 9586368"/>
                <a:gd name="connsiteY7460" fmla="*/ 1214575 h 6479439"/>
                <a:gd name="connsiteX7461" fmla="*/ 9572438 w 9586368"/>
                <a:gd name="connsiteY7461" fmla="*/ 1214575 h 6479439"/>
                <a:gd name="connsiteX7462" fmla="*/ 9568419 w 9586368"/>
                <a:gd name="connsiteY7462" fmla="*/ 1210536 h 6479439"/>
                <a:gd name="connsiteX7463" fmla="*/ 9568419 w 9586368"/>
                <a:gd name="connsiteY7463" fmla="*/ 1200665 h 6479439"/>
                <a:gd name="connsiteX7464" fmla="*/ 4035 w 9586368"/>
                <a:gd name="connsiteY7464" fmla="*/ 1196600 h 6479439"/>
                <a:gd name="connsiteX7465" fmla="*/ 13945 w 9586368"/>
                <a:gd name="connsiteY7465" fmla="*/ 1196600 h 6479439"/>
                <a:gd name="connsiteX7466" fmla="*/ 17964 w 9586368"/>
                <a:gd name="connsiteY7466" fmla="*/ 1200638 h 6479439"/>
                <a:gd name="connsiteX7467" fmla="*/ 17964 w 9586368"/>
                <a:gd name="connsiteY7467" fmla="*/ 1210509 h 6479439"/>
                <a:gd name="connsiteX7468" fmla="*/ 13945 w 9586368"/>
                <a:gd name="connsiteY7468" fmla="*/ 1214548 h 6479439"/>
                <a:gd name="connsiteX7469" fmla="*/ 4035 w 9586368"/>
                <a:gd name="connsiteY7469" fmla="*/ 1214548 h 6479439"/>
                <a:gd name="connsiteX7470" fmla="*/ 16 w 9586368"/>
                <a:gd name="connsiteY7470" fmla="*/ 1210509 h 6479439"/>
                <a:gd name="connsiteX7471" fmla="*/ 16 w 9586368"/>
                <a:gd name="connsiteY7471" fmla="*/ 1200638 h 6479439"/>
                <a:gd name="connsiteX7472" fmla="*/ 721974 w 9586368"/>
                <a:gd name="connsiteY7472" fmla="*/ 1196599 h 6479439"/>
                <a:gd name="connsiteX7473" fmla="*/ 731884 w 9586368"/>
                <a:gd name="connsiteY7473" fmla="*/ 1196599 h 6479439"/>
                <a:gd name="connsiteX7474" fmla="*/ 735903 w 9586368"/>
                <a:gd name="connsiteY7474" fmla="*/ 1200638 h 6479439"/>
                <a:gd name="connsiteX7475" fmla="*/ 735903 w 9586368"/>
                <a:gd name="connsiteY7475" fmla="*/ 1210509 h 6479439"/>
                <a:gd name="connsiteX7476" fmla="*/ 731884 w 9586368"/>
                <a:gd name="connsiteY7476" fmla="*/ 1214547 h 6479439"/>
                <a:gd name="connsiteX7477" fmla="*/ 721974 w 9586368"/>
                <a:gd name="connsiteY7477" fmla="*/ 1214547 h 6479439"/>
                <a:gd name="connsiteX7478" fmla="*/ 717955 w 9586368"/>
                <a:gd name="connsiteY7478" fmla="*/ 1210509 h 6479439"/>
                <a:gd name="connsiteX7479" fmla="*/ 717955 w 9586368"/>
                <a:gd name="connsiteY7479" fmla="*/ 1200638 h 6479439"/>
                <a:gd name="connsiteX7480" fmla="*/ 482661 w 9586368"/>
                <a:gd name="connsiteY7480" fmla="*/ 1196599 h 6479439"/>
                <a:gd name="connsiteX7481" fmla="*/ 492572 w 9586368"/>
                <a:gd name="connsiteY7481" fmla="*/ 1196599 h 6479439"/>
                <a:gd name="connsiteX7482" fmla="*/ 496591 w 9586368"/>
                <a:gd name="connsiteY7482" fmla="*/ 1200638 h 6479439"/>
                <a:gd name="connsiteX7483" fmla="*/ 496591 w 9586368"/>
                <a:gd name="connsiteY7483" fmla="*/ 1210509 h 6479439"/>
                <a:gd name="connsiteX7484" fmla="*/ 492572 w 9586368"/>
                <a:gd name="connsiteY7484" fmla="*/ 1214548 h 6479439"/>
                <a:gd name="connsiteX7485" fmla="*/ 482661 w 9586368"/>
                <a:gd name="connsiteY7485" fmla="*/ 1214548 h 6479439"/>
                <a:gd name="connsiteX7486" fmla="*/ 478642 w 9586368"/>
                <a:gd name="connsiteY7486" fmla="*/ 1210509 h 6479439"/>
                <a:gd name="connsiteX7487" fmla="*/ 478642 w 9586368"/>
                <a:gd name="connsiteY7487" fmla="*/ 1200638 h 6479439"/>
                <a:gd name="connsiteX7488" fmla="*/ 243348 w 9586368"/>
                <a:gd name="connsiteY7488" fmla="*/ 1196599 h 6479439"/>
                <a:gd name="connsiteX7489" fmla="*/ 253258 w 9586368"/>
                <a:gd name="connsiteY7489" fmla="*/ 1196599 h 6479439"/>
                <a:gd name="connsiteX7490" fmla="*/ 257278 w 9586368"/>
                <a:gd name="connsiteY7490" fmla="*/ 1200638 h 6479439"/>
                <a:gd name="connsiteX7491" fmla="*/ 257278 w 9586368"/>
                <a:gd name="connsiteY7491" fmla="*/ 1210509 h 6479439"/>
                <a:gd name="connsiteX7492" fmla="*/ 253258 w 9586368"/>
                <a:gd name="connsiteY7492" fmla="*/ 1214548 h 6479439"/>
                <a:gd name="connsiteX7493" fmla="*/ 243348 w 9586368"/>
                <a:gd name="connsiteY7493" fmla="*/ 1214548 h 6479439"/>
                <a:gd name="connsiteX7494" fmla="*/ 239329 w 9586368"/>
                <a:gd name="connsiteY7494" fmla="*/ 1210509 h 6479439"/>
                <a:gd name="connsiteX7495" fmla="*/ 239329 w 9586368"/>
                <a:gd name="connsiteY7495" fmla="*/ 1200638 h 6479439"/>
                <a:gd name="connsiteX7496" fmla="*/ 1439900 w 9586368"/>
                <a:gd name="connsiteY7496" fmla="*/ 1196589 h 6479439"/>
                <a:gd name="connsiteX7497" fmla="*/ 1449810 w 9586368"/>
                <a:gd name="connsiteY7497" fmla="*/ 1196589 h 6479439"/>
                <a:gd name="connsiteX7498" fmla="*/ 1453829 w 9586368"/>
                <a:gd name="connsiteY7498" fmla="*/ 1200628 h 6479439"/>
                <a:gd name="connsiteX7499" fmla="*/ 1453829 w 9586368"/>
                <a:gd name="connsiteY7499" fmla="*/ 1210498 h 6479439"/>
                <a:gd name="connsiteX7500" fmla="*/ 1449810 w 9586368"/>
                <a:gd name="connsiteY7500" fmla="*/ 1214537 h 6479439"/>
                <a:gd name="connsiteX7501" fmla="*/ 1439900 w 9586368"/>
                <a:gd name="connsiteY7501" fmla="*/ 1214537 h 6479439"/>
                <a:gd name="connsiteX7502" fmla="*/ 1435881 w 9586368"/>
                <a:gd name="connsiteY7502" fmla="*/ 1210498 h 6479439"/>
                <a:gd name="connsiteX7503" fmla="*/ 1435881 w 9586368"/>
                <a:gd name="connsiteY7503" fmla="*/ 1200628 h 6479439"/>
                <a:gd name="connsiteX7504" fmla="*/ 1200584 w 9586368"/>
                <a:gd name="connsiteY7504" fmla="*/ 1196589 h 6479439"/>
                <a:gd name="connsiteX7505" fmla="*/ 1210494 w 9586368"/>
                <a:gd name="connsiteY7505" fmla="*/ 1196589 h 6479439"/>
                <a:gd name="connsiteX7506" fmla="*/ 1214512 w 9586368"/>
                <a:gd name="connsiteY7506" fmla="*/ 1200628 h 6479439"/>
                <a:gd name="connsiteX7507" fmla="*/ 1214512 w 9586368"/>
                <a:gd name="connsiteY7507" fmla="*/ 1210498 h 6479439"/>
                <a:gd name="connsiteX7508" fmla="*/ 1210494 w 9586368"/>
                <a:gd name="connsiteY7508" fmla="*/ 1214537 h 6479439"/>
                <a:gd name="connsiteX7509" fmla="*/ 1200584 w 9586368"/>
                <a:gd name="connsiteY7509" fmla="*/ 1214537 h 6479439"/>
                <a:gd name="connsiteX7510" fmla="*/ 1196565 w 9586368"/>
                <a:gd name="connsiteY7510" fmla="*/ 1210498 h 6479439"/>
                <a:gd name="connsiteX7511" fmla="*/ 1196565 w 9586368"/>
                <a:gd name="connsiteY7511" fmla="*/ 1200628 h 6479439"/>
                <a:gd name="connsiteX7512" fmla="*/ 961271 w 9586368"/>
                <a:gd name="connsiteY7512" fmla="*/ 1196589 h 6479439"/>
                <a:gd name="connsiteX7513" fmla="*/ 971181 w 9586368"/>
                <a:gd name="connsiteY7513" fmla="*/ 1196589 h 6479439"/>
                <a:gd name="connsiteX7514" fmla="*/ 975200 w 9586368"/>
                <a:gd name="connsiteY7514" fmla="*/ 1200628 h 6479439"/>
                <a:gd name="connsiteX7515" fmla="*/ 975200 w 9586368"/>
                <a:gd name="connsiteY7515" fmla="*/ 1210499 h 6479439"/>
                <a:gd name="connsiteX7516" fmla="*/ 971181 w 9586368"/>
                <a:gd name="connsiteY7516" fmla="*/ 1214537 h 6479439"/>
                <a:gd name="connsiteX7517" fmla="*/ 961271 w 9586368"/>
                <a:gd name="connsiteY7517" fmla="*/ 1214537 h 6479439"/>
                <a:gd name="connsiteX7518" fmla="*/ 957253 w 9586368"/>
                <a:gd name="connsiteY7518" fmla="*/ 1210499 h 6479439"/>
                <a:gd name="connsiteX7519" fmla="*/ 957253 w 9586368"/>
                <a:gd name="connsiteY7519" fmla="*/ 1200628 h 6479439"/>
                <a:gd name="connsiteX7520" fmla="*/ 1679217 w 9586368"/>
                <a:gd name="connsiteY7520" fmla="*/ 1196589 h 6479439"/>
                <a:gd name="connsiteX7521" fmla="*/ 1689127 w 9586368"/>
                <a:gd name="connsiteY7521" fmla="*/ 1196589 h 6479439"/>
                <a:gd name="connsiteX7522" fmla="*/ 1693146 w 9586368"/>
                <a:gd name="connsiteY7522" fmla="*/ 1200627 h 6479439"/>
                <a:gd name="connsiteX7523" fmla="*/ 1693146 w 9586368"/>
                <a:gd name="connsiteY7523" fmla="*/ 1210498 h 6479439"/>
                <a:gd name="connsiteX7524" fmla="*/ 1689127 w 9586368"/>
                <a:gd name="connsiteY7524" fmla="*/ 1214537 h 6479439"/>
                <a:gd name="connsiteX7525" fmla="*/ 1679217 w 9586368"/>
                <a:gd name="connsiteY7525" fmla="*/ 1214537 h 6479439"/>
                <a:gd name="connsiteX7526" fmla="*/ 1675198 w 9586368"/>
                <a:gd name="connsiteY7526" fmla="*/ 1210498 h 6479439"/>
                <a:gd name="connsiteX7527" fmla="*/ 1675198 w 9586368"/>
                <a:gd name="connsiteY7527" fmla="*/ 1200627 h 6479439"/>
                <a:gd name="connsiteX7528" fmla="*/ 1918514 w 9586368"/>
                <a:gd name="connsiteY7528" fmla="*/ 1196581 h 6479439"/>
                <a:gd name="connsiteX7529" fmla="*/ 1928424 w 9586368"/>
                <a:gd name="connsiteY7529" fmla="*/ 1196581 h 6479439"/>
                <a:gd name="connsiteX7530" fmla="*/ 1932443 w 9586368"/>
                <a:gd name="connsiteY7530" fmla="*/ 1200619 h 6479439"/>
                <a:gd name="connsiteX7531" fmla="*/ 1932443 w 9586368"/>
                <a:gd name="connsiteY7531" fmla="*/ 1210489 h 6479439"/>
                <a:gd name="connsiteX7532" fmla="*/ 1928424 w 9586368"/>
                <a:gd name="connsiteY7532" fmla="*/ 1214528 h 6479439"/>
                <a:gd name="connsiteX7533" fmla="*/ 1918514 w 9586368"/>
                <a:gd name="connsiteY7533" fmla="*/ 1214528 h 6479439"/>
                <a:gd name="connsiteX7534" fmla="*/ 1914495 w 9586368"/>
                <a:gd name="connsiteY7534" fmla="*/ 1210489 h 6479439"/>
                <a:gd name="connsiteX7535" fmla="*/ 1914495 w 9586368"/>
                <a:gd name="connsiteY7535" fmla="*/ 1200619 h 6479439"/>
                <a:gd name="connsiteX7536" fmla="*/ 2157823 w 9586368"/>
                <a:gd name="connsiteY7536" fmla="*/ 1196578 h 6479439"/>
                <a:gd name="connsiteX7537" fmla="*/ 2167733 w 9586368"/>
                <a:gd name="connsiteY7537" fmla="*/ 1196578 h 6479439"/>
                <a:gd name="connsiteX7538" fmla="*/ 2171751 w 9586368"/>
                <a:gd name="connsiteY7538" fmla="*/ 1200617 h 6479439"/>
                <a:gd name="connsiteX7539" fmla="*/ 2171751 w 9586368"/>
                <a:gd name="connsiteY7539" fmla="*/ 1210488 h 6479439"/>
                <a:gd name="connsiteX7540" fmla="*/ 2167733 w 9586368"/>
                <a:gd name="connsiteY7540" fmla="*/ 1214526 h 6479439"/>
                <a:gd name="connsiteX7541" fmla="*/ 2157823 w 9586368"/>
                <a:gd name="connsiteY7541" fmla="*/ 1214526 h 6479439"/>
                <a:gd name="connsiteX7542" fmla="*/ 2153803 w 9586368"/>
                <a:gd name="connsiteY7542" fmla="*/ 1210488 h 6479439"/>
                <a:gd name="connsiteX7543" fmla="*/ 2153803 w 9586368"/>
                <a:gd name="connsiteY7543" fmla="*/ 1200617 h 6479439"/>
                <a:gd name="connsiteX7544" fmla="*/ 3350359 w 9586368"/>
                <a:gd name="connsiteY7544" fmla="*/ 957358 h 6479439"/>
                <a:gd name="connsiteX7545" fmla="*/ 3360268 w 9586368"/>
                <a:gd name="connsiteY7545" fmla="*/ 957358 h 6479439"/>
                <a:gd name="connsiteX7546" fmla="*/ 3364287 w 9586368"/>
                <a:gd name="connsiteY7546" fmla="*/ 961396 h 6479439"/>
                <a:gd name="connsiteX7547" fmla="*/ 3364287 w 9586368"/>
                <a:gd name="connsiteY7547" fmla="*/ 971266 h 6479439"/>
                <a:gd name="connsiteX7548" fmla="*/ 3360268 w 9586368"/>
                <a:gd name="connsiteY7548" fmla="*/ 975304 h 6479439"/>
                <a:gd name="connsiteX7549" fmla="*/ 3350359 w 9586368"/>
                <a:gd name="connsiteY7549" fmla="*/ 975304 h 6479439"/>
                <a:gd name="connsiteX7550" fmla="*/ 3346340 w 9586368"/>
                <a:gd name="connsiteY7550" fmla="*/ 971266 h 6479439"/>
                <a:gd name="connsiteX7551" fmla="*/ 3346340 w 9586368"/>
                <a:gd name="connsiteY7551" fmla="*/ 961396 h 6479439"/>
                <a:gd name="connsiteX7552" fmla="*/ 3111048 w 9586368"/>
                <a:gd name="connsiteY7552" fmla="*/ 957358 h 6479439"/>
                <a:gd name="connsiteX7553" fmla="*/ 3120959 w 9586368"/>
                <a:gd name="connsiteY7553" fmla="*/ 957358 h 6479439"/>
                <a:gd name="connsiteX7554" fmla="*/ 3124977 w 9586368"/>
                <a:gd name="connsiteY7554" fmla="*/ 961396 h 6479439"/>
                <a:gd name="connsiteX7555" fmla="*/ 3124977 w 9586368"/>
                <a:gd name="connsiteY7555" fmla="*/ 971266 h 6479439"/>
                <a:gd name="connsiteX7556" fmla="*/ 3120959 w 9586368"/>
                <a:gd name="connsiteY7556" fmla="*/ 975304 h 6479439"/>
                <a:gd name="connsiteX7557" fmla="*/ 3111048 w 9586368"/>
                <a:gd name="connsiteY7557" fmla="*/ 975304 h 6479439"/>
                <a:gd name="connsiteX7558" fmla="*/ 3107029 w 9586368"/>
                <a:gd name="connsiteY7558" fmla="*/ 971266 h 6479439"/>
                <a:gd name="connsiteX7559" fmla="*/ 3107029 w 9586368"/>
                <a:gd name="connsiteY7559" fmla="*/ 961396 h 6479439"/>
                <a:gd name="connsiteX7560" fmla="*/ 2871737 w 9586368"/>
                <a:gd name="connsiteY7560" fmla="*/ 957358 h 6479439"/>
                <a:gd name="connsiteX7561" fmla="*/ 2881646 w 9586368"/>
                <a:gd name="connsiteY7561" fmla="*/ 957358 h 6479439"/>
                <a:gd name="connsiteX7562" fmla="*/ 2885666 w 9586368"/>
                <a:gd name="connsiteY7562" fmla="*/ 961396 h 6479439"/>
                <a:gd name="connsiteX7563" fmla="*/ 2885666 w 9586368"/>
                <a:gd name="connsiteY7563" fmla="*/ 971266 h 6479439"/>
                <a:gd name="connsiteX7564" fmla="*/ 2881646 w 9586368"/>
                <a:gd name="connsiteY7564" fmla="*/ 975304 h 6479439"/>
                <a:gd name="connsiteX7565" fmla="*/ 2871737 w 9586368"/>
                <a:gd name="connsiteY7565" fmla="*/ 975304 h 6479439"/>
                <a:gd name="connsiteX7566" fmla="*/ 2867717 w 9586368"/>
                <a:gd name="connsiteY7566" fmla="*/ 971266 h 6479439"/>
                <a:gd name="connsiteX7567" fmla="*/ 2867717 w 9586368"/>
                <a:gd name="connsiteY7567" fmla="*/ 961396 h 6479439"/>
                <a:gd name="connsiteX7568" fmla="*/ 2632423 w 9586368"/>
                <a:gd name="connsiteY7568" fmla="*/ 957358 h 6479439"/>
                <a:gd name="connsiteX7569" fmla="*/ 2642334 w 9586368"/>
                <a:gd name="connsiteY7569" fmla="*/ 957358 h 6479439"/>
                <a:gd name="connsiteX7570" fmla="*/ 2646352 w 9586368"/>
                <a:gd name="connsiteY7570" fmla="*/ 961396 h 6479439"/>
                <a:gd name="connsiteX7571" fmla="*/ 2646352 w 9586368"/>
                <a:gd name="connsiteY7571" fmla="*/ 971266 h 6479439"/>
                <a:gd name="connsiteX7572" fmla="*/ 2642334 w 9586368"/>
                <a:gd name="connsiteY7572" fmla="*/ 975305 h 6479439"/>
                <a:gd name="connsiteX7573" fmla="*/ 2632423 w 9586368"/>
                <a:gd name="connsiteY7573" fmla="*/ 975305 h 6479439"/>
                <a:gd name="connsiteX7574" fmla="*/ 2628404 w 9586368"/>
                <a:gd name="connsiteY7574" fmla="*/ 971266 h 6479439"/>
                <a:gd name="connsiteX7575" fmla="*/ 2628404 w 9586368"/>
                <a:gd name="connsiteY7575" fmla="*/ 961396 h 6479439"/>
                <a:gd name="connsiteX7576" fmla="*/ 2393104 w 9586368"/>
                <a:gd name="connsiteY7576" fmla="*/ 957358 h 6479439"/>
                <a:gd name="connsiteX7577" fmla="*/ 2403015 w 9586368"/>
                <a:gd name="connsiteY7577" fmla="*/ 957358 h 6479439"/>
                <a:gd name="connsiteX7578" fmla="*/ 2407034 w 9586368"/>
                <a:gd name="connsiteY7578" fmla="*/ 961396 h 6479439"/>
                <a:gd name="connsiteX7579" fmla="*/ 2407034 w 9586368"/>
                <a:gd name="connsiteY7579" fmla="*/ 971266 h 6479439"/>
                <a:gd name="connsiteX7580" fmla="*/ 2403015 w 9586368"/>
                <a:gd name="connsiteY7580" fmla="*/ 975305 h 6479439"/>
                <a:gd name="connsiteX7581" fmla="*/ 2393104 w 9586368"/>
                <a:gd name="connsiteY7581" fmla="*/ 975305 h 6479439"/>
                <a:gd name="connsiteX7582" fmla="*/ 2389087 w 9586368"/>
                <a:gd name="connsiteY7582" fmla="*/ 971266 h 6479439"/>
                <a:gd name="connsiteX7583" fmla="*/ 2389087 w 9586368"/>
                <a:gd name="connsiteY7583" fmla="*/ 961396 h 6479439"/>
                <a:gd name="connsiteX7584" fmla="*/ 4546929 w 9586368"/>
                <a:gd name="connsiteY7584" fmla="*/ 957347 h 6479439"/>
                <a:gd name="connsiteX7585" fmla="*/ 4556840 w 9586368"/>
                <a:gd name="connsiteY7585" fmla="*/ 957347 h 6479439"/>
                <a:gd name="connsiteX7586" fmla="*/ 4560859 w 9586368"/>
                <a:gd name="connsiteY7586" fmla="*/ 961385 h 6479439"/>
                <a:gd name="connsiteX7587" fmla="*/ 4560859 w 9586368"/>
                <a:gd name="connsiteY7587" fmla="*/ 971255 h 6479439"/>
                <a:gd name="connsiteX7588" fmla="*/ 4556840 w 9586368"/>
                <a:gd name="connsiteY7588" fmla="*/ 975293 h 6479439"/>
                <a:gd name="connsiteX7589" fmla="*/ 4546929 w 9586368"/>
                <a:gd name="connsiteY7589" fmla="*/ 975293 h 6479439"/>
                <a:gd name="connsiteX7590" fmla="*/ 4542910 w 9586368"/>
                <a:gd name="connsiteY7590" fmla="*/ 971255 h 6479439"/>
                <a:gd name="connsiteX7591" fmla="*/ 4542910 w 9586368"/>
                <a:gd name="connsiteY7591" fmla="*/ 961385 h 6479439"/>
                <a:gd name="connsiteX7592" fmla="*/ 4307612 w 9586368"/>
                <a:gd name="connsiteY7592" fmla="*/ 957347 h 6479439"/>
                <a:gd name="connsiteX7593" fmla="*/ 4317523 w 9586368"/>
                <a:gd name="connsiteY7593" fmla="*/ 957347 h 6479439"/>
                <a:gd name="connsiteX7594" fmla="*/ 4321543 w 9586368"/>
                <a:gd name="connsiteY7594" fmla="*/ 961385 h 6479439"/>
                <a:gd name="connsiteX7595" fmla="*/ 4321543 w 9586368"/>
                <a:gd name="connsiteY7595" fmla="*/ 971255 h 6479439"/>
                <a:gd name="connsiteX7596" fmla="*/ 4317523 w 9586368"/>
                <a:gd name="connsiteY7596" fmla="*/ 975293 h 6479439"/>
                <a:gd name="connsiteX7597" fmla="*/ 4307612 w 9586368"/>
                <a:gd name="connsiteY7597" fmla="*/ 975293 h 6479439"/>
                <a:gd name="connsiteX7598" fmla="*/ 4303595 w 9586368"/>
                <a:gd name="connsiteY7598" fmla="*/ 971255 h 6479439"/>
                <a:gd name="connsiteX7599" fmla="*/ 4303595 w 9586368"/>
                <a:gd name="connsiteY7599" fmla="*/ 961385 h 6479439"/>
                <a:gd name="connsiteX7600" fmla="*/ 4068297 w 9586368"/>
                <a:gd name="connsiteY7600" fmla="*/ 957347 h 6479439"/>
                <a:gd name="connsiteX7601" fmla="*/ 4078210 w 9586368"/>
                <a:gd name="connsiteY7601" fmla="*/ 957347 h 6479439"/>
                <a:gd name="connsiteX7602" fmla="*/ 4082229 w 9586368"/>
                <a:gd name="connsiteY7602" fmla="*/ 961385 h 6479439"/>
                <a:gd name="connsiteX7603" fmla="*/ 4082229 w 9586368"/>
                <a:gd name="connsiteY7603" fmla="*/ 971255 h 6479439"/>
                <a:gd name="connsiteX7604" fmla="*/ 4078210 w 9586368"/>
                <a:gd name="connsiteY7604" fmla="*/ 975293 h 6479439"/>
                <a:gd name="connsiteX7605" fmla="*/ 4068297 w 9586368"/>
                <a:gd name="connsiteY7605" fmla="*/ 975293 h 6479439"/>
                <a:gd name="connsiteX7606" fmla="*/ 4064278 w 9586368"/>
                <a:gd name="connsiteY7606" fmla="*/ 971255 h 6479439"/>
                <a:gd name="connsiteX7607" fmla="*/ 4064278 w 9586368"/>
                <a:gd name="connsiteY7607" fmla="*/ 961385 h 6479439"/>
                <a:gd name="connsiteX7608" fmla="*/ 3828990 w 9586368"/>
                <a:gd name="connsiteY7608" fmla="*/ 957347 h 6479439"/>
                <a:gd name="connsiteX7609" fmla="*/ 3838899 w 9586368"/>
                <a:gd name="connsiteY7609" fmla="*/ 957347 h 6479439"/>
                <a:gd name="connsiteX7610" fmla="*/ 3842917 w 9586368"/>
                <a:gd name="connsiteY7610" fmla="*/ 961385 h 6479439"/>
                <a:gd name="connsiteX7611" fmla="*/ 3842917 w 9586368"/>
                <a:gd name="connsiteY7611" fmla="*/ 971255 h 6479439"/>
                <a:gd name="connsiteX7612" fmla="*/ 3838899 w 9586368"/>
                <a:gd name="connsiteY7612" fmla="*/ 975293 h 6479439"/>
                <a:gd name="connsiteX7613" fmla="*/ 3828990 w 9586368"/>
                <a:gd name="connsiteY7613" fmla="*/ 975293 h 6479439"/>
                <a:gd name="connsiteX7614" fmla="*/ 3824971 w 9586368"/>
                <a:gd name="connsiteY7614" fmla="*/ 971255 h 6479439"/>
                <a:gd name="connsiteX7615" fmla="*/ 3824971 w 9586368"/>
                <a:gd name="connsiteY7615" fmla="*/ 961385 h 6479439"/>
                <a:gd name="connsiteX7616" fmla="*/ 3589676 w 9586368"/>
                <a:gd name="connsiteY7616" fmla="*/ 957347 h 6479439"/>
                <a:gd name="connsiteX7617" fmla="*/ 3599585 w 9586368"/>
                <a:gd name="connsiteY7617" fmla="*/ 957347 h 6479439"/>
                <a:gd name="connsiteX7618" fmla="*/ 3603604 w 9586368"/>
                <a:gd name="connsiteY7618" fmla="*/ 961385 h 6479439"/>
                <a:gd name="connsiteX7619" fmla="*/ 3603604 w 9586368"/>
                <a:gd name="connsiteY7619" fmla="*/ 971255 h 6479439"/>
                <a:gd name="connsiteX7620" fmla="*/ 3599585 w 9586368"/>
                <a:gd name="connsiteY7620" fmla="*/ 975293 h 6479439"/>
                <a:gd name="connsiteX7621" fmla="*/ 3589676 w 9586368"/>
                <a:gd name="connsiteY7621" fmla="*/ 975293 h 6479439"/>
                <a:gd name="connsiteX7622" fmla="*/ 3585657 w 9586368"/>
                <a:gd name="connsiteY7622" fmla="*/ 971255 h 6479439"/>
                <a:gd name="connsiteX7623" fmla="*/ 3585657 w 9586368"/>
                <a:gd name="connsiteY7623" fmla="*/ 961385 h 6479439"/>
                <a:gd name="connsiteX7624" fmla="*/ 5743412 w 9586368"/>
                <a:gd name="connsiteY7624" fmla="*/ 957335 h 6479439"/>
                <a:gd name="connsiteX7625" fmla="*/ 5753323 w 9586368"/>
                <a:gd name="connsiteY7625" fmla="*/ 957335 h 6479439"/>
                <a:gd name="connsiteX7626" fmla="*/ 5757342 w 9586368"/>
                <a:gd name="connsiteY7626" fmla="*/ 961373 h 6479439"/>
                <a:gd name="connsiteX7627" fmla="*/ 5757342 w 9586368"/>
                <a:gd name="connsiteY7627" fmla="*/ 971244 h 6479439"/>
                <a:gd name="connsiteX7628" fmla="*/ 5753323 w 9586368"/>
                <a:gd name="connsiteY7628" fmla="*/ 975282 h 6479439"/>
                <a:gd name="connsiteX7629" fmla="*/ 5743412 w 9586368"/>
                <a:gd name="connsiteY7629" fmla="*/ 975282 h 6479439"/>
                <a:gd name="connsiteX7630" fmla="*/ 5739393 w 9586368"/>
                <a:gd name="connsiteY7630" fmla="*/ 971244 h 6479439"/>
                <a:gd name="connsiteX7631" fmla="*/ 5739393 w 9586368"/>
                <a:gd name="connsiteY7631" fmla="*/ 961373 h 6479439"/>
                <a:gd name="connsiteX7632" fmla="*/ 5504099 w 9586368"/>
                <a:gd name="connsiteY7632" fmla="*/ 957335 h 6479439"/>
                <a:gd name="connsiteX7633" fmla="*/ 5514010 w 9586368"/>
                <a:gd name="connsiteY7633" fmla="*/ 957335 h 6479439"/>
                <a:gd name="connsiteX7634" fmla="*/ 5518029 w 9586368"/>
                <a:gd name="connsiteY7634" fmla="*/ 961373 h 6479439"/>
                <a:gd name="connsiteX7635" fmla="*/ 5518029 w 9586368"/>
                <a:gd name="connsiteY7635" fmla="*/ 971244 h 6479439"/>
                <a:gd name="connsiteX7636" fmla="*/ 5514010 w 9586368"/>
                <a:gd name="connsiteY7636" fmla="*/ 975282 h 6479439"/>
                <a:gd name="connsiteX7637" fmla="*/ 5504099 w 9586368"/>
                <a:gd name="connsiteY7637" fmla="*/ 975282 h 6479439"/>
                <a:gd name="connsiteX7638" fmla="*/ 5500080 w 9586368"/>
                <a:gd name="connsiteY7638" fmla="*/ 971244 h 6479439"/>
                <a:gd name="connsiteX7639" fmla="*/ 5500080 w 9586368"/>
                <a:gd name="connsiteY7639" fmla="*/ 961373 h 6479439"/>
                <a:gd name="connsiteX7640" fmla="*/ 5264784 w 9586368"/>
                <a:gd name="connsiteY7640" fmla="*/ 957335 h 6479439"/>
                <a:gd name="connsiteX7641" fmla="*/ 5274694 w 9586368"/>
                <a:gd name="connsiteY7641" fmla="*/ 957335 h 6479439"/>
                <a:gd name="connsiteX7642" fmla="*/ 5278713 w 9586368"/>
                <a:gd name="connsiteY7642" fmla="*/ 961373 h 6479439"/>
                <a:gd name="connsiteX7643" fmla="*/ 5278713 w 9586368"/>
                <a:gd name="connsiteY7643" fmla="*/ 971244 h 6479439"/>
                <a:gd name="connsiteX7644" fmla="*/ 5274694 w 9586368"/>
                <a:gd name="connsiteY7644" fmla="*/ 975282 h 6479439"/>
                <a:gd name="connsiteX7645" fmla="*/ 5264784 w 9586368"/>
                <a:gd name="connsiteY7645" fmla="*/ 975282 h 6479439"/>
                <a:gd name="connsiteX7646" fmla="*/ 5260765 w 9586368"/>
                <a:gd name="connsiteY7646" fmla="*/ 971244 h 6479439"/>
                <a:gd name="connsiteX7647" fmla="*/ 5260765 w 9586368"/>
                <a:gd name="connsiteY7647" fmla="*/ 961373 h 6479439"/>
                <a:gd name="connsiteX7648" fmla="*/ 5025470 w 9586368"/>
                <a:gd name="connsiteY7648" fmla="*/ 957335 h 6479439"/>
                <a:gd name="connsiteX7649" fmla="*/ 5035381 w 9586368"/>
                <a:gd name="connsiteY7649" fmla="*/ 957335 h 6479439"/>
                <a:gd name="connsiteX7650" fmla="*/ 5039400 w 9586368"/>
                <a:gd name="connsiteY7650" fmla="*/ 961373 h 6479439"/>
                <a:gd name="connsiteX7651" fmla="*/ 5039400 w 9586368"/>
                <a:gd name="connsiteY7651" fmla="*/ 971244 h 6479439"/>
                <a:gd name="connsiteX7652" fmla="*/ 5035381 w 9586368"/>
                <a:gd name="connsiteY7652" fmla="*/ 975283 h 6479439"/>
                <a:gd name="connsiteX7653" fmla="*/ 5025470 w 9586368"/>
                <a:gd name="connsiteY7653" fmla="*/ 975283 h 6479439"/>
                <a:gd name="connsiteX7654" fmla="*/ 5021451 w 9586368"/>
                <a:gd name="connsiteY7654" fmla="*/ 971244 h 6479439"/>
                <a:gd name="connsiteX7655" fmla="*/ 5021451 w 9586368"/>
                <a:gd name="connsiteY7655" fmla="*/ 961373 h 6479439"/>
                <a:gd name="connsiteX7656" fmla="*/ 4786241 w 9586368"/>
                <a:gd name="connsiteY7656" fmla="*/ 957335 h 6479439"/>
                <a:gd name="connsiteX7657" fmla="*/ 4796152 w 9586368"/>
                <a:gd name="connsiteY7657" fmla="*/ 957335 h 6479439"/>
                <a:gd name="connsiteX7658" fmla="*/ 4800171 w 9586368"/>
                <a:gd name="connsiteY7658" fmla="*/ 961374 h 6479439"/>
                <a:gd name="connsiteX7659" fmla="*/ 4800171 w 9586368"/>
                <a:gd name="connsiteY7659" fmla="*/ 971244 h 6479439"/>
                <a:gd name="connsiteX7660" fmla="*/ 4796152 w 9586368"/>
                <a:gd name="connsiteY7660" fmla="*/ 975283 h 6479439"/>
                <a:gd name="connsiteX7661" fmla="*/ 4786241 w 9586368"/>
                <a:gd name="connsiteY7661" fmla="*/ 975283 h 6479439"/>
                <a:gd name="connsiteX7662" fmla="*/ 4782224 w 9586368"/>
                <a:gd name="connsiteY7662" fmla="*/ 971244 h 6479439"/>
                <a:gd name="connsiteX7663" fmla="*/ 4782224 w 9586368"/>
                <a:gd name="connsiteY7663" fmla="*/ 961374 h 6479439"/>
                <a:gd name="connsiteX7664" fmla="*/ 6939983 w 9586368"/>
                <a:gd name="connsiteY7664" fmla="*/ 957324 h 6479439"/>
                <a:gd name="connsiteX7665" fmla="*/ 6949894 w 9586368"/>
                <a:gd name="connsiteY7665" fmla="*/ 957324 h 6479439"/>
                <a:gd name="connsiteX7666" fmla="*/ 6953913 w 9586368"/>
                <a:gd name="connsiteY7666" fmla="*/ 961363 h 6479439"/>
                <a:gd name="connsiteX7667" fmla="*/ 6953913 w 9586368"/>
                <a:gd name="connsiteY7667" fmla="*/ 971232 h 6479439"/>
                <a:gd name="connsiteX7668" fmla="*/ 6949894 w 9586368"/>
                <a:gd name="connsiteY7668" fmla="*/ 975271 h 6479439"/>
                <a:gd name="connsiteX7669" fmla="*/ 6939983 w 9586368"/>
                <a:gd name="connsiteY7669" fmla="*/ 975271 h 6479439"/>
                <a:gd name="connsiteX7670" fmla="*/ 6935964 w 9586368"/>
                <a:gd name="connsiteY7670" fmla="*/ 971232 h 6479439"/>
                <a:gd name="connsiteX7671" fmla="*/ 6935964 w 9586368"/>
                <a:gd name="connsiteY7671" fmla="*/ 961363 h 6479439"/>
                <a:gd name="connsiteX7672" fmla="*/ 6700670 w 9586368"/>
                <a:gd name="connsiteY7672" fmla="*/ 957324 h 6479439"/>
                <a:gd name="connsiteX7673" fmla="*/ 6710581 w 9586368"/>
                <a:gd name="connsiteY7673" fmla="*/ 957324 h 6479439"/>
                <a:gd name="connsiteX7674" fmla="*/ 6714600 w 9586368"/>
                <a:gd name="connsiteY7674" fmla="*/ 961363 h 6479439"/>
                <a:gd name="connsiteX7675" fmla="*/ 6714600 w 9586368"/>
                <a:gd name="connsiteY7675" fmla="*/ 971232 h 6479439"/>
                <a:gd name="connsiteX7676" fmla="*/ 6710581 w 9586368"/>
                <a:gd name="connsiteY7676" fmla="*/ 975271 h 6479439"/>
                <a:gd name="connsiteX7677" fmla="*/ 6700670 w 9586368"/>
                <a:gd name="connsiteY7677" fmla="*/ 975271 h 6479439"/>
                <a:gd name="connsiteX7678" fmla="*/ 6696651 w 9586368"/>
                <a:gd name="connsiteY7678" fmla="*/ 971232 h 6479439"/>
                <a:gd name="connsiteX7679" fmla="*/ 6696651 w 9586368"/>
                <a:gd name="connsiteY7679" fmla="*/ 961363 h 6479439"/>
                <a:gd name="connsiteX7680" fmla="*/ 6461356 w 9586368"/>
                <a:gd name="connsiteY7680" fmla="*/ 957324 h 6479439"/>
                <a:gd name="connsiteX7681" fmla="*/ 6471266 w 9586368"/>
                <a:gd name="connsiteY7681" fmla="*/ 957324 h 6479439"/>
                <a:gd name="connsiteX7682" fmla="*/ 6475285 w 9586368"/>
                <a:gd name="connsiteY7682" fmla="*/ 961363 h 6479439"/>
                <a:gd name="connsiteX7683" fmla="*/ 6475285 w 9586368"/>
                <a:gd name="connsiteY7683" fmla="*/ 971232 h 6479439"/>
                <a:gd name="connsiteX7684" fmla="*/ 6471266 w 9586368"/>
                <a:gd name="connsiteY7684" fmla="*/ 975271 h 6479439"/>
                <a:gd name="connsiteX7685" fmla="*/ 6461356 w 9586368"/>
                <a:gd name="connsiteY7685" fmla="*/ 975271 h 6479439"/>
                <a:gd name="connsiteX7686" fmla="*/ 6457337 w 9586368"/>
                <a:gd name="connsiteY7686" fmla="*/ 971232 h 6479439"/>
                <a:gd name="connsiteX7687" fmla="*/ 6457337 w 9586368"/>
                <a:gd name="connsiteY7687" fmla="*/ 961363 h 6479439"/>
                <a:gd name="connsiteX7688" fmla="*/ 6222042 w 9586368"/>
                <a:gd name="connsiteY7688" fmla="*/ 957324 h 6479439"/>
                <a:gd name="connsiteX7689" fmla="*/ 6231952 w 9586368"/>
                <a:gd name="connsiteY7689" fmla="*/ 957324 h 6479439"/>
                <a:gd name="connsiteX7690" fmla="*/ 6235971 w 9586368"/>
                <a:gd name="connsiteY7690" fmla="*/ 961363 h 6479439"/>
                <a:gd name="connsiteX7691" fmla="*/ 6235971 w 9586368"/>
                <a:gd name="connsiteY7691" fmla="*/ 971232 h 6479439"/>
                <a:gd name="connsiteX7692" fmla="*/ 6231952 w 9586368"/>
                <a:gd name="connsiteY7692" fmla="*/ 975271 h 6479439"/>
                <a:gd name="connsiteX7693" fmla="*/ 6222042 w 9586368"/>
                <a:gd name="connsiteY7693" fmla="*/ 975271 h 6479439"/>
                <a:gd name="connsiteX7694" fmla="*/ 6218023 w 9586368"/>
                <a:gd name="connsiteY7694" fmla="*/ 971232 h 6479439"/>
                <a:gd name="connsiteX7695" fmla="*/ 6218023 w 9586368"/>
                <a:gd name="connsiteY7695" fmla="*/ 961363 h 6479439"/>
                <a:gd name="connsiteX7696" fmla="*/ 5982729 w 9586368"/>
                <a:gd name="connsiteY7696" fmla="*/ 957324 h 6479439"/>
                <a:gd name="connsiteX7697" fmla="*/ 5992639 w 9586368"/>
                <a:gd name="connsiteY7697" fmla="*/ 957324 h 6479439"/>
                <a:gd name="connsiteX7698" fmla="*/ 5996658 w 9586368"/>
                <a:gd name="connsiteY7698" fmla="*/ 961363 h 6479439"/>
                <a:gd name="connsiteX7699" fmla="*/ 5996658 w 9586368"/>
                <a:gd name="connsiteY7699" fmla="*/ 971232 h 6479439"/>
                <a:gd name="connsiteX7700" fmla="*/ 5992639 w 9586368"/>
                <a:gd name="connsiteY7700" fmla="*/ 975271 h 6479439"/>
                <a:gd name="connsiteX7701" fmla="*/ 5982729 w 9586368"/>
                <a:gd name="connsiteY7701" fmla="*/ 975271 h 6479439"/>
                <a:gd name="connsiteX7702" fmla="*/ 5978710 w 9586368"/>
                <a:gd name="connsiteY7702" fmla="*/ 971232 h 6479439"/>
                <a:gd name="connsiteX7703" fmla="*/ 5978710 w 9586368"/>
                <a:gd name="connsiteY7703" fmla="*/ 961363 h 6479439"/>
                <a:gd name="connsiteX7704" fmla="*/ 8136553 w 9586368"/>
                <a:gd name="connsiteY7704" fmla="*/ 957313 h 6479439"/>
                <a:gd name="connsiteX7705" fmla="*/ 8146464 w 9586368"/>
                <a:gd name="connsiteY7705" fmla="*/ 957313 h 6479439"/>
                <a:gd name="connsiteX7706" fmla="*/ 8150483 w 9586368"/>
                <a:gd name="connsiteY7706" fmla="*/ 961351 h 6479439"/>
                <a:gd name="connsiteX7707" fmla="*/ 8150483 w 9586368"/>
                <a:gd name="connsiteY7707" fmla="*/ 971222 h 6479439"/>
                <a:gd name="connsiteX7708" fmla="*/ 8146464 w 9586368"/>
                <a:gd name="connsiteY7708" fmla="*/ 975260 h 6479439"/>
                <a:gd name="connsiteX7709" fmla="*/ 8136553 w 9586368"/>
                <a:gd name="connsiteY7709" fmla="*/ 975260 h 6479439"/>
                <a:gd name="connsiteX7710" fmla="*/ 8132534 w 9586368"/>
                <a:gd name="connsiteY7710" fmla="*/ 971222 h 6479439"/>
                <a:gd name="connsiteX7711" fmla="*/ 8132534 w 9586368"/>
                <a:gd name="connsiteY7711" fmla="*/ 961351 h 6479439"/>
                <a:gd name="connsiteX7712" fmla="*/ 7897241 w 9586368"/>
                <a:gd name="connsiteY7712" fmla="*/ 957313 h 6479439"/>
                <a:gd name="connsiteX7713" fmla="*/ 7907151 w 9586368"/>
                <a:gd name="connsiteY7713" fmla="*/ 957313 h 6479439"/>
                <a:gd name="connsiteX7714" fmla="*/ 7911170 w 9586368"/>
                <a:gd name="connsiteY7714" fmla="*/ 961351 h 6479439"/>
                <a:gd name="connsiteX7715" fmla="*/ 7911170 w 9586368"/>
                <a:gd name="connsiteY7715" fmla="*/ 971222 h 6479439"/>
                <a:gd name="connsiteX7716" fmla="*/ 7907151 w 9586368"/>
                <a:gd name="connsiteY7716" fmla="*/ 975260 h 6479439"/>
                <a:gd name="connsiteX7717" fmla="*/ 7897241 w 9586368"/>
                <a:gd name="connsiteY7717" fmla="*/ 975260 h 6479439"/>
                <a:gd name="connsiteX7718" fmla="*/ 7893222 w 9586368"/>
                <a:gd name="connsiteY7718" fmla="*/ 971222 h 6479439"/>
                <a:gd name="connsiteX7719" fmla="*/ 7893222 w 9586368"/>
                <a:gd name="connsiteY7719" fmla="*/ 961351 h 6479439"/>
                <a:gd name="connsiteX7720" fmla="*/ 7657926 w 9586368"/>
                <a:gd name="connsiteY7720" fmla="*/ 957313 h 6479439"/>
                <a:gd name="connsiteX7721" fmla="*/ 7667836 w 9586368"/>
                <a:gd name="connsiteY7721" fmla="*/ 957313 h 6479439"/>
                <a:gd name="connsiteX7722" fmla="*/ 7671855 w 9586368"/>
                <a:gd name="connsiteY7722" fmla="*/ 961351 h 6479439"/>
                <a:gd name="connsiteX7723" fmla="*/ 7671855 w 9586368"/>
                <a:gd name="connsiteY7723" fmla="*/ 971222 h 6479439"/>
                <a:gd name="connsiteX7724" fmla="*/ 7667836 w 9586368"/>
                <a:gd name="connsiteY7724" fmla="*/ 975260 h 6479439"/>
                <a:gd name="connsiteX7725" fmla="*/ 7657926 w 9586368"/>
                <a:gd name="connsiteY7725" fmla="*/ 975260 h 6479439"/>
                <a:gd name="connsiteX7726" fmla="*/ 7653906 w 9586368"/>
                <a:gd name="connsiteY7726" fmla="*/ 971222 h 6479439"/>
                <a:gd name="connsiteX7727" fmla="*/ 7653906 w 9586368"/>
                <a:gd name="connsiteY7727" fmla="*/ 961351 h 6479439"/>
                <a:gd name="connsiteX7728" fmla="*/ 7418611 w 9586368"/>
                <a:gd name="connsiteY7728" fmla="*/ 957313 h 6479439"/>
                <a:gd name="connsiteX7729" fmla="*/ 7428521 w 9586368"/>
                <a:gd name="connsiteY7729" fmla="*/ 957313 h 6479439"/>
                <a:gd name="connsiteX7730" fmla="*/ 7432540 w 9586368"/>
                <a:gd name="connsiteY7730" fmla="*/ 961351 h 6479439"/>
                <a:gd name="connsiteX7731" fmla="*/ 7432540 w 9586368"/>
                <a:gd name="connsiteY7731" fmla="*/ 971222 h 6479439"/>
                <a:gd name="connsiteX7732" fmla="*/ 7428521 w 9586368"/>
                <a:gd name="connsiteY7732" fmla="*/ 975260 h 6479439"/>
                <a:gd name="connsiteX7733" fmla="*/ 7418611 w 9586368"/>
                <a:gd name="connsiteY7733" fmla="*/ 975260 h 6479439"/>
                <a:gd name="connsiteX7734" fmla="*/ 7414592 w 9586368"/>
                <a:gd name="connsiteY7734" fmla="*/ 971222 h 6479439"/>
                <a:gd name="connsiteX7735" fmla="*/ 7414592 w 9586368"/>
                <a:gd name="connsiteY7735" fmla="*/ 961351 h 6479439"/>
                <a:gd name="connsiteX7736" fmla="*/ 7179298 w 9586368"/>
                <a:gd name="connsiteY7736" fmla="*/ 957313 h 6479439"/>
                <a:gd name="connsiteX7737" fmla="*/ 7189209 w 9586368"/>
                <a:gd name="connsiteY7737" fmla="*/ 957313 h 6479439"/>
                <a:gd name="connsiteX7738" fmla="*/ 7193228 w 9586368"/>
                <a:gd name="connsiteY7738" fmla="*/ 961351 h 6479439"/>
                <a:gd name="connsiteX7739" fmla="*/ 7193228 w 9586368"/>
                <a:gd name="connsiteY7739" fmla="*/ 971222 h 6479439"/>
                <a:gd name="connsiteX7740" fmla="*/ 7189209 w 9586368"/>
                <a:gd name="connsiteY7740" fmla="*/ 975260 h 6479439"/>
                <a:gd name="connsiteX7741" fmla="*/ 7179298 w 9586368"/>
                <a:gd name="connsiteY7741" fmla="*/ 975260 h 6479439"/>
                <a:gd name="connsiteX7742" fmla="*/ 7175279 w 9586368"/>
                <a:gd name="connsiteY7742" fmla="*/ 971222 h 6479439"/>
                <a:gd name="connsiteX7743" fmla="*/ 7175279 w 9586368"/>
                <a:gd name="connsiteY7743" fmla="*/ 961351 h 6479439"/>
                <a:gd name="connsiteX7744" fmla="*/ 1679217 w 9586368"/>
                <a:gd name="connsiteY7744" fmla="*/ 957309 h 6479439"/>
                <a:gd name="connsiteX7745" fmla="*/ 1689128 w 9586368"/>
                <a:gd name="connsiteY7745" fmla="*/ 957309 h 6479439"/>
                <a:gd name="connsiteX7746" fmla="*/ 1693147 w 9586368"/>
                <a:gd name="connsiteY7746" fmla="*/ 961347 h 6479439"/>
                <a:gd name="connsiteX7747" fmla="*/ 1693147 w 9586368"/>
                <a:gd name="connsiteY7747" fmla="*/ 971217 h 6479439"/>
                <a:gd name="connsiteX7748" fmla="*/ 1689128 w 9586368"/>
                <a:gd name="connsiteY7748" fmla="*/ 975256 h 6479439"/>
                <a:gd name="connsiteX7749" fmla="*/ 1679217 w 9586368"/>
                <a:gd name="connsiteY7749" fmla="*/ 975256 h 6479439"/>
                <a:gd name="connsiteX7750" fmla="*/ 1675199 w 9586368"/>
                <a:gd name="connsiteY7750" fmla="*/ 971217 h 6479439"/>
                <a:gd name="connsiteX7751" fmla="*/ 1675199 w 9586368"/>
                <a:gd name="connsiteY7751" fmla="*/ 961347 h 6479439"/>
                <a:gd name="connsiteX7752" fmla="*/ 1439901 w 9586368"/>
                <a:gd name="connsiteY7752" fmla="*/ 957309 h 6479439"/>
                <a:gd name="connsiteX7753" fmla="*/ 1449811 w 9586368"/>
                <a:gd name="connsiteY7753" fmla="*/ 957309 h 6479439"/>
                <a:gd name="connsiteX7754" fmla="*/ 1453829 w 9586368"/>
                <a:gd name="connsiteY7754" fmla="*/ 961347 h 6479439"/>
                <a:gd name="connsiteX7755" fmla="*/ 1453829 w 9586368"/>
                <a:gd name="connsiteY7755" fmla="*/ 971217 h 6479439"/>
                <a:gd name="connsiteX7756" fmla="*/ 1449811 w 9586368"/>
                <a:gd name="connsiteY7756" fmla="*/ 975256 h 6479439"/>
                <a:gd name="connsiteX7757" fmla="*/ 1439901 w 9586368"/>
                <a:gd name="connsiteY7757" fmla="*/ 975256 h 6479439"/>
                <a:gd name="connsiteX7758" fmla="*/ 1435881 w 9586368"/>
                <a:gd name="connsiteY7758" fmla="*/ 971217 h 6479439"/>
                <a:gd name="connsiteX7759" fmla="*/ 1435881 w 9586368"/>
                <a:gd name="connsiteY7759" fmla="*/ 961347 h 6479439"/>
                <a:gd name="connsiteX7760" fmla="*/ 1200584 w 9586368"/>
                <a:gd name="connsiteY7760" fmla="*/ 957309 h 6479439"/>
                <a:gd name="connsiteX7761" fmla="*/ 1210495 w 9586368"/>
                <a:gd name="connsiteY7761" fmla="*/ 957309 h 6479439"/>
                <a:gd name="connsiteX7762" fmla="*/ 1214513 w 9586368"/>
                <a:gd name="connsiteY7762" fmla="*/ 961347 h 6479439"/>
                <a:gd name="connsiteX7763" fmla="*/ 1214513 w 9586368"/>
                <a:gd name="connsiteY7763" fmla="*/ 971217 h 6479439"/>
                <a:gd name="connsiteX7764" fmla="*/ 1210495 w 9586368"/>
                <a:gd name="connsiteY7764" fmla="*/ 975256 h 6479439"/>
                <a:gd name="connsiteX7765" fmla="*/ 1200584 w 9586368"/>
                <a:gd name="connsiteY7765" fmla="*/ 975256 h 6479439"/>
                <a:gd name="connsiteX7766" fmla="*/ 1196566 w 9586368"/>
                <a:gd name="connsiteY7766" fmla="*/ 971217 h 6479439"/>
                <a:gd name="connsiteX7767" fmla="*/ 1196566 w 9586368"/>
                <a:gd name="connsiteY7767" fmla="*/ 961347 h 6479439"/>
                <a:gd name="connsiteX7768" fmla="*/ 961271 w 9586368"/>
                <a:gd name="connsiteY7768" fmla="*/ 957309 h 6479439"/>
                <a:gd name="connsiteX7769" fmla="*/ 971182 w 9586368"/>
                <a:gd name="connsiteY7769" fmla="*/ 957309 h 6479439"/>
                <a:gd name="connsiteX7770" fmla="*/ 975201 w 9586368"/>
                <a:gd name="connsiteY7770" fmla="*/ 961347 h 6479439"/>
                <a:gd name="connsiteX7771" fmla="*/ 975201 w 9586368"/>
                <a:gd name="connsiteY7771" fmla="*/ 971218 h 6479439"/>
                <a:gd name="connsiteX7772" fmla="*/ 971182 w 9586368"/>
                <a:gd name="connsiteY7772" fmla="*/ 975256 h 6479439"/>
                <a:gd name="connsiteX7773" fmla="*/ 961271 w 9586368"/>
                <a:gd name="connsiteY7773" fmla="*/ 975256 h 6479439"/>
                <a:gd name="connsiteX7774" fmla="*/ 957253 w 9586368"/>
                <a:gd name="connsiteY7774" fmla="*/ 971218 h 6479439"/>
                <a:gd name="connsiteX7775" fmla="*/ 957253 w 9586368"/>
                <a:gd name="connsiteY7775" fmla="*/ 961347 h 6479439"/>
                <a:gd name="connsiteX7776" fmla="*/ 9333125 w 9586368"/>
                <a:gd name="connsiteY7776" fmla="*/ 957302 h 6479439"/>
                <a:gd name="connsiteX7777" fmla="*/ 9343036 w 9586368"/>
                <a:gd name="connsiteY7777" fmla="*/ 957302 h 6479439"/>
                <a:gd name="connsiteX7778" fmla="*/ 9347055 w 9586368"/>
                <a:gd name="connsiteY7778" fmla="*/ 961340 h 6479439"/>
                <a:gd name="connsiteX7779" fmla="*/ 9347055 w 9586368"/>
                <a:gd name="connsiteY7779" fmla="*/ 971210 h 6479439"/>
                <a:gd name="connsiteX7780" fmla="*/ 9343036 w 9586368"/>
                <a:gd name="connsiteY7780" fmla="*/ 975249 h 6479439"/>
                <a:gd name="connsiteX7781" fmla="*/ 9333125 w 9586368"/>
                <a:gd name="connsiteY7781" fmla="*/ 975249 h 6479439"/>
                <a:gd name="connsiteX7782" fmla="*/ 9329106 w 9586368"/>
                <a:gd name="connsiteY7782" fmla="*/ 971210 h 6479439"/>
                <a:gd name="connsiteX7783" fmla="*/ 9329106 w 9586368"/>
                <a:gd name="connsiteY7783" fmla="*/ 961340 h 6479439"/>
                <a:gd name="connsiteX7784" fmla="*/ 9093811 w 9586368"/>
                <a:gd name="connsiteY7784" fmla="*/ 957302 h 6479439"/>
                <a:gd name="connsiteX7785" fmla="*/ 9103722 w 9586368"/>
                <a:gd name="connsiteY7785" fmla="*/ 957302 h 6479439"/>
                <a:gd name="connsiteX7786" fmla="*/ 9107741 w 9586368"/>
                <a:gd name="connsiteY7786" fmla="*/ 961340 h 6479439"/>
                <a:gd name="connsiteX7787" fmla="*/ 9107741 w 9586368"/>
                <a:gd name="connsiteY7787" fmla="*/ 971210 h 6479439"/>
                <a:gd name="connsiteX7788" fmla="*/ 9103722 w 9586368"/>
                <a:gd name="connsiteY7788" fmla="*/ 975249 h 6479439"/>
                <a:gd name="connsiteX7789" fmla="*/ 9093811 w 9586368"/>
                <a:gd name="connsiteY7789" fmla="*/ 975249 h 6479439"/>
                <a:gd name="connsiteX7790" fmla="*/ 9089792 w 9586368"/>
                <a:gd name="connsiteY7790" fmla="*/ 971210 h 6479439"/>
                <a:gd name="connsiteX7791" fmla="*/ 9089792 w 9586368"/>
                <a:gd name="connsiteY7791" fmla="*/ 961340 h 6479439"/>
                <a:gd name="connsiteX7792" fmla="*/ 8854496 w 9586368"/>
                <a:gd name="connsiteY7792" fmla="*/ 957302 h 6479439"/>
                <a:gd name="connsiteX7793" fmla="*/ 8864407 w 9586368"/>
                <a:gd name="connsiteY7793" fmla="*/ 957302 h 6479439"/>
                <a:gd name="connsiteX7794" fmla="*/ 8868426 w 9586368"/>
                <a:gd name="connsiteY7794" fmla="*/ 961340 h 6479439"/>
                <a:gd name="connsiteX7795" fmla="*/ 8868426 w 9586368"/>
                <a:gd name="connsiteY7795" fmla="*/ 971210 h 6479439"/>
                <a:gd name="connsiteX7796" fmla="*/ 8864407 w 9586368"/>
                <a:gd name="connsiteY7796" fmla="*/ 975249 h 6479439"/>
                <a:gd name="connsiteX7797" fmla="*/ 8854496 w 9586368"/>
                <a:gd name="connsiteY7797" fmla="*/ 975249 h 6479439"/>
                <a:gd name="connsiteX7798" fmla="*/ 8850477 w 9586368"/>
                <a:gd name="connsiteY7798" fmla="*/ 971210 h 6479439"/>
                <a:gd name="connsiteX7799" fmla="*/ 8850477 w 9586368"/>
                <a:gd name="connsiteY7799" fmla="*/ 961340 h 6479439"/>
                <a:gd name="connsiteX7800" fmla="*/ 8615184 w 9586368"/>
                <a:gd name="connsiteY7800" fmla="*/ 957302 h 6479439"/>
                <a:gd name="connsiteX7801" fmla="*/ 8625095 w 9586368"/>
                <a:gd name="connsiteY7801" fmla="*/ 957302 h 6479439"/>
                <a:gd name="connsiteX7802" fmla="*/ 8629114 w 9586368"/>
                <a:gd name="connsiteY7802" fmla="*/ 961340 h 6479439"/>
                <a:gd name="connsiteX7803" fmla="*/ 8629114 w 9586368"/>
                <a:gd name="connsiteY7803" fmla="*/ 971210 h 6479439"/>
                <a:gd name="connsiteX7804" fmla="*/ 8625095 w 9586368"/>
                <a:gd name="connsiteY7804" fmla="*/ 975249 h 6479439"/>
                <a:gd name="connsiteX7805" fmla="*/ 8615184 w 9586368"/>
                <a:gd name="connsiteY7805" fmla="*/ 975249 h 6479439"/>
                <a:gd name="connsiteX7806" fmla="*/ 8611165 w 9586368"/>
                <a:gd name="connsiteY7806" fmla="*/ 971210 h 6479439"/>
                <a:gd name="connsiteX7807" fmla="*/ 8611165 w 9586368"/>
                <a:gd name="connsiteY7807" fmla="*/ 961340 h 6479439"/>
                <a:gd name="connsiteX7808" fmla="*/ 8375869 w 9586368"/>
                <a:gd name="connsiteY7808" fmla="*/ 957302 h 6479439"/>
                <a:gd name="connsiteX7809" fmla="*/ 8385779 w 9586368"/>
                <a:gd name="connsiteY7809" fmla="*/ 957302 h 6479439"/>
                <a:gd name="connsiteX7810" fmla="*/ 8389799 w 9586368"/>
                <a:gd name="connsiteY7810" fmla="*/ 961340 h 6479439"/>
                <a:gd name="connsiteX7811" fmla="*/ 8389799 w 9586368"/>
                <a:gd name="connsiteY7811" fmla="*/ 971210 h 6479439"/>
                <a:gd name="connsiteX7812" fmla="*/ 8385779 w 9586368"/>
                <a:gd name="connsiteY7812" fmla="*/ 975249 h 6479439"/>
                <a:gd name="connsiteX7813" fmla="*/ 8375869 w 9586368"/>
                <a:gd name="connsiteY7813" fmla="*/ 975249 h 6479439"/>
                <a:gd name="connsiteX7814" fmla="*/ 8371850 w 9586368"/>
                <a:gd name="connsiteY7814" fmla="*/ 971210 h 6479439"/>
                <a:gd name="connsiteX7815" fmla="*/ 8371850 w 9586368"/>
                <a:gd name="connsiteY7815" fmla="*/ 961340 h 6479439"/>
                <a:gd name="connsiteX7816" fmla="*/ 1918514 w 9586368"/>
                <a:gd name="connsiteY7816" fmla="*/ 957301 h 6479439"/>
                <a:gd name="connsiteX7817" fmla="*/ 1928424 w 9586368"/>
                <a:gd name="connsiteY7817" fmla="*/ 957301 h 6479439"/>
                <a:gd name="connsiteX7818" fmla="*/ 1932444 w 9586368"/>
                <a:gd name="connsiteY7818" fmla="*/ 961339 h 6479439"/>
                <a:gd name="connsiteX7819" fmla="*/ 1932444 w 9586368"/>
                <a:gd name="connsiteY7819" fmla="*/ 971210 h 6479439"/>
                <a:gd name="connsiteX7820" fmla="*/ 1928424 w 9586368"/>
                <a:gd name="connsiteY7820" fmla="*/ 975249 h 6479439"/>
                <a:gd name="connsiteX7821" fmla="*/ 1918514 w 9586368"/>
                <a:gd name="connsiteY7821" fmla="*/ 975249 h 6479439"/>
                <a:gd name="connsiteX7822" fmla="*/ 1914495 w 9586368"/>
                <a:gd name="connsiteY7822" fmla="*/ 971210 h 6479439"/>
                <a:gd name="connsiteX7823" fmla="*/ 1914495 w 9586368"/>
                <a:gd name="connsiteY7823" fmla="*/ 961339 h 6479439"/>
                <a:gd name="connsiteX7824" fmla="*/ 2157823 w 9586368"/>
                <a:gd name="connsiteY7824" fmla="*/ 957299 h 6479439"/>
                <a:gd name="connsiteX7825" fmla="*/ 2167733 w 9586368"/>
                <a:gd name="connsiteY7825" fmla="*/ 957299 h 6479439"/>
                <a:gd name="connsiteX7826" fmla="*/ 2171751 w 9586368"/>
                <a:gd name="connsiteY7826" fmla="*/ 961337 h 6479439"/>
                <a:gd name="connsiteX7827" fmla="*/ 2171751 w 9586368"/>
                <a:gd name="connsiteY7827" fmla="*/ 971207 h 6479439"/>
                <a:gd name="connsiteX7828" fmla="*/ 2167733 w 9586368"/>
                <a:gd name="connsiteY7828" fmla="*/ 975246 h 6479439"/>
                <a:gd name="connsiteX7829" fmla="*/ 2157823 w 9586368"/>
                <a:gd name="connsiteY7829" fmla="*/ 975246 h 6479439"/>
                <a:gd name="connsiteX7830" fmla="*/ 2153804 w 9586368"/>
                <a:gd name="connsiteY7830" fmla="*/ 971207 h 6479439"/>
                <a:gd name="connsiteX7831" fmla="*/ 2153804 w 9586368"/>
                <a:gd name="connsiteY7831" fmla="*/ 961337 h 6479439"/>
                <a:gd name="connsiteX7832" fmla="*/ 9572438 w 9586368"/>
                <a:gd name="connsiteY7832" fmla="*/ 957291 h 6479439"/>
                <a:gd name="connsiteX7833" fmla="*/ 9582349 w 9586368"/>
                <a:gd name="connsiteY7833" fmla="*/ 957291 h 6479439"/>
                <a:gd name="connsiteX7834" fmla="*/ 9586368 w 9586368"/>
                <a:gd name="connsiteY7834" fmla="*/ 961329 h 6479439"/>
                <a:gd name="connsiteX7835" fmla="*/ 9586368 w 9586368"/>
                <a:gd name="connsiteY7835" fmla="*/ 971199 h 6479439"/>
                <a:gd name="connsiteX7836" fmla="*/ 9582349 w 9586368"/>
                <a:gd name="connsiteY7836" fmla="*/ 975238 h 6479439"/>
                <a:gd name="connsiteX7837" fmla="*/ 9572438 w 9586368"/>
                <a:gd name="connsiteY7837" fmla="*/ 975238 h 6479439"/>
                <a:gd name="connsiteX7838" fmla="*/ 9568419 w 9586368"/>
                <a:gd name="connsiteY7838" fmla="*/ 971199 h 6479439"/>
                <a:gd name="connsiteX7839" fmla="*/ 9568419 w 9586368"/>
                <a:gd name="connsiteY7839" fmla="*/ 961329 h 6479439"/>
                <a:gd name="connsiteX7840" fmla="*/ 721974 w 9586368"/>
                <a:gd name="connsiteY7840" fmla="*/ 957266 h 6479439"/>
                <a:gd name="connsiteX7841" fmla="*/ 731884 w 9586368"/>
                <a:gd name="connsiteY7841" fmla="*/ 957266 h 6479439"/>
                <a:gd name="connsiteX7842" fmla="*/ 735903 w 9586368"/>
                <a:gd name="connsiteY7842" fmla="*/ 961305 h 6479439"/>
                <a:gd name="connsiteX7843" fmla="*/ 735903 w 9586368"/>
                <a:gd name="connsiteY7843" fmla="*/ 971175 h 6479439"/>
                <a:gd name="connsiteX7844" fmla="*/ 731884 w 9586368"/>
                <a:gd name="connsiteY7844" fmla="*/ 975214 h 6479439"/>
                <a:gd name="connsiteX7845" fmla="*/ 721974 w 9586368"/>
                <a:gd name="connsiteY7845" fmla="*/ 975214 h 6479439"/>
                <a:gd name="connsiteX7846" fmla="*/ 717956 w 9586368"/>
                <a:gd name="connsiteY7846" fmla="*/ 971175 h 6479439"/>
                <a:gd name="connsiteX7847" fmla="*/ 717956 w 9586368"/>
                <a:gd name="connsiteY7847" fmla="*/ 961305 h 6479439"/>
                <a:gd name="connsiteX7848" fmla="*/ 482662 w 9586368"/>
                <a:gd name="connsiteY7848" fmla="*/ 957266 h 6479439"/>
                <a:gd name="connsiteX7849" fmla="*/ 492572 w 9586368"/>
                <a:gd name="connsiteY7849" fmla="*/ 957266 h 6479439"/>
                <a:gd name="connsiteX7850" fmla="*/ 496591 w 9586368"/>
                <a:gd name="connsiteY7850" fmla="*/ 961305 h 6479439"/>
                <a:gd name="connsiteX7851" fmla="*/ 496591 w 9586368"/>
                <a:gd name="connsiteY7851" fmla="*/ 971175 h 6479439"/>
                <a:gd name="connsiteX7852" fmla="*/ 492572 w 9586368"/>
                <a:gd name="connsiteY7852" fmla="*/ 975214 h 6479439"/>
                <a:gd name="connsiteX7853" fmla="*/ 482662 w 9586368"/>
                <a:gd name="connsiteY7853" fmla="*/ 975214 h 6479439"/>
                <a:gd name="connsiteX7854" fmla="*/ 478643 w 9586368"/>
                <a:gd name="connsiteY7854" fmla="*/ 971175 h 6479439"/>
                <a:gd name="connsiteX7855" fmla="*/ 478643 w 9586368"/>
                <a:gd name="connsiteY7855" fmla="*/ 961305 h 6479439"/>
                <a:gd name="connsiteX7856" fmla="*/ 243349 w 9586368"/>
                <a:gd name="connsiteY7856" fmla="*/ 957266 h 6479439"/>
                <a:gd name="connsiteX7857" fmla="*/ 253259 w 9586368"/>
                <a:gd name="connsiteY7857" fmla="*/ 957266 h 6479439"/>
                <a:gd name="connsiteX7858" fmla="*/ 257278 w 9586368"/>
                <a:gd name="connsiteY7858" fmla="*/ 961305 h 6479439"/>
                <a:gd name="connsiteX7859" fmla="*/ 257278 w 9586368"/>
                <a:gd name="connsiteY7859" fmla="*/ 971175 h 6479439"/>
                <a:gd name="connsiteX7860" fmla="*/ 253259 w 9586368"/>
                <a:gd name="connsiteY7860" fmla="*/ 975214 h 6479439"/>
                <a:gd name="connsiteX7861" fmla="*/ 243349 w 9586368"/>
                <a:gd name="connsiteY7861" fmla="*/ 975214 h 6479439"/>
                <a:gd name="connsiteX7862" fmla="*/ 239330 w 9586368"/>
                <a:gd name="connsiteY7862" fmla="*/ 971175 h 6479439"/>
                <a:gd name="connsiteX7863" fmla="*/ 239330 w 9586368"/>
                <a:gd name="connsiteY7863" fmla="*/ 961305 h 6479439"/>
                <a:gd name="connsiteX7864" fmla="*/ 4036 w 9586368"/>
                <a:gd name="connsiteY7864" fmla="*/ 957266 h 6479439"/>
                <a:gd name="connsiteX7865" fmla="*/ 13946 w 9586368"/>
                <a:gd name="connsiteY7865" fmla="*/ 957266 h 6479439"/>
                <a:gd name="connsiteX7866" fmla="*/ 17965 w 9586368"/>
                <a:gd name="connsiteY7866" fmla="*/ 961305 h 6479439"/>
                <a:gd name="connsiteX7867" fmla="*/ 17965 w 9586368"/>
                <a:gd name="connsiteY7867" fmla="*/ 971176 h 6479439"/>
                <a:gd name="connsiteX7868" fmla="*/ 13946 w 9586368"/>
                <a:gd name="connsiteY7868" fmla="*/ 975214 h 6479439"/>
                <a:gd name="connsiteX7869" fmla="*/ 4036 w 9586368"/>
                <a:gd name="connsiteY7869" fmla="*/ 975214 h 6479439"/>
                <a:gd name="connsiteX7870" fmla="*/ 16 w 9586368"/>
                <a:gd name="connsiteY7870" fmla="*/ 971176 h 6479439"/>
                <a:gd name="connsiteX7871" fmla="*/ 16 w 9586368"/>
                <a:gd name="connsiteY7871" fmla="*/ 961305 h 6479439"/>
                <a:gd name="connsiteX7872" fmla="*/ 3350359 w 9586368"/>
                <a:gd name="connsiteY7872" fmla="*/ 718040 h 6479439"/>
                <a:gd name="connsiteX7873" fmla="*/ 3360268 w 9586368"/>
                <a:gd name="connsiteY7873" fmla="*/ 718040 h 6479439"/>
                <a:gd name="connsiteX7874" fmla="*/ 3364287 w 9586368"/>
                <a:gd name="connsiteY7874" fmla="*/ 722078 h 6479439"/>
                <a:gd name="connsiteX7875" fmla="*/ 3364287 w 9586368"/>
                <a:gd name="connsiteY7875" fmla="*/ 731948 h 6479439"/>
                <a:gd name="connsiteX7876" fmla="*/ 3360268 w 9586368"/>
                <a:gd name="connsiteY7876" fmla="*/ 735987 h 6479439"/>
                <a:gd name="connsiteX7877" fmla="*/ 3350359 w 9586368"/>
                <a:gd name="connsiteY7877" fmla="*/ 735987 h 6479439"/>
                <a:gd name="connsiteX7878" fmla="*/ 3346340 w 9586368"/>
                <a:gd name="connsiteY7878" fmla="*/ 731948 h 6479439"/>
                <a:gd name="connsiteX7879" fmla="*/ 3346340 w 9586368"/>
                <a:gd name="connsiteY7879" fmla="*/ 722078 h 6479439"/>
                <a:gd name="connsiteX7880" fmla="*/ 3111048 w 9586368"/>
                <a:gd name="connsiteY7880" fmla="*/ 718040 h 6479439"/>
                <a:gd name="connsiteX7881" fmla="*/ 3120959 w 9586368"/>
                <a:gd name="connsiteY7881" fmla="*/ 718040 h 6479439"/>
                <a:gd name="connsiteX7882" fmla="*/ 3124977 w 9586368"/>
                <a:gd name="connsiteY7882" fmla="*/ 722078 h 6479439"/>
                <a:gd name="connsiteX7883" fmla="*/ 3124977 w 9586368"/>
                <a:gd name="connsiteY7883" fmla="*/ 731949 h 6479439"/>
                <a:gd name="connsiteX7884" fmla="*/ 3120959 w 9586368"/>
                <a:gd name="connsiteY7884" fmla="*/ 735987 h 6479439"/>
                <a:gd name="connsiteX7885" fmla="*/ 3111048 w 9586368"/>
                <a:gd name="connsiteY7885" fmla="*/ 735987 h 6479439"/>
                <a:gd name="connsiteX7886" fmla="*/ 3107029 w 9586368"/>
                <a:gd name="connsiteY7886" fmla="*/ 731949 h 6479439"/>
                <a:gd name="connsiteX7887" fmla="*/ 3107029 w 9586368"/>
                <a:gd name="connsiteY7887" fmla="*/ 722078 h 6479439"/>
                <a:gd name="connsiteX7888" fmla="*/ 2871737 w 9586368"/>
                <a:gd name="connsiteY7888" fmla="*/ 718040 h 6479439"/>
                <a:gd name="connsiteX7889" fmla="*/ 2881646 w 9586368"/>
                <a:gd name="connsiteY7889" fmla="*/ 718040 h 6479439"/>
                <a:gd name="connsiteX7890" fmla="*/ 2885666 w 9586368"/>
                <a:gd name="connsiteY7890" fmla="*/ 722078 h 6479439"/>
                <a:gd name="connsiteX7891" fmla="*/ 2885666 w 9586368"/>
                <a:gd name="connsiteY7891" fmla="*/ 731949 h 6479439"/>
                <a:gd name="connsiteX7892" fmla="*/ 2881646 w 9586368"/>
                <a:gd name="connsiteY7892" fmla="*/ 735987 h 6479439"/>
                <a:gd name="connsiteX7893" fmla="*/ 2871737 w 9586368"/>
                <a:gd name="connsiteY7893" fmla="*/ 735987 h 6479439"/>
                <a:gd name="connsiteX7894" fmla="*/ 2867717 w 9586368"/>
                <a:gd name="connsiteY7894" fmla="*/ 731949 h 6479439"/>
                <a:gd name="connsiteX7895" fmla="*/ 2867717 w 9586368"/>
                <a:gd name="connsiteY7895" fmla="*/ 722078 h 6479439"/>
                <a:gd name="connsiteX7896" fmla="*/ 2632423 w 9586368"/>
                <a:gd name="connsiteY7896" fmla="*/ 718040 h 6479439"/>
                <a:gd name="connsiteX7897" fmla="*/ 2642334 w 9586368"/>
                <a:gd name="connsiteY7897" fmla="*/ 718040 h 6479439"/>
                <a:gd name="connsiteX7898" fmla="*/ 2646352 w 9586368"/>
                <a:gd name="connsiteY7898" fmla="*/ 722078 h 6479439"/>
                <a:gd name="connsiteX7899" fmla="*/ 2646352 w 9586368"/>
                <a:gd name="connsiteY7899" fmla="*/ 731949 h 6479439"/>
                <a:gd name="connsiteX7900" fmla="*/ 2642334 w 9586368"/>
                <a:gd name="connsiteY7900" fmla="*/ 735988 h 6479439"/>
                <a:gd name="connsiteX7901" fmla="*/ 2632423 w 9586368"/>
                <a:gd name="connsiteY7901" fmla="*/ 735988 h 6479439"/>
                <a:gd name="connsiteX7902" fmla="*/ 2628404 w 9586368"/>
                <a:gd name="connsiteY7902" fmla="*/ 731949 h 6479439"/>
                <a:gd name="connsiteX7903" fmla="*/ 2628404 w 9586368"/>
                <a:gd name="connsiteY7903" fmla="*/ 722078 h 6479439"/>
                <a:gd name="connsiteX7904" fmla="*/ 2393104 w 9586368"/>
                <a:gd name="connsiteY7904" fmla="*/ 718040 h 6479439"/>
                <a:gd name="connsiteX7905" fmla="*/ 2403015 w 9586368"/>
                <a:gd name="connsiteY7905" fmla="*/ 718040 h 6479439"/>
                <a:gd name="connsiteX7906" fmla="*/ 2407034 w 9586368"/>
                <a:gd name="connsiteY7906" fmla="*/ 722078 h 6479439"/>
                <a:gd name="connsiteX7907" fmla="*/ 2407034 w 9586368"/>
                <a:gd name="connsiteY7907" fmla="*/ 731949 h 6479439"/>
                <a:gd name="connsiteX7908" fmla="*/ 2403015 w 9586368"/>
                <a:gd name="connsiteY7908" fmla="*/ 735988 h 6479439"/>
                <a:gd name="connsiteX7909" fmla="*/ 2393104 w 9586368"/>
                <a:gd name="connsiteY7909" fmla="*/ 735988 h 6479439"/>
                <a:gd name="connsiteX7910" fmla="*/ 2389087 w 9586368"/>
                <a:gd name="connsiteY7910" fmla="*/ 731949 h 6479439"/>
                <a:gd name="connsiteX7911" fmla="*/ 2389087 w 9586368"/>
                <a:gd name="connsiteY7911" fmla="*/ 722078 h 6479439"/>
                <a:gd name="connsiteX7912" fmla="*/ 4546929 w 9586368"/>
                <a:gd name="connsiteY7912" fmla="*/ 718028 h 6479439"/>
                <a:gd name="connsiteX7913" fmla="*/ 4556840 w 9586368"/>
                <a:gd name="connsiteY7913" fmla="*/ 718028 h 6479439"/>
                <a:gd name="connsiteX7914" fmla="*/ 4560859 w 9586368"/>
                <a:gd name="connsiteY7914" fmla="*/ 722066 h 6479439"/>
                <a:gd name="connsiteX7915" fmla="*/ 4560859 w 9586368"/>
                <a:gd name="connsiteY7915" fmla="*/ 731935 h 6479439"/>
                <a:gd name="connsiteX7916" fmla="*/ 4556840 w 9586368"/>
                <a:gd name="connsiteY7916" fmla="*/ 735975 h 6479439"/>
                <a:gd name="connsiteX7917" fmla="*/ 4546929 w 9586368"/>
                <a:gd name="connsiteY7917" fmla="*/ 735975 h 6479439"/>
                <a:gd name="connsiteX7918" fmla="*/ 4542910 w 9586368"/>
                <a:gd name="connsiteY7918" fmla="*/ 731935 h 6479439"/>
                <a:gd name="connsiteX7919" fmla="*/ 4542910 w 9586368"/>
                <a:gd name="connsiteY7919" fmla="*/ 722066 h 6479439"/>
                <a:gd name="connsiteX7920" fmla="*/ 4307612 w 9586368"/>
                <a:gd name="connsiteY7920" fmla="*/ 718028 h 6479439"/>
                <a:gd name="connsiteX7921" fmla="*/ 4317523 w 9586368"/>
                <a:gd name="connsiteY7921" fmla="*/ 718028 h 6479439"/>
                <a:gd name="connsiteX7922" fmla="*/ 4321543 w 9586368"/>
                <a:gd name="connsiteY7922" fmla="*/ 722066 h 6479439"/>
                <a:gd name="connsiteX7923" fmla="*/ 4321543 w 9586368"/>
                <a:gd name="connsiteY7923" fmla="*/ 731936 h 6479439"/>
                <a:gd name="connsiteX7924" fmla="*/ 4317523 w 9586368"/>
                <a:gd name="connsiteY7924" fmla="*/ 735975 h 6479439"/>
                <a:gd name="connsiteX7925" fmla="*/ 4307612 w 9586368"/>
                <a:gd name="connsiteY7925" fmla="*/ 735975 h 6479439"/>
                <a:gd name="connsiteX7926" fmla="*/ 4303595 w 9586368"/>
                <a:gd name="connsiteY7926" fmla="*/ 731936 h 6479439"/>
                <a:gd name="connsiteX7927" fmla="*/ 4303595 w 9586368"/>
                <a:gd name="connsiteY7927" fmla="*/ 722066 h 6479439"/>
                <a:gd name="connsiteX7928" fmla="*/ 4068297 w 9586368"/>
                <a:gd name="connsiteY7928" fmla="*/ 718028 h 6479439"/>
                <a:gd name="connsiteX7929" fmla="*/ 4078210 w 9586368"/>
                <a:gd name="connsiteY7929" fmla="*/ 718028 h 6479439"/>
                <a:gd name="connsiteX7930" fmla="*/ 4082229 w 9586368"/>
                <a:gd name="connsiteY7930" fmla="*/ 722066 h 6479439"/>
                <a:gd name="connsiteX7931" fmla="*/ 4082229 w 9586368"/>
                <a:gd name="connsiteY7931" fmla="*/ 731936 h 6479439"/>
                <a:gd name="connsiteX7932" fmla="*/ 4078210 w 9586368"/>
                <a:gd name="connsiteY7932" fmla="*/ 735975 h 6479439"/>
                <a:gd name="connsiteX7933" fmla="*/ 4068297 w 9586368"/>
                <a:gd name="connsiteY7933" fmla="*/ 735975 h 6479439"/>
                <a:gd name="connsiteX7934" fmla="*/ 4064278 w 9586368"/>
                <a:gd name="connsiteY7934" fmla="*/ 731936 h 6479439"/>
                <a:gd name="connsiteX7935" fmla="*/ 4064278 w 9586368"/>
                <a:gd name="connsiteY7935" fmla="*/ 722066 h 6479439"/>
                <a:gd name="connsiteX7936" fmla="*/ 3828990 w 9586368"/>
                <a:gd name="connsiteY7936" fmla="*/ 718028 h 6479439"/>
                <a:gd name="connsiteX7937" fmla="*/ 3838899 w 9586368"/>
                <a:gd name="connsiteY7937" fmla="*/ 718028 h 6479439"/>
                <a:gd name="connsiteX7938" fmla="*/ 3842917 w 9586368"/>
                <a:gd name="connsiteY7938" fmla="*/ 722066 h 6479439"/>
                <a:gd name="connsiteX7939" fmla="*/ 3842917 w 9586368"/>
                <a:gd name="connsiteY7939" fmla="*/ 731936 h 6479439"/>
                <a:gd name="connsiteX7940" fmla="*/ 3838899 w 9586368"/>
                <a:gd name="connsiteY7940" fmla="*/ 735975 h 6479439"/>
                <a:gd name="connsiteX7941" fmla="*/ 3828990 w 9586368"/>
                <a:gd name="connsiteY7941" fmla="*/ 735975 h 6479439"/>
                <a:gd name="connsiteX7942" fmla="*/ 3824971 w 9586368"/>
                <a:gd name="connsiteY7942" fmla="*/ 731936 h 6479439"/>
                <a:gd name="connsiteX7943" fmla="*/ 3824971 w 9586368"/>
                <a:gd name="connsiteY7943" fmla="*/ 722066 h 6479439"/>
                <a:gd name="connsiteX7944" fmla="*/ 3589676 w 9586368"/>
                <a:gd name="connsiteY7944" fmla="*/ 718028 h 6479439"/>
                <a:gd name="connsiteX7945" fmla="*/ 3599585 w 9586368"/>
                <a:gd name="connsiteY7945" fmla="*/ 718028 h 6479439"/>
                <a:gd name="connsiteX7946" fmla="*/ 3603604 w 9586368"/>
                <a:gd name="connsiteY7946" fmla="*/ 722066 h 6479439"/>
                <a:gd name="connsiteX7947" fmla="*/ 3603604 w 9586368"/>
                <a:gd name="connsiteY7947" fmla="*/ 731936 h 6479439"/>
                <a:gd name="connsiteX7948" fmla="*/ 3599585 w 9586368"/>
                <a:gd name="connsiteY7948" fmla="*/ 735975 h 6479439"/>
                <a:gd name="connsiteX7949" fmla="*/ 3589676 w 9586368"/>
                <a:gd name="connsiteY7949" fmla="*/ 735975 h 6479439"/>
                <a:gd name="connsiteX7950" fmla="*/ 3585657 w 9586368"/>
                <a:gd name="connsiteY7950" fmla="*/ 731936 h 6479439"/>
                <a:gd name="connsiteX7951" fmla="*/ 3585657 w 9586368"/>
                <a:gd name="connsiteY7951" fmla="*/ 722066 h 6479439"/>
                <a:gd name="connsiteX7952" fmla="*/ 5743412 w 9586368"/>
                <a:gd name="connsiteY7952" fmla="*/ 718015 h 6479439"/>
                <a:gd name="connsiteX7953" fmla="*/ 5753323 w 9586368"/>
                <a:gd name="connsiteY7953" fmla="*/ 718015 h 6479439"/>
                <a:gd name="connsiteX7954" fmla="*/ 5757342 w 9586368"/>
                <a:gd name="connsiteY7954" fmla="*/ 722053 h 6479439"/>
                <a:gd name="connsiteX7955" fmla="*/ 5757342 w 9586368"/>
                <a:gd name="connsiteY7955" fmla="*/ 731924 h 6479439"/>
                <a:gd name="connsiteX7956" fmla="*/ 5753323 w 9586368"/>
                <a:gd name="connsiteY7956" fmla="*/ 735963 h 6479439"/>
                <a:gd name="connsiteX7957" fmla="*/ 5743412 w 9586368"/>
                <a:gd name="connsiteY7957" fmla="*/ 735963 h 6479439"/>
                <a:gd name="connsiteX7958" fmla="*/ 5739393 w 9586368"/>
                <a:gd name="connsiteY7958" fmla="*/ 731924 h 6479439"/>
                <a:gd name="connsiteX7959" fmla="*/ 5739393 w 9586368"/>
                <a:gd name="connsiteY7959" fmla="*/ 722053 h 6479439"/>
                <a:gd name="connsiteX7960" fmla="*/ 5504099 w 9586368"/>
                <a:gd name="connsiteY7960" fmla="*/ 718015 h 6479439"/>
                <a:gd name="connsiteX7961" fmla="*/ 5514010 w 9586368"/>
                <a:gd name="connsiteY7961" fmla="*/ 718015 h 6479439"/>
                <a:gd name="connsiteX7962" fmla="*/ 5518029 w 9586368"/>
                <a:gd name="connsiteY7962" fmla="*/ 722053 h 6479439"/>
                <a:gd name="connsiteX7963" fmla="*/ 5518029 w 9586368"/>
                <a:gd name="connsiteY7963" fmla="*/ 731924 h 6479439"/>
                <a:gd name="connsiteX7964" fmla="*/ 5514010 w 9586368"/>
                <a:gd name="connsiteY7964" fmla="*/ 735963 h 6479439"/>
                <a:gd name="connsiteX7965" fmla="*/ 5504099 w 9586368"/>
                <a:gd name="connsiteY7965" fmla="*/ 735963 h 6479439"/>
                <a:gd name="connsiteX7966" fmla="*/ 5500080 w 9586368"/>
                <a:gd name="connsiteY7966" fmla="*/ 731924 h 6479439"/>
                <a:gd name="connsiteX7967" fmla="*/ 5500080 w 9586368"/>
                <a:gd name="connsiteY7967" fmla="*/ 722053 h 6479439"/>
                <a:gd name="connsiteX7968" fmla="*/ 5264784 w 9586368"/>
                <a:gd name="connsiteY7968" fmla="*/ 718015 h 6479439"/>
                <a:gd name="connsiteX7969" fmla="*/ 5274694 w 9586368"/>
                <a:gd name="connsiteY7969" fmla="*/ 718015 h 6479439"/>
                <a:gd name="connsiteX7970" fmla="*/ 5278713 w 9586368"/>
                <a:gd name="connsiteY7970" fmla="*/ 722053 h 6479439"/>
                <a:gd name="connsiteX7971" fmla="*/ 5278713 w 9586368"/>
                <a:gd name="connsiteY7971" fmla="*/ 731924 h 6479439"/>
                <a:gd name="connsiteX7972" fmla="*/ 5274694 w 9586368"/>
                <a:gd name="connsiteY7972" fmla="*/ 735963 h 6479439"/>
                <a:gd name="connsiteX7973" fmla="*/ 5264784 w 9586368"/>
                <a:gd name="connsiteY7973" fmla="*/ 735963 h 6479439"/>
                <a:gd name="connsiteX7974" fmla="*/ 5260765 w 9586368"/>
                <a:gd name="connsiteY7974" fmla="*/ 731924 h 6479439"/>
                <a:gd name="connsiteX7975" fmla="*/ 5260765 w 9586368"/>
                <a:gd name="connsiteY7975" fmla="*/ 722053 h 6479439"/>
                <a:gd name="connsiteX7976" fmla="*/ 5025470 w 9586368"/>
                <a:gd name="connsiteY7976" fmla="*/ 718015 h 6479439"/>
                <a:gd name="connsiteX7977" fmla="*/ 5035381 w 9586368"/>
                <a:gd name="connsiteY7977" fmla="*/ 718015 h 6479439"/>
                <a:gd name="connsiteX7978" fmla="*/ 5039400 w 9586368"/>
                <a:gd name="connsiteY7978" fmla="*/ 722053 h 6479439"/>
                <a:gd name="connsiteX7979" fmla="*/ 5039400 w 9586368"/>
                <a:gd name="connsiteY7979" fmla="*/ 731924 h 6479439"/>
                <a:gd name="connsiteX7980" fmla="*/ 5035381 w 9586368"/>
                <a:gd name="connsiteY7980" fmla="*/ 735963 h 6479439"/>
                <a:gd name="connsiteX7981" fmla="*/ 5025470 w 9586368"/>
                <a:gd name="connsiteY7981" fmla="*/ 735963 h 6479439"/>
                <a:gd name="connsiteX7982" fmla="*/ 5021451 w 9586368"/>
                <a:gd name="connsiteY7982" fmla="*/ 731924 h 6479439"/>
                <a:gd name="connsiteX7983" fmla="*/ 5021451 w 9586368"/>
                <a:gd name="connsiteY7983" fmla="*/ 722053 h 6479439"/>
                <a:gd name="connsiteX7984" fmla="*/ 4786241 w 9586368"/>
                <a:gd name="connsiteY7984" fmla="*/ 718015 h 6479439"/>
                <a:gd name="connsiteX7985" fmla="*/ 4796152 w 9586368"/>
                <a:gd name="connsiteY7985" fmla="*/ 718015 h 6479439"/>
                <a:gd name="connsiteX7986" fmla="*/ 4800171 w 9586368"/>
                <a:gd name="connsiteY7986" fmla="*/ 722053 h 6479439"/>
                <a:gd name="connsiteX7987" fmla="*/ 4800171 w 9586368"/>
                <a:gd name="connsiteY7987" fmla="*/ 731924 h 6479439"/>
                <a:gd name="connsiteX7988" fmla="*/ 4796152 w 9586368"/>
                <a:gd name="connsiteY7988" fmla="*/ 735963 h 6479439"/>
                <a:gd name="connsiteX7989" fmla="*/ 4786241 w 9586368"/>
                <a:gd name="connsiteY7989" fmla="*/ 735963 h 6479439"/>
                <a:gd name="connsiteX7990" fmla="*/ 4782224 w 9586368"/>
                <a:gd name="connsiteY7990" fmla="*/ 731924 h 6479439"/>
                <a:gd name="connsiteX7991" fmla="*/ 4782224 w 9586368"/>
                <a:gd name="connsiteY7991" fmla="*/ 722053 h 6479439"/>
                <a:gd name="connsiteX7992" fmla="*/ 6939983 w 9586368"/>
                <a:gd name="connsiteY7992" fmla="*/ 718003 h 6479439"/>
                <a:gd name="connsiteX7993" fmla="*/ 6949894 w 9586368"/>
                <a:gd name="connsiteY7993" fmla="*/ 718003 h 6479439"/>
                <a:gd name="connsiteX7994" fmla="*/ 6953913 w 9586368"/>
                <a:gd name="connsiteY7994" fmla="*/ 722041 h 6479439"/>
                <a:gd name="connsiteX7995" fmla="*/ 6953913 w 9586368"/>
                <a:gd name="connsiteY7995" fmla="*/ 731911 h 6479439"/>
                <a:gd name="connsiteX7996" fmla="*/ 6949894 w 9586368"/>
                <a:gd name="connsiteY7996" fmla="*/ 735950 h 6479439"/>
                <a:gd name="connsiteX7997" fmla="*/ 6939983 w 9586368"/>
                <a:gd name="connsiteY7997" fmla="*/ 735950 h 6479439"/>
                <a:gd name="connsiteX7998" fmla="*/ 6935964 w 9586368"/>
                <a:gd name="connsiteY7998" fmla="*/ 731911 h 6479439"/>
                <a:gd name="connsiteX7999" fmla="*/ 6935964 w 9586368"/>
                <a:gd name="connsiteY7999" fmla="*/ 722041 h 6479439"/>
                <a:gd name="connsiteX8000" fmla="*/ 6700670 w 9586368"/>
                <a:gd name="connsiteY8000" fmla="*/ 718003 h 6479439"/>
                <a:gd name="connsiteX8001" fmla="*/ 6710581 w 9586368"/>
                <a:gd name="connsiteY8001" fmla="*/ 718003 h 6479439"/>
                <a:gd name="connsiteX8002" fmla="*/ 6714600 w 9586368"/>
                <a:gd name="connsiteY8002" fmla="*/ 722041 h 6479439"/>
                <a:gd name="connsiteX8003" fmla="*/ 6714600 w 9586368"/>
                <a:gd name="connsiteY8003" fmla="*/ 731912 h 6479439"/>
                <a:gd name="connsiteX8004" fmla="*/ 6710581 w 9586368"/>
                <a:gd name="connsiteY8004" fmla="*/ 735950 h 6479439"/>
                <a:gd name="connsiteX8005" fmla="*/ 6700670 w 9586368"/>
                <a:gd name="connsiteY8005" fmla="*/ 735950 h 6479439"/>
                <a:gd name="connsiteX8006" fmla="*/ 6696651 w 9586368"/>
                <a:gd name="connsiteY8006" fmla="*/ 731912 h 6479439"/>
                <a:gd name="connsiteX8007" fmla="*/ 6696651 w 9586368"/>
                <a:gd name="connsiteY8007" fmla="*/ 722041 h 6479439"/>
                <a:gd name="connsiteX8008" fmla="*/ 6461356 w 9586368"/>
                <a:gd name="connsiteY8008" fmla="*/ 718003 h 6479439"/>
                <a:gd name="connsiteX8009" fmla="*/ 6471266 w 9586368"/>
                <a:gd name="connsiteY8009" fmla="*/ 718003 h 6479439"/>
                <a:gd name="connsiteX8010" fmla="*/ 6475285 w 9586368"/>
                <a:gd name="connsiteY8010" fmla="*/ 722041 h 6479439"/>
                <a:gd name="connsiteX8011" fmla="*/ 6475285 w 9586368"/>
                <a:gd name="connsiteY8011" fmla="*/ 731912 h 6479439"/>
                <a:gd name="connsiteX8012" fmla="*/ 6471266 w 9586368"/>
                <a:gd name="connsiteY8012" fmla="*/ 735950 h 6479439"/>
                <a:gd name="connsiteX8013" fmla="*/ 6461356 w 9586368"/>
                <a:gd name="connsiteY8013" fmla="*/ 735950 h 6479439"/>
                <a:gd name="connsiteX8014" fmla="*/ 6457337 w 9586368"/>
                <a:gd name="connsiteY8014" fmla="*/ 731912 h 6479439"/>
                <a:gd name="connsiteX8015" fmla="*/ 6457337 w 9586368"/>
                <a:gd name="connsiteY8015" fmla="*/ 722041 h 6479439"/>
                <a:gd name="connsiteX8016" fmla="*/ 6222042 w 9586368"/>
                <a:gd name="connsiteY8016" fmla="*/ 718003 h 6479439"/>
                <a:gd name="connsiteX8017" fmla="*/ 6231952 w 9586368"/>
                <a:gd name="connsiteY8017" fmla="*/ 718003 h 6479439"/>
                <a:gd name="connsiteX8018" fmla="*/ 6235971 w 9586368"/>
                <a:gd name="connsiteY8018" fmla="*/ 722041 h 6479439"/>
                <a:gd name="connsiteX8019" fmla="*/ 6235971 w 9586368"/>
                <a:gd name="connsiteY8019" fmla="*/ 731912 h 6479439"/>
                <a:gd name="connsiteX8020" fmla="*/ 6231952 w 9586368"/>
                <a:gd name="connsiteY8020" fmla="*/ 735951 h 6479439"/>
                <a:gd name="connsiteX8021" fmla="*/ 6222042 w 9586368"/>
                <a:gd name="connsiteY8021" fmla="*/ 735951 h 6479439"/>
                <a:gd name="connsiteX8022" fmla="*/ 6218023 w 9586368"/>
                <a:gd name="connsiteY8022" fmla="*/ 731912 h 6479439"/>
                <a:gd name="connsiteX8023" fmla="*/ 6218023 w 9586368"/>
                <a:gd name="connsiteY8023" fmla="*/ 722041 h 6479439"/>
                <a:gd name="connsiteX8024" fmla="*/ 5982729 w 9586368"/>
                <a:gd name="connsiteY8024" fmla="*/ 718003 h 6479439"/>
                <a:gd name="connsiteX8025" fmla="*/ 5992639 w 9586368"/>
                <a:gd name="connsiteY8025" fmla="*/ 718003 h 6479439"/>
                <a:gd name="connsiteX8026" fmla="*/ 5996658 w 9586368"/>
                <a:gd name="connsiteY8026" fmla="*/ 722041 h 6479439"/>
                <a:gd name="connsiteX8027" fmla="*/ 5996658 w 9586368"/>
                <a:gd name="connsiteY8027" fmla="*/ 731912 h 6479439"/>
                <a:gd name="connsiteX8028" fmla="*/ 5992639 w 9586368"/>
                <a:gd name="connsiteY8028" fmla="*/ 735951 h 6479439"/>
                <a:gd name="connsiteX8029" fmla="*/ 5982729 w 9586368"/>
                <a:gd name="connsiteY8029" fmla="*/ 735951 h 6479439"/>
                <a:gd name="connsiteX8030" fmla="*/ 5978710 w 9586368"/>
                <a:gd name="connsiteY8030" fmla="*/ 731912 h 6479439"/>
                <a:gd name="connsiteX8031" fmla="*/ 5978710 w 9586368"/>
                <a:gd name="connsiteY8031" fmla="*/ 722041 h 6479439"/>
                <a:gd name="connsiteX8032" fmla="*/ 8136553 w 9586368"/>
                <a:gd name="connsiteY8032" fmla="*/ 717990 h 6479439"/>
                <a:gd name="connsiteX8033" fmla="*/ 8146464 w 9586368"/>
                <a:gd name="connsiteY8033" fmla="*/ 717990 h 6479439"/>
                <a:gd name="connsiteX8034" fmla="*/ 8150483 w 9586368"/>
                <a:gd name="connsiteY8034" fmla="*/ 722028 h 6479439"/>
                <a:gd name="connsiteX8035" fmla="*/ 8150483 w 9586368"/>
                <a:gd name="connsiteY8035" fmla="*/ 731899 h 6479439"/>
                <a:gd name="connsiteX8036" fmla="*/ 8146464 w 9586368"/>
                <a:gd name="connsiteY8036" fmla="*/ 735938 h 6479439"/>
                <a:gd name="connsiteX8037" fmla="*/ 8136553 w 9586368"/>
                <a:gd name="connsiteY8037" fmla="*/ 735938 h 6479439"/>
                <a:gd name="connsiteX8038" fmla="*/ 8132534 w 9586368"/>
                <a:gd name="connsiteY8038" fmla="*/ 731899 h 6479439"/>
                <a:gd name="connsiteX8039" fmla="*/ 8132534 w 9586368"/>
                <a:gd name="connsiteY8039" fmla="*/ 722028 h 6479439"/>
                <a:gd name="connsiteX8040" fmla="*/ 7897241 w 9586368"/>
                <a:gd name="connsiteY8040" fmla="*/ 717990 h 6479439"/>
                <a:gd name="connsiteX8041" fmla="*/ 7907151 w 9586368"/>
                <a:gd name="connsiteY8041" fmla="*/ 717990 h 6479439"/>
                <a:gd name="connsiteX8042" fmla="*/ 7911170 w 9586368"/>
                <a:gd name="connsiteY8042" fmla="*/ 722029 h 6479439"/>
                <a:gd name="connsiteX8043" fmla="*/ 7911170 w 9586368"/>
                <a:gd name="connsiteY8043" fmla="*/ 731899 h 6479439"/>
                <a:gd name="connsiteX8044" fmla="*/ 7907151 w 9586368"/>
                <a:gd name="connsiteY8044" fmla="*/ 735938 h 6479439"/>
                <a:gd name="connsiteX8045" fmla="*/ 7897241 w 9586368"/>
                <a:gd name="connsiteY8045" fmla="*/ 735938 h 6479439"/>
                <a:gd name="connsiteX8046" fmla="*/ 7893222 w 9586368"/>
                <a:gd name="connsiteY8046" fmla="*/ 731899 h 6479439"/>
                <a:gd name="connsiteX8047" fmla="*/ 7893222 w 9586368"/>
                <a:gd name="connsiteY8047" fmla="*/ 722029 h 6479439"/>
                <a:gd name="connsiteX8048" fmla="*/ 7657926 w 9586368"/>
                <a:gd name="connsiteY8048" fmla="*/ 717990 h 6479439"/>
                <a:gd name="connsiteX8049" fmla="*/ 7667836 w 9586368"/>
                <a:gd name="connsiteY8049" fmla="*/ 717990 h 6479439"/>
                <a:gd name="connsiteX8050" fmla="*/ 7671855 w 9586368"/>
                <a:gd name="connsiteY8050" fmla="*/ 722029 h 6479439"/>
                <a:gd name="connsiteX8051" fmla="*/ 7671855 w 9586368"/>
                <a:gd name="connsiteY8051" fmla="*/ 731899 h 6479439"/>
                <a:gd name="connsiteX8052" fmla="*/ 7667836 w 9586368"/>
                <a:gd name="connsiteY8052" fmla="*/ 735938 h 6479439"/>
                <a:gd name="connsiteX8053" fmla="*/ 7657926 w 9586368"/>
                <a:gd name="connsiteY8053" fmla="*/ 735938 h 6479439"/>
                <a:gd name="connsiteX8054" fmla="*/ 7653906 w 9586368"/>
                <a:gd name="connsiteY8054" fmla="*/ 731899 h 6479439"/>
                <a:gd name="connsiteX8055" fmla="*/ 7653906 w 9586368"/>
                <a:gd name="connsiteY8055" fmla="*/ 722029 h 6479439"/>
                <a:gd name="connsiteX8056" fmla="*/ 7418611 w 9586368"/>
                <a:gd name="connsiteY8056" fmla="*/ 717990 h 6479439"/>
                <a:gd name="connsiteX8057" fmla="*/ 7428521 w 9586368"/>
                <a:gd name="connsiteY8057" fmla="*/ 717990 h 6479439"/>
                <a:gd name="connsiteX8058" fmla="*/ 7432540 w 9586368"/>
                <a:gd name="connsiteY8058" fmla="*/ 722029 h 6479439"/>
                <a:gd name="connsiteX8059" fmla="*/ 7432540 w 9586368"/>
                <a:gd name="connsiteY8059" fmla="*/ 731899 h 6479439"/>
                <a:gd name="connsiteX8060" fmla="*/ 7428521 w 9586368"/>
                <a:gd name="connsiteY8060" fmla="*/ 735938 h 6479439"/>
                <a:gd name="connsiteX8061" fmla="*/ 7418611 w 9586368"/>
                <a:gd name="connsiteY8061" fmla="*/ 735938 h 6479439"/>
                <a:gd name="connsiteX8062" fmla="*/ 7414592 w 9586368"/>
                <a:gd name="connsiteY8062" fmla="*/ 731899 h 6479439"/>
                <a:gd name="connsiteX8063" fmla="*/ 7414592 w 9586368"/>
                <a:gd name="connsiteY8063" fmla="*/ 722029 h 6479439"/>
                <a:gd name="connsiteX8064" fmla="*/ 7179298 w 9586368"/>
                <a:gd name="connsiteY8064" fmla="*/ 717990 h 6479439"/>
                <a:gd name="connsiteX8065" fmla="*/ 7189209 w 9586368"/>
                <a:gd name="connsiteY8065" fmla="*/ 717990 h 6479439"/>
                <a:gd name="connsiteX8066" fmla="*/ 7193228 w 9586368"/>
                <a:gd name="connsiteY8066" fmla="*/ 722029 h 6479439"/>
                <a:gd name="connsiteX8067" fmla="*/ 7193228 w 9586368"/>
                <a:gd name="connsiteY8067" fmla="*/ 731899 h 6479439"/>
                <a:gd name="connsiteX8068" fmla="*/ 7189209 w 9586368"/>
                <a:gd name="connsiteY8068" fmla="*/ 735938 h 6479439"/>
                <a:gd name="connsiteX8069" fmla="*/ 7179298 w 9586368"/>
                <a:gd name="connsiteY8069" fmla="*/ 735938 h 6479439"/>
                <a:gd name="connsiteX8070" fmla="*/ 7175279 w 9586368"/>
                <a:gd name="connsiteY8070" fmla="*/ 731899 h 6479439"/>
                <a:gd name="connsiteX8071" fmla="*/ 7175279 w 9586368"/>
                <a:gd name="connsiteY8071" fmla="*/ 722029 h 6479439"/>
                <a:gd name="connsiteX8072" fmla="*/ 961272 w 9586368"/>
                <a:gd name="connsiteY8072" fmla="*/ 717980 h 6479439"/>
                <a:gd name="connsiteX8073" fmla="*/ 971182 w 9586368"/>
                <a:gd name="connsiteY8073" fmla="*/ 717980 h 6479439"/>
                <a:gd name="connsiteX8074" fmla="*/ 975202 w 9586368"/>
                <a:gd name="connsiteY8074" fmla="*/ 722018 h 6479439"/>
                <a:gd name="connsiteX8075" fmla="*/ 975202 w 9586368"/>
                <a:gd name="connsiteY8075" fmla="*/ 731889 h 6479439"/>
                <a:gd name="connsiteX8076" fmla="*/ 971182 w 9586368"/>
                <a:gd name="connsiteY8076" fmla="*/ 735928 h 6479439"/>
                <a:gd name="connsiteX8077" fmla="*/ 961272 w 9586368"/>
                <a:gd name="connsiteY8077" fmla="*/ 735928 h 6479439"/>
                <a:gd name="connsiteX8078" fmla="*/ 957254 w 9586368"/>
                <a:gd name="connsiteY8078" fmla="*/ 731889 h 6479439"/>
                <a:gd name="connsiteX8079" fmla="*/ 957254 w 9586368"/>
                <a:gd name="connsiteY8079" fmla="*/ 722018 h 6479439"/>
                <a:gd name="connsiteX8080" fmla="*/ 1679219 w 9586368"/>
                <a:gd name="connsiteY8080" fmla="*/ 717979 h 6479439"/>
                <a:gd name="connsiteX8081" fmla="*/ 1689128 w 9586368"/>
                <a:gd name="connsiteY8081" fmla="*/ 717979 h 6479439"/>
                <a:gd name="connsiteX8082" fmla="*/ 1693149 w 9586368"/>
                <a:gd name="connsiteY8082" fmla="*/ 722018 h 6479439"/>
                <a:gd name="connsiteX8083" fmla="*/ 1693149 w 9586368"/>
                <a:gd name="connsiteY8083" fmla="*/ 731889 h 6479439"/>
                <a:gd name="connsiteX8084" fmla="*/ 1689128 w 9586368"/>
                <a:gd name="connsiteY8084" fmla="*/ 735927 h 6479439"/>
                <a:gd name="connsiteX8085" fmla="*/ 1679219 w 9586368"/>
                <a:gd name="connsiteY8085" fmla="*/ 735927 h 6479439"/>
                <a:gd name="connsiteX8086" fmla="*/ 1675200 w 9586368"/>
                <a:gd name="connsiteY8086" fmla="*/ 731889 h 6479439"/>
                <a:gd name="connsiteX8087" fmla="*/ 1675200 w 9586368"/>
                <a:gd name="connsiteY8087" fmla="*/ 722018 h 6479439"/>
                <a:gd name="connsiteX8088" fmla="*/ 1439901 w 9586368"/>
                <a:gd name="connsiteY8088" fmla="*/ 717979 h 6479439"/>
                <a:gd name="connsiteX8089" fmla="*/ 1449811 w 9586368"/>
                <a:gd name="connsiteY8089" fmla="*/ 717979 h 6479439"/>
                <a:gd name="connsiteX8090" fmla="*/ 1453831 w 9586368"/>
                <a:gd name="connsiteY8090" fmla="*/ 722018 h 6479439"/>
                <a:gd name="connsiteX8091" fmla="*/ 1453831 w 9586368"/>
                <a:gd name="connsiteY8091" fmla="*/ 731889 h 6479439"/>
                <a:gd name="connsiteX8092" fmla="*/ 1449811 w 9586368"/>
                <a:gd name="connsiteY8092" fmla="*/ 735927 h 6479439"/>
                <a:gd name="connsiteX8093" fmla="*/ 1439901 w 9586368"/>
                <a:gd name="connsiteY8093" fmla="*/ 735927 h 6479439"/>
                <a:gd name="connsiteX8094" fmla="*/ 1435883 w 9586368"/>
                <a:gd name="connsiteY8094" fmla="*/ 731889 h 6479439"/>
                <a:gd name="connsiteX8095" fmla="*/ 1435883 w 9586368"/>
                <a:gd name="connsiteY8095" fmla="*/ 722018 h 6479439"/>
                <a:gd name="connsiteX8096" fmla="*/ 1200585 w 9586368"/>
                <a:gd name="connsiteY8096" fmla="*/ 717979 h 6479439"/>
                <a:gd name="connsiteX8097" fmla="*/ 1210495 w 9586368"/>
                <a:gd name="connsiteY8097" fmla="*/ 717979 h 6479439"/>
                <a:gd name="connsiteX8098" fmla="*/ 1214513 w 9586368"/>
                <a:gd name="connsiteY8098" fmla="*/ 722018 h 6479439"/>
                <a:gd name="connsiteX8099" fmla="*/ 1214513 w 9586368"/>
                <a:gd name="connsiteY8099" fmla="*/ 731889 h 6479439"/>
                <a:gd name="connsiteX8100" fmla="*/ 1210495 w 9586368"/>
                <a:gd name="connsiteY8100" fmla="*/ 735927 h 6479439"/>
                <a:gd name="connsiteX8101" fmla="*/ 1200585 w 9586368"/>
                <a:gd name="connsiteY8101" fmla="*/ 735927 h 6479439"/>
                <a:gd name="connsiteX8102" fmla="*/ 1196566 w 9586368"/>
                <a:gd name="connsiteY8102" fmla="*/ 731889 h 6479439"/>
                <a:gd name="connsiteX8103" fmla="*/ 1196566 w 9586368"/>
                <a:gd name="connsiteY8103" fmla="*/ 722018 h 6479439"/>
                <a:gd name="connsiteX8104" fmla="*/ 9333125 w 9586368"/>
                <a:gd name="connsiteY8104" fmla="*/ 717978 h 6479439"/>
                <a:gd name="connsiteX8105" fmla="*/ 9343036 w 9586368"/>
                <a:gd name="connsiteY8105" fmla="*/ 717978 h 6479439"/>
                <a:gd name="connsiteX8106" fmla="*/ 9347055 w 9586368"/>
                <a:gd name="connsiteY8106" fmla="*/ 722016 h 6479439"/>
                <a:gd name="connsiteX8107" fmla="*/ 9347055 w 9586368"/>
                <a:gd name="connsiteY8107" fmla="*/ 731887 h 6479439"/>
                <a:gd name="connsiteX8108" fmla="*/ 9343036 w 9586368"/>
                <a:gd name="connsiteY8108" fmla="*/ 735926 h 6479439"/>
                <a:gd name="connsiteX8109" fmla="*/ 9333125 w 9586368"/>
                <a:gd name="connsiteY8109" fmla="*/ 735926 h 6479439"/>
                <a:gd name="connsiteX8110" fmla="*/ 9329106 w 9586368"/>
                <a:gd name="connsiteY8110" fmla="*/ 731887 h 6479439"/>
                <a:gd name="connsiteX8111" fmla="*/ 9329106 w 9586368"/>
                <a:gd name="connsiteY8111" fmla="*/ 722016 h 6479439"/>
                <a:gd name="connsiteX8112" fmla="*/ 9093811 w 9586368"/>
                <a:gd name="connsiteY8112" fmla="*/ 717978 h 6479439"/>
                <a:gd name="connsiteX8113" fmla="*/ 9103722 w 9586368"/>
                <a:gd name="connsiteY8113" fmla="*/ 717978 h 6479439"/>
                <a:gd name="connsiteX8114" fmla="*/ 9107741 w 9586368"/>
                <a:gd name="connsiteY8114" fmla="*/ 722016 h 6479439"/>
                <a:gd name="connsiteX8115" fmla="*/ 9107741 w 9586368"/>
                <a:gd name="connsiteY8115" fmla="*/ 731887 h 6479439"/>
                <a:gd name="connsiteX8116" fmla="*/ 9103722 w 9586368"/>
                <a:gd name="connsiteY8116" fmla="*/ 735926 h 6479439"/>
                <a:gd name="connsiteX8117" fmla="*/ 9093811 w 9586368"/>
                <a:gd name="connsiteY8117" fmla="*/ 735926 h 6479439"/>
                <a:gd name="connsiteX8118" fmla="*/ 9089792 w 9586368"/>
                <a:gd name="connsiteY8118" fmla="*/ 731887 h 6479439"/>
                <a:gd name="connsiteX8119" fmla="*/ 9089792 w 9586368"/>
                <a:gd name="connsiteY8119" fmla="*/ 722016 h 6479439"/>
                <a:gd name="connsiteX8120" fmla="*/ 8854496 w 9586368"/>
                <a:gd name="connsiteY8120" fmla="*/ 717978 h 6479439"/>
                <a:gd name="connsiteX8121" fmla="*/ 8864407 w 9586368"/>
                <a:gd name="connsiteY8121" fmla="*/ 717978 h 6479439"/>
                <a:gd name="connsiteX8122" fmla="*/ 8868426 w 9586368"/>
                <a:gd name="connsiteY8122" fmla="*/ 722016 h 6479439"/>
                <a:gd name="connsiteX8123" fmla="*/ 8868426 w 9586368"/>
                <a:gd name="connsiteY8123" fmla="*/ 731887 h 6479439"/>
                <a:gd name="connsiteX8124" fmla="*/ 8864407 w 9586368"/>
                <a:gd name="connsiteY8124" fmla="*/ 735926 h 6479439"/>
                <a:gd name="connsiteX8125" fmla="*/ 8854496 w 9586368"/>
                <a:gd name="connsiteY8125" fmla="*/ 735926 h 6479439"/>
                <a:gd name="connsiteX8126" fmla="*/ 8850477 w 9586368"/>
                <a:gd name="connsiteY8126" fmla="*/ 731887 h 6479439"/>
                <a:gd name="connsiteX8127" fmla="*/ 8850477 w 9586368"/>
                <a:gd name="connsiteY8127" fmla="*/ 722016 h 6479439"/>
                <a:gd name="connsiteX8128" fmla="*/ 8615184 w 9586368"/>
                <a:gd name="connsiteY8128" fmla="*/ 717978 h 6479439"/>
                <a:gd name="connsiteX8129" fmla="*/ 8625095 w 9586368"/>
                <a:gd name="connsiteY8129" fmla="*/ 717978 h 6479439"/>
                <a:gd name="connsiteX8130" fmla="*/ 8629114 w 9586368"/>
                <a:gd name="connsiteY8130" fmla="*/ 722016 h 6479439"/>
                <a:gd name="connsiteX8131" fmla="*/ 8629114 w 9586368"/>
                <a:gd name="connsiteY8131" fmla="*/ 731887 h 6479439"/>
                <a:gd name="connsiteX8132" fmla="*/ 8625095 w 9586368"/>
                <a:gd name="connsiteY8132" fmla="*/ 735926 h 6479439"/>
                <a:gd name="connsiteX8133" fmla="*/ 8615184 w 9586368"/>
                <a:gd name="connsiteY8133" fmla="*/ 735926 h 6479439"/>
                <a:gd name="connsiteX8134" fmla="*/ 8611165 w 9586368"/>
                <a:gd name="connsiteY8134" fmla="*/ 731887 h 6479439"/>
                <a:gd name="connsiteX8135" fmla="*/ 8611165 w 9586368"/>
                <a:gd name="connsiteY8135" fmla="*/ 722016 h 6479439"/>
                <a:gd name="connsiteX8136" fmla="*/ 8375869 w 9586368"/>
                <a:gd name="connsiteY8136" fmla="*/ 717978 h 6479439"/>
                <a:gd name="connsiteX8137" fmla="*/ 8385779 w 9586368"/>
                <a:gd name="connsiteY8137" fmla="*/ 717978 h 6479439"/>
                <a:gd name="connsiteX8138" fmla="*/ 8389799 w 9586368"/>
                <a:gd name="connsiteY8138" fmla="*/ 722016 h 6479439"/>
                <a:gd name="connsiteX8139" fmla="*/ 8389799 w 9586368"/>
                <a:gd name="connsiteY8139" fmla="*/ 731887 h 6479439"/>
                <a:gd name="connsiteX8140" fmla="*/ 8385779 w 9586368"/>
                <a:gd name="connsiteY8140" fmla="*/ 735926 h 6479439"/>
                <a:gd name="connsiteX8141" fmla="*/ 8375869 w 9586368"/>
                <a:gd name="connsiteY8141" fmla="*/ 735926 h 6479439"/>
                <a:gd name="connsiteX8142" fmla="*/ 8371850 w 9586368"/>
                <a:gd name="connsiteY8142" fmla="*/ 731887 h 6479439"/>
                <a:gd name="connsiteX8143" fmla="*/ 8371850 w 9586368"/>
                <a:gd name="connsiteY8143" fmla="*/ 722016 h 6479439"/>
                <a:gd name="connsiteX8144" fmla="*/ 1918514 w 9586368"/>
                <a:gd name="connsiteY8144" fmla="*/ 717970 h 6479439"/>
                <a:gd name="connsiteX8145" fmla="*/ 1928424 w 9586368"/>
                <a:gd name="connsiteY8145" fmla="*/ 717970 h 6479439"/>
                <a:gd name="connsiteX8146" fmla="*/ 1932444 w 9586368"/>
                <a:gd name="connsiteY8146" fmla="*/ 722009 h 6479439"/>
                <a:gd name="connsiteX8147" fmla="*/ 1932444 w 9586368"/>
                <a:gd name="connsiteY8147" fmla="*/ 731879 h 6479439"/>
                <a:gd name="connsiteX8148" fmla="*/ 1928424 w 9586368"/>
                <a:gd name="connsiteY8148" fmla="*/ 735918 h 6479439"/>
                <a:gd name="connsiteX8149" fmla="*/ 1918514 w 9586368"/>
                <a:gd name="connsiteY8149" fmla="*/ 735918 h 6479439"/>
                <a:gd name="connsiteX8150" fmla="*/ 1914495 w 9586368"/>
                <a:gd name="connsiteY8150" fmla="*/ 731879 h 6479439"/>
                <a:gd name="connsiteX8151" fmla="*/ 1914495 w 9586368"/>
                <a:gd name="connsiteY8151" fmla="*/ 722009 h 6479439"/>
                <a:gd name="connsiteX8152" fmla="*/ 2157823 w 9586368"/>
                <a:gd name="connsiteY8152" fmla="*/ 717968 h 6479439"/>
                <a:gd name="connsiteX8153" fmla="*/ 2167733 w 9586368"/>
                <a:gd name="connsiteY8153" fmla="*/ 717968 h 6479439"/>
                <a:gd name="connsiteX8154" fmla="*/ 2171753 w 9586368"/>
                <a:gd name="connsiteY8154" fmla="*/ 722006 h 6479439"/>
                <a:gd name="connsiteX8155" fmla="*/ 2171753 w 9586368"/>
                <a:gd name="connsiteY8155" fmla="*/ 731877 h 6479439"/>
                <a:gd name="connsiteX8156" fmla="*/ 2167733 w 9586368"/>
                <a:gd name="connsiteY8156" fmla="*/ 735916 h 6479439"/>
                <a:gd name="connsiteX8157" fmla="*/ 2157823 w 9586368"/>
                <a:gd name="connsiteY8157" fmla="*/ 735916 h 6479439"/>
                <a:gd name="connsiteX8158" fmla="*/ 2153804 w 9586368"/>
                <a:gd name="connsiteY8158" fmla="*/ 731877 h 6479439"/>
                <a:gd name="connsiteX8159" fmla="*/ 2153804 w 9586368"/>
                <a:gd name="connsiteY8159" fmla="*/ 722006 h 6479439"/>
                <a:gd name="connsiteX8160" fmla="*/ 9572438 w 9586368"/>
                <a:gd name="connsiteY8160" fmla="*/ 717966 h 6479439"/>
                <a:gd name="connsiteX8161" fmla="*/ 9582349 w 9586368"/>
                <a:gd name="connsiteY8161" fmla="*/ 717966 h 6479439"/>
                <a:gd name="connsiteX8162" fmla="*/ 9586368 w 9586368"/>
                <a:gd name="connsiteY8162" fmla="*/ 722004 h 6479439"/>
                <a:gd name="connsiteX8163" fmla="*/ 9586368 w 9586368"/>
                <a:gd name="connsiteY8163" fmla="*/ 731875 h 6479439"/>
                <a:gd name="connsiteX8164" fmla="*/ 9582349 w 9586368"/>
                <a:gd name="connsiteY8164" fmla="*/ 735914 h 6479439"/>
                <a:gd name="connsiteX8165" fmla="*/ 9572438 w 9586368"/>
                <a:gd name="connsiteY8165" fmla="*/ 735914 h 6479439"/>
                <a:gd name="connsiteX8166" fmla="*/ 9568419 w 9586368"/>
                <a:gd name="connsiteY8166" fmla="*/ 731875 h 6479439"/>
                <a:gd name="connsiteX8167" fmla="*/ 9568419 w 9586368"/>
                <a:gd name="connsiteY8167" fmla="*/ 722004 h 6479439"/>
                <a:gd name="connsiteX8168" fmla="*/ 243349 w 9586368"/>
                <a:gd name="connsiteY8168" fmla="*/ 717939 h 6479439"/>
                <a:gd name="connsiteX8169" fmla="*/ 253260 w 9586368"/>
                <a:gd name="connsiteY8169" fmla="*/ 717939 h 6479439"/>
                <a:gd name="connsiteX8170" fmla="*/ 257279 w 9586368"/>
                <a:gd name="connsiteY8170" fmla="*/ 721977 h 6479439"/>
                <a:gd name="connsiteX8171" fmla="*/ 257279 w 9586368"/>
                <a:gd name="connsiteY8171" fmla="*/ 731847 h 6479439"/>
                <a:gd name="connsiteX8172" fmla="*/ 253260 w 9586368"/>
                <a:gd name="connsiteY8172" fmla="*/ 735886 h 6479439"/>
                <a:gd name="connsiteX8173" fmla="*/ 243349 w 9586368"/>
                <a:gd name="connsiteY8173" fmla="*/ 735886 h 6479439"/>
                <a:gd name="connsiteX8174" fmla="*/ 239330 w 9586368"/>
                <a:gd name="connsiteY8174" fmla="*/ 731847 h 6479439"/>
                <a:gd name="connsiteX8175" fmla="*/ 239330 w 9586368"/>
                <a:gd name="connsiteY8175" fmla="*/ 721977 h 6479439"/>
                <a:gd name="connsiteX8176" fmla="*/ 4036 w 9586368"/>
                <a:gd name="connsiteY8176" fmla="*/ 717939 h 6479439"/>
                <a:gd name="connsiteX8177" fmla="*/ 13947 w 9586368"/>
                <a:gd name="connsiteY8177" fmla="*/ 717939 h 6479439"/>
                <a:gd name="connsiteX8178" fmla="*/ 17965 w 9586368"/>
                <a:gd name="connsiteY8178" fmla="*/ 721978 h 6479439"/>
                <a:gd name="connsiteX8179" fmla="*/ 17965 w 9586368"/>
                <a:gd name="connsiteY8179" fmla="*/ 731848 h 6479439"/>
                <a:gd name="connsiteX8180" fmla="*/ 13947 w 9586368"/>
                <a:gd name="connsiteY8180" fmla="*/ 735886 h 6479439"/>
                <a:gd name="connsiteX8181" fmla="*/ 4036 w 9586368"/>
                <a:gd name="connsiteY8181" fmla="*/ 735886 h 6479439"/>
                <a:gd name="connsiteX8182" fmla="*/ 17 w 9586368"/>
                <a:gd name="connsiteY8182" fmla="*/ 731848 h 6479439"/>
                <a:gd name="connsiteX8183" fmla="*/ 17 w 9586368"/>
                <a:gd name="connsiteY8183" fmla="*/ 721978 h 6479439"/>
                <a:gd name="connsiteX8184" fmla="*/ 721975 w 9586368"/>
                <a:gd name="connsiteY8184" fmla="*/ 717939 h 6479439"/>
                <a:gd name="connsiteX8185" fmla="*/ 731885 w 9586368"/>
                <a:gd name="connsiteY8185" fmla="*/ 717939 h 6479439"/>
                <a:gd name="connsiteX8186" fmla="*/ 735904 w 9586368"/>
                <a:gd name="connsiteY8186" fmla="*/ 721977 h 6479439"/>
                <a:gd name="connsiteX8187" fmla="*/ 735904 w 9586368"/>
                <a:gd name="connsiteY8187" fmla="*/ 731847 h 6479439"/>
                <a:gd name="connsiteX8188" fmla="*/ 731885 w 9586368"/>
                <a:gd name="connsiteY8188" fmla="*/ 735886 h 6479439"/>
                <a:gd name="connsiteX8189" fmla="*/ 721975 w 9586368"/>
                <a:gd name="connsiteY8189" fmla="*/ 735886 h 6479439"/>
                <a:gd name="connsiteX8190" fmla="*/ 717956 w 9586368"/>
                <a:gd name="connsiteY8190" fmla="*/ 731847 h 6479439"/>
                <a:gd name="connsiteX8191" fmla="*/ 717956 w 9586368"/>
                <a:gd name="connsiteY8191" fmla="*/ 721977 h 6479439"/>
                <a:gd name="connsiteX8192" fmla="*/ 482663 w 9586368"/>
                <a:gd name="connsiteY8192" fmla="*/ 717939 h 6479439"/>
                <a:gd name="connsiteX8193" fmla="*/ 492573 w 9586368"/>
                <a:gd name="connsiteY8193" fmla="*/ 717939 h 6479439"/>
                <a:gd name="connsiteX8194" fmla="*/ 496593 w 9586368"/>
                <a:gd name="connsiteY8194" fmla="*/ 721977 h 6479439"/>
                <a:gd name="connsiteX8195" fmla="*/ 496593 w 9586368"/>
                <a:gd name="connsiteY8195" fmla="*/ 731847 h 6479439"/>
                <a:gd name="connsiteX8196" fmla="*/ 492573 w 9586368"/>
                <a:gd name="connsiteY8196" fmla="*/ 735886 h 6479439"/>
                <a:gd name="connsiteX8197" fmla="*/ 482663 w 9586368"/>
                <a:gd name="connsiteY8197" fmla="*/ 735886 h 6479439"/>
                <a:gd name="connsiteX8198" fmla="*/ 478643 w 9586368"/>
                <a:gd name="connsiteY8198" fmla="*/ 731847 h 6479439"/>
                <a:gd name="connsiteX8199" fmla="*/ 478643 w 9586368"/>
                <a:gd name="connsiteY8199" fmla="*/ 721977 h 6479439"/>
                <a:gd name="connsiteX8200" fmla="*/ 3350359 w 9586368"/>
                <a:gd name="connsiteY8200" fmla="*/ 478760 h 6479439"/>
                <a:gd name="connsiteX8201" fmla="*/ 3360268 w 9586368"/>
                <a:gd name="connsiteY8201" fmla="*/ 478760 h 6479439"/>
                <a:gd name="connsiteX8202" fmla="*/ 3364287 w 9586368"/>
                <a:gd name="connsiteY8202" fmla="*/ 482801 h 6479439"/>
                <a:gd name="connsiteX8203" fmla="*/ 3364287 w 9586368"/>
                <a:gd name="connsiteY8203" fmla="*/ 492670 h 6479439"/>
                <a:gd name="connsiteX8204" fmla="*/ 3360268 w 9586368"/>
                <a:gd name="connsiteY8204" fmla="*/ 496707 h 6479439"/>
                <a:gd name="connsiteX8205" fmla="*/ 3350359 w 9586368"/>
                <a:gd name="connsiteY8205" fmla="*/ 496707 h 6479439"/>
                <a:gd name="connsiteX8206" fmla="*/ 3346340 w 9586368"/>
                <a:gd name="connsiteY8206" fmla="*/ 492670 h 6479439"/>
                <a:gd name="connsiteX8207" fmla="*/ 3346340 w 9586368"/>
                <a:gd name="connsiteY8207" fmla="*/ 482801 h 6479439"/>
                <a:gd name="connsiteX8208" fmla="*/ 3111048 w 9586368"/>
                <a:gd name="connsiteY8208" fmla="*/ 478760 h 6479439"/>
                <a:gd name="connsiteX8209" fmla="*/ 3120959 w 9586368"/>
                <a:gd name="connsiteY8209" fmla="*/ 478760 h 6479439"/>
                <a:gd name="connsiteX8210" fmla="*/ 3124977 w 9586368"/>
                <a:gd name="connsiteY8210" fmla="*/ 482801 h 6479439"/>
                <a:gd name="connsiteX8211" fmla="*/ 3124977 w 9586368"/>
                <a:gd name="connsiteY8211" fmla="*/ 492670 h 6479439"/>
                <a:gd name="connsiteX8212" fmla="*/ 3120959 w 9586368"/>
                <a:gd name="connsiteY8212" fmla="*/ 496707 h 6479439"/>
                <a:gd name="connsiteX8213" fmla="*/ 3111048 w 9586368"/>
                <a:gd name="connsiteY8213" fmla="*/ 496707 h 6479439"/>
                <a:gd name="connsiteX8214" fmla="*/ 3107029 w 9586368"/>
                <a:gd name="connsiteY8214" fmla="*/ 492670 h 6479439"/>
                <a:gd name="connsiteX8215" fmla="*/ 3107029 w 9586368"/>
                <a:gd name="connsiteY8215" fmla="*/ 482801 h 6479439"/>
                <a:gd name="connsiteX8216" fmla="*/ 2871737 w 9586368"/>
                <a:gd name="connsiteY8216" fmla="*/ 478760 h 6479439"/>
                <a:gd name="connsiteX8217" fmla="*/ 2881646 w 9586368"/>
                <a:gd name="connsiteY8217" fmla="*/ 478760 h 6479439"/>
                <a:gd name="connsiteX8218" fmla="*/ 2885666 w 9586368"/>
                <a:gd name="connsiteY8218" fmla="*/ 482801 h 6479439"/>
                <a:gd name="connsiteX8219" fmla="*/ 2885666 w 9586368"/>
                <a:gd name="connsiteY8219" fmla="*/ 492670 h 6479439"/>
                <a:gd name="connsiteX8220" fmla="*/ 2881646 w 9586368"/>
                <a:gd name="connsiteY8220" fmla="*/ 496707 h 6479439"/>
                <a:gd name="connsiteX8221" fmla="*/ 2871737 w 9586368"/>
                <a:gd name="connsiteY8221" fmla="*/ 496707 h 6479439"/>
                <a:gd name="connsiteX8222" fmla="*/ 2867717 w 9586368"/>
                <a:gd name="connsiteY8222" fmla="*/ 492670 h 6479439"/>
                <a:gd name="connsiteX8223" fmla="*/ 2867717 w 9586368"/>
                <a:gd name="connsiteY8223" fmla="*/ 482801 h 6479439"/>
                <a:gd name="connsiteX8224" fmla="*/ 2632423 w 9586368"/>
                <a:gd name="connsiteY8224" fmla="*/ 478760 h 6479439"/>
                <a:gd name="connsiteX8225" fmla="*/ 2642334 w 9586368"/>
                <a:gd name="connsiteY8225" fmla="*/ 478760 h 6479439"/>
                <a:gd name="connsiteX8226" fmla="*/ 2646352 w 9586368"/>
                <a:gd name="connsiteY8226" fmla="*/ 482801 h 6479439"/>
                <a:gd name="connsiteX8227" fmla="*/ 2646352 w 9586368"/>
                <a:gd name="connsiteY8227" fmla="*/ 492670 h 6479439"/>
                <a:gd name="connsiteX8228" fmla="*/ 2642334 w 9586368"/>
                <a:gd name="connsiteY8228" fmla="*/ 496707 h 6479439"/>
                <a:gd name="connsiteX8229" fmla="*/ 2632423 w 9586368"/>
                <a:gd name="connsiteY8229" fmla="*/ 496707 h 6479439"/>
                <a:gd name="connsiteX8230" fmla="*/ 2628404 w 9586368"/>
                <a:gd name="connsiteY8230" fmla="*/ 492670 h 6479439"/>
                <a:gd name="connsiteX8231" fmla="*/ 2628404 w 9586368"/>
                <a:gd name="connsiteY8231" fmla="*/ 482801 h 6479439"/>
                <a:gd name="connsiteX8232" fmla="*/ 2393104 w 9586368"/>
                <a:gd name="connsiteY8232" fmla="*/ 478760 h 6479439"/>
                <a:gd name="connsiteX8233" fmla="*/ 2403015 w 9586368"/>
                <a:gd name="connsiteY8233" fmla="*/ 478760 h 6479439"/>
                <a:gd name="connsiteX8234" fmla="*/ 2407034 w 9586368"/>
                <a:gd name="connsiteY8234" fmla="*/ 482801 h 6479439"/>
                <a:gd name="connsiteX8235" fmla="*/ 2407034 w 9586368"/>
                <a:gd name="connsiteY8235" fmla="*/ 492670 h 6479439"/>
                <a:gd name="connsiteX8236" fmla="*/ 2403015 w 9586368"/>
                <a:gd name="connsiteY8236" fmla="*/ 496707 h 6479439"/>
                <a:gd name="connsiteX8237" fmla="*/ 2393104 w 9586368"/>
                <a:gd name="connsiteY8237" fmla="*/ 496707 h 6479439"/>
                <a:gd name="connsiteX8238" fmla="*/ 2389087 w 9586368"/>
                <a:gd name="connsiteY8238" fmla="*/ 492670 h 6479439"/>
                <a:gd name="connsiteX8239" fmla="*/ 2389087 w 9586368"/>
                <a:gd name="connsiteY8239" fmla="*/ 482801 h 6479439"/>
                <a:gd name="connsiteX8240" fmla="*/ 4546929 w 9586368"/>
                <a:gd name="connsiteY8240" fmla="*/ 478748 h 6479439"/>
                <a:gd name="connsiteX8241" fmla="*/ 4556840 w 9586368"/>
                <a:gd name="connsiteY8241" fmla="*/ 478748 h 6479439"/>
                <a:gd name="connsiteX8242" fmla="*/ 4560859 w 9586368"/>
                <a:gd name="connsiteY8242" fmla="*/ 482789 h 6479439"/>
                <a:gd name="connsiteX8243" fmla="*/ 4560859 w 9586368"/>
                <a:gd name="connsiteY8243" fmla="*/ 492657 h 6479439"/>
                <a:gd name="connsiteX8244" fmla="*/ 4556840 w 9586368"/>
                <a:gd name="connsiteY8244" fmla="*/ 496695 h 6479439"/>
                <a:gd name="connsiteX8245" fmla="*/ 4546929 w 9586368"/>
                <a:gd name="connsiteY8245" fmla="*/ 496695 h 6479439"/>
                <a:gd name="connsiteX8246" fmla="*/ 4542910 w 9586368"/>
                <a:gd name="connsiteY8246" fmla="*/ 492657 h 6479439"/>
                <a:gd name="connsiteX8247" fmla="*/ 4542910 w 9586368"/>
                <a:gd name="connsiteY8247" fmla="*/ 482789 h 6479439"/>
                <a:gd name="connsiteX8248" fmla="*/ 4307612 w 9586368"/>
                <a:gd name="connsiteY8248" fmla="*/ 478748 h 6479439"/>
                <a:gd name="connsiteX8249" fmla="*/ 4317523 w 9586368"/>
                <a:gd name="connsiteY8249" fmla="*/ 478748 h 6479439"/>
                <a:gd name="connsiteX8250" fmla="*/ 4321543 w 9586368"/>
                <a:gd name="connsiteY8250" fmla="*/ 482789 h 6479439"/>
                <a:gd name="connsiteX8251" fmla="*/ 4321543 w 9586368"/>
                <a:gd name="connsiteY8251" fmla="*/ 492657 h 6479439"/>
                <a:gd name="connsiteX8252" fmla="*/ 4317523 w 9586368"/>
                <a:gd name="connsiteY8252" fmla="*/ 496695 h 6479439"/>
                <a:gd name="connsiteX8253" fmla="*/ 4307612 w 9586368"/>
                <a:gd name="connsiteY8253" fmla="*/ 496695 h 6479439"/>
                <a:gd name="connsiteX8254" fmla="*/ 4303595 w 9586368"/>
                <a:gd name="connsiteY8254" fmla="*/ 492657 h 6479439"/>
                <a:gd name="connsiteX8255" fmla="*/ 4303595 w 9586368"/>
                <a:gd name="connsiteY8255" fmla="*/ 482789 h 6479439"/>
                <a:gd name="connsiteX8256" fmla="*/ 4068297 w 9586368"/>
                <a:gd name="connsiteY8256" fmla="*/ 478748 h 6479439"/>
                <a:gd name="connsiteX8257" fmla="*/ 4078210 w 9586368"/>
                <a:gd name="connsiteY8257" fmla="*/ 478748 h 6479439"/>
                <a:gd name="connsiteX8258" fmla="*/ 4082229 w 9586368"/>
                <a:gd name="connsiteY8258" fmla="*/ 482789 h 6479439"/>
                <a:gd name="connsiteX8259" fmla="*/ 4082229 w 9586368"/>
                <a:gd name="connsiteY8259" fmla="*/ 492657 h 6479439"/>
                <a:gd name="connsiteX8260" fmla="*/ 4078210 w 9586368"/>
                <a:gd name="connsiteY8260" fmla="*/ 496695 h 6479439"/>
                <a:gd name="connsiteX8261" fmla="*/ 4068297 w 9586368"/>
                <a:gd name="connsiteY8261" fmla="*/ 496695 h 6479439"/>
                <a:gd name="connsiteX8262" fmla="*/ 4064278 w 9586368"/>
                <a:gd name="connsiteY8262" fmla="*/ 492657 h 6479439"/>
                <a:gd name="connsiteX8263" fmla="*/ 4064278 w 9586368"/>
                <a:gd name="connsiteY8263" fmla="*/ 482789 h 6479439"/>
                <a:gd name="connsiteX8264" fmla="*/ 3828990 w 9586368"/>
                <a:gd name="connsiteY8264" fmla="*/ 478748 h 6479439"/>
                <a:gd name="connsiteX8265" fmla="*/ 3838899 w 9586368"/>
                <a:gd name="connsiteY8265" fmla="*/ 478748 h 6479439"/>
                <a:gd name="connsiteX8266" fmla="*/ 3842917 w 9586368"/>
                <a:gd name="connsiteY8266" fmla="*/ 482789 h 6479439"/>
                <a:gd name="connsiteX8267" fmla="*/ 3842917 w 9586368"/>
                <a:gd name="connsiteY8267" fmla="*/ 492657 h 6479439"/>
                <a:gd name="connsiteX8268" fmla="*/ 3838899 w 9586368"/>
                <a:gd name="connsiteY8268" fmla="*/ 496695 h 6479439"/>
                <a:gd name="connsiteX8269" fmla="*/ 3828990 w 9586368"/>
                <a:gd name="connsiteY8269" fmla="*/ 496695 h 6479439"/>
                <a:gd name="connsiteX8270" fmla="*/ 3824971 w 9586368"/>
                <a:gd name="connsiteY8270" fmla="*/ 492657 h 6479439"/>
                <a:gd name="connsiteX8271" fmla="*/ 3824971 w 9586368"/>
                <a:gd name="connsiteY8271" fmla="*/ 482789 h 6479439"/>
                <a:gd name="connsiteX8272" fmla="*/ 3589676 w 9586368"/>
                <a:gd name="connsiteY8272" fmla="*/ 478748 h 6479439"/>
                <a:gd name="connsiteX8273" fmla="*/ 3599585 w 9586368"/>
                <a:gd name="connsiteY8273" fmla="*/ 478748 h 6479439"/>
                <a:gd name="connsiteX8274" fmla="*/ 3603604 w 9586368"/>
                <a:gd name="connsiteY8274" fmla="*/ 482789 h 6479439"/>
                <a:gd name="connsiteX8275" fmla="*/ 3603604 w 9586368"/>
                <a:gd name="connsiteY8275" fmla="*/ 492657 h 6479439"/>
                <a:gd name="connsiteX8276" fmla="*/ 3599585 w 9586368"/>
                <a:gd name="connsiteY8276" fmla="*/ 496695 h 6479439"/>
                <a:gd name="connsiteX8277" fmla="*/ 3589676 w 9586368"/>
                <a:gd name="connsiteY8277" fmla="*/ 496695 h 6479439"/>
                <a:gd name="connsiteX8278" fmla="*/ 3585657 w 9586368"/>
                <a:gd name="connsiteY8278" fmla="*/ 492657 h 6479439"/>
                <a:gd name="connsiteX8279" fmla="*/ 3585657 w 9586368"/>
                <a:gd name="connsiteY8279" fmla="*/ 482789 h 6479439"/>
                <a:gd name="connsiteX8280" fmla="*/ 5743412 w 9586368"/>
                <a:gd name="connsiteY8280" fmla="*/ 478736 h 6479439"/>
                <a:gd name="connsiteX8281" fmla="*/ 5753323 w 9586368"/>
                <a:gd name="connsiteY8281" fmla="*/ 478736 h 6479439"/>
                <a:gd name="connsiteX8282" fmla="*/ 5757342 w 9586368"/>
                <a:gd name="connsiteY8282" fmla="*/ 482776 h 6479439"/>
                <a:gd name="connsiteX8283" fmla="*/ 5757342 w 9586368"/>
                <a:gd name="connsiteY8283" fmla="*/ 492645 h 6479439"/>
                <a:gd name="connsiteX8284" fmla="*/ 5753323 w 9586368"/>
                <a:gd name="connsiteY8284" fmla="*/ 496683 h 6479439"/>
                <a:gd name="connsiteX8285" fmla="*/ 5743412 w 9586368"/>
                <a:gd name="connsiteY8285" fmla="*/ 496683 h 6479439"/>
                <a:gd name="connsiteX8286" fmla="*/ 5739393 w 9586368"/>
                <a:gd name="connsiteY8286" fmla="*/ 492645 h 6479439"/>
                <a:gd name="connsiteX8287" fmla="*/ 5739393 w 9586368"/>
                <a:gd name="connsiteY8287" fmla="*/ 482776 h 6479439"/>
                <a:gd name="connsiteX8288" fmla="*/ 5504099 w 9586368"/>
                <a:gd name="connsiteY8288" fmla="*/ 478736 h 6479439"/>
                <a:gd name="connsiteX8289" fmla="*/ 5514010 w 9586368"/>
                <a:gd name="connsiteY8289" fmla="*/ 478736 h 6479439"/>
                <a:gd name="connsiteX8290" fmla="*/ 5518029 w 9586368"/>
                <a:gd name="connsiteY8290" fmla="*/ 482776 h 6479439"/>
                <a:gd name="connsiteX8291" fmla="*/ 5518029 w 9586368"/>
                <a:gd name="connsiteY8291" fmla="*/ 492645 h 6479439"/>
                <a:gd name="connsiteX8292" fmla="*/ 5514010 w 9586368"/>
                <a:gd name="connsiteY8292" fmla="*/ 496683 h 6479439"/>
                <a:gd name="connsiteX8293" fmla="*/ 5504099 w 9586368"/>
                <a:gd name="connsiteY8293" fmla="*/ 496683 h 6479439"/>
                <a:gd name="connsiteX8294" fmla="*/ 5500080 w 9586368"/>
                <a:gd name="connsiteY8294" fmla="*/ 492645 h 6479439"/>
                <a:gd name="connsiteX8295" fmla="*/ 5500080 w 9586368"/>
                <a:gd name="connsiteY8295" fmla="*/ 482776 h 6479439"/>
                <a:gd name="connsiteX8296" fmla="*/ 5264784 w 9586368"/>
                <a:gd name="connsiteY8296" fmla="*/ 478736 h 6479439"/>
                <a:gd name="connsiteX8297" fmla="*/ 5274694 w 9586368"/>
                <a:gd name="connsiteY8297" fmla="*/ 478736 h 6479439"/>
                <a:gd name="connsiteX8298" fmla="*/ 5278713 w 9586368"/>
                <a:gd name="connsiteY8298" fmla="*/ 482776 h 6479439"/>
                <a:gd name="connsiteX8299" fmla="*/ 5278713 w 9586368"/>
                <a:gd name="connsiteY8299" fmla="*/ 492645 h 6479439"/>
                <a:gd name="connsiteX8300" fmla="*/ 5274694 w 9586368"/>
                <a:gd name="connsiteY8300" fmla="*/ 496683 h 6479439"/>
                <a:gd name="connsiteX8301" fmla="*/ 5264784 w 9586368"/>
                <a:gd name="connsiteY8301" fmla="*/ 496683 h 6479439"/>
                <a:gd name="connsiteX8302" fmla="*/ 5260765 w 9586368"/>
                <a:gd name="connsiteY8302" fmla="*/ 492645 h 6479439"/>
                <a:gd name="connsiteX8303" fmla="*/ 5260765 w 9586368"/>
                <a:gd name="connsiteY8303" fmla="*/ 482776 h 6479439"/>
                <a:gd name="connsiteX8304" fmla="*/ 5025470 w 9586368"/>
                <a:gd name="connsiteY8304" fmla="*/ 478736 h 6479439"/>
                <a:gd name="connsiteX8305" fmla="*/ 5035381 w 9586368"/>
                <a:gd name="connsiteY8305" fmla="*/ 478736 h 6479439"/>
                <a:gd name="connsiteX8306" fmla="*/ 5039400 w 9586368"/>
                <a:gd name="connsiteY8306" fmla="*/ 482776 h 6479439"/>
                <a:gd name="connsiteX8307" fmla="*/ 5039400 w 9586368"/>
                <a:gd name="connsiteY8307" fmla="*/ 492645 h 6479439"/>
                <a:gd name="connsiteX8308" fmla="*/ 5035381 w 9586368"/>
                <a:gd name="connsiteY8308" fmla="*/ 496683 h 6479439"/>
                <a:gd name="connsiteX8309" fmla="*/ 5025470 w 9586368"/>
                <a:gd name="connsiteY8309" fmla="*/ 496683 h 6479439"/>
                <a:gd name="connsiteX8310" fmla="*/ 5021451 w 9586368"/>
                <a:gd name="connsiteY8310" fmla="*/ 492645 h 6479439"/>
                <a:gd name="connsiteX8311" fmla="*/ 5021451 w 9586368"/>
                <a:gd name="connsiteY8311" fmla="*/ 482776 h 6479439"/>
                <a:gd name="connsiteX8312" fmla="*/ 4786241 w 9586368"/>
                <a:gd name="connsiteY8312" fmla="*/ 478736 h 6479439"/>
                <a:gd name="connsiteX8313" fmla="*/ 4796152 w 9586368"/>
                <a:gd name="connsiteY8313" fmla="*/ 478736 h 6479439"/>
                <a:gd name="connsiteX8314" fmla="*/ 4800171 w 9586368"/>
                <a:gd name="connsiteY8314" fmla="*/ 482776 h 6479439"/>
                <a:gd name="connsiteX8315" fmla="*/ 4800171 w 9586368"/>
                <a:gd name="connsiteY8315" fmla="*/ 492645 h 6479439"/>
                <a:gd name="connsiteX8316" fmla="*/ 4796152 w 9586368"/>
                <a:gd name="connsiteY8316" fmla="*/ 496683 h 6479439"/>
                <a:gd name="connsiteX8317" fmla="*/ 4786241 w 9586368"/>
                <a:gd name="connsiteY8317" fmla="*/ 496683 h 6479439"/>
                <a:gd name="connsiteX8318" fmla="*/ 4782224 w 9586368"/>
                <a:gd name="connsiteY8318" fmla="*/ 492645 h 6479439"/>
                <a:gd name="connsiteX8319" fmla="*/ 4782224 w 9586368"/>
                <a:gd name="connsiteY8319" fmla="*/ 482776 h 6479439"/>
                <a:gd name="connsiteX8320" fmla="*/ 6939983 w 9586368"/>
                <a:gd name="connsiteY8320" fmla="*/ 478724 h 6479439"/>
                <a:gd name="connsiteX8321" fmla="*/ 6949894 w 9586368"/>
                <a:gd name="connsiteY8321" fmla="*/ 478724 h 6479439"/>
                <a:gd name="connsiteX8322" fmla="*/ 6953913 w 9586368"/>
                <a:gd name="connsiteY8322" fmla="*/ 482764 h 6479439"/>
                <a:gd name="connsiteX8323" fmla="*/ 6953913 w 9586368"/>
                <a:gd name="connsiteY8323" fmla="*/ 492633 h 6479439"/>
                <a:gd name="connsiteX8324" fmla="*/ 6949894 w 9586368"/>
                <a:gd name="connsiteY8324" fmla="*/ 496671 h 6479439"/>
                <a:gd name="connsiteX8325" fmla="*/ 6939983 w 9586368"/>
                <a:gd name="connsiteY8325" fmla="*/ 496671 h 6479439"/>
                <a:gd name="connsiteX8326" fmla="*/ 6935964 w 9586368"/>
                <a:gd name="connsiteY8326" fmla="*/ 492633 h 6479439"/>
                <a:gd name="connsiteX8327" fmla="*/ 6935964 w 9586368"/>
                <a:gd name="connsiteY8327" fmla="*/ 482764 h 6479439"/>
                <a:gd name="connsiteX8328" fmla="*/ 6700670 w 9586368"/>
                <a:gd name="connsiteY8328" fmla="*/ 478724 h 6479439"/>
                <a:gd name="connsiteX8329" fmla="*/ 6710581 w 9586368"/>
                <a:gd name="connsiteY8329" fmla="*/ 478724 h 6479439"/>
                <a:gd name="connsiteX8330" fmla="*/ 6714600 w 9586368"/>
                <a:gd name="connsiteY8330" fmla="*/ 482764 h 6479439"/>
                <a:gd name="connsiteX8331" fmla="*/ 6714600 w 9586368"/>
                <a:gd name="connsiteY8331" fmla="*/ 492633 h 6479439"/>
                <a:gd name="connsiteX8332" fmla="*/ 6710581 w 9586368"/>
                <a:gd name="connsiteY8332" fmla="*/ 496671 h 6479439"/>
                <a:gd name="connsiteX8333" fmla="*/ 6700670 w 9586368"/>
                <a:gd name="connsiteY8333" fmla="*/ 496671 h 6479439"/>
                <a:gd name="connsiteX8334" fmla="*/ 6696651 w 9586368"/>
                <a:gd name="connsiteY8334" fmla="*/ 492633 h 6479439"/>
                <a:gd name="connsiteX8335" fmla="*/ 6696651 w 9586368"/>
                <a:gd name="connsiteY8335" fmla="*/ 482764 h 6479439"/>
                <a:gd name="connsiteX8336" fmla="*/ 6461356 w 9586368"/>
                <a:gd name="connsiteY8336" fmla="*/ 478724 h 6479439"/>
                <a:gd name="connsiteX8337" fmla="*/ 6471266 w 9586368"/>
                <a:gd name="connsiteY8337" fmla="*/ 478724 h 6479439"/>
                <a:gd name="connsiteX8338" fmla="*/ 6475285 w 9586368"/>
                <a:gd name="connsiteY8338" fmla="*/ 482764 h 6479439"/>
                <a:gd name="connsiteX8339" fmla="*/ 6475285 w 9586368"/>
                <a:gd name="connsiteY8339" fmla="*/ 492633 h 6479439"/>
                <a:gd name="connsiteX8340" fmla="*/ 6471266 w 9586368"/>
                <a:gd name="connsiteY8340" fmla="*/ 496671 h 6479439"/>
                <a:gd name="connsiteX8341" fmla="*/ 6461356 w 9586368"/>
                <a:gd name="connsiteY8341" fmla="*/ 496671 h 6479439"/>
                <a:gd name="connsiteX8342" fmla="*/ 6457337 w 9586368"/>
                <a:gd name="connsiteY8342" fmla="*/ 492633 h 6479439"/>
                <a:gd name="connsiteX8343" fmla="*/ 6457337 w 9586368"/>
                <a:gd name="connsiteY8343" fmla="*/ 482764 h 6479439"/>
                <a:gd name="connsiteX8344" fmla="*/ 6222042 w 9586368"/>
                <a:gd name="connsiteY8344" fmla="*/ 478724 h 6479439"/>
                <a:gd name="connsiteX8345" fmla="*/ 6231952 w 9586368"/>
                <a:gd name="connsiteY8345" fmla="*/ 478724 h 6479439"/>
                <a:gd name="connsiteX8346" fmla="*/ 6235971 w 9586368"/>
                <a:gd name="connsiteY8346" fmla="*/ 482764 h 6479439"/>
                <a:gd name="connsiteX8347" fmla="*/ 6235971 w 9586368"/>
                <a:gd name="connsiteY8347" fmla="*/ 492633 h 6479439"/>
                <a:gd name="connsiteX8348" fmla="*/ 6231952 w 9586368"/>
                <a:gd name="connsiteY8348" fmla="*/ 496671 h 6479439"/>
                <a:gd name="connsiteX8349" fmla="*/ 6222042 w 9586368"/>
                <a:gd name="connsiteY8349" fmla="*/ 496671 h 6479439"/>
                <a:gd name="connsiteX8350" fmla="*/ 6218023 w 9586368"/>
                <a:gd name="connsiteY8350" fmla="*/ 492633 h 6479439"/>
                <a:gd name="connsiteX8351" fmla="*/ 6218023 w 9586368"/>
                <a:gd name="connsiteY8351" fmla="*/ 482764 h 6479439"/>
                <a:gd name="connsiteX8352" fmla="*/ 5982729 w 9586368"/>
                <a:gd name="connsiteY8352" fmla="*/ 478724 h 6479439"/>
                <a:gd name="connsiteX8353" fmla="*/ 5992639 w 9586368"/>
                <a:gd name="connsiteY8353" fmla="*/ 478724 h 6479439"/>
                <a:gd name="connsiteX8354" fmla="*/ 5996658 w 9586368"/>
                <a:gd name="connsiteY8354" fmla="*/ 482764 h 6479439"/>
                <a:gd name="connsiteX8355" fmla="*/ 5996658 w 9586368"/>
                <a:gd name="connsiteY8355" fmla="*/ 492633 h 6479439"/>
                <a:gd name="connsiteX8356" fmla="*/ 5992639 w 9586368"/>
                <a:gd name="connsiteY8356" fmla="*/ 496671 h 6479439"/>
                <a:gd name="connsiteX8357" fmla="*/ 5982729 w 9586368"/>
                <a:gd name="connsiteY8357" fmla="*/ 496671 h 6479439"/>
                <a:gd name="connsiteX8358" fmla="*/ 5978710 w 9586368"/>
                <a:gd name="connsiteY8358" fmla="*/ 492633 h 6479439"/>
                <a:gd name="connsiteX8359" fmla="*/ 5978710 w 9586368"/>
                <a:gd name="connsiteY8359" fmla="*/ 482764 h 6479439"/>
                <a:gd name="connsiteX8360" fmla="*/ 7897241 w 9586368"/>
                <a:gd name="connsiteY8360" fmla="*/ 478712 h 6479439"/>
                <a:gd name="connsiteX8361" fmla="*/ 7907151 w 9586368"/>
                <a:gd name="connsiteY8361" fmla="*/ 478712 h 6479439"/>
                <a:gd name="connsiteX8362" fmla="*/ 7911170 w 9586368"/>
                <a:gd name="connsiteY8362" fmla="*/ 482751 h 6479439"/>
                <a:gd name="connsiteX8363" fmla="*/ 7911170 w 9586368"/>
                <a:gd name="connsiteY8363" fmla="*/ 492620 h 6479439"/>
                <a:gd name="connsiteX8364" fmla="*/ 7907151 w 9586368"/>
                <a:gd name="connsiteY8364" fmla="*/ 496658 h 6479439"/>
                <a:gd name="connsiteX8365" fmla="*/ 7897241 w 9586368"/>
                <a:gd name="connsiteY8365" fmla="*/ 496658 h 6479439"/>
                <a:gd name="connsiteX8366" fmla="*/ 7893222 w 9586368"/>
                <a:gd name="connsiteY8366" fmla="*/ 492620 h 6479439"/>
                <a:gd name="connsiteX8367" fmla="*/ 7893222 w 9586368"/>
                <a:gd name="connsiteY8367" fmla="*/ 482751 h 6479439"/>
                <a:gd name="connsiteX8368" fmla="*/ 7657926 w 9586368"/>
                <a:gd name="connsiteY8368" fmla="*/ 478712 h 6479439"/>
                <a:gd name="connsiteX8369" fmla="*/ 7667836 w 9586368"/>
                <a:gd name="connsiteY8369" fmla="*/ 478712 h 6479439"/>
                <a:gd name="connsiteX8370" fmla="*/ 7671855 w 9586368"/>
                <a:gd name="connsiteY8370" fmla="*/ 482751 h 6479439"/>
                <a:gd name="connsiteX8371" fmla="*/ 7671855 w 9586368"/>
                <a:gd name="connsiteY8371" fmla="*/ 492620 h 6479439"/>
                <a:gd name="connsiteX8372" fmla="*/ 7667836 w 9586368"/>
                <a:gd name="connsiteY8372" fmla="*/ 496659 h 6479439"/>
                <a:gd name="connsiteX8373" fmla="*/ 7657926 w 9586368"/>
                <a:gd name="connsiteY8373" fmla="*/ 496659 h 6479439"/>
                <a:gd name="connsiteX8374" fmla="*/ 7653906 w 9586368"/>
                <a:gd name="connsiteY8374" fmla="*/ 492620 h 6479439"/>
                <a:gd name="connsiteX8375" fmla="*/ 7653906 w 9586368"/>
                <a:gd name="connsiteY8375" fmla="*/ 482751 h 6479439"/>
                <a:gd name="connsiteX8376" fmla="*/ 7418611 w 9586368"/>
                <a:gd name="connsiteY8376" fmla="*/ 478712 h 6479439"/>
                <a:gd name="connsiteX8377" fmla="*/ 7428521 w 9586368"/>
                <a:gd name="connsiteY8377" fmla="*/ 478712 h 6479439"/>
                <a:gd name="connsiteX8378" fmla="*/ 7432540 w 9586368"/>
                <a:gd name="connsiteY8378" fmla="*/ 482751 h 6479439"/>
                <a:gd name="connsiteX8379" fmla="*/ 7432540 w 9586368"/>
                <a:gd name="connsiteY8379" fmla="*/ 492620 h 6479439"/>
                <a:gd name="connsiteX8380" fmla="*/ 7428521 w 9586368"/>
                <a:gd name="connsiteY8380" fmla="*/ 496659 h 6479439"/>
                <a:gd name="connsiteX8381" fmla="*/ 7418611 w 9586368"/>
                <a:gd name="connsiteY8381" fmla="*/ 496659 h 6479439"/>
                <a:gd name="connsiteX8382" fmla="*/ 7414592 w 9586368"/>
                <a:gd name="connsiteY8382" fmla="*/ 492620 h 6479439"/>
                <a:gd name="connsiteX8383" fmla="*/ 7414592 w 9586368"/>
                <a:gd name="connsiteY8383" fmla="*/ 482751 h 6479439"/>
                <a:gd name="connsiteX8384" fmla="*/ 7179298 w 9586368"/>
                <a:gd name="connsiteY8384" fmla="*/ 478712 h 6479439"/>
                <a:gd name="connsiteX8385" fmla="*/ 7189209 w 9586368"/>
                <a:gd name="connsiteY8385" fmla="*/ 478712 h 6479439"/>
                <a:gd name="connsiteX8386" fmla="*/ 7193228 w 9586368"/>
                <a:gd name="connsiteY8386" fmla="*/ 482751 h 6479439"/>
                <a:gd name="connsiteX8387" fmla="*/ 7193228 w 9586368"/>
                <a:gd name="connsiteY8387" fmla="*/ 492620 h 6479439"/>
                <a:gd name="connsiteX8388" fmla="*/ 7189209 w 9586368"/>
                <a:gd name="connsiteY8388" fmla="*/ 496659 h 6479439"/>
                <a:gd name="connsiteX8389" fmla="*/ 7179298 w 9586368"/>
                <a:gd name="connsiteY8389" fmla="*/ 496659 h 6479439"/>
                <a:gd name="connsiteX8390" fmla="*/ 7175279 w 9586368"/>
                <a:gd name="connsiteY8390" fmla="*/ 492620 h 6479439"/>
                <a:gd name="connsiteX8391" fmla="*/ 7175279 w 9586368"/>
                <a:gd name="connsiteY8391" fmla="*/ 482751 h 6479439"/>
                <a:gd name="connsiteX8392" fmla="*/ 8136553 w 9586368"/>
                <a:gd name="connsiteY8392" fmla="*/ 478711 h 6479439"/>
                <a:gd name="connsiteX8393" fmla="*/ 8146464 w 9586368"/>
                <a:gd name="connsiteY8393" fmla="*/ 478711 h 6479439"/>
                <a:gd name="connsiteX8394" fmla="*/ 8150483 w 9586368"/>
                <a:gd name="connsiteY8394" fmla="*/ 482751 h 6479439"/>
                <a:gd name="connsiteX8395" fmla="*/ 8150483 w 9586368"/>
                <a:gd name="connsiteY8395" fmla="*/ 492620 h 6479439"/>
                <a:gd name="connsiteX8396" fmla="*/ 8146464 w 9586368"/>
                <a:gd name="connsiteY8396" fmla="*/ 496658 h 6479439"/>
                <a:gd name="connsiteX8397" fmla="*/ 8136553 w 9586368"/>
                <a:gd name="connsiteY8397" fmla="*/ 496658 h 6479439"/>
                <a:gd name="connsiteX8398" fmla="*/ 8132534 w 9586368"/>
                <a:gd name="connsiteY8398" fmla="*/ 492620 h 6479439"/>
                <a:gd name="connsiteX8399" fmla="*/ 8132534 w 9586368"/>
                <a:gd name="connsiteY8399" fmla="*/ 482751 h 6479439"/>
                <a:gd name="connsiteX8400" fmla="*/ 9093811 w 9586368"/>
                <a:gd name="connsiteY8400" fmla="*/ 478699 h 6479439"/>
                <a:gd name="connsiteX8401" fmla="*/ 9103722 w 9586368"/>
                <a:gd name="connsiteY8401" fmla="*/ 478699 h 6479439"/>
                <a:gd name="connsiteX8402" fmla="*/ 9107741 w 9586368"/>
                <a:gd name="connsiteY8402" fmla="*/ 482738 h 6479439"/>
                <a:gd name="connsiteX8403" fmla="*/ 9107741 w 9586368"/>
                <a:gd name="connsiteY8403" fmla="*/ 492608 h 6479439"/>
                <a:gd name="connsiteX8404" fmla="*/ 9103722 w 9586368"/>
                <a:gd name="connsiteY8404" fmla="*/ 496646 h 6479439"/>
                <a:gd name="connsiteX8405" fmla="*/ 9093811 w 9586368"/>
                <a:gd name="connsiteY8405" fmla="*/ 496646 h 6479439"/>
                <a:gd name="connsiteX8406" fmla="*/ 9089792 w 9586368"/>
                <a:gd name="connsiteY8406" fmla="*/ 492608 h 6479439"/>
                <a:gd name="connsiteX8407" fmla="*/ 9089792 w 9586368"/>
                <a:gd name="connsiteY8407" fmla="*/ 482738 h 6479439"/>
                <a:gd name="connsiteX8408" fmla="*/ 8854496 w 9586368"/>
                <a:gd name="connsiteY8408" fmla="*/ 478699 h 6479439"/>
                <a:gd name="connsiteX8409" fmla="*/ 8864407 w 9586368"/>
                <a:gd name="connsiteY8409" fmla="*/ 478699 h 6479439"/>
                <a:gd name="connsiteX8410" fmla="*/ 8868426 w 9586368"/>
                <a:gd name="connsiteY8410" fmla="*/ 482738 h 6479439"/>
                <a:gd name="connsiteX8411" fmla="*/ 8868426 w 9586368"/>
                <a:gd name="connsiteY8411" fmla="*/ 492608 h 6479439"/>
                <a:gd name="connsiteX8412" fmla="*/ 8864407 w 9586368"/>
                <a:gd name="connsiteY8412" fmla="*/ 496647 h 6479439"/>
                <a:gd name="connsiteX8413" fmla="*/ 8854496 w 9586368"/>
                <a:gd name="connsiteY8413" fmla="*/ 496647 h 6479439"/>
                <a:gd name="connsiteX8414" fmla="*/ 8850477 w 9586368"/>
                <a:gd name="connsiteY8414" fmla="*/ 492608 h 6479439"/>
                <a:gd name="connsiteX8415" fmla="*/ 8850477 w 9586368"/>
                <a:gd name="connsiteY8415" fmla="*/ 482738 h 6479439"/>
                <a:gd name="connsiteX8416" fmla="*/ 8615184 w 9586368"/>
                <a:gd name="connsiteY8416" fmla="*/ 478699 h 6479439"/>
                <a:gd name="connsiteX8417" fmla="*/ 8625095 w 9586368"/>
                <a:gd name="connsiteY8417" fmla="*/ 478699 h 6479439"/>
                <a:gd name="connsiteX8418" fmla="*/ 8629114 w 9586368"/>
                <a:gd name="connsiteY8418" fmla="*/ 482739 h 6479439"/>
                <a:gd name="connsiteX8419" fmla="*/ 8629114 w 9586368"/>
                <a:gd name="connsiteY8419" fmla="*/ 492608 h 6479439"/>
                <a:gd name="connsiteX8420" fmla="*/ 8625095 w 9586368"/>
                <a:gd name="connsiteY8420" fmla="*/ 496647 h 6479439"/>
                <a:gd name="connsiteX8421" fmla="*/ 8615184 w 9586368"/>
                <a:gd name="connsiteY8421" fmla="*/ 496647 h 6479439"/>
                <a:gd name="connsiteX8422" fmla="*/ 8611165 w 9586368"/>
                <a:gd name="connsiteY8422" fmla="*/ 492608 h 6479439"/>
                <a:gd name="connsiteX8423" fmla="*/ 8611165 w 9586368"/>
                <a:gd name="connsiteY8423" fmla="*/ 482739 h 6479439"/>
                <a:gd name="connsiteX8424" fmla="*/ 8375869 w 9586368"/>
                <a:gd name="connsiteY8424" fmla="*/ 478699 h 6479439"/>
                <a:gd name="connsiteX8425" fmla="*/ 8385779 w 9586368"/>
                <a:gd name="connsiteY8425" fmla="*/ 478699 h 6479439"/>
                <a:gd name="connsiteX8426" fmla="*/ 8389799 w 9586368"/>
                <a:gd name="connsiteY8426" fmla="*/ 482739 h 6479439"/>
                <a:gd name="connsiteX8427" fmla="*/ 8389799 w 9586368"/>
                <a:gd name="connsiteY8427" fmla="*/ 492608 h 6479439"/>
                <a:gd name="connsiteX8428" fmla="*/ 8385779 w 9586368"/>
                <a:gd name="connsiteY8428" fmla="*/ 496647 h 6479439"/>
                <a:gd name="connsiteX8429" fmla="*/ 8375869 w 9586368"/>
                <a:gd name="connsiteY8429" fmla="*/ 496647 h 6479439"/>
                <a:gd name="connsiteX8430" fmla="*/ 8371850 w 9586368"/>
                <a:gd name="connsiteY8430" fmla="*/ 492608 h 6479439"/>
                <a:gd name="connsiteX8431" fmla="*/ 8371850 w 9586368"/>
                <a:gd name="connsiteY8431" fmla="*/ 482739 h 6479439"/>
                <a:gd name="connsiteX8432" fmla="*/ 9333125 w 9586368"/>
                <a:gd name="connsiteY8432" fmla="*/ 478698 h 6479439"/>
                <a:gd name="connsiteX8433" fmla="*/ 9343036 w 9586368"/>
                <a:gd name="connsiteY8433" fmla="*/ 478698 h 6479439"/>
                <a:gd name="connsiteX8434" fmla="*/ 9347055 w 9586368"/>
                <a:gd name="connsiteY8434" fmla="*/ 482738 h 6479439"/>
                <a:gd name="connsiteX8435" fmla="*/ 9347055 w 9586368"/>
                <a:gd name="connsiteY8435" fmla="*/ 492608 h 6479439"/>
                <a:gd name="connsiteX8436" fmla="*/ 9343036 w 9586368"/>
                <a:gd name="connsiteY8436" fmla="*/ 496646 h 6479439"/>
                <a:gd name="connsiteX8437" fmla="*/ 9333125 w 9586368"/>
                <a:gd name="connsiteY8437" fmla="*/ 496646 h 6479439"/>
                <a:gd name="connsiteX8438" fmla="*/ 9329106 w 9586368"/>
                <a:gd name="connsiteY8438" fmla="*/ 492608 h 6479439"/>
                <a:gd name="connsiteX8439" fmla="*/ 9329106 w 9586368"/>
                <a:gd name="connsiteY8439" fmla="*/ 482738 h 6479439"/>
                <a:gd name="connsiteX8440" fmla="*/ 9572438 w 9586368"/>
                <a:gd name="connsiteY8440" fmla="*/ 478687 h 6479439"/>
                <a:gd name="connsiteX8441" fmla="*/ 9582349 w 9586368"/>
                <a:gd name="connsiteY8441" fmla="*/ 478687 h 6479439"/>
                <a:gd name="connsiteX8442" fmla="*/ 9586368 w 9586368"/>
                <a:gd name="connsiteY8442" fmla="*/ 482726 h 6479439"/>
                <a:gd name="connsiteX8443" fmla="*/ 9586368 w 9586368"/>
                <a:gd name="connsiteY8443" fmla="*/ 492596 h 6479439"/>
                <a:gd name="connsiteX8444" fmla="*/ 9582349 w 9586368"/>
                <a:gd name="connsiteY8444" fmla="*/ 496634 h 6479439"/>
                <a:gd name="connsiteX8445" fmla="*/ 9572438 w 9586368"/>
                <a:gd name="connsiteY8445" fmla="*/ 496634 h 6479439"/>
                <a:gd name="connsiteX8446" fmla="*/ 9568419 w 9586368"/>
                <a:gd name="connsiteY8446" fmla="*/ 492596 h 6479439"/>
                <a:gd name="connsiteX8447" fmla="*/ 9568419 w 9586368"/>
                <a:gd name="connsiteY8447" fmla="*/ 482726 h 6479439"/>
                <a:gd name="connsiteX8448" fmla="*/ 721976 w 9586368"/>
                <a:gd name="connsiteY8448" fmla="*/ 478660 h 6479439"/>
                <a:gd name="connsiteX8449" fmla="*/ 731886 w 9586368"/>
                <a:gd name="connsiteY8449" fmla="*/ 478660 h 6479439"/>
                <a:gd name="connsiteX8450" fmla="*/ 735905 w 9586368"/>
                <a:gd name="connsiteY8450" fmla="*/ 482698 h 6479439"/>
                <a:gd name="connsiteX8451" fmla="*/ 735905 w 9586368"/>
                <a:gd name="connsiteY8451" fmla="*/ 492569 h 6479439"/>
                <a:gd name="connsiteX8452" fmla="*/ 731886 w 9586368"/>
                <a:gd name="connsiteY8452" fmla="*/ 496608 h 6479439"/>
                <a:gd name="connsiteX8453" fmla="*/ 721976 w 9586368"/>
                <a:gd name="connsiteY8453" fmla="*/ 496608 h 6479439"/>
                <a:gd name="connsiteX8454" fmla="*/ 717957 w 9586368"/>
                <a:gd name="connsiteY8454" fmla="*/ 492569 h 6479439"/>
                <a:gd name="connsiteX8455" fmla="*/ 717957 w 9586368"/>
                <a:gd name="connsiteY8455" fmla="*/ 482698 h 6479439"/>
                <a:gd name="connsiteX8456" fmla="*/ 482664 w 9586368"/>
                <a:gd name="connsiteY8456" fmla="*/ 478660 h 6479439"/>
                <a:gd name="connsiteX8457" fmla="*/ 492574 w 9586368"/>
                <a:gd name="connsiteY8457" fmla="*/ 478660 h 6479439"/>
                <a:gd name="connsiteX8458" fmla="*/ 496593 w 9586368"/>
                <a:gd name="connsiteY8458" fmla="*/ 482698 h 6479439"/>
                <a:gd name="connsiteX8459" fmla="*/ 496593 w 9586368"/>
                <a:gd name="connsiteY8459" fmla="*/ 492569 h 6479439"/>
                <a:gd name="connsiteX8460" fmla="*/ 492574 w 9586368"/>
                <a:gd name="connsiteY8460" fmla="*/ 496608 h 6479439"/>
                <a:gd name="connsiteX8461" fmla="*/ 482664 w 9586368"/>
                <a:gd name="connsiteY8461" fmla="*/ 496608 h 6479439"/>
                <a:gd name="connsiteX8462" fmla="*/ 478645 w 9586368"/>
                <a:gd name="connsiteY8462" fmla="*/ 492569 h 6479439"/>
                <a:gd name="connsiteX8463" fmla="*/ 478645 w 9586368"/>
                <a:gd name="connsiteY8463" fmla="*/ 482698 h 6479439"/>
                <a:gd name="connsiteX8464" fmla="*/ 243350 w 9586368"/>
                <a:gd name="connsiteY8464" fmla="*/ 478660 h 6479439"/>
                <a:gd name="connsiteX8465" fmla="*/ 253260 w 9586368"/>
                <a:gd name="connsiteY8465" fmla="*/ 478660 h 6479439"/>
                <a:gd name="connsiteX8466" fmla="*/ 257279 w 9586368"/>
                <a:gd name="connsiteY8466" fmla="*/ 482698 h 6479439"/>
                <a:gd name="connsiteX8467" fmla="*/ 257279 w 9586368"/>
                <a:gd name="connsiteY8467" fmla="*/ 492569 h 6479439"/>
                <a:gd name="connsiteX8468" fmla="*/ 253260 w 9586368"/>
                <a:gd name="connsiteY8468" fmla="*/ 496608 h 6479439"/>
                <a:gd name="connsiteX8469" fmla="*/ 243350 w 9586368"/>
                <a:gd name="connsiteY8469" fmla="*/ 496608 h 6479439"/>
                <a:gd name="connsiteX8470" fmla="*/ 239331 w 9586368"/>
                <a:gd name="connsiteY8470" fmla="*/ 492569 h 6479439"/>
                <a:gd name="connsiteX8471" fmla="*/ 239331 w 9586368"/>
                <a:gd name="connsiteY8471" fmla="*/ 482698 h 6479439"/>
                <a:gd name="connsiteX8472" fmla="*/ 4037 w 9586368"/>
                <a:gd name="connsiteY8472" fmla="*/ 478660 h 6479439"/>
                <a:gd name="connsiteX8473" fmla="*/ 13947 w 9586368"/>
                <a:gd name="connsiteY8473" fmla="*/ 478660 h 6479439"/>
                <a:gd name="connsiteX8474" fmla="*/ 17966 w 9586368"/>
                <a:gd name="connsiteY8474" fmla="*/ 482698 h 6479439"/>
                <a:gd name="connsiteX8475" fmla="*/ 17966 w 9586368"/>
                <a:gd name="connsiteY8475" fmla="*/ 492569 h 6479439"/>
                <a:gd name="connsiteX8476" fmla="*/ 13947 w 9586368"/>
                <a:gd name="connsiteY8476" fmla="*/ 496608 h 6479439"/>
                <a:gd name="connsiteX8477" fmla="*/ 4037 w 9586368"/>
                <a:gd name="connsiteY8477" fmla="*/ 496608 h 6479439"/>
                <a:gd name="connsiteX8478" fmla="*/ 18 w 9586368"/>
                <a:gd name="connsiteY8478" fmla="*/ 492569 h 6479439"/>
                <a:gd name="connsiteX8479" fmla="*/ 18 w 9586368"/>
                <a:gd name="connsiteY8479" fmla="*/ 482698 h 6479439"/>
                <a:gd name="connsiteX8480" fmla="*/ 1679220 w 9586368"/>
                <a:gd name="connsiteY8480" fmla="*/ 478650 h 6479439"/>
                <a:gd name="connsiteX8481" fmla="*/ 1689130 w 9586368"/>
                <a:gd name="connsiteY8481" fmla="*/ 478650 h 6479439"/>
                <a:gd name="connsiteX8482" fmla="*/ 1693149 w 9586368"/>
                <a:gd name="connsiteY8482" fmla="*/ 482688 h 6479439"/>
                <a:gd name="connsiteX8483" fmla="*/ 1693149 w 9586368"/>
                <a:gd name="connsiteY8483" fmla="*/ 492559 h 6479439"/>
                <a:gd name="connsiteX8484" fmla="*/ 1689130 w 9586368"/>
                <a:gd name="connsiteY8484" fmla="*/ 496598 h 6479439"/>
                <a:gd name="connsiteX8485" fmla="*/ 1679220 w 9586368"/>
                <a:gd name="connsiteY8485" fmla="*/ 496598 h 6479439"/>
                <a:gd name="connsiteX8486" fmla="*/ 1675200 w 9586368"/>
                <a:gd name="connsiteY8486" fmla="*/ 492559 h 6479439"/>
                <a:gd name="connsiteX8487" fmla="*/ 1675200 w 9586368"/>
                <a:gd name="connsiteY8487" fmla="*/ 482688 h 6479439"/>
                <a:gd name="connsiteX8488" fmla="*/ 1439902 w 9586368"/>
                <a:gd name="connsiteY8488" fmla="*/ 478650 h 6479439"/>
                <a:gd name="connsiteX8489" fmla="*/ 1449812 w 9586368"/>
                <a:gd name="connsiteY8489" fmla="*/ 478650 h 6479439"/>
                <a:gd name="connsiteX8490" fmla="*/ 1453831 w 9586368"/>
                <a:gd name="connsiteY8490" fmla="*/ 482688 h 6479439"/>
                <a:gd name="connsiteX8491" fmla="*/ 1453831 w 9586368"/>
                <a:gd name="connsiteY8491" fmla="*/ 492559 h 6479439"/>
                <a:gd name="connsiteX8492" fmla="*/ 1449812 w 9586368"/>
                <a:gd name="connsiteY8492" fmla="*/ 496598 h 6479439"/>
                <a:gd name="connsiteX8493" fmla="*/ 1439902 w 9586368"/>
                <a:gd name="connsiteY8493" fmla="*/ 496598 h 6479439"/>
                <a:gd name="connsiteX8494" fmla="*/ 1435883 w 9586368"/>
                <a:gd name="connsiteY8494" fmla="*/ 492559 h 6479439"/>
                <a:gd name="connsiteX8495" fmla="*/ 1435883 w 9586368"/>
                <a:gd name="connsiteY8495" fmla="*/ 482688 h 6479439"/>
                <a:gd name="connsiteX8496" fmla="*/ 1200585 w 9586368"/>
                <a:gd name="connsiteY8496" fmla="*/ 478650 h 6479439"/>
                <a:gd name="connsiteX8497" fmla="*/ 1210496 w 9586368"/>
                <a:gd name="connsiteY8497" fmla="*/ 478650 h 6479439"/>
                <a:gd name="connsiteX8498" fmla="*/ 1214515 w 9586368"/>
                <a:gd name="connsiteY8498" fmla="*/ 482689 h 6479439"/>
                <a:gd name="connsiteX8499" fmla="*/ 1214515 w 9586368"/>
                <a:gd name="connsiteY8499" fmla="*/ 492559 h 6479439"/>
                <a:gd name="connsiteX8500" fmla="*/ 1210496 w 9586368"/>
                <a:gd name="connsiteY8500" fmla="*/ 496598 h 6479439"/>
                <a:gd name="connsiteX8501" fmla="*/ 1200585 w 9586368"/>
                <a:gd name="connsiteY8501" fmla="*/ 496598 h 6479439"/>
                <a:gd name="connsiteX8502" fmla="*/ 1196567 w 9586368"/>
                <a:gd name="connsiteY8502" fmla="*/ 492559 h 6479439"/>
                <a:gd name="connsiteX8503" fmla="*/ 1196567 w 9586368"/>
                <a:gd name="connsiteY8503" fmla="*/ 482689 h 6479439"/>
                <a:gd name="connsiteX8504" fmla="*/ 961273 w 9586368"/>
                <a:gd name="connsiteY8504" fmla="*/ 478650 h 6479439"/>
                <a:gd name="connsiteX8505" fmla="*/ 971183 w 9586368"/>
                <a:gd name="connsiteY8505" fmla="*/ 478650 h 6479439"/>
                <a:gd name="connsiteX8506" fmla="*/ 975202 w 9586368"/>
                <a:gd name="connsiteY8506" fmla="*/ 482689 h 6479439"/>
                <a:gd name="connsiteX8507" fmla="*/ 975202 w 9586368"/>
                <a:gd name="connsiteY8507" fmla="*/ 492559 h 6479439"/>
                <a:gd name="connsiteX8508" fmla="*/ 971183 w 9586368"/>
                <a:gd name="connsiteY8508" fmla="*/ 496598 h 6479439"/>
                <a:gd name="connsiteX8509" fmla="*/ 961273 w 9586368"/>
                <a:gd name="connsiteY8509" fmla="*/ 496598 h 6479439"/>
                <a:gd name="connsiteX8510" fmla="*/ 957254 w 9586368"/>
                <a:gd name="connsiteY8510" fmla="*/ 492559 h 6479439"/>
                <a:gd name="connsiteX8511" fmla="*/ 957254 w 9586368"/>
                <a:gd name="connsiteY8511" fmla="*/ 482689 h 6479439"/>
                <a:gd name="connsiteX8512" fmla="*/ 1918515 w 9586368"/>
                <a:gd name="connsiteY8512" fmla="*/ 478641 h 6479439"/>
                <a:gd name="connsiteX8513" fmla="*/ 1928425 w 9586368"/>
                <a:gd name="connsiteY8513" fmla="*/ 478641 h 6479439"/>
                <a:gd name="connsiteX8514" fmla="*/ 1932444 w 9586368"/>
                <a:gd name="connsiteY8514" fmla="*/ 482679 h 6479439"/>
                <a:gd name="connsiteX8515" fmla="*/ 1932444 w 9586368"/>
                <a:gd name="connsiteY8515" fmla="*/ 492550 h 6479439"/>
                <a:gd name="connsiteX8516" fmla="*/ 1928425 w 9586368"/>
                <a:gd name="connsiteY8516" fmla="*/ 496589 h 6479439"/>
                <a:gd name="connsiteX8517" fmla="*/ 1918515 w 9586368"/>
                <a:gd name="connsiteY8517" fmla="*/ 496589 h 6479439"/>
                <a:gd name="connsiteX8518" fmla="*/ 1914495 w 9586368"/>
                <a:gd name="connsiteY8518" fmla="*/ 492550 h 6479439"/>
                <a:gd name="connsiteX8519" fmla="*/ 1914495 w 9586368"/>
                <a:gd name="connsiteY8519" fmla="*/ 482679 h 6479439"/>
                <a:gd name="connsiteX8520" fmla="*/ 2157823 w 9586368"/>
                <a:gd name="connsiteY8520" fmla="*/ 478638 h 6479439"/>
                <a:gd name="connsiteX8521" fmla="*/ 2167734 w 9586368"/>
                <a:gd name="connsiteY8521" fmla="*/ 478638 h 6479439"/>
                <a:gd name="connsiteX8522" fmla="*/ 2171753 w 9586368"/>
                <a:gd name="connsiteY8522" fmla="*/ 482677 h 6479439"/>
                <a:gd name="connsiteX8523" fmla="*/ 2171753 w 9586368"/>
                <a:gd name="connsiteY8523" fmla="*/ 492548 h 6479439"/>
                <a:gd name="connsiteX8524" fmla="*/ 2167734 w 9586368"/>
                <a:gd name="connsiteY8524" fmla="*/ 496587 h 6479439"/>
                <a:gd name="connsiteX8525" fmla="*/ 2157823 w 9586368"/>
                <a:gd name="connsiteY8525" fmla="*/ 496587 h 6479439"/>
                <a:gd name="connsiteX8526" fmla="*/ 2153804 w 9586368"/>
                <a:gd name="connsiteY8526" fmla="*/ 492548 h 6479439"/>
                <a:gd name="connsiteX8527" fmla="*/ 2153804 w 9586368"/>
                <a:gd name="connsiteY8527" fmla="*/ 482677 h 6479439"/>
                <a:gd name="connsiteX8528" fmla="*/ 2632423 w 9586368"/>
                <a:gd name="connsiteY8528" fmla="*/ 239432 h 6479439"/>
                <a:gd name="connsiteX8529" fmla="*/ 2642334 w 9586368"/>
                <a:gd name="connsiteY8529" fmla="*/ 239432 h 6479439"/>
                <a:gd name="connsiteX8530" fmla="*/ 2646352 w 9586368"/>
                <a:gd name="connsiteY8530" fmla="*/ 243470 h 6479439"/>
                <a:gd name="connsiteX8531" fmla="*/ 2646352 w 9586368"/>
                <a:gd name="connsiteY8531" fmla="*/ 253341 h 6479439"/>
                <a:gd name="connsiteX8532" fmla="*/ 2642334 w 9586368"/>
                <a:gd name="connsiteY8532" fmla="*/ 257380 h 6479439"/>
                <a:gd name="connsiteX8533" fmla="*/ 2632423 w 9586368"/>
                <a:gd name="connsiteY8533" fmla="*/ 257380 h 6479439"/>
                <a:gd name="connsiteX8534" fmla="*/ 2628404 w 9586368"/>
                <a:gd name="connsiteY8534" fmla="*/ 253341 h 6479439"/>
                <a:gd name="connsiteX8535" fmla="*/ 2628404 w 9586368"/>
                <a:gd name="connsiteY8535" fmla="*/ 243470 h 6479439"/>
                <a:gd name="connsiteX8536" fmla="*/ 2393104 w 9586368"/>
                <a:gd name="connsiteY8536" fmla="*/ 239432 h 6479439"/>
                <a:gd name="connsiteX8537" fmla="*/ 2403015 w 9586368"/>
                <a:gd name="connsiteY8537" fmla="*/ 239432 h 6479439"/>
                <a:gd name="connsiteX8538" fmla="*/ 2407034 w 9586368"/>
                <a:gd name="connsiteY8538" fmla="*/ 243470 h 6479439"/>
                <a:gd name="connsiteX8539" fmla="*/ 2407034 w 9586368"/>
                <a:gd name="connsiteY8539" fmla="*/ 253341 h 6479439"/>
                <a:gd name="connsiteX8540" fmla="*/ 2403015 w 9586368"/>
                <a:gd name="connsiteY8540" fmla="*/ 257380 h 6479439"/>
                <a:gd name="connsiteX8541" fmla="*/ 2393104 w 9586368"/>
                <a:gd name="connsiteY8541" fmla="*/ 257380 h 6479439"/>
                <a:gd name="connsiteX8542" fmla="*/ 2389087 w 9586368"/>
                <a:gd name="connsiteY8542" fmla="*/ 253341 h 6479439"/>
                <a:gd name="connsiteX8543" fmla="*/ 2389087 w 9586368"/>
                <a:gd name="connsiteY8543" fmla="*/ 243470 h 6479439"/>
                <a:gd name="connsiteX8544" fmla="*/ 3350359 w 9586368"/>
                <a:gd name="connsiteY8544" fmla="*/ 239432 h 6479439"/>
                <a:gd name="connsiteX8545" fmla="*/ 3360268 w 9586368"/>
                <a:gd name="connsiteY8545" fmla="*/ 239432 h 6479439"/>
                <a:gd name="connsiteX8546" fmla="*/ 3364287 w 9586368"/>
                <a:gd name="connsiteY8546" fmla="*/ 243470 h 6479439"/>
                <a:gd name="connsiteX8547" fmla="*/ 3364287 w 9586368"/>
                <a:gd name="connsiteY8547" fmla="*/ 253341 h 6479439"/>
                <a:gd name="connsiteX8548" fmla="*/ 3360268 w 9586368"/>
                <a:gd name="connsiteY8548" fmla="*/ 257380 h 6479439"/>
                <a:gd name="connsiteX8549" fmla="*/ 3350359 w 9586368"/>
                <a:gd name="connsiteY8549" fmla="*/ 257380 h 6479439"/>
                <a:gd name="connsiteX8550" fmla="*/ 3346340 w 9586368"/>
                <a:gd name="connsiteY8550" fmla="*/ 253341 h 6479439"/>
                <a:gd name="connsiteX8551" fmla="*/ 3346340 w 9586368"/>
                <a:gd name="connsiteY8551" fmla="*/ 243470 h 6479439"/>
                <a:gd name="connsiteX8552" fmla="*/ 3111048 w 9586368"/>
                <a:gd name="connsiteY8552" fmla="*/ 239432 h 6479439"/>
                <a:gd name="connsiteX8553" fmla="*/ 3120959 w 9586368"/>
                <a:gd name="connsiteY8553" fmla="*/ 239432 h 6479439"/>
                <a:gd name="connsiteX8554" fmla="*/ 3124977 w 9586368"/>
                <a:gd name="connsiteY8554" fmla="*/ 243470 h 6479439"/>
                <a:gd name="connsiteX8555" fmla="*/ 3124977 w 9586368"/>
                <a:gd name="connsiteY8555" fmla="*/ 253341 h 6479439"/>
                <a:gd name="connsiteX8556" fmla="*/ 3120959 w 9586368"/>
                <a:gd name="connsiteY8556" fmla="*/ 257380 h 6479439"/>
                <a:gd name="connsiteX8557" fmla="*/ 3111048 w 9586368"/>
                <a:gd name="connsiteY8557" fmla="*/ 257380 h 6479439"/>
                <a:gd name="connsiteX8558" fmla="*/ 3107029 w 9586368"/>
                <a:gd name="connsiteY8558" fmla="*/ 253341 h 6479439"/>
                <a:gd name="connsiteX8559" fmla="*/ 3107029 w 9586368"/>
                <a:gd name="connsiteY8559" fmla="*/ 243470 h 6479439"/>
                <a:gd name="connsiteX8560" fmla="*/ 2871737 w 9586368"/>
                <a:gd name="connsiteY8560" fmla="*/ 239432 h 6479439"/>
                <a:gd name="connsiteX8561" fmla="*/ 2881646 w 9586368"/>
                <a:gd name="connsiteY8561" fmla="*/ 239432 h 6479439"/>
                <a:gd name="connsiteX8562" fmla="*/ 2885666 w 9586368"/>
                <a:gd name="connsiteY8562" fmla="*/ 243470 h 6479439"/>
                <a:gd name="connsiteX8563" fmla="*/ 2885666 w 9586368"/>
                <a:gd name="connsiteY8563" fmla="*/ 253341 h 6479439"/>
                <a:gd name="connsiteX8564" fmla="*/ 2881646 w 9586368"/>
                <a:gd name="connsiteY8564" fmla="*/ 257380 h 6479439"/>
                <a:gd name="connsiteX8565" fmla="*/ 2871737 w 9586368"/>
                <a:gd name="connsiteY8565" fmla="*/ 257380 h 6479439"/>
                <a:gd name="connsiteX8566" fmla="*/ 2867717 w 9586368"/>
                <a:gd name="connsiteY8566" fmla="*/ 253341 h 6479439"/>
                <a:gd name="connsiteX8567" fmla="*/ 2867717 w 9586368"/>
                <a:gd name="connsiteY8567" fmla="*/ 243470 h 6479439"/>
                <a:gd name="connsiteX8568" fmla="*/ 3828990 w 9586368"/>
                <a:gd name="connsiteY8568" fmla="*/ 239420 h 6479439"/>
                <a:gd name="connsiteX8569" fmla="*/ 3838899 w 9586368"/>
                <a:gd name="connsiteY8569" fmla="*/ 239420 h 6479439"/>
                <a:gd name="connsiteX8570" fmla="*/ 3842917 w 9586368"/>
                <a:gd name="connsiteY8570" fmla="*/ 243457 h 6479439"/>
                <a:gd name="connsiteX8571" fmla="*/ 3842917 w 9586368"/>
                <a:gd name="connsiteY8571" fmla="*/ 253328 h 6479439"/>
                <a:gd name="connsiteX8572" fmla="*/ 3838899 w 9586368"/>
                <a:gd name="connsiteY8572" fmla="*/ 257367 h 6479439"/>
                <a:gd name="connsiteX8573" fmla="*/ 3828990 w 9586368"/>
                <a:gd name="connsiteY8573" fmla="*/ 257367 h 6479439"/>
                <a:gd name="connsiteX8574" fmla="*/ 3824971 w 9586368"/>
                <a:gd name="connsiteY8574" fmla="*/ 253328 h 6479439"/>
                <a:gd name="connsiteX8575" fmla="*/ 3824971 w 9586368"/>
                <a:gd name="connsiteY8575" fmla="*/ 243457 h 6479439"/>
                <a:gd name="connsiteX8576" fmla="*/ 3589676 w 9586368"/>
                <a:gd name="connsiteY8576" fmla="*/ 239420 h 6479439"/>
                <a:gd name="connsiteX8577" fmla="*/ 3599585 w 9586368"/>
                <a:gd name="connsiteY8577" fmla="*/ 239420 h 6479439"/>
                <a:gd name="connsiteX8578" fmla="*/ 3603604 w 9586368"/>
                <a:gd name="connsiteY8578" fmla="*/ 243457 h 6479439"/>
                <a:gd name="connsiteX8579" fmla="*/ 3603604 w 9586368"/>
                <a:gd name="connsiteY8579" fmla="*/ 253328 h 6479439"/>
                <a:gd name="connsiteX8580" fmla="*/ 3599585 w 9586368"/>
                <a:gd name="connsiteY8580" fmla="*/ 257367 h 6479439"/>
                <a:gd name="connsiteX8581" fmla="*/ 3589676 w 9586368"/>
                <a:gd name="connsiteY8581" fmla="*/ 257367 h 6479439"/>
                <a:gd name="connsiteX8582" fmla="*/ 3585657 w 9586368"/>
                <a:gd name="connsiteY8582" fmla="*/ 253328 h 6479439"/>
                <a:gd name="connsiteX8583" fmla="*/ 3585657 w 9586368"/>
                <a:gd name="connsiteY8583" fmla="*/ 243457 h 6479439"/>
                <a:gd name="connsiteX8584" fmla="*/ 4546929 w 9586368"/>
                <a:gd name="connsiteY8584" fmla="*/ 239419 h 6479439"/>
                <a:gd name="connsiteX8585" fmla="*/ 4556840 w 9586368"/>
                <a:gd name="connsiteY8585" fmla="*/ 239419 h 6479439"/>
                <a:gd name="connsiteX8586" fmla="*/ 4560859 w 9586368"/>
                <a:gd name="connsiteY8586" fmla="*/ 243457 h 6479439"/>
                <a:gd name="connsiteX8587" fmla="*/ 4560859 w 9586368"/>
                <a:gd name="connsiteY8587" fmla="*/ 253328 h 6479439"/>
                <a:gd name="connsiteX8588" fmla="*/ 4556840 w 9586368"/>
                <a:gd name="connsiteY8588" fmla="*/ 257367 h 6479439"/>
                <a:gd name="connsiteX8589" fmla="*/ 4546929 w 9586368"/>
                <a:gd name="connsiteY8589" fmla="*/ 257367 h 6479439"/>
                <a:gd name="connsiteX8590" fmla="*/ 4542910 w 9586368"/>
                <a:gd name="connsiteY8590" fmla="*/ 253328 h 6479439"/>
                <a:gd name="connsiteX8591" fmla="*/ 4542910 w 9586368"/>
                <a:gd name="connsiteY8591" fmla="*/ 243457 h 6479439"/>
                <a:gd name="connsiteX8592" fmla="*/ 4307612 w 9586368"/>
                <a:gd name="connsiteY8592" fmla="*/ 239419 h 6479439"/>
                <a:gd name="connsiteX8593" fmla="*/ 4317523 w 9586368"/>
                <a:gd name="connsiteY8593" fmla="*/ 239419 h 6479439"/>
                <a:gd name="connsiteX8594" fmla="*/ 4321543 w 9586368"/>
                <a:gd name="connsiteY8594" fmla="*/ 243457 h 6479439"/>
                <a:gd name="connsiteX8595" fmla="*/ 4321543 w 9586368"/>
                <a:gd name="connsiteY8595" fmla="*/ 253328 h 6479439"/>
                <a:gd name="connsiteX8596" fmla="*/ 4317523 w 9586368"/>
                <a:gd name="connsiteY8596" fmla="*/ 257367 h 6479439"/>
                <a:gd name="connsiteX8597" fmla="*/ 4307612 w 9586368"/>
                <a:gd name="connsiteY8597" fmla="*/ 257367 h 6479439"/>
                <a:gd name="connsiteX8598" fmla="*/ 4303595 w 9586368"/>
                <a:gd name="connsiteY8598" fmla="*/ 253328 h 6479439"/>
                <a:gd name="connsiteX8599" fmla="*/ 4303595 w 9586368"/>
                <a:gd name="connsiteY8599" fmla="*/ 243457 h 6479439"/>
                <a:gd name="connsiteX8600" fmla="*/ 4068297 w 9586368"/>
                <a:gd name="connsiteY8600" fmla="*/ 239419 h 6479439"/>
                <a:gd name="connsiteX8601" fmla="*/ 4078210 w 9586368"/>
                <a:gd name="connsiteY8601" fmla="*/ 239419 h 6479439"/>
                <a:gd name="connsiteX8602" fmla="*/ 4082229 w 9586368"/>
                <a:gd name="connsiteY8602" fmla="*/ 243457 h 6479439"/>
                <a:gd name="connsiteX8603" fmla="*/ 4082229 w 9586368"/>
                <a:gd name="connsiteY8603" fmla="*/ 253328 h 6479439"/>
                <a:gd name="connsiteX8604" fmla="*/ 4078210 w 9586368"/>
                <a:gd name="connsiteY8604" fmla="*/ 257367 h 6479439"/>
                <a:gd name="connsiteX8605" fmla="*/ 4068297 w 9586368"/>
                <a:gd name="connsiteY8605" fmla="*/ 257367 h 6479439"/>
                <a:gd name="connsiteX8606" fmla="*/ 4064278 w 9586368"/>
                <a:gd name="connsiteY8606" fmla="*/ 253328 h 6479439"/>
                <a:gd name="connsiteX8607" fmla="*/ 4064278 w 9586368"/>
                <a:gd name="connsiteY8607" fmla="*/ 243457 h 6479439"/>
                <a:gd name="connsiteX8608" fmla="*/ 5025470 w 9586368"/>
                <a:gd name="connsiteY8608" fmla="*/ 239407 h 6479439"/>
                <a:gd name="connsiteX8609" fmla="*/ 5035381 w 9586368"/>
                <a:gd name="connsiteY8609" fmla="*/ 239407 h 6479439"/>
                <a:gd name="connsiteX8610" fmla="*/ 5039400 w 9586368"/>
                <a:gd name="connsiteY8610" fmla="*/ 243445 h 6479439"/>
                <a:gd name="connsiteX8611" fmla="*/ 5039400 w 9586368"/>
                <a:gd name="connsiteY8611" fmla="*/ 253316 h 6479439"/>
                <a:gd name="connsiteX8612" fmla="*/ 5035381 w 9586368"/>
                <a:gd name="connsiteY8612" fmla="*/ 257355 h 6479439"/>
                <a:gd name="connsiteX8613" fmla="*/ 5025470 w 9586368"/>
                <a:gd name="connsiteY8613" fmla="*/ 257355 h 6479439"/>
                <a:gd name="connsiteX8614" fmla="*/ 5021451 w 9586368"/>
                <a:gd name="connsiteY8614" fmla="*/ 253316 h 6479439"/>
                <a:gd name="connsiteX8615" fmla="*/ 5021451 w 9586368"/>
                <a:gd name="connsiteY8615" fmla="*/ 243445 h 6479439"/>
                <a:gd name="connsiteX8616" fmla="*/ 4786241 w 9586368"/>
                <a:gd name="connsiteY8616" fmla="*/ 239407 h 6479439"/>
                <a:gd name="connsiteX8617" fmla="*/ 4796152 w 9586368"/>
                <a:gd name="connsiteY8617" fmla="*/ 239407 h 6479439"/>
                <a:gd name="connsiteX8618" fmla="*/ 4800171 w 9586368"/>
                <a:gd name="connsiteY8618" fmla="*/ 243445 h 6479439"/>
                <a:gd name="connsiteX8619" fmla="*/ 4800171 w 9586368"/>
                <a:gd name="connsiteY8619" fmla="*/ 253316 h 6479439"/>
                <a:gd name="connsiteX8620" fmla="*/ 4796152 w 9586368"/>
                <a:gd name="connsiteY8620" fmla="*/ 257355 h 6479439"/>
                <a:gd name="connsiteX8621" fmla="*/ 4786241 w 9586368"/>
                <a:gd name="connsiteY8621" fmla="*/ 257355 h 6479439"/>
                <a:gd name="connsiteX8622" fmla="*/ 4782224 w 9586368"/>
                <a:gd name="connsiteY8622" fmla="*/ 253316 h 6479439"/>
                <a:gd name="connsiteX8623" fmla="*/ 4782224 w 9586368"/>
                <a:gd name="connsiteY8623" fmla="*/ 243445 h 6479439"/>
                <a:gd name="connsiteX8624" fmla="*/ 5743412 w 9586368"/>
                <a:gd name="connsiteY8624" fmla="*/ 239407 h 6479439"/>
                <a:gd name="connsiteX8625" fmla="*/ 5753323 w 9586368"/>
                <a:gd name="connsiteY8625" fmla="*/ 239407 h 6479439"/>
                <a:gd name="connsiteX8626" fmla="*/ 5757342 w 9586368"/>
                <a:gd name="connsiteY8626" fmla="*/ 243445 h 6479439"/>
                <a:gd name="connsiteX8627" fmla="*/ 5757342 w 9586368"/>
                <a:gd name="connsiteY8627" fmla="*/ 253316 h 6479439"/>
                <a:gd name="connsiteX8628" fmla="*/ 5753323 w 9586368"/>
                <a:gd name="connsiteY8628" fmla="*/ 257355 h 6479439"/>
                <a:gd name="connsiteX8629" fmla="*/ 5743412 w 9586368"/>
                <a:gd name="connsiteY8629" fmla="*/ 257355 h 6479439"/>
                <a:gd name="connsiteX8630" fmla="*/ 5739393 w 9586368"/>
                <a:gd name="connsiteY8630" fmla="*/ 253316 h 6479439"/>
                <a:gd name="connsiteX8631" fmla="*/ 5739393 w 9586368"/>
                <a:gd name="connsiteY8631" fmla="*/ 243445 h 6479439"/>
                <a:gd name="connsiteX8632" fmla="*/ 5504099 w 9586368"/>
                <a:gd name="connsiteY8632" fmla="*/ 239407 h 6479439"/>
                <a:gd name="connsiteX8633" fmla="*/ 5514010 w 9586368"/>
                <a:gd name="connsiteY8633" fmla="*/ 239407 h 6479439"/>
                <a:gd name="connsiteX8634" fmla="*/ 5518029 w 9586368"/>
                <a:gd name="connsiteY8634" fmla="*/ 243445 h 6479439"/>
                <a:gd name="connsiteX8635" fmla="*/ 5518029 w 9586368"/>
                <a:gd name="connsiteY8635" fmla="*/ 253316 h 6479439"/>
                <a:gd name="connsiteX8636" fmla="*/ 5514010 w 9586368"/>
                <a:gd name="connsiteY8636" fmla="*/ 257355 h 6479439"/>
                <a:gd name="connsiteX8637" fmla="*/ 5504099 w 9586368"/>
                <a:gd name="connsiteY8637" fmla="*/ 257355 h 6479439"/>
                <a:gd name="connsiteX8638" fmla="*/ 5500080 w 9586368"/>
                <a:gd name="connsiteY8638" fmla="*/ 253316 h 6479439"/>
                <a:gd name="connsiteX8639" fmla="*/ 5500080 w 9586368"/>
                <a:gd name="connsiteY8639" fmla="*/ 243445 h 6479439"/>
                <a:gd name="connsiteX8640" fmla="*/ 5264784 w 9586368"/>
                <a:gd name="connsiteY8640" fmla="*/ 239407 h 6479439"/>
                <a:gd name="connsiteX8641" fmla="*/ 5274694 w 9586368"/>
                <a:gd name="connsiteY8641" fmla="*/ 239407 h 6479439"/>
                <a:gd name="connsiteX8642" fmla="*/ 5278713 w 9586368"/>
                <a:gd name="connsiteY8642" fmla="*/ 243445 h 6479439"/>
                <a:gd name="connsiteX8643" fmla="*/ 5278713 w 9586368"/>
                <a:gd name="connsiteY8643" fmla="*/ 253316 h 6479439"/>
                <a:gd name="connsiteX8644" fmla="*/ 5274694 w 9586368"/>
                <a:gd name="connsiteY8644" fmla="*/ 257355 h 6479439"/>
                <a:gd name="connsiteX8645" fmla="*/ 5264784 w 9586368"/>
                <a:gd name="connsiteY8645" fmla="*/ 257355 h 6479439"/>
                <a:gd name="connsiteX8646" fmla="*/ 5260765 w 9586368"/>
                <a:gd name="connsiteY8646" fmla="*/ 253316 h 6479439"/>
                <a:gd name="connsiteX8647" fmla="*/ 5260765 w 9586368"/>
                <a:gd name="connsiteY8647" fmla="*/ 243445 h 6479439"/>
                <a:gd name="connsiteX8648" fmla="*/ 6222042 w 9586368"/>
                <a:gd name="connsiteY8648" fmla="*/ 239395 h 6479439"/>
                <a:gd name="connsiteX8649" fmla="*/ 6231952 w 9586368"/>
                <a:gd name="connsiteY8649" fmla="*/ 239395 h 6479439"/>
                <a:gd name="connsiteX8650" fmla="*/ 6235971 w 9586368"/>
                <a:gd name="connsiteY8650" fmla="*/ 243432 h 6479439"/>
                <a:gd name="connsiteX8651" fmla="*/ 6235971 w 9586368"/>
                <a:gd name="connsiteY8651" fmla="*/ 253303 h 6479439"/>
                <a:gd name="connsiteX8652" fmla="*/ 6231952 w 9586368"/>
                <a:gd name="connsiteY8652" fmla="*/ 257342 h 6479439"/>
                <a:gd name="connsiteX8653" fmla="*/ 6222042 w 9586368"/>
                <a:gd name="connsiteY8653" fmla="*/ 257342 h 6479439"/>
                <a:gd name="connsiteX8654" fmla="*/ 6218023 w 9586368"/>
                <a:gd name="connsiteY8654" fmla="*/ 253303 h 6479439"/>
                <a:gd name="connsiteX8655" fmla="*/ 6218023 w 9586368"/>
                <a:gd name="connsiteY8655" fmla="*/ 243432 h 6479439"/>
                <a:gd name="connsiteX8656" fmla="*/ 5982729 w 9586368"/>
                <a:gd name="connsiteY8656" fmla="*/ 239395 h 6479439"/>
                <a:gd name="connsiteX8657" fmla="*/ 5992639 w 9586368"/>
                <a:gd name="connsiteY8657" fmla="*/ 239395 h 6479439"/>
                <a:gd name="connsiteX8658" fmla="*/ 5996658 w 9586368"/>
                <a:gd name="connsiteY8658" fmla="*/ 243433 h 6479439"/>
                <a:gd name="connsiteX8659" fmla="*/ 5996658 w 9586368"/>
                <a:gd name="connsiteY8659" fmla="*/ 253303 h 6479439"/>
                <a:gd name="connsiteX8660" fmla="*/ 5992639 w 9586368"/>
                <a:gd name="connsiteY8660" fmla="*/ 257342 h 6479439"/>
                <a:gd name="connsiteX8661" fmla="*/ 5982729 w 9586368"/>
                <a:gd name="connsiteY8661" fmla="*/ 257342 h 6479439"/>
                <a:gd name="connsiteX8662" fmla="*/ 5978710 w 9586368"/>
                <a:gd name="connsiteY8662" fmla="*/ 253303 h 6479439"/>
                <a:gd name="connsiteX8663" fmla="*/ 5978710 w 9586368"/>
                <a:gd name="connsiteY8663" fmla="*/ 243433 h 6479439"/>
                <a:gd name="connsiteX8664" fmla="*/ 6939983 w 9586368"/>
                <a:gd name="connsiteY8664" fmla="*/ 239394 h 6479439"/>
                <a:gd name="connsiteX8665" fmla="*/ 6949894 w 9586368"/>
                <a:gd name="connsiteY8665" fmla="*/ 239394 h 6479439"/>
                <a:gd name="connsiteX8666" fmla="*/ 6953913 w 9586368"/>
                <a:gd name="connsiteY8666" fmla="*/ 243432 h 6479439"/>
                <a:gd name="connsiteX8667" fmla="*/ 6953913 w 9586368"/>
                <a:gd name="connsiteY8667" fmla="*/ 253303 h 6479439"/>
                <a:gd name="connsiteX8668" fmla="*/ 6949894 w 9586368"/>
                <a:gd name="connsiteY8668" fmla="*/ 257342 h 6479439"/>
                <a:gd name="connsiteX8669" fmla="*/ 6939983 w 9586368"/>
                <a:gd name="connsiteY8669" fmla="*/ 257342 h 6479439"/>
                <a:gd name="connsiteX8670" fmla="*/ 6935964 w 9586368"/>
                <a:gd name="connsiteY8670" fmla="*/ 253303 h 6479439"/>
                <a:gd name="connsiteX8671" fmla="*/ 6935964 w 9586368"/>
                <a:gd name="connsiteY8671" fmla="*/ 243432 h 6479439"/>
                <a:gd name="connsiteX8672" fmla="*/ 6700670 w 9586368"/>
                <a:gd name="connsiteY8672" fmla="*/ 239394 h 6479439"/>
                <a:gd name="connsiteX8673" fmla="*/ 6710581 w 9586368"/>
                <a:gd name="connsiteY8673" fmla="*/ 239394 h 6479439"/>
                <a:gd name="connsiteX8674" fmla="*/ 6714600 w 9586368"/>
                <a:gd name="connsiteY8674" fmla="*/ 243432 h 6479439"/>
                <a:gd name="connsiteX8675" fmla="*/ 6714600 w 9586368"/>
                <a:gd name="connsiteY8675" fmla="*/ 253303 h 6479439"/>
                <a:gd name="connsiteX8676" fmla="*/ 6710581 w 9586368"/>
                <a:gd name="connsiteY8676" fmla="*/ 257342 h 6479439"/>
                <a:gd name="connsiteX8677" fmla="*/ 6700670 w 9586368"/>
                <a:gd name="connsiteY8677" fmla="*/ 257342 h 6479439"/>
                <a:gd name="connsiteX8678" fmla="*/ 6696651 w 9586368"/>
                <a:gd name="connsiteY8678" fmla="*/ 253303 h 6479439"/>
                <a:gd name="connsiteX8679" fmla="*/ 6696651 w 9586368"/>
                <a:gd name="connsiteY8679" fmla="*/ 243432 h 6479439"/>
                <a:gd name="connsiteX8680" fmla="*/ 6461356 w 9586368"/>
                <a:gd name="connsiteY8680" fmla="*/ 239394 h 6479439"/>
                <a:gd name="connsiteX8681" fmla="*/ 6471266 w 9586368"/>
                <a:gd name="connsiteY8681" fmla="*/ 239394 h 6479439"/>
                <a:gd name="connsiteX8682" fmla="*/ 6475285 w 9586368"/>
                <a:gd name="connsiteY8682" fmla="*/ 243432 h 6479439"/>
                <a:gd name="connsiteX8683" fmla="*/ 6475285 w 9586368"/>
                <a:gd name="connsiteY8683" fmla="*/ 253303 h 6479439"/>
                <a:gd name="connsiteX8684" fmla="*/ 6471266 w 9586368"/>
                <a:gd name="connsiteY8684" fmla="*/ 257342 h 6479439"/>
                <a:gd name="connsiteX8685" fmla="*/ 6461356 w 9586368"/>
                <a:gd name="connsiteY8685" fmla="*/ 257342 h 6479439"/>
                <a:gd name="connsiteX8686" fmla="*/ 6457337 w 9586368"/>
                <a:gd name="connsiteY8686" fmla="*/ 253303 h 6479439"/>
                <a:gd name="connsiteX8687" fmla="*/ 6457337 w 9586368"/>
                <a:gd name="connsiteY8687" fmla="*/ 243432 h 6479439"/>
                <a:gd name="connsiteX8688" fmla="*/ 7418611 w 9586368"/>
                <a:gd name="connsiteY8688" fmla="*/ 239382 h 6479439"/>
                <a:gd name="connsiteX8689" fmla="*/ 7428521 w 9586368"/>
                <a:gd name="connsiteY8689" fmla="*/ 239382 h 6479439"/>
                <a:gd name="connsiteX8690" fmla="*/ 7432540 w 9586368"/>
                <a:gd name="connsiteY8690" fmla="*/ 243420 h 6479439"/>
                <a:gd name="connsiteX8691" fmla="*/ 7432540 w 9586368"/>
                <a:gd name="connsiteY8691" fmla="*/ 253291 h 6479439"/>
                <a:gd name="connsiteX8692" fmla="*/ 7428521 w 9586368"/>
                <a:gd name="connsiteY8692" fmla="*/ 257330 h 6479439"/>
                <a:gd name="connsiteX8693" fmla="*/ 7418611 w 9586368"/>
                <a:gd name="connsiteY8693" fmla="*/ 257330 h 6479439"/>
                <a:gd name="connsiteX8694" fmla="*/ 7414592 w 9586368"/>
                <a:gd name="connsiteY8694" fmla="*/ 253291 h 6479439"/>
                <a:gd name="connsiteX8695" fmla="*/ 7414592 w 9586368"/>
                <a:gd name="connsiteY8695" fmla="*/ 243420 h 6479439"/>
                <a:gd name="connsiteX8696" fmla="*/ 7179298 w 9586368"/>
                <a:gd name="connsiteY8696" fmla="*/ 239382 h 6479439"/>
                <a:gd name="connsiteX8697" fmla="*/ 7189209 w 9586368"/>
                <a:gd name="connsiteY8697" fmla="*/ 239382 h 6479439"/>
                <a:gd name="connsiteX8698" fmla="*/ 7193228 w 9586368"/>
                <a:gd name="connsiteY8698" fmla="*/ 243421 h 6479439"/>
                <a:gd name="connsiteX8699" fmla="*/ 7193228 w 9586368"/>
                <a:gd name="connsiteY8699" fmla="*/ 253292 h 6479439"/>
                <a:gd name="connsiteX8700" fmla="*/ 7189209 w 9586368"/>
                <a:gd name="connsiteY8700" fmla="*/ 257330 h 6479439"/>
                <a:gd name="connsiteX8701" fmla="*/ 7179298 w 9586368"/>
                <a:gd name="connsiteY8701" fmla="*/ 257330 h 6479439"/>
                <a:gd name="connsiteX8702" fmla="*/ 7175279 w 9586368"/>
                <a:gd name="connsiteY8702" fmla="*/ 253292 h 6479439"/>
                <a:gd name="connsiteX8703" fmla="*/ 7175279 w 9586368"/>
                <a:gd name="connsiteY8703" fmla="*/ 243421 h 6479439"/>
                <a:gd name="connsiteX8704" fmla="*/ 8136553 w 9586368"/>
                <a:gd name="connsiteY8704" fmla="*/ 239382 h 6479439"/>
                <a:gd name="connsiteX8705" fmla="*/ 8146464 w 9586368"/>
                <a:gd name="connsiteY8705" fmla="*/ 239382 h 6479439"/>
                <a:gd name="connsiteX8706" fmla="*/ 8150483 w 9586368"/>
                <a:gd name="connsiteY8706" fmla="*/ 243420 h 6479439"/>
                <a:gd name="connsiteX8707" fmla="*/ 8150483 w 9586368"/>
                <a:gd name="connsiteY8707" fmla="*/ 253291 h 6479439"/>
                <a:gd name="connsiteX8708" fmla="*/ 8146464 w 9586368"/>
                <a:gd name="connsiteY8708" fmla="*/ 257330 h 6479439"/>
                <a:gd name="connsiteX8709" fmla="*/ 8136553 w 9586368"/>
                <a:gd name="connsiteY8709" fmla="*/ 257330 h 6479439"/>
                <a:gd name="connsiteX8710" fmla="*/ 8132534 w 9586368"/>
                <a:gd name="connsiteY8710" fmla="*/ 253291 h 6479439"/>
                <a:gd name="connsiteX8711" fmla="*/ 8132534 w 9586368"/>
                <a:gd name="connsiteY8711" fmla="*/ 243420 h 6479439"/>
                <a:gd name="connsiteX8712" fmla="*/ 7897241 w 9586368"/>
                <a:gd name="connsiteY8712" fmla="*/ 239382 h 6479439"/>
                <a:gd name="connsiteX8713" fmla="*/ 7907151 w 9586368"/>
                <a:gd name="connsiteY8713" fmla="*/ 239382 h 6479439"/>
                <a:gd name="connsiteX8714" fmla="*/ 7911170 w 9586368"/>
                <a:gd name="connsiteY8714" fmla="*/ 243420 h 6479439"/>
                <a:gd name="connsiteX8715" fmla="*/ 7911170 w 9586368"/>
                <a:gd name="connsiteY8715" fmla="*/ 253291 h 6479439"/>
                <a:gd name="connsiteX8716" fmla="*/ 7907151 w 9586368"/>
                <a:gd name="connsiteY8716" fmla="*/ 257330 h 6479439"/>
                <a:gd name="connsiteX8717" fmla="*/ 7897241 w 9586368"/>
                <a:gd name="connsiteY8717" fmla="*/ 257330 h 6479439"/>
                <a:gd name="connsiteX8718" fmla="*/ 7893222 w 9586368"/>
                <a:gd name="connsiteY8718" fmla="*/ 253291 h 6479439"/>
                <a:gd name="connsiteX8719" fmla="*/ 7893222 w 9586368"/>
                <a:gd name="connsiteY8719" fmla="*/ 243420 h 6479439"/>
                <a:gd name="connsiteX8720" fmla="*/ 7657926 w 9586368"/>
                <a:gd name="connsiteY8720" fmla="*/ 239382 h 6479439"/>
                <a:gd name="connsiteX8721" fmla="*/ 7667836 w 9586368"/>
                <a:gd name="connsiteY8721" fmla="*/ 239382 h 6479439"/>
                <a:gd name="connsiteX8722" fmla="*/ 7671855 w 9586368"/>
                <a:gd name="connsiteY8722" fmla="*/ 243420 h 6479439"/>
                <a:gd name="connsiteX8723" fmla="*/ 7671855 w 9586368"/>
                <a:gd name="connsiteY8723" fmla="*/ 253291 h 6479439"/>
                <a:gd name="connsiteX8724" fmla="*/ 7667836 w 9586368"/>
                <a:gd name="connsiteY8724" fmla="*/ 257330 h 6479439"/>
                <a:gd name="connsiteX8725" fmla="*/ 7657926 w 9586368"/>
                <a:gd name="connsiteY8725" fmla="*/ 257330 h 6479439"/>
                <a:gd name="connsiteX8726" fmla="*/ 7653906 w 9586368"/>
                <a:gd name="connsiteY8726" fmla="*/ 253291 h 6479439"/>
                <a:gd name="connsiteX8727" fmla="*/ 7653906 w 9586368"/>
                <a:gd name="connsiteY8727" fmla="*/ 243420 h 6479439"/>
                <a:gd name="connsiteX8728" fmla="*/ 1679220 w 9586368"/>
                <a:gd name="connsiteY8728" fmla="*/ 239371 h 6479439"/>
                <a:gd name="connsiteX8729" fmla="*/ 1689131 w 9586368"/>
                <a:gd name="connsiteY8729" fmla="*/ 239371 h 6479439"/>
                <a:gd name="connsiteX8730" fmla="*/ 1693150 w 9586368"/>
                <a:gd name="connsiteY8730" fmla="*/ 243409 h 6479439"/>
                <a:gd name="connsiteX8731" fmla="*/ 1693150 w 9586368"/>
                <a:gd name="connsiteY8731" fmla="*/ 253280 h 6479439"/>
                <a:gd name="connsiteX8732" fmla="*/ 1689131 w 9586368"/>
                <a:gd name="connsiteY8732" fmla="*/ 257319 h 6479439"/>
                <a:gd name="connsiteX8733" fmla="*/ 1679220 w 9586368"/>
                <a:gd name="connsiteY8733" fmla="*/ 257319 h 6479439"/>
                <a:gd name="connsiteX8734" fmla="*/ 1675202 w 9586368"/>
                <a:gd name="connsiteY8734" fmla="*/ 253280 h 6479439"/>
                <a:gd name="connsiteX8735" fmla="*/ 1675202 w 9586368"/>
                <a:gd name="connsiteY8735" fmla="*/ 243409 h 6479439"/>
                <a:gd name="connsiteX8736" fmla="*/ 1439902 w 9586368"/>
                <a:gd name="connsiteY8736" fmla="*/ 239371 h 6479439"/>
                <a:gd name="connsiteX8737" fmla="*/ 1449813 w 9586368"/>
                <a:gd name="connsiteY8737" fmla="*/ 239371 h 6479439"/>
                <a:gd name="connsiteX8738" fmla="*/ 1453832 w 9586368"/>
                <a:gd name="connsiteY8738" fmla="*/ 243409 h 6479439"/>
                <a:gd name="connsiteX8739" fmla="*/ 1453832 w 9586368"/>
                <a:gd name="connsiteY8739" fmla="*/ 253280 h 6479439"/>
                <a:gd name="connsiteX8740" fmla="*/ 1449813 w 9586368"/>
                <a:gd name="connsiteY8740" fmla="*/ 257319 h 6479439"/>
                <a:gd name="connsiteX8741" fmla="*/ 1439902 w 9586368"/>
                <a:gd name="connsiteY8741" fmla="*/ 257319 h 6479439"/>
                <a:gd name="connsiteX8742" fmla="*/ 1435884 w 9586368"/>
                <a:gd name="connsiteY8742" fmla="*/ 253280 h 6479439"/>
                <a:gd name="connsiteX8743" fmla="*/ 1435884 w 9586368"/>
                <a:gd name="connsiteY8743" fmla="*/ 243409 h 6479439"/>
                <a:gd name="connsiteX8744" fmla="*/ 1200587 w 9586368"/>
                <a:gd name="connsiteY8744" fmla="*/ 239371 h 6479439"/>
                <a:gd name="connsiteX8745" fmla="*/ 1210496 w 9586368"/>
                <a:gd name="connsiteY8745" fmla="*/ 239371 h 6479439"/>
                <a:gd name="connsiteX8746" fmla="*/ 1214515 w 9586368"/>
                <a:gd name="connsiteY8746" fmla="*/ 243409 h 6479439"/>
                <a:gd name="connsiteX8747" fmla="*/ 1214515 w 9586368"/>
                <a:gd name="connsiteY8747" fmla="*/ 253280 h 6479439"/>
                <a:gd name="connsiteX8748" fmla="*/ 1210496 w 9586368"/>
                <a:gd name="connsiteY8748" fmla="*/ 257319 h 6479439"/>
                <a:gd name="connsiteX8749" fmla="*/ 1200587 w 9586368"/>
                <a:gd name="connsiteY8749" fmla="*/ 257319 h 6479439"/>
                <a:gd name="connsiteX8750" fmla="*/ 1196567 w 9586368"/>
                <a:gd name="connsiteY8750" fmla="*/ 253280 h 6479439"/>
                <a:gd name="connsiteX8751" fmla="*/ 1196567 w 9586368"/>
                <a:gd name="connsiteY8751" fmla="*/ 243409 h 6479439"/>
                <a:gd name="connsiteX8752" fmla="*/ 961273 w 9586368"/>
                <a:gd name="connsiteY8752" fmla="*/ 239371 h 6479439"/>
                <a:gd name="connsiteX8753" fmla="*/ 971184 w 9586368"/>
                <a:gd name="connsiteY8753" fmla="*/ 239371 h 6479439"/>
                <a:gd name="connsiteX8754" fmla="*/ 975203 w 9586368"/>
                <a:gd name="connsiteY8754" fmla="*/ 243409 h 6479439"/>
                <a:gd name="connsiteX8755" fmla="*/ 975203 w 9586368"/>
                <a:gd name="connsiteY8755" fmla="*/ 253280 h 6479439"/>
                <a:gd name="connsiteX8756" fmla="*/ 971184 w 9586368"/>
                <a:gd name="connsiteY8756" fmla="*/ 257319 h 6479439"/>
                <a:gd name="connsiteX8757" fmla="*/ 961273 w 9586368"/>
                <a:gd name="connsiteY8757" fmla="*/ 257319 h 6479439"/>
                <a:gd name="connsiteX8758" fmla="*/ 957255 w 9586368"/>
                <a:gd name="connsiteY8758" fmla="*/ 253280 h 6479439"/>
                <a:gd name="connsiteX8759" fmla="*/ 957255 w 9586368"/>
                <a:gd name="connsiteY8759" fmla="*/ 243409 h 6479439"/>
                <a:gd name="connsiteX8760" fmla="*/ 8615184 w 9586368"/>
                <a:gd name="connsiteY8760" fmla="*/ 239370 h 6479439"/>
                <a:gd name="connsiteX8761" fmla="*/ 8625095 w 9586368"/>
                <a:gd name="connsiteY8761" fmla="*/ 239370 h 6479439"/>
                <a:gd name="connsiteX8762" fmla="*/ 8629114 w 9586368"/>
                <a:gd name="connsiteY8762" fmla="*/ 243408 h 6479439"/>
                <a:gd name="connsiteX8763" fmla="*/ 8629114 w 9586368"/>
                <a:gd name="connsiteY8763" fmla="*/ 253278 h 6479439"/>
                <a:gd name="connsiteX8764" fmla="*/ 8625095 w 9586368"/>
                <a:gd name="connsiteY8764" fmla="*/ 257317 h 6479439"/>
                <a:gd name="connsiteX8765" fmla="*/ 8615184 w 9586368"/>
                <a:gd name="connsiteY8765" fmla="*/ 257317 h 6479439"/>
                <a:gd name="connsiteX8766" fmla="*/ 8611165 w 9586368"/>
                <a:gd name="connsiteY8766" fmla="*/ 253278 h 6479439"/>
                <a:gd name="connsiteX8767" fmla="*/ 8611165 w 9586368"/>
                <a:gd name="connsiteY8767" fmla="*/ 243408 h 6479439"/>
                <a:gd name="connsiteX8768" fmla="*/ 8375869 w 9586368"/>
                <a:gd name="connsiteY8768" fmla="*/ 239370 h 6479439"/>
                <a:gd name="connsiteX8769" fmla="*/ 8385779 w 9586368"/>
                <a:gd name="connsiteY8769" fmla="*/ 239370 h 6479439"/>
                <a:gd name="connsiteX8770" fmla="*/ 8389799 w 9586368"/>
                <a:gd name="connsiteY8770" fmla="*/ 243408 h 6479439"/>
                <a:gd name="connsiteX8771" fmla="*/ 8389799 w 9586368"/>
                <a:gd name="connsiteY8771" fmla="*/ 253279 h 6479439"/>
                <a:gd name="connsiteX8772" fmla="*/ 8385779 w 9586368"/>
                <a:gd name="connsiteY8772" fmla="*/ 257318 h 6479439"/>
                <a:gd name="connsiteX8773" fmla="*/ 8375869 w 9586368"/>
                <a:gd name="connsiteY8773" fmla="*/ 257318 h 6479439"/>
                <a:gd name="connsiteX8774" fmla="*/ 8371850 w 9586368"/>
                <a:gd name="connsiteY8774" fmla="*/ 253279 h 6479439"/>
                <a:gd name="connsiteX8775" fmla="*/ 8371850 w 9586368"/>
                <a:gd name="connsiteY8775" fmla="*/ 243408 h 6479439"/>
                <a:gd name="connsiteX8776" fmla="*/ 9333125 w 9586368"/>
                <a:gd name="connsiteY8776" fmla="*/ 239369 h 6479439"/>
                <a:gd name="connsiteX8777" fmla="*/ 9343036 w 9586368"/>
                <a:gd name="connsiteY8777" fmla="*/ 239369 h 6479439"/>
                <a:gd name="connsiteX8778" fmla="*/ 9347055 w 9586368"/>
                <a:gd name="connsiteY8778" fmla="*/ 243407 h 6479439"/>
                <a:gd name="connsiteX8779" fmla="*/ 9347055 w 9586368"/>
                <a:gd name="connsiteY8779" fmla="*/ 253278 h 6479439"/>
                <a:gd name="connsiteX8780" fmla="*/ 9343036 w 9586368"/>
                <a:gd name="connsiteY8780" fmla="*/ 257317 h 6479439"/>
                <a:gd name="connsiteX8781" fmla="*/ 9333125 w 9586368"/>
                <a:gd name="connsiteY8781" fmla="*/ 257317 h 6479439"/>
                <a:gd name="connsiteX8782" fmla="*/ 9329106 w 9586368"/>
                <a:gd name="connsiteY8782" fmla="*/ 253278 h 6479439"/>
                <a:gd name="connsiteX8783" fmla="*/ 9329106 w 9586368"/>
                <a:gd name="connsiteY8783" fmla="*/ 243407 h 6479439"/>
                <a:gd name="connsiteX8784" fmla="*/ 9093811 w 9586368"/>
                <a:gd name="connsiteY8784" fmla="*/ 239369 h 6479439"/>
                <a:gd name="connsiteX8785" fmla="*/ 9103722 w 9586368"/>
                <a:gd name="connsiteY8785" fmla="*/ 239369 h 6479439"/>
                <a:gd name="connsiteX8786" fmla="*/ 9107741 w 9586368"/>
                <a:gd name="connsiteY8786" fmla="*/ 243407 h 6479439"/>
                <a:gd name="connsiteX8787" fmla="*/ 9107741 w 9586368"/>
                <a:gd name="connsiteY8787" fmla="*/ 253278 h 6479439"/>
                <a:gd name="connsiteX8788" fmla="*/ 9103722 w 9586368"/>
                <a:gd name="connsiteY8788" fmla="*/ 257317 h 6479439"/>
                <a:gd name="connsiteX8789" fmla="*/ 9093811 w 9586368"/>
                <a:gd name="connsiteY8789" fmla="*/ 257317 h 6479439"/>
                <a:gd name="connsiteX8790" fmla="*/ 9089792 w 9586368"/>
                <a:gd name="connsiteY8790" fmla="*/ 253278 h 6479439"/>
                <a:gd name="connsiteX8791" fmla="*/ 9089792 w 9586368"/>
                <a:gd name="connsiteY8791" fmla="*/ 243407 h 6479439"/>
                <a:gd name="connsiteX8792" fmla="*/ 8854496 w 9586368"/>
                <a:gd name="connsiteY8792" fmla="*/ 239369 h 6479439"/>
                <a:gd name="connsiteX8793" fmla="*/ 8864407 w 9586368"/>
                <a:gd name="connsiteY8793" fmla="*/ 239369 h 6479439"/>
                <a:gd name="connsiteX8794" fmla="*/ 8868426 w 9586368"/>
                <a:gd name="connsiteY8794" fmla="*/ 243407 h 6479439"/>
                <a:gd name="connsiteX8795" fmla="*/ 8868426 w 9586368"/>
                <a:gd name="connsiteY8795" fmla="*/ 253278 h 6479439"/>
                <a:gd name="connsiteX8796" fmla="*/ 8864407 w 9586368"/>
                <a:gd name="connsiteY8796" fmla="*/ 257317 h 6479439"/>
                <a:gd name="connsiteX8797" fmla="*/ 8854496 w 9586368"/>
                <a:gd name="connsiteY8797" fmla="*/ 257317 h 6479439"/>
                <a:gd name="connsiteX8798" fmla="*/ 8850477 w 9586368"/>
                <a:gd name="connsiteY8798" fmla="*/ 253278 h 6479439"/>
                <a:gd name="connsiteX8799" fmla="*/ 8850477 w 9586368"/>
                <a:gd name="connsiteY8799" fmla="*/ 243407 h 6479439"/>
                <a:gd name="connsiteX8800" fmla="*/ 1918515 w 9586368"/>
                <a:gd name="connsiteY8800" fmla="*/ 239361 h 6479439"/>
                <a:gd name="connsiteX8801" fmla="*/ 1928425 w 9586368"/>
                <a:gd name="connsiteY8801" fmla="*/ 239361 h 6479439"/>
                <a:gd name="connsiteX8802" fmla="*/ 1932444 w 9586368"/>
                <a:gd name="connsiteY8802" fmla="*/ 243400 h 6479439"/>
                <a:gd name="connsiteX8803" fmla="*/ 1932444 w 9586368"/>
                <a:gd name="connsiteY8803" fmla="*/ 253271 h 6479439"/>
                <a:gd name="connsiteX8804" fmla="*/ 1928425 w 9586368"/>
                <a:gd name="connsiteY8804" fmla="*/ 257310 h 6479439"/>
                <a:gd name="connsiteX8805" fmla="*/ 1918515 w 9586368"/>
                <a:gd name="connsiteY8805" fmla="*/ 257310 h 6479439"/>
                <a:gd name="connsiteX8806" fmla="*/ 1914495 w 9586368"/>
                <a:gd name="connsiteY8806" fmla="*/ 253271 h 6479439"/>
                <a:gd name="connsiteX8807" fmla="*/ 1914495 w 9586368"/>
                <a:gd name="connsiteY8807" fmla="*/ 243400 h 6479439"/>
                <a:gd name="connsiteX8808" fmla="*/ 2157824 w 9586368"/>
                <a:gd name="connsiteY8808" fmla="*/ 239359 h 6479439"/>
                <a:gd name="connsiteX8809" fmla="*/ 2167734 w 9586368"/>
                <a:gd name="connsiteY8809" fmla="*/ 239359 h 6479439"/>
                <a:gd name="connsiteX8810" fmla="*/ 2171753 w 9586368"/>
                <a:gd name="connsiteY8810" fmla="*/ 243397 h 6479439"/>
                <a:gd name="connsiteX8811" fmla="*/ 2171753 w 9586368"/>
                <a:gd name="connsiteY8811" fmla="*/ 253268 h 6479439"/>
                <a:gd name="connsiteX8812" fmla="*/ 2167734 w 9586368"/>
                <a:gd name="connsiteY8812" fmla="*/ 257307 h 6479439"/>
                <a:gd name="connsiteX8813" fmla="*/ 2157824 w 9586368"/>
                <a:gd name="connsiteY8813" fmla="*/ 257307 h 6479439"/>
                <a:gd name="connsiteX8814" fmla="*/ 2153804 w 9586368"/>
                <a:gd name="connsiteY8814" fmla="*/ 253268 h 6479439"/>
                <a:gd name="connsiteX8815" fmla="*/ 2153804 w 9586368"/>
                <a:gd name="connsiteY8815" fmla="*/ 243397 h 6479439"/>
                <a:gd name="connsiteX8816" fmla="*/ 9572438 w 9586368"/>
                <a:gd name="connsiteY8816" fmla="*/ 239357 h 6479439"/>
                <a:gd name="connsiteX8817" fmla="*/ 9582349 w 9586368"/>
                <a:gd name="connsiteY8817" fmla="*/ 239357 h 6479439"/>
                <a:gd name="connsiteX8818" fmla="*/ 9586368 w 9586368"/>
                <a:gd name="connsiteY8818" fmla="*/ 243395 h 6479439"/>
                <a:gd name="connsiteX8819" fmla="*/ 9586368 w 9586368"/>
                <a:gd name="connsiteY8819" fmla="*/ 253267 h 6479439"/>
                <a:gd name="connsiteX8820" fmla="*/ 9582349 w 9586368"/>
                <a:gd name="connsiteY8820" fmla="*/ 257306 h 6479439"/>
                <a:gd name="connsiteX8821" fmla="*/ 9572438 w 9586368"/>
                <a:gd name="connsiteY8821" fmla="*/ 257306 h 6479439"/>
                <a:gd name="connsiteX8822" fmla="*/ 9568419 w 9586368"/>
                <a:gd name="connsiteY8822" fmla="*/ 253267 h 6479439"/>
                <a:gd name="connsiteX8823" fmla="*/ 9568419 w 9586368"/>
                <a:gd name="connsiteY8823" fmla="*/ 243395 h 6479439"/>
                <a:gd name="connsiteX8824" fmla="*/ 721976 w 9586368"/>
                <a:gd name="connsiteY8824" fmla="*/ 239330 h 6479439"/>
                <a:gd name="connsiteX8825" fmla="*/ 731887 w 9586368"/>
                <a:gd name="connsiteY8825" fmla="*/ 239330 h 6479439"/>
                <a:gd name="connsiteX8826" fmla="*/ 735906 w 9586368"/>
                <a:gd name="connsiteY8826" fmla="*/ 243368 h 6479439"/>
                <a:gd name="connsiteX8827" fmla="*/ 735906 w 9586368"/>
                <a:gd name="connsiteY8827" fmla="*/ 253239 h 6479439"/>
                <a:gd name="connsiteX8828" fmla="*/ 731887 w 9586368"/>
                <a:gd name="connsiteY8828" fmla="*/ 257278 h 6479439"/>
                <a:gd name="connsiteX8829" fmla="*/ 721976 w 9586368"/>
                <a:gd name="connsiteY8829" fmla="*/ 257278 h 6479439"/>
                <a:gd name="connsiteX8830" fmla="*/ 717958 w 9586368"/>
                <a:gd name="connsiteY8830" fmla="*/ 253239 h 6479439"/>
                <a:gd name="connsiteX8831" fmla="*/ 717958 w 9586368"/>
                <a:gd name="connsiteY8831" fmla="*/ 243368 h 6479439"/>
                <a:gd name="connsiteX8832" fmla="*/ 482664 w 9586368"/>
                <a:gd name="connsiteY8832" fmla="*/ 239330 h 6479439"/>
                <a:gd name="connsiteX8833" fmla="*/ 492575 w 9586368"/>
                <a:gd name="connsiteY8833" fmla="*/ 239330 h 6479439"/>
                <a:gd name="connsiteX8834" fmla="*/ 496594 w 9586368"/>
                <a:gd name="connsiteY8834" fmla="*/ 243368 h 6479439"/>
                <a:gd name="connsiteX8835" fmla="*/ 496594 w 9586368"/>
                <a:gd name="connsiteY8835" fmla="*/ 253239 h 6479439"/>
                <a:gd name="connsiteX8836" fmla="*/ 492575 w 9586368"/>
                <a:gd name="connsiteY8836" fmla="*/ 257278 h 6479439"/>
                <a:gd name="connsiteX8837" fmla="*/ 482664 w 9586368"/>
                <a:gd name="connsiteY8837" fmla="*/ 257278 h 6479439"/>
                <a:gd name="connsiteX8838" fmla="*/ 478645 w 9586368"/>
                <a:gd name="connsiteY8838" fmla="*/ 253239 h 6479439"/>
                <a:gd name="connsiteX8839" fmla="*/ 478645 w 9586368"/>
                <a:gd name="connsiteY8839" fmla="*/ 243368 h 6479439"/>
                <a:gd name="connsiteX8840" fmla="*/ 243350 w 9586368"/>
                <a:gd name="connsiteY8840" fmla="*/ 239330 h 6479439"/>
                <a:gd name="connsiteX8841" fmla="*/ 253261 w 9586368"/>
                <a:gd name="connsiteY8841" fmla="*/ 239330 h 6479439"/>
                <a:gd name="connsiteX8842" fmla="*/ 257280 w 9586368"/>
                <a:gd name="connsiteY8842" fmla="*/ 243368 h 6479439"/>
                <a:gd name="connsiteX8843" fmla="*/ 257280 w 9586368"/>
                <a:gd name="connsiteY8843" fmla="*/ 253239 h 6479439"/>
                <a:gd name="connsiteX8844" fmla="*/ 253261 w 9586368"/>
                <a:gd name="connsiteY8844" fmla="*/ 257278 h 6479439"/>
                <a:gd name="connsiteX8845" fmla="*/ 243350 w 9586368"/>
                <a:gd name="connsiteY8845" fmla="*/ 257278 h 6479439"/>
                <a:gd name="connsiteX8846" fmla="*/ 239332 w 9586368"/>
                <a:gd name="connsiteY8846" fmla="*/ 253239 h 6479439"/>
                <a:gd name="connsiteX8847" fmla="*/ 239332 w 9586368"/>
                <a:gd name="connsiteY8847" fmla="*/ 243368 h 6479439"/>
                <a:gd name="connsiteX8848" fmla="*/ 4037 w 9586368"/>
                <a:gd name="connsiteY8848" fmla="*/ 239330 h 6479439"/>
                <a:gd name="connsiteX8849" fmla="*/ 13948 w 9586368"/>
                <a:gd name="connsiteY8849" fmla="*/ 239330 h 6479439"/>
                <a:gd name="connsiteX8850" fmla="*/ 17967 w 9586368"/>
                <a:gd name="connsiteY8850" fmla="*/ 243368 h 6479439"/>
                <a:gd name="connsiteX8851" fmla="*/ 17967 w 9586368"/>
                <a:gd name="connsiteY8851" fmla="*/ 253239 h 6479439"/>
                <a:gd name="connsiteX8852" fmla="*/ 13948 w 9586368"/>
                <a:gd name="connsiteY8852" fmla="*/ 257278 h 6479439"/>
                <a:gd name="connsiteX8853" fmla="*/ 4037 w 9586368"/>
                <a:gd name="connsiteY8853" fmla="*/ 257278 h 6479439"/>
                <a:gd name="connsiteX8854" fmla="*/ 18 w 9586368"/>
                <a:gd name="connsiteY8854" fmla="*/ 253239 h 6479439"/>
                <a:gd name="connsiteX8855" fmla="*/ 18 w 9586368"/>
                <a:gd name="connsiteY8855" fmla="*/ 243368 h 6479439"/>
                <a:gd name="connsiteX8856" fmla="*/ 3111048 w 9586368"/>
                <a:gd name="connsiteY8856" fmla="*/ 106 h 6479439"/>
                <a:gd name="connsiteX8857" fmla="*/ 3120959 w 9586368"/>
                <a:gd name="connsiteY8857" fmla="*/ 106 h 6479439"/>
                <a:gd name="connsiteX8858" fmla="*/ 3124977 w 9586368"/>
                <a:gd name="connsiteY8858" fmla="*/ 4144 h 6479439"/>
                <a:gd name="connsiteX8859" fmla="*/ 3124977 w 9586368"/>
                <a:gd name="connsiteY8859" fmla="*/ 14015 h 6479439"/>
                <a:gd name="connsiteX8860" fmla="*/ 3120959 w 9586368"/>
                <a:gd name="connsiteY8860" fmla="*/ 18054 h 6479439"/>
                <a:gd name="connsiteX8861" fmla="*/ 3111048 w 9586368"/>
                <a:gd name="connsiteY8861" fmla="*/ 18054 h 6479439"/>
                <a:gd name="connsiteX8862" fmla="*/ 3107029 w 9586368"/>
                <a:gd name="connsiteY8862" fmla="*/ 14015 h 6479439"/>
                <a:gd name="connsiteX8863" fmla="*/ 3107029 w 9586368"/>
                <a:gd name="connsiteY8863" fmla="*/ 4144 h 6479439"/>
                <a:gd name="connsiteX8864" fmla="*/ 2871737 w 9586368"/>
                <a:gd name="connsiteY8864" fmla="*/ 106 h 6479439"/>
                <a:gd name="connsiteX8865" fmla="*/ 2881646 w 9586368"/>
                <a:gd name="connsiteY8865" fmla="*/ 106 h 6479439"/>
                <a:gd name="connsiteX8866" fmla="*/ 2885666 w 9586368"/>
                <a:gd name="connsiteY8866" fmla="*/ 4145 h 6479439"/>
                <a:gd name="connsiteX8867" fmla="*/ 2885666 w 9586368"/>
                <a:gd name="connsiteY8867" fmla="*/ 14015 h 6479439"/>
                <a:gd name="connsiteX8868" fmla="*/ 2881646 w 9586368"/>
                <a:gd name="connsiteY8868" fmla="*/ 18054 h 6479439"/>
                <a:gd name="connsiteX8869" fmla="*/ 2871737 w 9586368"/>
                <a:gd name="connsiteY8869" fmla="*/ 18054 h 6479439"/>
                <a:gd name="connsiteX8870" fmla="*/ 2867717 w 9586368"/>
                <a:gd name="connsiteY8870" fmla="*/ 14015 h 6479439"/>
                <a:gd name="connsiteX8871" fmla="*/ 2867717 w 9586368"/>
                <a:gd name="connsiteY8871" fmla="*/ 4145 h 6479439"/>
                <a:gd name="connsiteX8872" fmla="*/ 2632423 w 9586368"/>
                <a:gd name="connsiteY8872" fmla="*/ 106 h 6479439"/>
                <a:gd name="connsiteX8873" fmla="*/ 2642334 w 9586368"/>
                <a:gd name="connsiteY8873" fmla="*/ 106 h 6479439"/>
                <a:gd name="connsiteX8874" fmla="*/ 2646352 w 9586368"/>
                <a:gd name="connsiteY8874" fmla="*/ 4145 h 6479439"/>
                <a:gd name="connsiteX8875" fmla="*/ 2646352 w 9586368"/>
                <a:gd name="connsiteY8875" fmla="*/ 14016 h 6479439"/>
                <a:gd name="connsiteX8876" fmla="*/ 2642334 w 9586368"/>
                <a:gd name="connsiteY8876" fmla="*/ 18055 h 6479439"/>
                <a:gd name="connsiteX8877" fmla="*/ 2632423 w 9586368"/>
                <a:gd name="connsiteY8877" fmla="*/ 18055 h 6479439"/>
                <a:gd name="connsiteX8878" fmla="*/ 2628404 w 9586368"/>
                <a:gd name="connsiteY8878" fmla="*/ 14016 h 6479439"/>
                <a:gd name="connsiteX8879" fmla="*/ 2628404 w 9586368"/>
                <a:gd name="connsiteY8879" fmla="*/ 4145 h 6479439"/>
                <a:gd name="connsiteX8880" fmla="*/ 2393104 w 9586368"/>
                <a:gd name="connsiteY8880" fmla="*/ 106 h 6479439"/>
                <a:gd name="connsiteX8881" fmla="*/ 2403015 w 9586368"/>
                <a:gd name="connsiteY8881" fmla="*/ 106 h 6479439"/>
                <a:gd name="connsiteX8882" fmla="*/ 2407034 w 9586368"/>
                <a:gd name="connsiteY8882" fmla="*/ 4145 h 6479439"/>
                <a:gd name="connsiteX8883" fmla="*/ 2407034 w 9586368"/>
                <a:gd name="connsiteY8883" fmla="*/ 14016 h 6479439"/>
                <a:gd name="connsiteX8884" fmla="*/ 2403015 w 9586368"/>
                <a:gd name="connsiteY8884" fmla="*/ 18055 h 6479439"/>
                <a:gd name="connsiteX8885" fmla="*/ 2393104 w 9586368"/>
                <a:gd name="connsiteY8885" fmla="*/ 18055 h 6479439"/>
                <a:gd name="connsiteX8886" fmla="*/ 2389087 w 9586368"/>
                <a:gd name="connsiteY8886" fmla="*/ 14016 h 6479439"/>
                <a:gd name="connsiteX8887" fmla="*/ 2389087 w 9586368"/>
                <a:gd name="connsiteY8887" fmla="*/ 4145 h 6479439"/>
                <a:gd name="connsiteX8888" fmla="*/ 3350359 w 9586368"/>
                <a:gd name="connsiteY8888" fmla="*/ 106 h 6479439"/>
                <a:gd name="connsiteX8889" fmla="*/ 3360268 w 9586368"/>
                <a:gd name="connsiteY8889" fmla="*/ 106 h 6479439"/>
                <a:gd name="connsiteX8890" fmla="*/ 3364287 w 9586368"/>
                <a:gd name="connsiteY8890" fmla="*/ 4144 h 6479439"/>
                <a:gd name="connsiteX8891" fmla="*/ 3364287 w 9586368"/>
                <a:gd name="connsiteY8891" fmla="*/ 14015 h 6479439"/>
                <a:gd name="connsiteX8892" fmla="*/ 3360268 w 9586368"/>
                <a:gd name="connsiteY8892" fmla="*/ 18054 h 6479439"/>
                <a:gd name="connsiteX8893" fmla="*/ 3350359 w 9586368"/>
                <a:gd name="connsiteY8893" fmla="*/ 18054 h 6479439"/>
                <a:gd name="connsiteX8894" fmla="*/ 3346340 w 9586368"/>
                <a:gd name="connsiteY8894" fmla="*/ 14015 h 6479439"/>
                <a:gd name="connsiteX8895" fmla="*/ 3346340 w 9586368"/>
                <a:gd name="connsiteY8895" fmla="*/ 4144 h 6479439"/>
                <a:gd name="connsiteX8896" fmla="*/ 4546929 w 9586368"/>
                <a:gd name="connsiteY8896" fmla="*/ 93 h 6479439"/>
                <a:gd name="connsiteX8897" fmla="*/ 4556840 w 9586368"/>
                <a:gd name="connsiteY8897" fmla="*/ 93 h 6479439"/>
                <a:gd name="connsiteX8898" fmla="*/ 4560859 w 9586368"/>
                <a:gd name="connsiteY8898" fmla="*/ 4132 h 6479439"/>
                <a:gd name="connsiteX8899" fmla="*/ 4560859 w 9586368"/>
                <a:gd name="connsiteY8899" fmla="*/ 14002 h 6479439"/>
                <a:gd name="connsiteX8900" fmla="*/ 4556840 w 9586368"/>
                <a:gd name="connsiteY8900" fmla="*/ 18041 h 6479439"/>
                <a:gd name="connsiteX8901" fmla="*/ 4546929 w 9586368"/>
                <a:gd name="connsiteY8901" fmla="*/ 18041 h 6479439"/>
                <a:gd name="connsiteX8902" fmla="*/ 4542910 w 9586368"/>
                <a:gd name="connsiteY8902" fmla="*/ 14002 h 6479439"/>
                <a:gd name="connsiteX8903" fmla="*/ 4542910 w 9586368"/>
                <a:gd name="connsiteY8903" fmla="*/ 4132 h 6479439"/>
                <a:gd name="connsiteX8904" fmla="*/ 4307612 w 9586368"/>
                <a:gd name="connsiteY8904" fmla="*/ 93 h 6479439"/>
                <a:gd name="connsiteX8905" fmla="*/ 4317523 w 9586368"/>
                <a:gd name="connsiteY8905" fmla="*/ 93 h 6479439"/>
                <a:gd name="connsiteX8906" fmla="*/ 4321543 w 9586368"/>
                <a:gd name="connsiteY8906" fmla="*/ 4132 h 6479439"/>
                <a:gd name="connsiteX8907" fmla="*/ 4321543 w 9586368"/>
                <a:gd name="connsiteY8907" fmla="*/ 14003 h 6479439"/>
                <a:gd name="connsiteX8908" fmla="*/ 4317523 w 9586368"/>
                <a:gd name="connsiteY8908" fmla="*/ 18042 h 6479439"/>
                <a:gd name="connsiteX8909" fmla="*/ 4307612 w 9586368"/>
                <a:gd name="connsiteY8909" fmla="*/ 18042 h 6479439"/>
                <a:gd name="connsiteX8910" fmla="*/ 4303595 w 9586368"/>
                <a:gd name="connsiteY8910" fmla="*/ 14003 h 6479439"/>
                <a:gd name="connsiteX8911" fmla="*/ 4303595 w 9586368"/>
                <a:gd name="connsiteY8911" fmla="*/ 4132 h 6479439"/>
                <a:gd name="connsiteX8912" fmla="*/ 4068297 w 9586368"/>
                <a:gd name="connsiteY8912" fmla="*/ 93 h 6479439"/>
                <a:gd name="connsiteX8913" fmla="*/ 4078210 w 9586368"/>
                <a:gd name="connsiteY8913" fmla="*/ 93 h 6479439"/>
                <a:gd name="connsiteX8914" fmla="*/ 4082229 w 9586368"/>
                <a:gd name="connsiteY8914" fmla="*/ 4132 h 6479439"/>
                <a:gd name="connsiteX8915" fmla="*/ 4082229 w 9586368"/>
                <a:gd name="connsiteY8915" fmla="*/ 14003 h 6479439"/>
                <a:gd name="connsiteX8916" fmla="*/ 4078210 w 9586368"/>
                <a:gd name="connsiteY8916" fmla="*/ 18042 h 6479439"/>
                <a:gd name="connsiteX8917" fmla="*/ 4068297 w 9586368"/>
                <a:gd name="connsiteY8917" fmla="*/ 18042 h 6479439"/>
                <a:gd name="connsiteX8918" fmla="*/ 4064278 w 9586368"/>
                <a:gd name="connsiteY8918" fmla="*/ 14003 h 6479439"/>
                <a:gd name="connsiteX8919" fmla="*/ 4064278 w 9586368"/>
                <a:gd name="connsiteY8919" fmla="*/ 4132 h 6479439"/>
                <a:gd name="connsiteX8920" fmla="*/ 3828990 w 9586368"/>
                <a:gd name="connsiteY8920" fmla="*/ 93 h 6479439"/>
                <a:gd name="connsiteX8921" fmla="*/ 3838899 w 9586368"/>
                <a:gd name="connsiteY8921" fmla="*/ 93 h 6479439"/>
                <a:gd name="connsiteX8922" fmla="*/ 3842917 w 9586368"/>
                <a:gd name="connsiteY8922" fmla="*/ 4132 h 6479439"/>
                <a:gd name="connsiteX8923" fmla="*/ 3842917 w 9586368"/>
                <a:gd name="connsiteY8923" fmla="*/ 14003 h 6479439"/>
                <a:gd name="connsiteX8924" fmla="*/ 3838899 w 9586368"/>
                <a:gd name="connsiteY8924" fmla="*/ 18042 h 6479439"/>
                <a:gd name="connsiteX8925" fmla="*/ 3828990 w 9586368"/>
                <a:gd name="connsiteY8925" fmla="*/ 18042 h 6479439"/>
                <a:gd name="connsiteX8926" fmla="*/ 3824971 w 9586368"/>
                <a:gd name="connsiteY8926" fmla="*/ 14003 h 6479439"/>
                <a:gd name="connsiteX8927" fmla="*/ 3824971 w 9586368"/>
                <a:gd name="connsiteY8927" fmla="*/ 4132 h 6479439"/>
                <a:gd name="connsiteX8928" fmla="*/ 3589676 w 9586368"/>
                <a:gd name="connsiteY8928" fmla="*/ 93 h 6479439"/>
                <a:gd name="connsiteX8929" fmla="*/ 3599585 w 9586368"/>
                <a:gd name="connsiteY8929" fmla="*/ 93 h 6479439"/>
                <a:gd name="connsiteX8930" fmla="*/ 3603604 w 9586368"/>
                <a:gd name="connsiteY8930" fmla="*/ 4132 h 6479439"/>
                <a:gd name="connsiteX8931" fmla="*/ 3603604 w 9586368"/>
                <a:gd name="connsiteY8931" fmla="*/ 14003 h 6479439"/>
                <a:gd name="connsiteX8932" fmla="*/ 3599585 w 9586368"/>
                <a:gd name="connsiteY8932" fmla="*/ 18042 h 6479439"/>
                <a:gd name="connsiteX8933" fmla="*/ 3589676 w 9586368"/>
                <a:gd name="connsiteY8933" fmla="*/ 18042 h 6479439"/>
                <a:gd name="connsiteX8934" fmla="*/ 3585657 w 9586368"/>
                <a:gd name="connsiteY8934" fmla="*/ 14003 h 6479439"/>
                <a:gd name="connsiteX8935" fmla="*/ 3585657 w 9586368"/>
                <a:gd name="connsiteY8935" fmla="*/ 4132 h 6479439"/>
                <a:gd name="connsiteX8936" fmla="*/ 4786241 w 9586368"/>
                <a:gd name="connsiteY8936" fmla="*/ 81 h 6479439"/>
                <a:gd name="connsiteX8937" fmla="*/ 4796152 w 9586368"/>
                <a:gd name="connsiteY8937" fmla="*/ 81 h 6479439"/>
                <a:gd name="connsiteX8938" fmla="*/ 4800171 w 9586368"/>
                <a:gd name="connsiteY8938" fmla="*/ 4119 h 6479439"/>
                <a:gd name="connsiteX8939" fmla="*/ 4800171 w 9586368"/>
                <a:gd name="connsiteY8939" fmla="*/ 13990 h 6479439"/>
                <a:gd name="connsiteX8940" fmla="*/ 4796152 w 9586368"/>
                <a:gd name="connsiteY8940" fmla="*/ 18029 h 6479439"/>
                <a:gd name="connsiteX8941" fmla="*/ 4786241 w 9586368"/>
                <a:gd name="connsiteY8941" fmla="*/ 18029 h 6479439"/>
                <a:gd name="connsiteX8942" fmla="*/ 4782224 w 9586368"/>
                <a:gd name="connsiteY8942" fmla="*/ 13990 h 6479439"/>
                <a:gd name="connsiteX8943" fmla="*/ 4782224 w 9586368"/>
                <a:gd name="connsiteY8943" fmla="*/ 4119 h 6479439"/>
                <a:gd name="connsiteX8944" fmla="*/ 5743412 w 9586368"/>
                <a:gd name="connsiteY8944" fmla="*/ 80 h 6479439"/>
                <a:gd name="connsiteX8945" fmla="*/ 5753323 w 9586368"/>
                <a:gd name="connsiteY8945" fmla="*/ 80 h 6479439"/>
                <a:gd name="connsiteX8946" fmla="*/ 5757342 w 9586368"/>
                <a:gd name="connsiteY8946" fmla="*/ 4119 h 6479439"/>
                <a:gd name="connsiteX8947" fmla="*/ 5757342 w 9586368"/>
                <a:gd name="connsiteY8947" fmla="*/ 13990 h 6479439"/>
                <a:gd name="connsiteX8948" fmla="*/ 5753323 w 9586368"/>
                <a:gd name="connsiteY8948" fmla="*/ 18029 h 6479439"/>
                <a:gd name="connsiteX8949" fmla="*/ 5743412 w 9586368"/>
                <a:gd name="connsiteY8949" fmla="*/ 18029 h 6479439"/>
                <a:gd name="connsiteX8950" fmla="*/ 5739393 w 9586368"/>
                <a:gd name="connsiteY8950" fmla="*/ 13990 h 6479439"/>
                <a:gd name="connsiteX8951" fmla="*/ 5739393 w 9586368"/>
                <a:gd name="connsiteY8951" fmla="*/ 4119 h 6479439"/>
                <a:gd name="connsiteX8952" fmla="*/ 5504099 w 9586368"/>
                <a:gd name="connsiteY8952" fmla="*/ 80 h 6479439"/>
                <a:gd name="connsiteX8953" fmla="*/ 5514010 w 9586368"/>
                <a:gd name="connsiteY8953" fmla="*/ 80 h 6479439"/>
                <a:gd name="connsiteX8954" fmla="*/ 5518029 w 9586368"/>
                <a:gd name="connsiteY8954" fmla="*/ 4119 h 6479439"/>
                <a:gd name="connsiteX8955" fmla="*/ 5518029 w 9586368"/>
                <a:gd name="connsiteY8955" fmla="*/ 13990 h 6479439"/>
                <a:gd name="connsiteX8956" fmla="*/ 5514010 w 9586368"/>
                <a:gd name="connsiteY8956" fmla="*/ 18029 h 6479439"/>
                <a:gd name="connsiteX8957" fmla="*/ 5504099 w 9586368"/>
                <a:gd name="connsiteY8957" fmla="*/ 18029 h 6479439"/>
                <a:gd name="connsiteX8958" fmla="*/ 5500080 w 9586368"/>
                <a:gd name="connsiteY8958" fmla="*/ 13990 h 6479439"/>
                <a:gd name="connsiteX8959" fmla="*/ 5500080 w 9586368"/>
                <a:gd name="connsiteY8959" fmla="*/ 4119 h 6479439"/>
                <a:gd name="connsiteX8960" fmla="*/ 5264784 w 9586368"/>
                <a:gd name="connsiteY8960" fmla="*/ 80 h 6479439"/>
                <a:gd name="connsiteX8961" fmla="*/ 5274694 w 9586368"/>
                <a:gd name="connsiteY8961" fmla="*/ 80 h 6479439"/>
                <a:gd name="connsiteX8962" fmla="*/ 5278713 w 9586368"/>
                <a:gd name="connsiteY8962" fmla="*/ 4119 h 6479439"/>
                <a:gd name="connsiteX8963" fmla="*/ 5278713 w 9586368"/>
                <a:gd name="connsiteY8963" fmla="*/ 13990 h 6479439"/>
                <a:gd name="connsiteX8964" fmla="*/ 5274694 w 9586368"/>
                <a:gd name="connsiteY8964" fmla="*/ 18029 h 6479439"/>
                <a:gd name="connsiteX8965" fmla="*/ 5264784 w 9586368"/>
                <a:gd name="connsiteY8965" fmla="*/ 18029 h 6479439"/>
                <a:gd name="connsiteX8966" fmla="*/ 5260765 w 9586368"/>
                <a:gd name="connsiteY8966" fmla="*/ 13990 h 6479439"/>
                <a:gd name="connsiteX8967" fmla="*/ 5260765 w 9586368"/>
                <a:gd name="connsiteY8967" fmla="*/ 4119 h 6479439"/>
                <a:gd name="connsiteX8968" fmla="*/ 5025470 w 9586368"/>
                <a:gd name="connsiteY8968" fmla="*/ 80 h 6479439"/>
                <a:gd name="connsiteX8969" fmla="*/ 5035381 w 9586368"/>
                <a:gd name="connsiteY8969" fmla="*/ 80 h 6479439"/>
                <a:gd name="connsiteX8970" fmla="*/ 5039400 w 9586368"/>
                <a:gd name="connsiteY8970" fmla="*/ 4119 h 6479439"/>
                <a:gd name="connsiteX8971" fmla="*/ 5039400 w 9586368"/>
                <a:gd name="connsiteY8971" fmla="*/ 13990 h 6479439"/>
                <a:gd name="connsiteX8972" fmla="*/ 5035381 w 9586368"/>
                <a:gd name="connsiteY8972" fmla="*/ 18029 h 6479439"/>
                <a:gd name="connsiteX8973" fmla="*/ 5025470 w 9586368"/>
                <a:gd name="connsiteY8973" fmla="*/ 18029 h 6479439"/>
                <a:gd name="connsiteX8974" fmla="*/ 5021451 w 9586368"/>
                <a:gd name="connsiteY8974" fmla="*/ 13990 h 6479439"/>
                <a:gd name="connsiteX8975" fmla="*/ 5021451 w 9586368"/>
                <a:gd name="connsiteY8975" fmla="*/ 4119 h 6479439"/>
                <a:gd name="connsiteX8976" fmla="*/ 6461356 w 9586368"/>
                <a:gd name="connsiteY8976" fmla="*/ 68 h 6479439"/>
                <a:gd name="connsiteX8977" fmla="*/ 6471266 w 9586368"/>
                <a:gd name="connsiteY8977" fmla="*/ 68 h 6479439"/>
                <a:gd name="connsiteX8978" fmla="*/ 6475285 w 9586368"/>
                <a:gd name="connsiteY8978" fmla="*/ 4106 h 6479439"/>
                <a:gd name="connsiteX8979" fmla="*/ 6475285 w 9586368"/>
                <a:gd name="connsiteY8979" fmla="*/ 13976 h 6479439"/>
                <a:gd name="connsiteX8980" fmla="*/ 6471266 w 9586368"/>
                <a:gd name="connsiteY8980" fmla="*/ 18015 h 6479439"/>
                <a:gd name="connsiteX8981" fmla="*/ 6461356 w 9586368"/>
                <a:gd name="connsiteY8981" fmla="*/ 18015 h 6479439"/>
                <a:gd name="connsiteX8982" fmla="*/ 6457337 w 9586368"/>
                <a:gd name="connsiteY8982" fmla="*/ 13976 h 6479439"/>
                <a:gd name="connsiteX8983" fmla="*/ 6457337 w 9586368"/>
                <a:gd name="connsiteY8983" fmla="*/ 4106 h 6479439"/>
                <a:gd name="connsiteX8984" fmla="*/ 6222042 w 9586368"/>
                <a:gd name="connsiteY8984" fmla="*/ 68 h 6479439"/>
                <a:gd name="connsiteX8985" fmla="*/ 6231952 w 9586368"/>
                <a:gd name="connsiteY8985" fmla="*/ 68 h 6479439"/>
                <a:gd name="connsiteX8986" fmla="*/ 6235971 w 9586368"/>
                <a:gd name="connsiteY8986" fmla="*/ 4106 h 6479439"/>
                <a:gd name="connsiteX8987" fmla="*/ 6235971 w 9586368"/>
                <a:gd name="connsiteY8987" fmla="*/ 13977 h 6479439"/>
                <a:gd name="connsiteX8988" fmla="*/ 6231952 w 9586368"/>
                <a:gd name="connsiteY8988" fmla="*/ 18016 h 6479439"/>
                <a:gd name="connsiteX8989" fmla="*/ 6222042 w 9586368"/>
                <a:gd name="connsiteY8989" fmla="*/ 18016 h 6479439"/>
                <a:gd name="connsiteX8990" fmla="*/ 6218023 w 9586368"/>
                <a:gd name="connsiteY8990" fmla="*/ 13977 h 6479439"/>
                <a:gd name="connsiteX8991" fmla="*/ 6218023 w 9586368"/>
                <a:gd name="connsiteY8991" fmla="*/ 4106 h 6479439"/>
                <a:gd name="connsiteX8992" fmla="*/ 5982729 w 9586368"/>
                <a:gd name="connsiteY8992" fmla="*/ 68 h 6479439"/>
                <a:gd name="connsiteX8993" fmla="*/ 5992639 w 9586368"/>
                <a:gd name="connsiteY8993" fmla="*/ 68 h 6479439"/>
                <a:gd name="connsiteX8994" fmla="*/ 5996658 w 9586368"/>
                <a:gd name="connsiteY8994" fmla="*/ 4106 h 6479439"/>
                <a:gd name="connsiteX8995" fmla="*/ 5996658 w 9586368"/>
                <a:gd name="connsiteY8995" fmla="*/ 13977 h 6479439"/>
                <a:gd name="connsiteX8996" fmla="*/ 5992639 w 9586368"/>
                <a:gd name="connsiteY8996" fmla="*/ 18016 h 6479439"/>
                <a:gd name="connsiteX8997" fmla="*/ 5982729 w 9586368"/>
                <a:gd name="connsiteY8997" fmla="*/ 18016 h 6479439"/>
                <a:gd name="connsiteX8998" fmla="*/ 5978710 w 9586368"/>
                <a:gd name="connsiteY8998" fmla="*/ 13977 h 6479439"/>
                <a:gd name="connsiteX8999" fmla="*/ 5978710 w 9586368"/>
                <a:gd name="connsiteY8999" fmla="*/ 4106 h 6479439"/>
                <a:gd name="connsiteX9000" fmla="*/ 6939983 w 9586368"/>
                <a:gd name="connsiteY9000" fmla="*/ 67 h 6479439"/>
                <a:gd name="connsiteX9001" fmla="*/ 6949894 w 9586368"/>
                <a:gd name="connsiteY9001" fmla="*/ 67 h 6479439"/>
                <a:gd name="connsiteX9002" fmla="*/ 6953913 w 9586368"/>
                <a:gd name="connsiteY9002" fmla="*/ 4105 h 6479439"/>
                <a:gd name="connsiteX9003" fmla="*/ 6953913 w 9586368"/>
                <a:gd name="connsiteY9003" fmla="*/ 13976 h 6479439"/>
                <a:gd name="connsiteX9004" fmla="*/ 6949894 w 9586368"/>
                <a:gd name="connsiteY9004" fmla="*/ 18015 h 6479439"/>
                <a:gd name="connsiteX9005" fmla="*/ 6939983 w 9586368"/>
                <a:gd name="connsiteY9005" fmla="*/ 18015 h 6479439"/>
                <a:gd name="connsiteX9006" fmla="*/ 6935964 w 9586368"/>
                <a:gd name="connsiteY9006" fmla="*/ 13976 h 6479439"/>
                <a:gd name="connsiteX9007" fmla="*/ 6935964 w 9586368"/>
                <a:gd name="connsiteY9007" fmla="*/ 4105 h 6479439"/>
                <a:gd name="connsiteX9008" fmla="*/ 6700670 w 9586368"/>
                <a:gd name="connsiteY9008" fmla="*/ 67 h 6479439"/>
                <a:gd name="connsiteX9009" fmla="*/ 6710581 w 9586368"/>
                <a:gd name="connsiteY9009" fmla="*/ 67 h 6479439"/>
                <a:gd name="connsiteX9010" fmla="*/ 6714600 w 9586368"/>
                <a:gd name="connsiteY9010" fmla="*/ 4105 h 6479439"/>
                <a:gd name="connsiteX9011" fmla="*/ 6714600 w 9586368"/>
                <a:gd name="connsiteY9011" fmla="*/ 13976 h 6479439"/>
                <a:gd name="connsiteX9012" fmla="*/ 6710581 w 9586368"/>
                <a:gd name="connsiteY9012" fmla="*/ 18015 h 6479439"/>
                <a:gd name="connsiteX9013" fmla="*/ 6700670 w 9586368"/>
                <a:gd name="connsiteY9013" fmla="*/ 18015 h 6479439"/>
                <a:gd name="connsiteX9014" fmla="*/ 6696651 w 9586368"/>
                <a:gd name="connsiteY9014" fmla="*/ 13976 h 6479439"/>
                <a:gd name="connsiteX9015" fmla="*/ 6696651 w 9586368"/>
                <a:gd name="connsiteY9015" fmla="*/ 4105 h 6479439"/>
                <a:gd name="connsiteX9016" fmla="*/ 8136553 w 9586368"/>
                <a:gd name="connsiteY9016" fmla="*/ 54 h 6479439"/>
                <a:gd name="connsiteX9017" fmla="*/ 8146464 w 9586368"/>
                <a:gd name="connsiteY9017" fmla="*/ 54 h 6479439"/>
                <a:gd name="connsiteX9018" fmla="*/ 8150483 w 9586368"/>
                <a:gd name="connsiteY9018" fmla="*/ 4093 h 6479439"/>
                <a:gd name="connsiteX9019" fmla="*/ 8150483 w 9586368"/>
                <a:gd name="connsiteY9019" fmla="*/ 13963 h 6479439"/>
                <a:gd name="connsiteX9020" fmla="*/ 8146464 w 9586368"/>
                <a:gd name="connsiteY9020" fmla="*/ 18002 h 6479439"/>
                <a:gd name="connsiteX9021" fmla="*/ 8136553 w 9586368"/>
                <a:gd name="connsiteY9021" fmla="*/ 18002 h 6479439"/>
                <a:gd name="connsiteX9022" fmla="*/ 8132534 w 9586368"/>
                <a:gd name="connsiteY9022" fmla="*/ 13963 h 6479439"/>
                <a:gd name="connsiteX9023" fmla="*/ 8132534 w 9586368"/>
                <a:gd name="connsiteY9023" fmla="*/ 4093 h 6479439"/>
                <a:gd name="connsiteX9024" fmla="*/ 7897241 w 9586368"/>
                <a:gd name="connsiteY9024" fmla="*/ 54 h 6479439"/>
                <a:gd name="connsiteX9025" fmla="*/ 7907151 w 9586368"/>
                <a:gd name="connsiteY9025" fmla="*/ 54 h 6479439"/>
                <a:gd name="connsiteX9026" fmla="*/ 7911170 w 9586368"/>
                <a:gd name="connsiteY9026" fmla="*/ 4093 h 6479439"/>
                <a:gd name="connsiteX9027" fmla="*/ 7911170 w 9586368"/>
                <a:gd name="connsiteY9027" fmla="*/ 13964 h 6479439"/>
                <a:gd name="connsiteX9028" fmla="*/ 7907151 w 9586368"/>
                <a:gd name="connsiteY9028" fmla="*/ 18003 h 6479439"/>
                <a:gd name="connsiteX9029" fmla="*/ 7897241 w 9586368"/>
                <a:gd name="connsiteY9029" fmla="*/ 18003 h 6479439"/>
                <a:gd name="connsiteX9030" fmla="*/ 7893222 w 9586368"/>
                <a:gd name="connsiteY9030" fmla="*/ 13964 h 6479439"/>
                <a:gd name="connsiteX9031" fmla="*/ 7893222 w 9586368"/>
                <a:gd name="connsiteY9031" fmla="*/ 4093 h 6479439"/>
                <a:gd name="connsiteX9032" fmla="*/ 7657926 w 9586368"/>
                <a:gd name="connsiteY9032" fmla="*/ 54 h 6479439"/>
                <a:gd name="connsiteX9033" fmla="*/ 7667836 w 9586368"/>
                <a:gd name="connsiteY9033" fmla="*/ 54 h 6479439"/>
                <a:gd name="connsiteX9034" fmla="*/ 7671855 w 9586368"/>
                <a:gd name="connsiteY9034" fmla="*/ 4093 h 6479439"/>
                <a:gd name="connsiteX9035" fmla="*/ 7671855 w 9586368"/>
                <a:gd name="connsiteY9035" fmla="*/ 13964 h 6479439"/>
                <a:gd name="connsiteX9036" fmla="*/ 7667836 w 9586368"/>
                <a:gd name="connsiteY9036" fmla="*/ 18003 h 6479439"/>
                <a:gd name="connsiteX9037" fmla="*/ 7657926 w 9586368"/>
                <a:gd name="connsiteY9037" fmla="*/ 18003 h 6479439"/>
                <a:gd name="connsiteX9038" fmla="*/ 7653906 w 9586368"/>
                <a:gd name="connsiteY9038" fmla="*/ 13964 h 6479439"/>
                <a:gd name="connsiteX9039" fmla="*/ 7653906 w 9586368"/>
                <a:gd name="connsiteY9039" fmla="*/ 4093 h 6479439"/>
                <a:gd name="connsiteX9040" fmla="*/ 7418611 w 9586368"/>
                <a:gd name="connsiteY9040" fmla="*/ 54 h 6479439"/>
                <a:gd name="connsiteX9041" fmla="*/ 7428521 w 9586368"/>
                <a:gd name="connsiteY9041" fmla="*/ 54 h 6479439"/>
                <a:gd name="connsiteX9042" fmla="*/ 7432540 w 9586368"/>
                <a:gd name="connsiteY9042" fmla="*/ 4093 h 6479439"/>
                <a:gd name="connsiteX9043" fmla="*/ 7432540 w 9586368"/>
                <a:gd name="connsiteY9043" fmla="*/ 13964 h 6479439"/>
                <a:gd name="connsiteX9044" fmla="*/ 7428521 w 9586368"/>
                <a:gd name="connsiteY9044" fmla="*/ 18003 h 6479439"/>
                <a:gd name="connsiteX9045" fmla="*/ 7418611 w 9586368"/>
                <a:gd name="connsiteY9045" fmla="*/ 18003 h 6479439"/>
                <a:gd name="connsiteX9046" fmla="*/ 7414592 w 9586368"/>
                <a:gd name="connsiteY9046" fmla="*/ 13964 h 6479439"/>
                <a:gd name="connsiteX9047" fmla="*/ 7414592 w 9586368"/>
                <a:gd name="connsiteY9047" fmla="*/ 4093 h 6479439"/>
                <a:gd name="connsiteX9048" fmla="*/ 7179298 w 9586368"/>
                <a:gd name="connsiteY9048" fmla="*/ 54 h 6479439"/>
                <a:gd name="connsiteX9049" fmla="*/ 7189209 w 9586368"/>
                <a:gd name="connsiteY9049" fmla="*/ 54 h 6479439"/>
                <a:gd name="connsiteX9050" fmla="*/ 7193228 w 9586368"/>
                <a:gd name="connsiteY9050" fmla="*/ 4093 h 6479439"/>
                <a:gd name="connsiteX9051" fmla="*/ 7193228 w 9586368"/>
                <a:gd name="connsiteY9051" fmla="*/ 13964 h 6479439"/>
                <a:gd name="connsiteX9052" fmla="*/ 7189209 w 9586368"/>
                <a:gd name="connsiteY9052" fmla="*/ 18003 h 6479439"/>
                <a:gd name="connsiteX9053" fmla="*/ 7179298 w 9586368"/>
                <a:gd name="connsiteY9053" fmla="*/ 18003 h 6479439"/>
                <a:gd name="connsiteX9054" fmla="*/ 7175279 w 9586368"/>
                <a:gd name="connsiteY9054" fmla="*/ 13964 h 6479439"/>
                <a:gd name="connsiteX9055" fmla="*/ 7175279 w 9586368"/>
                <a:gd name="connsiteY9055" fmla="*/ 4093 h 6479439"/>
                <a:gd name="connsiteX9056" fmla="*/ 8375869 w 9586368"/>
                <a:gd name="connsiteY9056" fmla="*/ 42 h 6479439"/>
                <a:gd name="connsiteX9057" fmla="*/ 8385779 w 9586368"/>
                <a:gd name="connsiteY9057" fmla="*/ 42 h 6479439"/>
                <a:gd name="connsiteX9058" fmla="*/ 8389799 w 9586368"/>
                <a:gd name="connsiteY9058" fmla="*/ 4080 h 6479439"/>
                <a:gd name="connsiteX9059" fmla="*/ 8389799 w 9586368"/>
                <a:gd name="connsiteY9059" fmla="*/ 13951 h 6479439"/>
                <a:gd name="connsiteX9060" fmla="*/ 8385779 w 9586368"/>
                <a:gd name="connsiteY9060" fmla="*/ 17990 h 6479439"/>
                <a:gd name="connsiteX9061" fmla="*/ 8375869 w 9586368"/>
                <a:gd name="connsiteY9061" fmla="*/ 17990 h 6479439"/>
                <a:gd name="connsiteX9062" fmla="*/ 8371850 w 9586368"/>
                <a:gd name="connsiteY9062" fmla="*/ 13951 h 6479439"/>
                <a:gd name="connsiteX9063" fmla="*/ 8371850 w 9586368"/>
                <a:gd name="connsiteY9063" fmla="*/ 4080 h 6479439"/>
                <a:gd name="connsiteX9064" fmla="*/ 9333125 w 9586368"/>
                <a:gd name="connsiteY9064" fmla="*/ 41 h 6479439"/>
                <a:gd name="connsiteX9065" fmla="*/ 9343036 w 9586368"/>
                <a:gd name="connsiteY9065" fmla="*/ 41 h 6479439"/>
                <a:gd name="connsiteX9066" fmla="*/ 9347055 w 9586368"/>
                <a:gd name="connsiteY9066" fmla="*/ 4080 h 6479439"/>
                <a:gd name="connsiteX9067" fmla="*/ 9347055 w 9586368"/>
                <a:gd name="connsiteY9067" fmla="*/ 13951 h 6479439"/>
                <a:gd name="connsiteX9068" fmla="*/ 9343036 w 9586368"/>
                <a:gd name="connsiteY9068" fmla="*/ 17990 h 6479439"/>
                <a:gd name="connsiteX9069" fmla="*/ 9333125 w 9586368"/>
                <a:gd name="connsiteY9069" fmla="*/ 17990 h 6479439"/>
                <a:gd name="connsiteX9070" fmla="*/ 9329106 w 9586368"/>
                <a:gd name="connsiteY9070" fmla="*/ 13951 h 6479439"/>
                <a:gd name="connsiteX9071" fmla="*/ 9329106 w 9586368"/>
                <a:gd name="connsiteY9071" fmla="*/ 4080 h 6479439"/>
                <a:gd name="connsiteX9072" fmla="*/ 9093811 w 9586368"/>
                <a:gd name="connsiteY9072" fmla="*/ 41 h 6479439"/>
                <a:gd name="connsiteX9073" fmla="*/ 9103722 w 9586368"/>
                <a:gd name="connsiteY9073" fmla="*/ 41 h 6479439"/>
                <a:gd name="connsiteX9074" fmla="*/ 9107741 w 9586368"/>
                <a:gd name="connsiteY9074" fmla="*/ 4080 h 6479439"/>
                <a:gd name="connsiteX9075" fmla="*/ 9107741 w 9586368"/>
                <a:gd name="connsiteY9075" fmla="*/ 13951 h 6479439"/>
                <a:gd name="connsiteX9076" fmla="*/ 9103722 w 9586368"/>
                <a:gd name="connsiteY9076" fmla="*/ 17990 h 6479439"/>
                <a:gd name="connsiteX9077" fmla="*/ 9093811 w 9586368"/>
                <a:gd name="connsiteY9077" fmla="*/ 17990 h 6479439"/>
                <a:gd name="connsiteX9078" fmla="*/ 9089792 w 9586368"/>
                <a:gd name="connsiteY9078" fmla="*/ 13951 h 6479439"/>
                <a:gd name="connsiteX9079" fmla="*/ 9089792 w 9586368"/>
                <a:gd name="connsiteY9079" fmla="*/ 4080 h 6479439"/>
                <a:gd name="connsiteX9080" fmla="*/ 8854496 w 9586368"/>
                <a:gd name="connsiteY9080" fmla="*/ 41 h 6479439"/>
                <a:gd name="connsiteX9081" fmla="*/ 8864407 w 9586368"/>
                <a:gd name="connsiteY9081" fmla="*/ 41 h 6479439"/>
                <a:gd name="connsiteX9082" fmla="*/ 8868426 w 9586368"/>
                <a:gd name="connsiteY9082" fmla="*/ 4080 h 6479439"/>
                <a:gd name="connsiteX9083" fmla="*/ 8868426 w 9586368"/>
                <a:gd name="connsiteY9083" fmla="*/ 13951 h 6479439"/>
                <a:gd name="connsiteX9084" fmla="*/ 8864407 w 9586368"/>
                <a:gd name="connsiteY9084" fmla="*/ 17990 h 6479439"/>
                <a:gd name="connsiteX9085" fmla="*/ 8854496 w 9586368"/>
                <a:gd name="connsiteY9085" fmla="*/ 17990 h 6479439"/>
                <a:gd name="connsiteX9086" fmla="*/ 8850477 w 9586368"/>
                <a:gd name="connsiteY9086" fmla="*/ 13951 h 6479439"/>
                <a:gd name="connsiteX9087" fmla="*/ 8850477 w 9586368"/>
                <a:gd name="connsiteY9087" fmla="*/ 4080 h 6479439"/>
                <a:gd name="connsiteX9088" fmla="*/ 8615184 w 9586368"/>
                <a:gd name="connsiteY9088" fmla="*/ 41 h 6479439"/>
                <a:gd name="connsiteX9089" fmla="*/ 8625095 w 9586368"/>
                <a:gd name="connsiteY9089" fmla="*/ 41 h 6479439"/>
                <a:gd name="connsiteX9090" fmla="*/ 8629114 w 9586368"/>
                <a:gd name="connsiteY9090" fmla="*/ 4080 h 6479439"/>
                <a:gd name="connsiteX9091" fmla="*/ 8629114 w 9586368"/>
                <a:gd name="connsiteY9091" fmla="*/ 13951 h 6479439"/>
                <a:gd name="connsiteX9092" fmla="*/ 8625095 w 9586368"/>
                <a:gd name="connsiteY9092" fmla="*/ 17990 h 6479439"/>
                <a:gd name="connsiteX9093" fmla="*/ 8615184 w 9586368"/>
                <a:gd name="connsiteY9093" fmla="*/ 17990 h 6479439"/>
                <a:gd name="connsiteX9094" fmla="*/ 8611165 w 9586368"/>
                <a:gd name="connsiteY9094" fmla="*/ 13951 h 6479439"/>
                <a:gd name="connsiteX9095" fmla="*/ 8611165 w 9586368"/>
                <a:gd name="connsiteY9095" fmla="*/ 4080 h 6479439"/>
                <a:gd name="connsiteX9096" fmla="*/ 961275 w 9586368"/>
                <a:gd name="connsiteY9096" fmla="*/ 41 h 6479439"/>
                <a:gd name="connsiteX9097" fmla="*/ 971184 w 9586368"/>
                <a:gd name="connsiteY9097" fmla="*/ 41 h 6479439"/>
                <a:gd name="connsiteX9098" fmla="*/ 975204 w 9586368"/>
                <a:gd name="connsiteY9098" fmla="*/ 4080 h 6479439"/>
                <a:gd name="connsiteX9099" fmla="*/ 975204 w 9586368"/>
                <a:gd name="connsiteY9099" fmla="*/ 13951 h 6479439"/>
                <a:gd name="connsiteX9100" fmla="*/ 971184 w 9586368"/>
                <a:gd name="connsiteY9100" fmla="*/ 17990 h 6479439"/>
                <a:gd name="connsiteX9101" fmla="*/ 961275 w 9586368"/>
                <a:gd name="connsiteY9101" fmla="*/ 17990 h 6479439"/>
                <a:gd name="connsiteX9102" fmla="*/ 957256 w 9586368"/>
                <a:gd name="connsiteY9102" fmla="*/ 13951 h 6479439"/>
                <a:gd name="connsiteX9103" fmla="*/ 957256 w 9586368"/>
                <a:gd name="connsiteY9103" fmla="*/ 4080 h 6479439"/>
                <a:gd name="connsiteX9104" fmla="*/ 1679221 w 9586368"/>
                <a:gd name="connsiteY9104" fmla="*/ 41 h 6479439"/>
                <a:gd name="connsiteX9105" fmla="*/ 1689131 w 9586368"/>
                <a:gd name="connsiteY9105" fmla="*/ 41 h 6479439"/>
                <a:gd name="connsiteX9106" fmla="*/ 1693151 w 9586368"/>
                <a:gd name="connsiteY9106" fmla="*/ 4079 h 6479439"/>
                <a:gd name="connsiteX9107" fmla="*/ 1693151 w 9586368"/>
                <a:gd name="connsiteY9107" fmla="*/ 13950 h 6479439"/>
                <a:gd name="connsiteX9108" fmla="*/ 1689131 w 9586368"/>
                <a:gd name="connsiteY9108" fmla="*/ 17989 h 6479439"/>
                <a:gd name="connsiteX9109" fmla="*/ 1679221 w 9586368"/>
                <a:gd name="connsiteY9109" fmla="*/ 17989 h 6479439"/>
                <a:gd name="connsiteX9110" fmla="*/ 1675203 w 9586368"/>
                <a:gd name="connsiteY9110" fmla="*/ 13950 h 6479439"/>
                <a:gd name="connsiteX9111" fmla="*/ 1675203 w 9586368"/>
                <a:gd name="connsiteY9111" fmla="*/ 4079 h 6479439"/>
                <a:gd name="connsiteX9112" fmla="*/ 1439904 w 9586368"/>
                <a:gd name="connsiteY9112" fmla="*/ 41 h 6479439"/>
                <a:gd name="connsiteX9113" fmla="*/ 1449813 w 9586368"/>
                <a:gd name="connsiteY9113" fmla="*/ 41 h 6479439"/>
                <a:gd name="connsiteX9114" fmla="*/ 1453833 w 9586368"/>
                <a:gd name="connsiteY9114" fmla="*/ 4079 h 6479439"/>
                <a:gd name="connsiteX9115" fmla="*/ 1453833 w 9586368"/>
                <a:gd name="connsiteY9115" fmla="*/ 13950 h 6479439"/>
                <a:gd name="connsiteX9116" fmla="*/ 1449813 w 9586368"/>
                <a:gd name="connsiteY9116" fmla="*/ 17989 h 6479439"/>
                <a:gd name="connsiteX9117" fmla="*/ 1439904 w 9586368"/>
                <a:gd name="connsiteY9117" fmla="*/ 17989 h 6479439"/>
                <a:gd name="connsiteX9118" fmla="*/ 1435885 w 9586368"/>
                <a:gd name="connsiteY9118" fmla="*/ 13950 h 6479439"/>
                <a:gd name="connsiteX9119" fmla="*/ 1435885 w 9586368"/>
                <a:gd name="connsiteY9119" fmla="*/ 4079 h 6479439"/>
                <a:gd name="connsiteX9120" fmla="*/ 1200587 w 9586368"/>
                <a:gd name="connsiteY9120" fmla="*/ 41 h 6479439"/>
                <a:gd name="connsiteX9121" fmla="*/ 1210497 w 9586368"/>
                <a:gd name="connsiteY9121" fmla="*/ 41 h 6479439"/>
                <a:gd name="connsiteX9122" fmla="*/ 1214516 w 9586368"/>
                <a:gd name="connsiteY9122" fmla="*/ 4080 h 6479439"/>
                <a:gd name="connsiteX9123" fmla="*/ 1214516 w 9586368"/>
                <a:gd name="connsiteY9123" fmla="*/ 13951 h 6479439"/>
                <a:gd name="connsiteX9124" fmla="*/ 1210497 w 9586368"/>
                <a:gd name="connsiteY9124" fmla="*/ 17989 h 6479439"/>
                <a:gd name="connsiteX9125" fmla="*/ 1200587 w 9586368"/>
                <a:gd name="connsiteY9125" fmla="*/ 17989 h 6479439"/>
                <a:gd name="connsiteX9126" fmla="*/ 1196568 w 9586368"/>
                <a:gd name="connsiteY9126" fmla="*/ 13951 h 6479439"/>
                <a:gd name="connsiteX9127" fmla="*/ 1196568 w 9586368"/>
                <a:gd name="connsiteY9127" fmla="*/ 4080 h 6479439"/>
                <a:gd name="connsiteX9128" fmla="*/ 1918515 w 9586368"/>
                <a:gd name="connsiteY9128" fmla="*/ 31 h 6479439"/>
                <a:gd name="connsiteX9129" fmla="*/ 1928425 w 9586368"/>
                <a:gd name="connsiteY9129" fmla="*/ 31 h 6479439"/>
                <a:gd name="connsiteX9130" fmla="*/ 1932444 w 9586368"/>
                <a:gd name="connsiteY9130" fmla="*/ 4069 h 6479439"/>
                <a:gd name="connsiteX9131" fmla="*/ 1932444 w 9586368"/>
                <a:gd name="connsiteY9131" fmla="*/ 13940 h 6479439"/>
                <a:gd name="connsiteX9132" fmla="*/ 1928425 w 9586368"/>
                <a:gd name="connsiteY9132" fmla="*/ 17979 h 6479439"/>
                <a:gd name="connsiteX9133" fmla="*/ 1918515 w 9586368"/>
                <a:gd name="connsiteY9133" fmla="*/ 17979 h 6479439"/>
                <a:gd name="connsiteX9134" fmla="*/ 1914497 w 9586368"/>
                <a:gd name="connsiteY9134" fmla="*/ 13940 h 6479439"/>
                <a:gd name="connsiteX9135" fmla="*/ 1914497 w 9586368"/>
                <a:gd name="connsiteY9135" fmla="*/ 4069 h 6479439"/>
                <a:gd name="connsiteX9136" fmla="*/ 9572438 w 9586368"/>
                <a:gd name="connsiteY9136" fmla="*/ 29 h 6479439"/>
                <a:gd name="connsiteX9137" fmla="*/ 9582349 w 9586368"/>
                <a:gd name="connsiteY9137" fmla="*/ 29 h 6479439"/>
                <a:gd name="connsiteX9138" fmla="*/ 9586368 w 9586368"/>
                <a:gd name="connsiteY9138" fmla="*/ 4067 h 6479439"/>
                <a:gd name="connsiteX9139" fmla="*/ 9586368 w 9586368"/>
                <a:gd name="connsiteY9139" fmla="*/ 13938 h 6479439"/>
                <a:gd name="connsiteX9140" fmla="*/ 9582349 w 9586368"/>
                <a:gd name="connsiteY9140" fmla="*/ 17977 h 6479439"/>
                <a:gd name="connsiteX9141" fmla="*/ 9572438 w 9586368"/>
                <a:gd name="connsiteY9141" fmla="*/ 17977 h 6479439"/>
                <a:gd name="connsiteX9142" fmla="*/ 9568419 w 9586368"/>
                <a:gd name="connsiteY9142" fmla="*/ 13938 h 6479439"/>
                <a:gd name="connsiteX9143" fmla="*/ 9568419 w 9586368"/>
                <a:gd name="connsiteY9143" fmla="*/ 4067 h 6479439"/>
                <a:gd name="connsiteX9144" fmla="*/ 2157824 w 9586368"/>
                <a:gd name="connsiteY9144" fmla="*/ 28 h 6479439"/>
                <a:gd name="connsiteX9145" fmla="*/ 2167734 w 9586368"/>
                <a:gd name="connsiteY9145" fmla="*/ 28 h 6479439"/>
                <a:gd name="connsiteX9146" fmla="*/ 2171753 w 9586368"/>
                <a:gd name="connsiteY9146" fmla="*/ 4067 h 6479439"/>
                <a:gd name="connsiteX9147" fmla="*/ 2171753 w 9586368"/>
                <a:gd name="connsiteY9147" fmla="*/ 13938 h 6479439"/>
                <a:gd name="connsiteX9148" fmla="*/ 2167734 w 9586368"/>
                <a:gd name="connsiteY9148" fmla="*/ 17977 h 6479439"/>
                <a:gd name="connsiteX9149" fmla="*/ 2157824 w 9586368"/>
                <a:gd name="connsiteY9149" fmla="*/ 17977 h 6479439"/>
                <a:gd name="connsiteX9150" fmla="*/ 2153804 w 9586368"/>
                <a:gd name="connsiteY9150" fmla="*/ 13938 h 6479439"/>
                <a:gd name="connsiteX9151" fmla="*/ 2153804 w 9586368"/>
                <a:gd name="connsiteY9151" fmla="*/ 4067 h 6479439"/>
                <a:gd name="connsiteX9152" fmla="*/ 721977 w 9586368"/>
                <a:gd name="connsiteY9152" fmla="*/ 0 h 6479439"/>
                <a:gd name="connsiteX9153" fmla="*/ 731887 w 9586368"/>
                <a:gd name="connsiteY9153" fmla="*/ 0 h 6479439"/>
                <a:gd name="connsiteX9154" fmla="*/ 735906 w 9586368"/>
                <a:gd name="connsiteY9154" fmla="*/ 4039 h 6479439"/>
                <a:gd name="connsiteX9155" fmla="*/ 735906 w 9586368"/>
                <a:gd name="connsiteY9155" fmla="*/ 13910 h 6479439"/>
                <a:gd name="connsiteX9156" fmla="*/ 731887 w 9586368"/>
                <a:gd name="connsiteY9156" fmla="*/ 17949 h 6479439"/>
                <a:gd name="connsiteX9157" fmla="*/ 721977 w 9586368"/>
                <a:gd name="connsiteY9157" fmla="*/ 17949 h 6479439"/>
                <a:gd name="connsiteX9158" fmla="*/ 717959 w 9586368"/>
                <a:gd name="connsiteY9158" fmla="*/ 13910 h 6479439"/>
                <a:gd name="connsiteX9159" fmla="*/ 717959 w 9586368"/>
                <a:gd name="connsiteY9159" fmla="*/ 4039 h 6479439"/>
                <a:gd name="connsiteX9160" fmla="*/ 482665 w 9586368"/>
                <a:gd name="connsiteY9160" fmla="*/ 0 h 6479439"/>
                <a:gd name="connsiteX9161" fmla="*/ 492575 w 9586368"/>
                <a:gd name="connsiteY9161" fmla="*/ 0 h 6479439"/>
                <a:gd name="connsiteX9162" fmla="*/ 496594 w 9586368"/>
                <a:gd name="connsiteY9162" fmla="*/ 4039 h 6479439"/>
                <a:gd name="connsiteX9163" fmla="*/ 496594 w 9586368"/>
                <a:gd name="connsiteY9163" fmla="*/ 13910 h 6479439"/>
                <a:gd name="connsiteX9164" fmla="*/ 492575 w 9586368"/>
                <a:gd name="connsiteY9164" fmla="*/ 17949 h 6479439"/>
                <a:gd name="connsiteX9165" fmla="*/ 482665 w 9586368"/>
                <a:gd name="connsiteY9165" fmla="*/ 17949 h 6479439"/>
                <a:gd name="connsiteX9166" fmla="*/ 478646 w 9586368"/>
                <a:gd name="connsiteY9166" fmla="*/ 13910 h 6479439"/>
                <a:gd name="connsiteX9167" fmla="*/ 478646 w 9586368"/>
                <a:gd name="connsiteY9167" fmla="*/ 4039 h 6479439"/>
                <a:gd name="connsiteX9168" fmla="*/ 243351 w 9586368"/>
                <a:gd name="connsiteY9168" fmla="*/ 0 h 6479439"/>
                <a:gd name="connsiteX9169" fmla="*/ 253261 w 9586368"/>
                <a:gd name="connsiteY9169" fmla="*/ 0 h 6479439"/>
                <a:gd name="connsiteX9170" fmla="*/ 257281 w 9586368"/>
                <a:gd name="connsiteY9170" fmla="*/ 4039 h 6479439"/>
                <a:gd name="connsiteX9171" fmla="*/ 257281 w 9586368"/>
                <a:gd name="connsiteY9171" fmla="*/ 13910 h 6479439"/>
                <a:gd name="connsiteX9172" fmla="*/ 253261 w 9586368"/>
                <a:gd name="connsiteY9172" fmla="*/ 17949 h 6479439"/>
                <a:gd name="connsiteX9173" fmla="*/ 243351 w 9586368"/>
                <a:gd name="connsiteY9173" fmla="*/ 17949 h 6479439"/>
                <a:gd name="connsiteX9174" fmla="*/ 239332 w 9586368"/>
                <a:gd name="connsiteY9174" fmla="*/ 13910 h 6479439"/>
                <a:gd name="connsiteX9175" fmla="*/ 239332 w 9586368"/>
                <a:gd name="connsiteY9175" fmla="*/ 4039 h 6479439"/>
                <a:gd name="connsiteX9176" fmla="*/ 4039 w 9586368"/>
                <a:gd name="connsiteY9176" fmla="*/ 0 h 6479439"/>
                <a:gd name="connsiteX9177" fmla="*/ 13948 w 9586368"/>
                <a:gd name="connsiteY9177" fmla="*/ 0 h 6479439"/>
                <a:gd name="connsiteX9178" fmla="*/ 17967 w 9586368"/>
                <a:gd name="connsiteY9178" fmla="*/ 4039 h 6479439"/>
                <a:gd name="connsiteX9179" fmla="*/ 17967 w 9586368"/>
                <a:gd name="connsiteY9179" fmla="*/ 13910 h 6479439"/>
                <a:gd name="connsiteX9180" fmla="*/ 13948 w 9586368"/>
                <a:gd name="connsiteY9180" fmla="*/ 17949 h 6479439"/>
                <a:gd name="connsiteX9181" fmla="*/ 4039 w 9586368"/>
                <a:gd name="connsiteY9181" fmla="*/ 17949 h 6479439"/>
                <a:gd name="connsiteX9182" fmla="*/ 19 w 9586368"/>
                <a:gd name="connsiteY9182" fmla="*/ 13910 h 6479439"/>
                <a:gd name="connsiteX9183" fmla="*/ 19 w 9586368"/>
                <a:gd name="connsiteY9183" fmla="*/ 4039 h 6479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  <a:cxn ang="0">
                  <a:pos x="connsiteX2796" y="connsiteY2796"/>
                </a:cxn>
                <a:cxn ang="0">
                  <a:pos x="connsiteX2797" y="connsiteY2797"/>
                </a:cxn>
                <a:cxn ang="0">
                  <a:pos x="connsiteX2798" y="connsiteY2798"/>
                </a:cxn>
                <a:cxn ang="0">
                  <a:pos x="connsiteX2799" y="connsiteY2799"/>
                </a:cxn>
                <a:cxn ang="0">
                  <a:pos x="connsiteX2800" y="connsiteY2800"/>
                </a:cxn>
                <a:cxn ang="0">
                  <a:pos x="connsiteX2801" y="connsiteY2801"/>
                </a:cxn>
                <a:cxn ang="0">
                  <a:pos x="connsiteX2802" y="connsiteY2802"/>
                </a:cxn>
                <a:cxn ang="0">
                  <a:pos x="connsiteX2803" y="connsiteY2803"/>
                </a:cxn>
                <a:cxn ang="0">
                  <a:pos x="connsiteX2804" y="connsiteY2804"/>
                </a:cxn>
                <a:cxn ang="0">
                  <a:pos x="connsiteX2805" y="connsiteY2805"/>
                </a:cxn>
                <a:cxn ang="0">
                  <a:pos x="connsiteX2806" y="connsiteY2806"/>
                </a:cxn>
                <a:cxn ang="0">
                  <a:pos x="connsiteX2807" y="connsiteY2807"/>
                </a:cxn>
                <a:cxn ang="0">
                  <a:pos x="connsiteX2808" y="connsiteY2808"/>
                </a:cxn>
                <a:cxn ang="0">
                  <a:pos x="connsiteX2809" y="connsiteY2809"/>
                </a:cxn>
                <a:cxn ang="0">
                  <a:pos x="connsiteX2810" y="connsiteY2810"/>
                </a:cxn>
                <a:cxn ang="0">
                  <a:pos x="connsiteX2811" y="connsiteY2811"/>
                </a:cxn>
                <a:cxn ang="0">
                  <a:pos x="connsiteX2812" y="connsiteY2812"/>
                </a:cxn>
                <a:cxn ang="0">
                  <a:pos x="connsiteX2813" y="connsiteY2813"/>
                </a:cxn>
                <a:cxn ang="0">
                  <a:pos x="connsiteX2814" y="connsiteY2814"/>
                </a:cxn>
                <a:cxn ang="0">
                  <a:pos x="connsiteX2815" y="connsiteY2815"/>
                </a:cxn>
                <a:cxn ang="0">
                  <a:pos x="connsiteX2816" y="connsiteY2816"/>
                </a:cxn>
                <a:cxn ang="0">
                  <a:pos x="connsiteX2817" y="connsiteY2817"/>
                </a:cxn>
                <a:cxn ang="0">
                  <a:pos x="connsiteX2818" y="connsiteY2818"/>
                </a:cxn>
                <a:cxn ang="0">
                  <a:pos x="connsiteX2819" y="connsiteY2819"/>
                </a:cxn>
                <a:cxn ang="0">
                  <a:pos x="connsiteX2820" y="connsiteY2820"/>
                </a:cxn>
                <a:cxn ang="0">
                  <a:pos x="connsiteX2821" y="connsiteY2821"/>
                </a:cxn>
                <a:cxn ang="0">
                  <a:pos x="connsiteX2822" y="connsiteY2822"/>
                </a:cxn>
                <a:cxn ang="0">
                  <a:pos x="connsiteX2823" y="connsiteY2823"/>
                </a:cxn>
                <a:cxn ang="0">
                  <a:pos x="connsiteX2824" y="connsiteY2824"/>
                </a:cxn>
                <a:cxn ang="0">
                  <a:pos x="connsiteX2825" y="connsiteY2825"/>
                </a:cxn>
                <a:cxn ang="0">
                  <a:pos x="connsiteX2826" y="connsiteY2826"/>
                </a:cxn>
                <a:cxn ang="0">
                  <a:pos x="connsiteX2827" y="connsiteY2827"/>
                </a:cxn>
                <a:cxn ang="0">
                  <a:pos x="connsiteX2828" y="connsiteY2828"/>
                </a:cxn>
                <a:cxn ang="0">
                  <a:pos x="connsiteX2829" y="connsiteY2829"/>
                </a:cxn>
                <a:cxn ang="0">
                  <a:pos x="connsiteX2830" y="connsiteY2830"/>
                </a:cxn>
                <a:cxn ang="0">
                  <a:pos x="connsiteX2831" y="connsiteY2831"/>
                </a:cxn>
                <a:cxn ang="0">
                  <a:pos x="connsiteX2832" y="connsiteY2832"/>
                </a:cxn>
                <a:cxn ang="0">
                  <a:pos x="connsiteX2833" y="connsiteY2833"/>
                </a:cxn>
                <a:cxn ang="0">
                  <a:pos x="connsiteX2834" y="connsiteY2834"/>
                </a:cxn>
                <a:cxn ang="0">
                  <a:pos x="connsiteX2835" y="connsiteY2835"/>
                </a:cxn>
                <a:cxn ang="0">
                  <a:pos x="connsiteX2836" y="connsiteY2836"/>
                </a:cxn>
                <a:cxn ang="0">
                  <a:pos x="connsiteX2837" y="connsiteY2837"/>
                </a:cxn>
                <a:cxn ang="0">
                  <a:pos x="connsiteX2838" y="connsiteY2838"/>
                </a:cxn>
                <a:cxn ang="0">
                  <a:pos x="connsiteX2839" y="connsiteY2839"/>
                </a:cxn>
                <a:cxn ang="0">
                  <a:pos x="connsiteX2840" y="connsiteY2840"/>
                </a:cxn>
                <a:cxn ang="0">
                  <a:pos x="connsiteX2841" y="connsiteY2841"/>
                </a:cxn>
                <a:cxn ang="0">
                  <a:pos x="connsiteX2842" y="connsiteY2842"/>
                </a:cxn>
                <a:cxn ang="0">
                  <a:pos x="connsiteX2843" y="connsiteY2843"/>
                </a:cxn>
                <a:cxn ang="0">
                  <a:pos x="connsiteX2844" y="connsiteY2844"/>
                </a:cxn>
                <a:cxn ang="0">
                  <a:pos x="connsiteX2845" y="connsiteY2845"/>
                </a:cxn>
                <a:cxn ang="0">
                  <a:pos x="connsiteX2846" y="connsiteY2846"/>
                </a:cxn>
                <a:cxn ang="0">
                  <a:pos x="connsiteX2847" y="connsiteY2847"/>
                </a:cxn>
                <a:cxn ang="0">
                  <a:pos x="connsiteX2848" y="connsiteY2848"/>
                </a:cxn>
                <a:cxn ang="0">
                  <a:pos x="connsiteX2849" y="connsiteY2849"/>
                </a:cxn>
                <a:cxn ang="0">
                  <a:pos x="connsiteX2850" y="connsiteY2850"/>
                </a:cxn>
                <a:cxn ang="0">
                  <a:pos x="connsiteX2851" y="connsiteY2851"/>
                </a:cxn>
                <a:cxn ang="0">
                  <a:pos x="connsiteX2852" y="connsiteY2852"/>
                </a:cxn>
                <a:cxn ang="0">
                  <a:pos x="connsiteX2853" y="connsiteY2853"/>
                </a:cxn>
                <a:cxn ang="0">
                  <a:pos x="connsiteX2854" y="connsiteY2854"/>
                </a:cxn>
                <a:cxn ang="0">
                  <a:pos x="connsiteX2855" y="connsiteY2855"/>
                </a:cxn>
                <a:cxn ang="0">
                  <a:pos x="connsiteX2856" y="connsiteY2856"/>
                </a:cxn>
                <a:cxn ang="0">
                  <a:pos x="connsiteX2857" y="connsiteY2857"/>
                </a:cxn>
                <a:cxn ang="0">
                  <a:pos x="connsiteX2858" y="connsiteY2858"/>
                </a:cxn>
                <a:cxn ang="0">
                  <a:pos x="connsiteX2859" y="connsiteY2859"/>
                </a:cxn>
                <a:cxn ang="0">
                  <a:pos x="connsiteX2860" y="connsiteY2860"/>
                </a:cxn>
                <a:cxn ang="0">
                  <a:pos x="connsiteX2861" y="connsiteY2861"/>
                </a:cxn>
                <a:cxn ang="0">
                  <a:pos x="connsiteX2862" y="connsiteY2862"/>
                </a:cxn>
                <a:cxn ang="0">
                  <a:pos x="connsiteX2863" y="connsiteY2863"/>
                </a:cxn>
                <a:cxn ang="0">
                  <a:pos x="connsiteX2864" y="connsiteY2864"/>
                </a:cxn>
                <a:cxn ang="0">
                  <a:pos x="connsiteX2865" y="connsiteY2865"/>
                </a:cxn>
                <a:cxn ang="0">
                  <a:pos x="connsiteX2866" y="connsiteY2866"/>
                </a:cxn>
                <a:cxn ang="0">
                  <a:pos x="connsiteX2867" y="connsiteY2867"/>
                </a:cxn>
                <a:cxn ang="0">
                  <a:pos x="connsiteX2868" y="connsiteY2868"/>
                </a:cxn>
                <a:cxn ang="0">
                  <a:pos x="connsiteX2869" y="connsiteY2869"/>
                </a:cxn>
                <a:cxn ang="0">
                  <a:pos x="connsiteX2870" y="connsiteY2870"/>
                </a:cxn>
                <a:cxn ang="0">
                  <a:pos x="connsiteX2871" y="connsiteY2871"/>
                </a:cxn>
                <a:cxn ang="0">
                  <a:pos x="connsiteX2872" y="connsiteY2872"/>
                </a:cxn>
                <a:cxn ang="0">
                  <a:pos x="connsiteX2873" y="connsiteY2873"/>
                </a:cxn>
                <a:cxn ang="0">
                  <a:pos x="connsiteX2874" y="connsiteY2874"/>
                </a:cxn>
                <a:cxn ang="0">
                  <a:pos x="connsiteX2875" y="connsiteY2875"/>
                </a:cxn>
                <a:cxn ang="0">
                  <a:pos x="connsiteX2876" y="connsiteY2876"/>
                </a:cxn>
                <a:cxn ang="0">
                  <a:pos x="connsiteX2877" y="connsiteY2877"/>
                </a:cxn>
                <a:cxn ang="0">
                  <a:pos x="connsiteX2878" y="connsiteY2878"/>
                </a:cxn>
                <a:cxn ang="0">
                  <a:pos x="connsiteX2879" y="connsiteY2879"/>
                </a:cxn>
                <a:cxn ang="0">
                  <a:pos x="connsiteX2880" y="connsiteY2880"/>
                </a:cxn>
                <a:cxn ang="0">
                  <a:pos x="connsiteX2881" y="connsiteY2881"/>
                </a:cxn>
                <a:cxn ang="0">
                  <a:pos x="connsiteX2882" y="connsiteY2882"/>
                </a:cxn>
                <a:cxn ang="0">
                  <a:pos x="connsiteX2883" y="connsiteY2883"/>
                </a:cxn>
                <a:cxn ang="0">
                  <a:pos x="connsiteX2884" y="connsiteY2884"/>
                </a:cxn>
                <a:cxn ang="0">
                  <a:pos x="connsiteX2885" y="connsiteY2885"/>
                </a:cxn>
                <a:cxn ang="0">
                  <a:pos x="connsiteX2886" y="connsiteY2886"/>
                </a:cxn>
                <a:cxn ang="0">
                  <a:pos x="connsiteX2887" y="connsiteY2887"/>
                </a:cxn>
                <a:cxn ang="0">
                  <a:pos x="connsiteX2888" y="connsiteY2888"/>
                </a:cxn>
                <a:cxn ang="0">
                  <a:pos x="connsiteX2889" y="connsiteY2889"/>
                </a:cxn>
                <a:cxn ang="0">
                  <a:pos x="connsiteX2890" y="connsiteY2890"/>
                </a:cxn>
                <a:cxn ang="0">
                  <a:pos x="connsiteX2891" y="connsiteY2891"/>
                </a:cxn>
                <a:cxn ang="0">
                  <a:pos x="connsiteX2892" y="connsiteY2892"/>
                </a:cxn>
                <a:cxn ang="0">
                  <a:pos x="connsiteX2893" y="connsiteY2893"/>
                </a:cxn>
                <a:cxn ang="0">
                  <a:pos x="connsiteX2894" y="connsiteY2894"/>
                </a:cxn>
                <a:cxn ang="0">
                  <a:pos x="connsiteX2895" y="connsiteY2895"/>
                </a:cxn>
                <a:cxn ang="0">
                  <a:pos x="connsiteX2896" y="connsiteY2896"/>
                </a:cxn>
                <a:cxn ang="0">
                  <a:pos x="connsiteX2897" y="connsiteY2897"/>
                </a:cxn>
                <a:cxn ang="0">
                  <a:pos x="connsiteX2898" y="connsiteY2898"/>
                </a:cxn>
                <a:cxn ang="0">
                  <a:pos x="connsiteX2899" y="connsiteY2899"/>
                </a:cxn>
                <a:cxn ang="0">
                  <a:pos x="connsiteX2900" y="connsiteY2900"/>
                </a:cxn>
                <a:cxn ang="0">
                  <a:pos x="connsiteX2901" y="connsiteY2901"/>
                </a:cxn>
                <a:cxn ang="0">
                  <a:pos x="connsiteX2902" y="connsiteY2902"/>
                </a:cxn>
                <a:cxn ang="0">
                  <a:pos x="connsiteX2903" y="connsiteY2903"/>
                </a:cxn>
                <a:cxn ang="0">
                  <a:pos x="connsiteX2904" y="connsiteY2904"/>
                </a:cxn>
                <a:cxn ang="0">
                  <a:pos x="connsiteX2905" y="connsiteY2905"/>
                </a:cxn>
                <a:cxn ang="0">
                  <a:pos x="connsiteX2906" y="connsiteY2906"/>
                </a:cxn>
                <a:cxn ang="0">
                  <a:pos x="connsiteX2907" y="connsiteY2907"/>
                </a:cxn>
                <a:cxn ang="0">
                  <a:pos x="connsiteX2908" y="connsiteY2908"/>
                </a:cxn>
                <a:cxn ang="0">
                  <a:pos x="connsiteX2909" y="connsiteY2909"/>
                </a:cxn>
                <a:cxn ang="0">
                  <a:pos x="connsiteX2910" y="connsiteY2910"/>
                </a:cxn>
                <a:cxn ang="0">
                  <a:pos x="connsiteX2911" y="connsiteY2911"/>
                </a:cxn>
                <a:cxn ang="0">
                  <a:pos x="connsiteX2912" y="connsiteY2912"/>
                </a:cxn>
                <a:cxn ang="0">
                  <a:pos x="connsiteX2913" y="connsiteY2913"/>
                </a:cxn>
                <a:cxn ang="0">
                  <a:pos x="connsiteX2914" y="connsiteY2914"/>
                </a:cxn>
                <a:cxn ang="0">
                  <a:pos x="connsiteX2915" y="connsiteY2915"/>
                </a:cxn>
                <a:cxn ang="0">
                  <a:pos x="connsiteX2916" y="connsiteY2916"/>
                </a:cxn>
                <a:cxn ang="0">
                  <a:pos x="connsiteX2917" y="connsiteY2917"/>
                </a:cxn>
                <a:cxn ang="0">
                  <a:pos x="connsiteX2918" y="connsiteY2918"/>
                </a:cxn>
                <a:cxn ang="0">
                  <a:pos x="connsiteX2919" y="connsiteY2919"/>
                </a:cxn>
                <a:cxn ang="0">
                  <a:pos x="connsiteX2920" y="connsiteY2920"/>
                </a:cxn>
                <a:cxn ang="0">
                  <a:pos x="connsiteX2921" y="connsiteY2921"/>
                </a:cxn>
                <a:cxn ang="0">
                  <a:pos x="connsiteX2922" y="connsiteY2922"/>
                </a:cxn>
                <a:cxn ang="0">
                  <a:pos x="connsiteX2923" y="connsiteY2923"/>
                </a:cxn>
                <a:cxn ang="0">
                  <a:pos x="connsiteX2924" y="connsiteY2924"/>
                </a:cxn>
                <a:cxn ang="0">
                  <a:pos x="connsiteX2925" y="connsiteY2925"/>
                </a:cxn>
                <a:cxn ang="0">
                  <a:pos x="connsiteX2926" y="connsiteY2926"/>
                </a:cxn>
                <a:cxn ang="0">
                  <a:pos x="connsiteX2927" y="connsiteY2927"/>
                </a:cxn>
                <a:cxn ang="0">
                  <a:pos x="connsiteX2928" y="connsiteY2928"/>
                </a:cxn>
                <a:cxn ang="0">
                  <a:pos x="connsiteX2929" y="connsiteY2929"/>
                </a:cxn>
                <a:cxn ang="0">
                  <a:pos x="connsiteX2930" y="connsiteY2930"/>
                </a:cxn>
                <a:cxn ang="0">
                  <a:pos x="connsiteX2931" y="connsiteY2931"/>
                </a:cxn>
                <a:cxn ang="0">
                  <a:pos x="connsiteX2932" y="connsiteY2932"/>
                </a:cxn>
                <a:cxn ang="0">
                  <a:pos x="connsiteX2933" y="connsiteY2933"/>
                </a:cxn>
                <a:cxn ang="0">
                  <a:pos x="connsiteX2934" y="connsiteY2934"/>
                </a:cxn>
                <a:cxn ang="0">
                  <a:pos x="connsiteX2935" y="connsiteY2935"/>
                </a:cxn>
                <a:cxn ang="0">
                  <a:pos x="connsiteX2936" y="connsiteY2936"/>
                </a:cxn>
                <a:cxn ang="0">
                  <a:pos x="connsiteX2937" y="connsiteY2937"/>
                </a:cxn>
                <a:cxn ang="0">
                  <a:pos x="connsiteX2938" y="connsiteY2938"/>
                </a:cxn>
                <a:cxn ang="0">
                  <a:pos x="connsiteX2939" y="connsiteY2939"/>
                </a:cxn>
                <a:cxn ang="0">
                  <a:pos x="connsiteX2940" y="connsiteY2940"/>
                </a:cxn>
                <a:cxn ang="0">
                  <a:pos x="connsiteX2941" y="connsiteY2941"/>
                </a:cxn>
                <a:cxn ang="0">
                  <a:pos x="connsiteX2942" y="connsiteY2942"/>
                </a:cxn>
                <a:cxn ang="0">
                  <a:pos x="connsiteX2943" y="connsiteY2943"/>
                </a:cxn>
                <a:cxn ang="0">
                  <a:pos x="connsiteX2944" y="connsiteY2944"/>
                </a:cxn>
                <a:cxn ang="0">
                  <a:pos x="connsiteX2945" y="connsiteY2945"/>
                </a:cxn>
                <a:cxn ang="0">
                  <a:pos x="connsiteX2946" y="connsiteY2946"/>
                </a:cxn>
                <a:cxn ang="0">
                  <a:pos x="connsiteX2947" y="connsiteY2947"/>
                </a:cxn>
                <a:cxn ang="0">
                  <a:pos x="connsiteX2948" y="connsiteY2948"/>
                </a:cxn>
                <a:cxn ang="0">
                  <a:pos x="connsiteX2949" y="connsiteY2949"/>
                </a:cxn>
                <a:cxn ang="0">
                  <a:pos x="connsiteX2950" y="connsiteY2950"/>
                </a:cxn>
                <a:cxn ang="0">
                  <a:pos x="connsiteX2951" y="connsiteY2951"/>
                </a:cxn>
                <a:cxn ang="0">
                  <a:pos x="connsiteX2952" y="connsiteY2952"/>
                </a:cxn>
                <a:cxn ang="0">
                  <a:pos x="connsiteX2953" y="connsiteY2953"/>
                </a:cxn>
                <a:cxn ang="0">
                  <a:pos x="connsiteX2954" y="connsiteY2954"/>
                </a:cxn>
                <a:cxn ang="0">
                  <a:pos x="connsiteX2955" y="connsiteY2955"/>
                </a:cxn>
                <a:cxn ang="0">
                  <a:pos x="connsiteX2956" y="connsiteY2956"/>
                </a:cxn>
                <a:cxn ang="0">
                  <a:pos x="connsiteX2957" y="connsiteY2957"/>
                </a:cxn>
                <a:cxn ang="0">
                  <a:pos x="connsiteX2958" y="connsiteY2958"/>
                </a:cxn>
                <a:cxn ang="0">
                  <a:pos x="connsiteX2959" y="connsiteY2959"/>
                </a:cxn>
                <a:cxn ang="0">
                  <a:pos x="connsiteX2960" y="connsiteY2960"/>
                </a:cxn>
                <a:cxn ang="0">
                  <a:pos x="connsiteX2961" y="connsiteY2961"/>
                </a:cxn>
                <a:cxn ang="0">
                  <a:pos x="connsiteX2962" y="connsiteY2962"/>
                </a:cxn>
                <a:cxn ang="0">
                  <a:pos x="connsiteX2963" y="connsiteY2963"/>
                </a:cxn>
                <a:cxn ang="0">
                  <a:pos x="connsiteX2964" y="connsiteY2964"/>
                </a:cxn>
                <a:cxn ang="0">
                  <a:pos x="connsiteX2965" y="connsiteY2965"/>
                </a:cxn>
                <a:cxn ang="0">
                  <a:pos x="connsiteX2966" y="connsiteY2966"/>
                </a:cxn>
                <a:cxn ang="0">
                  <a:pos x="connsiteX2967" y="connsiteY2967"/>
                </a:cxn>
                <a:cxn ang="0">
                  <a:pos x="connsiteX2968" y="connsiteY2968"/>
                </a:cxn>
                <a:cxn ang="0">
                  <a:pos x="connsiteX2969" y="connsiteY2969"/>
                </a:cxn>
                <a:cxn ang="0">
                  <a:pos x="connsiteX2970" y="connsiteY2970"/>
                </a:cxn>
                <a:cxn ang="0">
                  <a:pos x="connsiteX2971" y="connsiteY2971"/>
                </a:cxn>
                <a:cxn ang="0">
                  <a:pos x="connsiteX2972" y="connsiteY2972"/>
                </a:cxn>
                <a:cxn ang="0">
                  <a:pos x="connsiteX2973" y="connsiteY2973"/>
                </a:cxn>
                <a:cxn ang="0">
                  <a:pos x="connsiteX2974" y="connsiteY2974"/>
                </a:cxn>
                <a:cxn ang="0">
                  <a:pos x="connsiteX2975" y="connsiteY2975"/>
                </a:cxn>
                <a:cxn ang="0">
                  <a:pos x="connsiteX2976" y="connsiteY2976"/>
                </a:cxn>
                <a:cxn ang="0">
                  <a:pos x="connsiteX2977" y="connsiteY2977"/>
                </a:cxn>
                <a:cxn ang="0">
                  <a:pos x="connsiteX2978" y="connsiteY2978"/>
                </a:cxn>
                <a:cxn ang="0">
                  <a:pos x="connsiteX2979" y="connsiteY2979"/>
                </a:cxn>
                <a:cxn ang="0">
                  <a:pos x="connsiteX2980" y="connsiteY2980"/>
                </a:cxn>
                <a:cxn ang="0">
                  <a:pos x="connsiteX2981" y="connsiteY2981"/>
                </a:cxn>
                <a:cxn ang="0">
                  <a:pos x="connsiteX2982" y="connsiteY2982"/>
                </a:cxn>
                <a:cxn ang="0">
                  <a:pos x="connsiteX2983" y="connsiteY2983"/>
                </a:cxn>
                <a:cxn ang="0">
                  <a:pos x="connsiteX2984" y="connsiteY2984"/>
                </a:cxn>
                <a:cxn ang="0">
                  <a:pos x="connsiteX2985" y="connsiteY2985"/>
                </a:cxn>
                <a:cxn ang="0">
                  <a:pos x="connsiteX2986" y="connsiteY2986"/>
                </a:cxn>
                <a:cxn ang="0">
                  <a:pos x="connsiteX2987" y="connsiteY2987"/>
                </a:cxn>
                <a:cxn ang="0">
                  <a:pos x="connsiteX2988" y="connsiteY2988"/>
                </a:cxn>
                <a:cxn ang="0">
                  <a:pos x="connsiteX2989" y="connsiteY2989"/>
                </a:cxn>
                <a:cxn ang="0">
                  <a:pos x="connsiteX2990" y="connsiteY2990"/>
                </a:cxn>
                <a:cxn ang="0">
                  <a:pos x="connsiteX2991" y="connsiteY2991"/>
                </a:cxn>
                <a:cxn ang="0">
                  <a:pos x="connsiteX2992" y="connsiteY2992"/>
                </a:cxn>
                <a:cxn ang="0">
                  <a:pos x="connsiteX2993" y="connsiteY2993"/>
                </a:cxn>
                <a:cxn ang="0">
                  <a:pos x="connsiteX2994" y="connsiteY2994"/>
                </a:cxn>
                <a:cxn ang="0">
                  <a:pos x="connsiteX2995" y="connsiteY2995"/>
                </a:cxn>
                <a:cxn ang="0">
                  <a:pos x="connsiteX2996" y="connsiteY2996"/>
                </a:cxn>
                <a:cxn ang="0">
                  <a:pos x="connsiteX2997" y="connsiteY2997"/>
                </a:cxn>
                <a:cxn ang="0">
                  <a:pos x="connsiteX2998" y="connsiteY2998"/>
                </a:cxn>
                <a:cxn ang="0">
                  <a:pos x="connsiteX2999" y="connsiteY2999"/>
                </a:cxn>
                <a:cxn ang="0">
                  <a:pos x="connsiteX3000" y="connsiteY3000"/>
                </a:cxn>
                <a:cxn ang="0">
                  <a:pos x="connsiteX3001" y="connsiteY3001"/>
                </a:cxn>
                <a:cxn ang="0">
                  <a:pos x="connsiteX3002" y="connsiteY3002"/>
                </a:cxn>
                <a:cxn ang="0">
                  <a:pos x="connsiteX3003" y="connsiteY3003"/>
                </a:cxn>
                <a:cxn ang="0">
                  <a:pos x="connsiteX3004" y="connsiteY3004"/>
                </a:cxn>
                <a:cxn ang="0">
                  <a:pos x="connsiteX3005" y="connsiteY3005"/>
                </a:cxn>
                <a:cxn ang="0">
                  <a:pos x="connsiteX3006" y="connsiteY3006"/>
                </a:cxn>
                <a:cxn ang="0">
                  <a:pos x="connsiteX3007" y="connsiteY3007"/>
                </a:cxn>
                <a:cxn ang="0">
                  <a:pos x="connsiteX3008" y="connsiteY3008"/>
                </a:cxn>
                <a:cxn ang="0">
                  <a:pos x="connsiteX3009" y="connsiteY3009"/>
                </a:cxn>
                <a:cxn ang="0">
                  <a:pos x="connsiteX3010" y="connsiteY3010"/>
                </a:cxn>
                <a:cxn ang="0">
                  <a:pos x="connsiteX3011" y="connsiteY3011"/>
                </a:cxn>
                <a:cxn ang="0">
                  <a:pos x="connsiteX3012" y="connsiteY3012"/>
                </a:cxn>
                <a:cxn ang="0">
                  <a:pos x="connsiteX3013" y="connsiteY3013"/>
                </a:cxn>
                <a:cxn ang="0">
                  <a:pos x="connsiteX3014" y="connsiteY3014"/>
                </a:cxn>
                <a:cxn ang="0">
                  <a:pos x="connsiteX3015" y="connsiteY3015"/>
                </a:cxn>
                <a:cxn ang="0">
                  <a:pos x="connsiteX3016" y="connsiteY3016"/>
                </a:cxn>
                <a:cxn ang="0">
                  <a:pos x="connsiteX3017" y="connsiteY3017"/>
                </a:cxn>
                <a:cxn ang="0">
                  <a:pos x="connsiteX3018" y="connsiteY3018"/>
                </a:cxn>
                <a:cxn ang="0">
                  <a:pos x="connsiteX3019" y="connsiteY3019"/>
                </a:cxn>
                <a:cxn ang="0">
                  <a:pos x="connsiteX3020" y="connsiteY3020"/>
                </a:cxn>
                <a:cxn ang="0">
                  <a:pos x="connsiteX3021" y="connsiteY3021"/>
                </a:cxn>
                <a:cxn ang="0">
                  <a:pos x="connsiteX3022" y="connsiteY3022"/>
                </a:cxn>
                <a:cxn ang="0">
                  <a:pos x="connsiteX3023" y="connsiteY3023"/>
                </a:cxn>
                <a:cxn ang="0">
                  <a:pos x="connsiteX3024" y="connsiteY3024"/>
                </a:cxn>
                <a:cxn ang="0">
                  <a:pos x="connsiteX3025" y="connsiteY3025"/>
                </a:cxn>
                <a:cxn ang="0">
                  <a:pos x="connsiteX3026" y="connsiteY3026"/>
                </a:cxn>
                <a:cxn ang="0">
                  <a:pos x="connsiteX3027" y="connsiteY3027"/>
                </a:cxn>
                <a:cxn ang="0">
                  <a:pos x="connsiteX3028" y="connsiteY3028"/>
                </a:cxn>
                <a:cxn ang="0">
                  <a:pos x="connsiteX3029" y="connsiteY3029"/>
                </a:cxn>
                <a:cxn ang="0">
                  <a:pos x="connsiteX3030" y="connsiteY3030"/>
                </a:cxn>
                <a:cxn ang="0">
                  <a:pos x="connsiteX3031" y="connsiteY3031"/>
                </a:cxn>
                <a:cxn ang="0">
                  <a:pos x="connsiteX3032" y="connsiteY3032"/>
                </a:cxn>
                <a:cxn ang="0">
                  <a:pos x="connsiteX3033" y="connsiteY3033"/>
                </a:cxn>
                <a:cxn ang="0">
                  <a:pos x="connsiteX3034" y="connsiteY3034"/>
                </a:cxn>
                <a:cxn ang="0">
                  <a:pos x="connsiteX3035" y="connsiteY3035"/>
                </a:cxn>
                <a:cxn ang="0">
                  <a:pos x="connsiteX3036" y="connsiteY3036"/>
                </a:cxn>
                <a:cxn ang="0">
                  <a:pos x="connsiteX3037" y="connsiteY3037"/>
                </a:cxn>
                <a:cxn ang="0">
                  <a:pos x="connsiteX3038" y="connsiteY3038"/>
                </a:cxn>
                <a:cxn ang="0">
                  <a:pos x="connsiteX3039" y="connsiteY3039"/>
                </a:cxn>
                <a:cxn ang="0">
                  <a:pos x="connsiteX3040" y="connsiteY3040"/>
                </a:cxn>
                <a:cxn ang="0">
                  <a:pos x="connsiteX3041" y="connsiteY3041"/>
                </a:cxn>
                <a:cxn ang="0">
                  <a:pos x="connsiteX3042" y="connsiteY3042"/>
                </a:cxn>
                <a:cxn ang="0">
                  <a:pos x="connsiteX3043" y="connsiteY3043"/>
                </a:cxn>
                <a:cxn ang="0">
                  <a:pos x="connsiteX3044" y="connsiteY3044"/>
                </a:cxn>
                <a:cxn ang="0">
                  <a:pos x="connsiteX3045" y="connsiteY3045"/>
                </a:cxn>
                <a:cxn ang="0">
                  <a:pos x="connsiteX3046" y="connsiteY3046"/>
                </a:cxn>
                <a:cxn ang="0">
                  <a:pos x="connsiteX3047" y="connsiteY3047"/>
                </a:cxn>
                <a:cxn ang="0">
                  <a:pos x="connsiteX3048" y="connsiteY3048"/>
                </a:cxn>
                <a:cxn ang="0">
                  <a:pos x="connsiteX3049" y="connsiteY3049"/>
                </a:cxn>
                <a:cxn ang="0">
                  <a:pos x="connsiteX3050" y="connsiteY3050"/>
                </a:cxn>
                <a:cxn ang="0">
                  <a:pos x="connsiteX3051" y="connsiteY3051"/>
                </a:cxn>
                <a:cxn ang="0">
                  <a:pos x="connsiteX3052" y="connsiteY3052"/>
                </a:cxn>
                <a:cxn ang="0">
                  <a:pos x="connsiteX3053" y="connsiteY3053"/>
                </a:cxn>
                <a:cxn ang="0">
                  <a:pos x="connsiteX3054" y="connsiteY3054"/>
                </a:cxn>
                <a:cxn ang="0">
                  <a:pos x="connsiteX3055" y="connsiteY3055"/>
                </a:cxn>
                <a:cxn ang="0">
                  <a:pos x="connsiteX3056" y="connsiteY3056"/>
                </a:cxn>
                <a:cxn ang="0">
                  <a:pos x="connsiteX3057" y="connsiteY3057"/>
                </a:cxn>
                <a:cxn ang="0">
                  <a:pos x="connsiteX3058" y="connsiteY3058"/>
                </a:cxn>
                <a:cxn ang="0">
                  <a:pos x="connsiteX3059" y="connsiteY3059"/>
                </a:cxn>
                <a:cxn ang="0">
                  <a:pos x="connsiteX3060" y="connsiteY3060"/>
                </a:cxn>
                <a:cxn ang="0">
                  <a:pos x="connsiteX3061" y="connsiteY3061"/>
                </a:cxn>
                <a:cxn ang="0">
                  <a:pos x="connsiteX3062" y="connsiteY3062"/>
                </a:cxn>
                <a:cxn ang="0">
                  <a:pos x="connsiteX3063" y="connsiteY3063"/>
                </a:cxn>
                <a:cxn ang="0">
                  <a:pos x="connsiteX3064" y="connsiteY3064"/>
                </a:cxn>
                <a:cxn ang="0">
                  <a:pos x="connsiteX3065" y="connsiteY3065"/>
                </a:cxn>
                <a:cxn ang="0">
                  <a:pos x="connsiteX3066" y="connsiteY3066"/>
                </a:cxn>
                <a:cxn ang="0">
                  <a:pos x="connsiteX3067" y="connsiteY3067"/>
                </a:cxn>
                <a:cxn ang="0">
                  <a:pos x="connsiteX3068" y="connsiteY3068"/>
                </a:cxn>
                <a:cxn ang="0">
                  <a:pos x="connsiteX3069" y="connsiteY3069"/>
                </a:cxn>
                <a:cxn ang="0">
                  <a:pos x="connsiteX3070" y="connsiteY3070"/>
                </a:cxn>
                <a:cxn ang="0">
                  <a:pos x="connsiteX3071" y="connsiteY3071"/>
                </a:cxn>
                <a:cxn ang="0">
                  <a:pos x="connsiteX3072" y="connsiteY3072"/>
                </a:cxn>
                <a:cxn ang="0">
                  <a:pos x="connsiteX3073" y="connsiteY3073"/>
                </a:cxn>
                <a:cxn ang="0">
                  <a:pos x="connsiteX3074" y="connsiteY3074"/>
                </a:cxn>
                <a:cxn ang="0">
                  <a:pos x="connsiteX3075" y="connsiteY3075"/>
                </a:cxn>
                <a:cxn ang="0">
                  <a:pos x="connsiteX3076" y="connsiteY3076"/>
                </a:cxn>
                <a:cxn ang="0">
                  <a:pos x="connsiteX3077" y="connsiteY3077"/>
                </a:cxn>
                <a:cxn ang="0">
                  <a:pos x="connsiteX3078" y="connsiteY3078"/>
                </a:cxn>
                <a:cxn ang="0">
                  <a:pos x="connsiteX3079" y="connsiteY3079"/>
                </a:cxn>
                <a:cxn ang="0">
                  <a:pos x="connsiteX3080" y="connsiteY3080"/>
                </a:cxn>
                <a:cxn ang="0">
                  <a:pos x="connsiteX3081" y="connsiteY3081"/>
                </a:cxn>
                <a:cxn ang="0">
                  <a:pos x="connsiteX3082" y="connsiteY3082"/>
                </a:cxn>
                <a:cxn ang="0">
                  <a:pos x="connsiteX3083" y="connsiteY3083"/>
                </a:cxn>
                <a:cxn ang="0">
                  <a:pos x="connsiteX3084" y="connsiteY3084"/>
                </a:cxn>
                <a:cxn ang="0">
                  <a:pos x="connsiteX3085" y="connsiteY3085"/>
                </a:cxn>
                <a:cxn ang="0">
                  <a:pos x="connsiteX3086" y="connsiteY3086"/>
                </a:cxn>
                <a:cxn ang="0">
                  <a:pos x="connsiteX3087" y="connsiteY3087"/>
                </a:cxn>
                <a:cxn ang="0">
                  <a:pos x="connsiteX3088" y="connsiteY3088"/>
                </a:cxn>
                <a:cxn ang="0">
                  <a:pos x="connsiteX3089" y="connsiteY3089"/>
                </a:cxn>
                <a:cxn ang="0">
                  <a:pos x="connsiteX3090" y="connsiteY3090"/>
                </a:cxn>
                <a:cxn ang="0">
                  <a:pos x="connsiteX3091" y="connsiteY3091"/>
                </a:cxn>
                <a:cxn ang="0">
                  <a:pos x="connsiteX3092" y="connsiteY3092"/>
                </a:cxn>
                <a:cxn ang="0">
                  <a:pos x="connsiteX3093" y="connsiteY3093"/>
                </a:cxn>
                <a:cxn ang="0">
                  <a:pos x="connsiteX3094" y="connsiteY3094"/>
                </a:cxn>
                <a:cxn ang="0">
                  <a:pos x="connsiteX3095" y="connsiteY3095"/>
                </a:cxn>
                <a:cxn ang="0">
                  <a:pos x="connsiteX3096" y="connsiteY3096"/>
                </a:cxn>
                <a:cxn ang="0">
                  <a:pos x="connsiteX3097" y="connsiteY3097"/>
                </a:cxn>
                <a:cxn ang="0">
                  <a:pos x="connsiteX3098" y="connsiteY3098"/>
                </a:cxn>
                <a:cxn ang="0">
                  <a:pos x="connsiteX3099" y="connsiteY3099"/>
                </a:cxn>
                <a:cxn ang="0">
                  <a:pos x="connsiteX3100" y="connsiteY3100"/>
                </a:cxn>
                <a:cxn ang="0">
                  <a:pos x="connsiteX3101" y="connsiteY3101"/>
                </a:cxn>
                <a:cxn ang="0">
                  <a:pos x="connsiteX3102" y="connsiteY3102"/>
                </a:cxn>
                <a:cxn ang="0">
                  <a:pos x="connsiteX3103" y="connsiteY3103"/>
                </a:cxn>
                <a:cxn ang="0">
                  <a:pos x="connsiteX3104" y="connsiteY3104"/>
                </a:cxn>
                <a:cxn ang="0">
                  <a:pos x="connsiteX3105" y="connsiteY3105"/>
                </a:cxn>
                <a:cxn ang="0">
                  <a:pos x="connsiteX3106" y="connsiteY3106"/>
                </a:cxn>
                <a:cxn ang="0">
                  <a:pos x="connsiteX3107" y="connsiteY3107"/>
                </a:cxn>
                <a:cxn ang="0">
                  <a:pos x="connsiteX3108" y="connsiteY3108"/>
                </a:cxn>
                <a:cxn ang="0">
                  <a:pos x="connsiteX3109" y="connsiteY3109"/>
                </a:cxn>
                <a:cxn ang="0">
                  <a:pos x="connsiteX3110" y="connsiteY3110"/>
                </a:cxn>
                <a:cxn ang="0">
                  <a:pos x="connsiteX3111" y="connsiteY3111"/>
                </a:cxn>
                <a:cxn ang="0">
                  <a:pos x="connsiteX3112" y="connsiteY3112"/>
                </a:cxn>
                <a:cxn ang="0">
                  <a:pos x="connsiteX3113" y="connsiteY3113"/>
                </a:cxn>
                <a:cxn ang="0">
                  <a:pos x="connsiteX3114" y="connsiteY3114"/>
                </a:cxn>
                <a:cxn ang="0">
                  <a:pos x="connsiteX3115" y="connsiteY3115"/>
                </a:cxn>
                <a:cxn ang="0">
                  <a:pos x="connsiteX3116" y="connsiteY3116"/>
                </a:cxn>
                <a:cxn ang="0">
                  <a:pos x="connsiteX3117" y="connsiteY3117"/>
                </a:cxn>
                <a:cxn ang="0">
                  <a:pos x="connsiteX3118" y="connsiteY3118"/>
                </a:cxn>
                <a:cxn ang="0">
                  <a:pos x="connsiteX3119" y="connsiteY3119"/>
                </a:cxn>
                <a:cxn ang="0">
                  <a:pos x="connsiteX3120" y="connsiteY3120"/>
                </a:cxn>
                <a:cxn ang="0">
                  <a:pos x="connsiteX3121" y="connsiteY3121"/>
                </a:cxn>
                <a:cxn ang="0">
                  <a:pos x="connsiteX3122" y="connsiteY3122"/>
                </a:cxn>
                <a:cxn ang="0">
                  <a:pos x="connsiteX3123" y="connsiteY3123"/>
                </a:cxn>
                <a:cxn ang="0">
                  <a:pos x="connsiteX3124" y="connsiteY3124"/>
                </a:cxn>
                <a:cxn ang="0">
                  <a:pos x="connsiteX3125" y="connsiteY3125"/>
                </a:cxn>
                <a:cxn ang="0">
                  <a:pos x="connsiteX3126" y="connsiteY3126"/>
                </a:cxn>
                <a:cxn ang="0">
                  <a:pos x="connsiteX3127" y="connsiteY3127"/>
                </a:cxn>
                <a:cxn ang="0">
                  <a:pos x="connsiteX3128" y="connsiteY3128"/>
                </a:cxn>
                <a:cxn ang="0">
                  <a:pos x="connsiteX3129" y="connsiteY3129"/>
                </a:cxn>
                <a:cxn ang="0">
                  <a:pos x="connsiteX3130" y="connsiteY3130"/>
                </a:cxn>
                <a:cxn ang="0">
                  <a:pos x="connsiteX3131" y="connsiteY3131"/>
                </a:cxn>
                <a:cxn ang="0">
                  <a:pos x="connsiteX3132" y="connsiteY3132"/>
                </a:cxn>
                <a:cxn ang="0">
                  <a:pos x="connsiteX3133" y="connsiteY3133"/>
                </a:cxn>
                <a:cxn ang="0">
                  <a:pos x="connsiteX3134" y="connsiteY3134"/>
                </a:cxn>
                <a:cxn ang="0">
                  <a:pos x="connsiteX3135" y="connsiteY3135"/>
                </a:cxn>
                <a:cxn ang="0">
                  <a:pos x="connsiteX3136" y="connsiteY3136"/>
                </a:cxn>
                <a:cxn ang="0">
                  <a:pos x="connsiteX3137" y="connsiteY3137"/>
                </a:cxn>
                <a:cxn ang="0">
                  <a:pos x="connsiteX3138" y="connsiteY3138"/>
                </a:cxn>
                <a:cxn ang="0">
                  <a:pos x="connsiteX3139" y="connsiteY3139"/>
                </a:cxn>
                <a:cxn ang="0">
                  <a:pos x="connsiteX3140" y="connsiteY3140"/>
                </a:cxn>
                <a:cxn ang="0">
                  <a:pos x="connsiteX3141" y="connsiteY3141"/>
                </a:cxn>
                <a:cxn ang="0">
                  <a:pos x="connsiteX3142" y="connsiteY3142"/>
                </a:cxn>
                <a:cxn ang="0">
                  <a:pos x="connsiteX3143" y="connsiteY3143"/>
                </a:cxn>
                <a:cxn ang="0">
                  <a:pos x="connsiteX3144" y="connsiteY3144"/>
                </a:cxn>
                <a:cxn ang="0">
                  <a:pos x="connsiteX3145" y="connsiteY3145"/>
                </a:cxn>
                <a:cxn ang="0">
                  <a:pos x="connsiteX3146" y="connsiteY3146"/>
                </a:cxn>
                <a:cxn ang="0">
                  <a:pos x="connsiteX3147" y="connsiteY3147"/>
                </a:cxn>
                <a:cxn ang="0">
                  <a:pos x="connsiteX3148" y="connsiteY3148"/>
                </a:cxn>
                <a:cxn ang="0">
                  <a:pos x="connsiteX3149" y="connsiteY3149"/>
                </a:cxn>
                <a:cxn ang="0">
                  <a:pos x="connsiteX3150" y="connsiteY3150"/>
                </a:cxn>
                <a:cxn ang="0">
                  <a:pos x="connsiteX3151" y="connsiteY3151"/>
                </a:cxn>
                <a:cxn ang="0">
                  <a:pos x="connsiteX3152" y="connsiteY3152"/>
                </a:cxn>
                <a:cxn ang="0">
                  <a:pos x="connsiteX3153" y="connsiteY3153"/>
                </a:cxn>
                <a:cxn ang="0">
                  <a:pos x="connsiteX3154" y="connsiteY3154"/>
                </a:cxn>
                <a:cxn ang="0">
                  <a:pos x="connsiteX3155" y="connsiteY3155"/>
                </a:cxn>
                <a:cxn ang="0">
                  <a:pos x="connsiteX3156" y="connsiteY3156"/>
                </a:cxn>
                <a:cxn ang="0">
                  <a:pos x="connsiteX3157" y="connsiteY3157"/>
                </a:cxn>
                <a:cxn ang="0">
                  <a:pos x="connsiteX3158" y="connsiteY3158"/>
                </a:cxn>
                <a:cxn ang="0">
                  <a:pos x="connsiteX3159" y="connsiteY3159"/>
                </a:cxn>
                <a:cxn ang="0">
                  <a:pos x="connsiteX3160" y="connsiteY3160"/>
                </a:cxn>
                <a:cxn ang="0">
                  <a:pos x="connsiteX3161" y="connsiteY3161"/>
                </a:cxn>
                <a:cxn ang="0">
                  <a:pos x="connsiteX3162" y="connsiteY3162"/>
                </a:cxn>
                <a:cxn ang="0">
                  <a:pos x="connsiteX3163" y="connsiteY3163"/>
                </a:cxn>
                <a:cxn ang="0">
                  <a:pos x="connsiteX3164" y="connsiteY3164"/>
                </a:cxn>
                <a:cxn ang="0">
                  <a:pos x="connsiteX3165" y="connsiteY3165"/>
                </a:cxn>
                <a:cxn ang="0">
                  <a:pos x="connsiteX3166" y="connsiteY3166"/>
                </a:cxn>
                <a:cxn ang="0">
                  <a:pos x="connsiteX3167" y="connsiteY3167"/>
                </a:cxn>
                <a:cxn ang="0">
                  <a:pos x="connsiteX3168" y="connsiteY3168"/>
                </a:cxn>
                <a:cxn ang="0">
                  <a:pos x="connsiteX3169" y="connsiteY3169"/>
                </a:cxn>
                <a:cxn ang="0">
                  <a:pos x="connsiteX3170" y="connsiteY3170"/>
                </a:cxn>
                <a:cxn ang="0">
                  <a:pos x="connsiteX3171" y="connsiteY3171"/>
                </a:cxn>
                <a:cxn ang="0">
                  <a:pos x="connsiteX3172" y="connsiteY3172"/>
                </a:cxn>
                <a:cxn ang="0">
                  <a:pos x="connsiteX3173" y="connsiteY3173"/>
                </a:cxn>
                <a:cxn ang="0">
                  <a:pos x="connsiteX3174" y="connsiteY3174"/>
                </a:cxn>
                <a:cxn ang="0">
                  <a:pos x="connsiteX3175" y="connsiteY3175"/>
                </a:cxn>
                <a:cxn ang="0">
                  <a:pos x="connsiteX3176" y="connsiteY3176"/>
                </a:cxn>
                <a:cxn ang="0">
                  <a:pos x="connsiteX3177" y="connsiteY3177"/>
                </a:cxn>
                <a:cxn ang="0">
                  <a:pos x="connsiteX3178" y="connsiteY3178"/>
                </a:cxn>
                <a:cxn ang="0">
                  <a:pos x="connsiteX3179" y="connsiteY3179"/>
                </a:cxn>
                <a:cxn ang="0">
                  <a:pos x="connsiteX3180" y="connsiteY3180"/>
                </a:cxn>
                <a:cxn ang="0">
                  <a:pos x="connsiteX3181" y="connsiteY3181"/>
                </a:cxn>
                <a:cxn ang="0">
                  <a:pos x="connsiteX3182" y="connsiteY3182"/>
                </a:cxn>
                <a:cxn ang="0">
                  <a:pos x="connsiteX3183" y="connsiteY3183"/>
                </a:cxn>
                <a:cxn ang="0">
                  <a:pos x="connsiteX3184" y="connsiteY3184"/>
                </a:cxn>
                <a:cxn ang="0">
                  <a:pos x="connsiteX3185" y="connsiteY3185"/>
                </a:cxn>
                <a:cxn ang="0">
                  <a:pos x="connsiteX3186" y="connsiteY3186"/>
                </a:cxn>
                <a:cxn ang="0">
                  <a:pos x="connsiteX3187" y="connsiteY3187"/>
                </a:cxn>
                <a:cxn ang="0">
                  <a:pos x="connsiteX3188" y="connsiteY3188"/>
                </a:cxn>
                <a:cxn ang="0">
                  <a:pos x="connsiteX3189" y="connsiteY3189"/>
                </a:cxn>
                <a:cxn ang="0">
                  <a:pos x="connsiteX3190" y="connsiteY3190"/>
                </a:cxn>
                <a:cxn ang="0">
                  <a:pos x="connsiteX3191" y="connsiteY3191"/>
                </a:cxn>
                <a:cxn ang="0">
                  <a:pos x="connsiteX3192" y="connsiteY3192"/>
                </a:cxn>
                <a:cxn ang="0">
                  <a:pos x="connsiteX3193" y="connsiteY3193"/>
                </a:cxn>
                <a:cxn ang="0">
                  <a:pos x="connsiteX3194" y="connsiteY3194"/>
                </a:cxn>
                <a:cxn ang="0">
                  <a:pos x="connsiteX3195" y="connsiteY3195"/>
                </a:cxn>
                <a:cxn ang="0">
                  <a:pos x="connsiteX3196" y="connsiteY3196"/>
                </a:cxn>
                <a:cxn ang="0">
                  <a:pos x="connsiteX3197" y="connsiteY3197"/>
                </a:cxn>
                <a:cxn ang="0">
                  <a:pos x="connsiteX3198" y="connsiteY3198"/>
                </a:cxn>
                <a:cxn ang="0">
                  <a:pos x="connsiteX3199" y="connsiteY3199"/>
                </a:cxn>
                <a:cxn ang="0">
                  <a:pos x="connsiteX3200" y="connsiteY3200"/>
                </a:cxn>
                <a:cxn ang="0">
                  <a:pos x="connsiteX3201" y="connsiteY3201"/>
                </a:cxn>
                <a:cxn ang="0">
                  <a:pos x="connsiteX3202" y="connsiteY3202"/>
                </a:cxn>
                <a:cxn ang="0">
                  <a:pos x="connsiteX3203" y="connsiteY3203"/>
                </a:cxn>
                <a:cxn ang="0">
                  <a:pos x="connsiteX3204" y="connsiteY3204"/>
                </a:cxn>
                <a:cxn ang="0">
                  <a:pos x="connsiteX3205" y="connsiteY3205"/>
                </a:cxn>
                <a:cxn ang="0">
                  <a:pos x="connsiteX3206" y="connsiteY3206"/>
                </a:cxn>
                <a:cxn ang="0">
                  <a:pos x="connsiteX3207" y="connsiteY3207"/>
                </a:cxn>
                <a:cxn ang="0">
                  <a:pos x="connsiteX3208" y="connsiteY3208"/>
                </a:cxn>
                <a:cxn ang="0">
                  <a:pos x="connsiteX3209" y="connsiteY3209"/>
                </a:cxn>
                <a:cxn ang="0">
                  <a:pos x="connsiteX3210" y="connsiteY3210"/>
                </a:cxn>
                <a:cxn ang="0">
                  <a:pos x="connsiteX3211" y="connsiteY3211"/>
                </a:cxn>
                <a:cxn ang="0">
                  <a:pos x="connsiteX3212" y="connsiteY3212"/>
                </a:cxn>
                <a:cxn ang="0">
                  <a:pos x="connsiteX3213" y="connsiteY3213"/>
                </a:cxn>
                <a:cxn ang="0">
                  <a:pos x="connsiteX3214" y="connsiteY3214"/>
                </a:cxn>
                <a:cxn ang="0">
                  <a:pos x="connsiteX3215" y="connsiteY3215"/>
                </a:cxn>
                <a:cxn ang="0">
                  <a:pos x="connsiteX3216" y="connsiteY3216"/>
                </a:cxn>
                <a:cxn ang="0">
                  <a:pos x="connsiteX3217" y="connsiteY3217"/>
                </a:cxn>
                <a:cxn ang="0">
                  <a:pos x="connsiteX3218" y="connsiteY3218"/>
                </a:cxn>
                <a:cxn ang="0">
                  <a:pos x="connsiteX3219" y="connsiteY3219"/>
                </a:cxn>
                <a:cxn ang="0">
                  <a:pos x="connsiteX3220" y="connsiteY3220"/>
                </a:cxn>
                <a:cxn ang="0">
                  <a:pos x="connsiteX3221" y="connsiteY3221"/>
                </a:cxn>
                <a:cxn ang="0">
                  <a:pos x="connsiteX3222" y="connsiteY3222"/>
                </a:cxn>
                <a:cxn ang="0">
                  <a:pos x="connsiteX3223" y="connsiteY3223"/>
                </a:cxn>
                <a:cxn ang="0">
                  <a:pos x="connsiteX3224" y="connsiteY3224"/>
                </a:cxn>
                <a:cxn ang="0">
                  <a:pos x="connsiteX3225" y="connsiteY3225"/>
                </a:cxn>
                <a:cxn ang="0">
                  <a:pos x="connsiteX3226" y="connsiteY3226"/>
                </a:cxn>
                <a:cxn ang="0">
                  <a:pos x="connsiteX3227" y="connsiteY3227"/>
                </a:cxn>
                <a:cxn ang="0">
                  <a:pos x="connsiteX3228" y="connsiteY3228"/>
                </a:cxn>
                <a:cxn ang="0">
                  <a:pos x="connsiteX3229" y="connsiteY3229"/>
                </a:cxn>
                <a:cxn ang="0">
                  <a:pos x="connsiteX3230" y="connsiteY3230"/>
                </a:cxn>
                <a:cxn ang="0">
                  <a:pos x="connsiteX3231" y="connsiteY3231"/>
                </a:cxn>
                <a:cxn ang="0">
                  <a:pos x="connsiteX3232" y="connsiteY3232"/>
                </a:cxn>
                <a:cxn ang="0">
                  <a:pos x="connsiteX3233" y="connsiteY3233"/>
                </a:cxn>
                <a:cxn ang="0">
                  <a:pos x="connsiteX3234" y="connsiteY3234"/>
                </a:cxn>
                <a:cxn ang="0">
                  <a:pos x="connsiteX3235" y="connsiteY3235"/>
                </a:cxn>
                <a:cxn ang="0">
                  <a:pos x="connsiteX3236" y="connsiteY3236"/>
                </a:cxn>
                <a:cxn ang="0">
                  <a:pos x="connsiteX3237" y="connsiteY3237"/>
                </a:cxn>
                <a:cxn ang="0">
                  <a:pos x="connsiteX3238" y="connsiteY3238"/>
                </a:cxn>
                <a:cxn ang="0">
                  <a:pos x="connsiteX3239" y="connsiteY3239"/>
                </a:cxn>
                <a:cxn ang="0">
                  <a:pos x="connsiteX3240" y="connsiteY3240"/>
                </a:cxn>
                <a:cxn ang="0">
                  <a:pos x="connsiteX3241" y="connsiteY3241"/>
                </a:cxn>
                <a:cxn ang="0">
                  <a:pos x="connsiteX3242" y="connsiteY3242"/>
                </a:cxn>
                <a:cxn ang="0">
                  <a:pos x="connsiteX3243" y="connsiteY3243"/>
                </a:cxn>
                <a:cxn ang="0">
                  <a:pos x="connsiteX3244" y="connsiteY3244"/>
                </a:cxn>
                <a:cxn ang="0">
                  <a:pos x="connsiteX3245" y="connsiteY3245"/>
                </a:cxn>
                <a:cxn ang="0">
                  <a:pos x="connsiteX3246" y="connsiteY3246"/>
                </a:cxn>
                <a:cxn ang="0">
                  <a:pos x="connsiteX3247" y="connsiteY3247"/>
                </a:cxn>
                <a:cxn ang="0">
                  <a:pos x="connsiteX3248" y="connsiteY3248"/>
                </a:cxn>
                <a:cxn ang="0">
                  <a:pos x="connsiteX3249" y="connsiteY3249"/>
                </a:cxn>
                <a:cxn ang="0">
                  <a:pos x="connsiteX3250" y="connsiteY3250"/>
                </a:cxn>
                <a:cxn ang="0">
                  <a:pos x="connsiteX3251" y="connsiteY3251"/>
                </a:cxn>
                <a:cxn ang="0">
                  <a:pos x="connsiteX3252" y="connsiteY3252"/>
                </a:cxn>
                <a:cxn ang="0">
                  <a:pos x="connsiteX3253" y="connsiteY3253"/>
                </a:cxn>
                <a:cxn ang="0">
                  <a:pos x="connsiteX3254" y="connsiteY3254"/>
                </a:cxn>
                <a:cxn ang="0">
                  <a:pos x="connsiteX3255" y="connsiteY3255"/>
                </a:cxn>
                <a:cxn ang="0">
                  <a:pos x="connsiteX3256" y="connsiteY3256"/>
                </a:cxn>
                <a:cxn ang="0">
                  <a:pos x="connsiteX3257" y="connsiteY3257"/>
                </a:cxn>
                <a:cxn ang="0">
                  <a:pos x="connsiteX3258" y="connsiteY3258"/>
                </a:cxn>
                <a:cxn ang="0">
                  <a:pos x="connsiteX3259" y="connsiteY3259"/>
                </a:cxn>
                <a:cxn ang="0">
                  <a:pos x="connsiteX3260" y="connsiteY3260"/>
                </a:cxn>
                <a:cxn ang="0">
                  <a:pos x="connsiteX3261" y="connsiteY3261"/>
                </a:cxn>
                <a:cxn ang="0">
                  <a:pos x="connsiteX3262" y="connsiteY3262"/>
                </a:cxn>
                <a:cxn ang="0">
                  <a:pos x="connsiteX3263" y="connsiteY3263"/>
                </a:cxn>
                <a:cxn ang="0">
                  <a:pos x="connsiteX3264" y="connsiteY3264"/>
                </a:cxn>
                <a:cxn ang="0">
                  <a:pos x="connsiteX3265" y="connsiteY3265"/>
                </a:cxn>
                <a:cxn ang="0">
                  <a:pos x="connsiteX3266" y="connsiteY3266"/>
                </a:cxn>
                <a:cxn ang="0">
                  <a:pos x="connsiteX3267" y="connsiteY3267"/>
                </a:cxn>
                <a:cxn ang="0">
                  <a:pos x="connsiteX3268" y="connsiteY3268"/>
                </a:cxn>
                <a:cxn ang="0">
                  <a:pos x="connsiteX3269" y="connsiteY3269"/>
                </a:cxn>
                <a:cxn ang="0">
                  <a:pos x="connsiteX3270" y="connsiteY3270"/>
                </a:cxn>
                <a:cxn ang="0">
                  <a:pos x="connsiteX3271" y="connsiteY3271"/>
                </a:cxn>
                <a:cxn ang="0">
                  <a:pos x="connsiteX3272" y="connsiteY3272"/>
                </a:cxn>
                <a:cxn ang="0">
                  <a:pos x="connsiteX3273" y="connsiteY3273"/>
                </a:cxn>
                <a:cxn ang="0">
                  <a:pos x="connsiteX3274" y="connsiteY3274"/>
                </a:cxn>
                <a:cxn ang="0">
                  <a:pos x="connsiteX3275" y="connsiteY3275"/>
                </a:cxn>
                <a:cxn ang="0">
                  <a:pos x="connsiteX3276" y="connsiteY3276"/>
                </a:cxn>
                <a:cxn ang="0">
                  <a:pos x="connsiteX3277" y="connsiteY3277"/>
                </a:cxn>
                <a:cxn ang="0">
                  <a:pos x="connsiteX3278" y="connsiteY3278"/>
                </a:cxn>
                <a:cxn ang="0">
                  <a:pos x="connsiteX3279" y="connsiteY3279"/>
                </a:cxn>
                <a:cxn ang="0">
                  <a:pos x="connsiteX3280" y="connsiteY3280"/>
                </a:cxn>
                <a:cxn ang="0">
                  <a:pos x="connsiteX3281" y="connsiteY3281"/>
                </a:cxn>
                <a:cxn ang="0">
                  <a:pos x="connsiteX3282" y="connsiteY3282"/>
                </a:cxn>
                <a:cxn ang="0">
                  <a:pos x="connsiteX3283" y="connsiteY3283"/>
                </a:cxn>
                <a:cxn ang="0">
                  <a:pos x="connsiteX3284" y="connsiteY3284"/>
                </a:cxn>
                <a:cxn ang="0">
                  <a:pos x="connsiteX3285" y="connsiteY3285"/>
                </a:cxn>
                <a:cxn ang="0">
                  <a:pos x="connsiteX3286" y="connsiteY3286"/>
                </a:cxn>
                <a:cxn ang="0">
                  <a:pos x="connsiteX3287" y="connsiteY3287"/>
                </a:cxn>
                <a:cxn ang="0">
                  <a:pos x="connsiteX3288" y="connsiteY3288"/>
                </a:cxn>
                <a:cxn ang="0">
                  <a:pos x="connsiteX3289" y="connsiteY3289"/>
                </a:cxn>
                <a:cxn ang="0">
                  <a:pos x="connsiteX3290" y="connsiteY3290"/>
                </a:cxn>
                <a:cxn ang="0">
                  <a:pos x="connsiteX3291" y="connsiteY3291"/>
                </a:cxn>
                <a:cxn ang="0">
                  <a:pos x="connsiteX3292" y="connsiteY3292"/>
                </a:cxn>
                <a:cxn ang="0">
                  <a:pos x="connsiteX3293" y="connsiteY3293"/>
                </a:cxn>
                <a:cxn ang="0">
                  <a:pos x="connsiteX3294" y="connsiteY3294"/>
                </a:cxn>
                <a:cxn ang="0">
                  <a:pos x="connsiteX3295" y="connsiteY3295"/>
                </a:cxn>
                <a:cxn ang="0">
                  <a:pos x="connsiteX3296" y="connsiteY3296"/>
                </a:cxn>
                <a:cxn ang="0">
                  <a:pos x="connsiteX3297" y="connsiteY3297"/>
                </a:cxn>
                <a:cxn ang="0">
                  <a:pos x="connsiteX3298" y="connsiteY3298"/>
                </a:cxn>
                <a:cxn ang="0">
                  <a:pos x="connsiteX3299" y="connsiteY3299"/>
                </a:cxn>
                <a:cxn ang="0">
                  <a:pos x="connsiteX3300" y="connsiteY3300"/>
                </a:cxn>
                <a:cxn ang="0">
                  <a:pos x="connsiteX3301" y="connsiteY3301"/>
                </a:cxn>
                <a:cxn ang="0">
                  <a:pos x="connsiteX3302" y="connsiteY3302"/>
                </a:cxn>
                <a:cxn ang="0">
                  <a:pos x="connsiteX3303" y="connsiteY3303"/>
                </a:cxn>
                <a:cxn ang="0">
                  <a:pos x="connsiteX3304" y="connsiteY3304"/>
                </a:cxn>
                <a:cxn ang="0">
                  <a:pos x="connsiteX3305" y="connsiteY3305"/>
                </a:cxn>
                <a:cxn ang="0">
                  <a:pos x="connsiteX3306" y="connsiteY3306"/>
                </a:cxn>
                <a:cxn ang="0">
                  <a:pos x="connsiteX3307" y="connsiteY3307"/>
                </a:cxn>
                <a:cxn ang="0">
                  <a:pos x="connsiteX3308" y="connsiteY3308"/>
                </a:cxn>
                <a:cxn ang="0">
                  <a:pos x="connsiteX3309" y="connsiteY3309"/>
                </a:cxn>
                <a:cxn ang="0">
                  <a:pos x="connsiteX3310" y="connsiteY3310"/>
                </a:cxn>
                <a:cxn ang="0">
                  <a:pos x="connsiteX3311" y="connsiteY3311"/>
                </a:cxn>
                <a:cxn ang="0">
                  <a:pos x="connsiteX3312" y="connsiteY3312"/>
                </a:cxn>
                <a:cxn ang="0">
                  <a:pos x="connsiteX3313" y="connsiteY3313"/>
                </a:cxn>
                <a:cxn ang="0">
                  <a:pos x="connsiteX3314" y="connsiteY3314"/>
                </a:cxn>
                <a:cxn ang="0">
                  <a:pos x="connsiteX3315" y="connsiteY3315"/>
                </a:cxn>
                <a:cxn ang="0">
                  <a:pos x="connsiteX3316" y="connsiteY3316"/>
                </a:cxn>
                <a:cxn ang="0">
                  <a:pos x="connsiteX3317" y="connsiteY3317"/>
                </a:cxn>
                <a:cxn ang="0">
                  <a:pos x="connsiteX3318" y="connsiteY3318"/>
                </a:cxn>
                <a:cxn ang="0">
                  <a:pos x="connsiteX3319" y="connsiteY3319"/>
                </a:cxn>
                <a:cxn ang="0">
                  <a:pos x="connsiteX3320" y="connsiteY3320"/>
                </a:cxn>
                <a:cxn ang="0">
                  <a:pos x="connsiteX3321" y="connsiteY3321"/>
                </a:cxn>
                <a:cxn ang="0">
                  <a:pos x="connsiteX3322" y="connsiteY3322"/>
                </a:cxn>
                <a:cxn ang="0">
                  <a:pos x="connsiteX3323" y="connsiteY3323"/>
                </a:cxn>
                <a:cxn ang="0">
                  <a:pos x="connsiteX3324" y="connsiteY3324"/>
                </a:cxn>
                <a:cxn ang="0">
                  <a:pos x="connsiteX3325" y="connsiteY3325"/>
                </a:cxn>
                <a:cxn ang="0">
                  <a:pos x="connsiteX3326" y="connsiteY3326"/>
                </a:cxn>
                <a:cxn ang="0">
                  <a:pos x="connsiteX3327" y="connsiteY3327"/>
                </a:cxn>
                <a:cxn ang="0">
                  <a:pos x="connsiteX3328" y="connsiteY3328"/>
                </a:cxn>
                <a:cxn ang="0">
                  <a:pos x="connsiteX3329" y="connsiteY3329"/>
                </a:cxn>
                <a:cxn ang="0">
                  <a:pos x="connsiteX3330" y="connsiteY3330"/>
                </a:cxn>
                <a:cxn ang="0">
                  <a:pos x="connsiteX3331" y="connsiteY3331"/>
                </a:cxn>
                <a:cxn ang="0">
                  <a:pos x="connsiteX3332" y="connsiteY3332"/>
                </a:cxn>
                <a:cxn ang="0">
                  <a:pos x="connsiteX3333" y="connsiteY3333"/>
                </a:cxn>
                <a:cxn ang="0">
                  <a:pos x="connsiteX3334" y="connsiteY3334"/>
                </a:cxn>
                <a:cxn ang="0">
                  <a:pos x="connsiteX3335" y="connsiteY3335"/>
                </a:cxn>
                <a:cxn ang="0">
                  <a:pos x="connsiteX3336" y="connsiteY3336"/>
                </a:cxn>
                <a:cxn ang="0">
                  <a:pos x="connsiteX3337" y="connsiteY3337"/>
                </a:cxn>
                <a:cxn ang="0">
                  <a:pos x="connsiteX3338" y="connsiteY3338"/>
                </a:cxn>
                <a:cxn ang="0">
                  <a:pos x="connsiteX3339" y="connsiteY3339"/>
                </a:cxn>
                <a:cxn ang="0">
                  <a:pos x="connsiteX3340" y="connsiteY3340"/>
                </a:cxn>
                <a:cxn ang="0">
                  <a:pos x="connsiteX3341" y="connsiteY3341"/>
                </a:cxn>
                <a:cxn ang="0">
                  <a:pos x="connsiteX3342" y="connsiteY3342"/>
                </a:cxn>
                <a:cxn ang="0">
                  <a:pos x="connsiteX3343" y="connsiteY3343"/>
                </a:cxn>
                <a:cxn ang="0">
                  <a:pos x="connsiteX3344" y="connsiteY3344"/>
                </a:cxn>
                <a:cxn ang="0">
                  <a:pos x="connsiteX3345" y="connsiteY3345"/>
                </a:cxn>
                <a:cxn ang="0">
                  <a:pos x="connsiteX3346" y="connsiteY3346"/>
                </a:cxn>
                <a:cxn ang="0">
                  <a:pos x="connsiteX3347" y="connsiteY3347"/>
                </a:cxn>
                <a:cxn ang="0">
                  <a:pos x="connsiteX3348" y="connsiteY3348"/>
                </a:cxn>
                <a:cxn ang="0">
                  <a:pos x="connsiteX3349" y="connsiteY3349"/>
                </a:cxn>
                <a:cxn ang="0">
                  <a:pos x="connsiteX3350" y="connsiteY3350"/>
                </a:cxn>
                <a:cxn ang="0">
                  <a:pos x="connsiteX3351" y="connsiteY3351"/>
                </a:cxn>
                <a:cxn ang="0">
                  <a:pos x="connsiteX3352" y="connsiteY3352"/>
                </a:cxn>
                <a:cxn ang="0">
                  <a:pos x="connsiteX3353" y="connsiteY3353"/>
                </a:cxn>
                <a:cxn ang="0">
                  <a:pos x="connsiteX3354" y="connsiteY3354"/>
                </a:cxn>
                <a:cxn ang="0">
                  <a:pos x="connsiteX3355" y="connsiteY3355"/>
                </a:cxn>
                <a:cxn ang="0">
                  <a:pos x="connsiteX3356" y="connsiteY3356"/>
                </a:cxn>
                <a:cxn ang="0">
                  <a:pos x="connsiteX3357" y="connsiteY3357"/>
                </a:cxn>
                <a:cxn ang="0">
                  <a:pos x="connsiteX3358" y="connsiteY3358"/>
                </a:cxn>
                <a:cxn ang="0">
                  <a:pos x="connsiteX3359" y="connsiteY3359"/>
                </a:cxn>
                <a:cxn ang="0">
                  <a:pos x="connsiteX3360" y="connsiteY3360"/>
                </a:cxn>
                <a:cxn ang="0">
                  <a:pos x="connsiteX3361" y="connsiteY3361"/>
                </a:cxn>
                <a:cxn ang="0">
                  <a:pos x="connsiteX3362" y="connsiteY3362"/>
                </a:cxn>
                <a:cxn ang="0">
                  <a:pos x="connsiteX3363" y="connsiteY3363"/>
                </a:cxn>
                <a:cxn ang="0">
                  <a:pos x="connsiteX3364" y="connsiteY3364"/>
                </a:cxn>
                <a:cxn ang="0">
                  <a:pos x="connsiteX3365" y="connsiteY3365"/>
                </a:cxn>
                <a:cxn ang="0">
                  <a:pos x="connsiteX3366" y="connsiteY3366"/>
                </a:cxn>
                <a:cxn ang="0">
                  <a:pos x="connsiteX3367" y="connsiteY3367"/>
                </a:cxn>
                <a:cxn ang="0">
                  <a:pos x="connsiteX3368" y="connsiteY3368"/>
                </a:cxn>
                <a:cxn ang="0">
                  <a:pos x="connsiteX3369" y="connsiteY3369"/>
                </a:cxn>
                <a:cxn ang="0">
                  <a:pos x="connsiteX3370" y="connsiteY3370"/>
                </a:cxn>
                <a:cxn ang="0">
                  <a:pos x="connsiteX3371" y="connsiteY3371"/>
                </a:cxn>
                <a:cxn ang="0">
                  <a:pos x="connsiteX3372" y="connsiteY3372"/>
                </a:cxn>
                <a:cxn ang="0">
                  <a:pos x="connsiteX3373" y="connsiteY3373"/>
                </a:cxn>
                <a:cxn ang="0">
                  <a:pos x="connsiteX3374" y="connsiteY3374"/>
                </a:cxn>
                <a:cxn ang="0">
                  <a:pos x="connsiteX3375" y="connsiteY3375"/>
                </a:cxn>
                <a:cxn ang="0">
                  <a:pos x="connsiteX3376" y="connsiteY3376"/>
                </a:cxn>
                <a:cxn ang="0">
                  <a:pos x="connsiteX3377" y="connsiteY3377"/>
                </a:cxn>
                <a:cxn ang="0">
                  <a:pos x="connsiteX3378" y="connsiteY3378"/>
                </a:cxn>
                <a:cxn ang="0">
                  <a:pos x="connsiteX3379" y="connsiteY3379"/>
                </a:cxn>
                <a:cxn ang="0">
                  <a:pos x="connsiteX3380" y="connsiteY3380"/>
                </a:cxn>
                <a:cxn ang="0">
                  <a:pos x="connsiteX3381" y="connsiteY3381"/>
                </a:cxn>
                <a:cxn ang="0">
                  <a:pos x="connsiteX3382" y="connsiteY3382"/>
                </a:cxn>
                <a:cxn ang="0">
                  <a:pos x="connsiteX3383" y="connsiteY3383"/>
                </a:cxn>
                <a:cxn ang="0">
                  <a:pos x="connsiteX3384" y="connsiteY3384"/>
                </a:cxn>
                <a:cxn ang="0">
                  <a:pos x="connsiteX3385" y="connsiteY3385"/>
                </a:cxn>
                <a:cxn ang="0">
                  <a:pos x="connsiteX3386" y="connsiteY3386"/>
                </a:cxn>
                <a:cxn ang="0">
                  <a:pos x="connsiteX3387" y="connsiteY3387"/>
                </a:cxn>
                <a:cxn ang="0">
                  <a:pos x="connsiteX3388" y="connsiteY3388"/>
                </a:cxn>
                <a:cxn ang="0">
                  <a:pos x="connsiteX3389" y="connsiteY3389"/>
                </a:cxn>
                <a:cxn ang="0">
                  <a:pos x="connsiteX3390" y="connsiteY3390"/>
                </a:cxn>
                <a:cxn ang="0">
                  <a:pos x="connsiteX3391" y="connsiteY3391"/>
                </a:cxn>
                <a:cxn ang="0">
                  <a:pos x="connsiteX3392" y="connsiteY3392"/>
                </a:cxn>
                <a:cxn ang="0">
                  <a:pos x="connsiteX3393" y="connsiteY3393"/>
                </a:cxn>
                <a:cxn ang="0">
                  <a:pos x="connsiteX3394" y="connsiteY3394"/>
                </a:cxn>
                <a:cxn ang="0">
                  <a:pos x="connsiteX3395" y="connsiteY3395"/>
                </a:cxn>
                <a:cxn ang="0">
                  <a:pos x="connsiteX3396" y="connsiteY3396"/>
                </a:cxn>
                <a:cxn ang="0">
                  <a:pos x="connsiteX3397" y="connsiteY3397"/>
                </a:cxn>
                <a:cxn ang="0">
                  <a:pos x="connsiteX3398" y="connsiteY3398"/>
                </a:cxn>
                <a:cxn ang="0">
                  <a:pos x="connsiteX3399" y="connsiteY3399"/>
                </a:cxn>
                <a:cxn ang="0">
                  <a:pos x="connsiteX3400" y="connsiteY3400"/>
                </a:cxn>
                <a:cxn ang="0">
                  <a:pos x="connsiteX3401" y="connsiteY3401"/>
                </a:cxn>
                <a:cxn ang="0">
                  <a:pos x="connsiteX3402" y="connsiteY3402"/>
                </a:cxn>
                <a:cxn ang="0">
                  <a:pos x="connsiteX3403" y="connsiteY3403"/>
                </a:cxn>
                <a:cxn ang="0">
                  <a:pos x="connsiteX3404" y="connsiteY3404"/>
                </a:cxn>
                <a:cxn ang="0">
                  <a:pos x="connsiteX3405" y="connsiteY3405"/>
                </a:cxn>
                <a:cxn ang="0">
                  <a:pos x="connsiteX3406" y="connsiteY3406"/>
                </a:cxn>
                <a:cxn ang="0">
                  <a:pos x="connsiteX3407" y="connsiteY3407"/>
                </a:cxn>
                <a:cxn ang="0">
                  <a:pos x="connsiteX3408" y="connsiteY3408"/>
                </a:cxn>
                <a:cxn ang="0">
                  <a:pos x="connsiteX3409" y="connsiteY3409"/>
                </a:cxn>
                <a:cxn ang="0">
                  <a:pos x="connsiteX3410" y="connsiteY3410"/>
                </a:cxn>
                <a:cxn ang="0">
                  <a:pos x="connsiteX3411" y="connsiteY3411"/>
                </a:cxn>
                <a:cxn ang="0">
                  <a:pos x="connsiteX3412" y="connsiteY3412"/>
                </a:cxn>
                <a:cxn ang="0">
                  <a:pos x="connsiteX3413" y="connsiteY3413"/>
                </a:cxn>
                <a:cxn ang="0">
                  <a:pos x="connsiteX3414" y="connsiteY3414"/>
                </a:cxn>
                <a:cxn ang="0">
                  <a:pos x="connsiteX3415" y="connsiteY3415"/>
                </a:cxn>
                <a:cxn ang="0">
                  <a:pos x="connsiteX3416" y="connsiteY3416"/>
                </a:cxn>
                <a:cxn ang="0">
                  <a:pos x="connsiteX3417" y="connsiteY3417"/>
                </a:cxn>
                <a:cxn ang="0">
                  <a:pos x="connsiteX3418" y="connsiteY3418"/>
                </a:cxn>
                <a:cxn ang="0">
                  <a:pos x="connsiteX3419" y="connsiteY3419"/>
                </a:cxn>
                <a:cxn ang="0">
                  <a:pos x="connsiteX3420" y="connsiteY3420"/>
                </a:cxn>
                <a:cxn ang="0">
                  <a:pos x="connsiteX3421" y="connsiteY3421"/>
                </a:cxn>
                <a:cxn ang="0">
                  <a:pos x="connsiteX3422" y="connsiteY3422"/>
                </a:cxn>
                <a:cxn ang="0">
                  <a:pos x="connsiteX3423" y="connsiteY3423"/>
                </a:cxn>
                <a:cxn ang="0">
                  <a:pos x="connsiteX3424" y="connsiteY3424"/>
                </a:cxn>
                <a:cxn ang="0">
                  <a:pos x="connsiteX3425" y="connsiteY3425"/>
                </a:cxn>
                <a:cxn ang="0">
                  <a:pos x="connsiteX3426" y="connsiteY3426"/>
                </a:cxn>
                <a:cxn ang="0">
                  <a:pos x="connsiteX3427" y="connsiteY3427"/>
                </a:cxn>
                <a:cxn ang="0">
                  <a:pos x="connsiteX3428" y="connsiteY3428"/>
                </a:cxn>
                <a:cxn ang="0">
                  <a:pos x="connsiteX3429" y="connsiteY3429"/>
                </a:cxn>
                <a:cxn ang="0">
                  <a:pos x="connsiteX3430" y="connsiteY3430"/>
                </a:cxn>
                <a:cxn ang="0">
                  <a:pos x="connsiteX3431" y="connsiteY3431"/>
                </a:cxn>
                <a:cxn ang="0">
                  <a:pos x="connsiteX3432" y="connsiteY3432"/>
                </a:cxn>
                <a:cxn ang="0">
                  <a:pos x="connsiteX3433" y="connsiteY3433"/>
                </a:cxn>
                <a:cxn ang="0">
                  <a:pos x="connsiteX3434" y="connsiteY3434"/>
                </a:cxn>
                <a:cxn ang="0">
                  <a:pos x="connsiteX3435" y="connsiteY3435"/>
                </a:cxn>
                <a:cxn ang="0">
                  <a:pos x="connsiteX3436" y="connsiteY3436"/>
                </a:cxn>
                <a:cxn ang="0">
                  <a:pos x="connsiteX3437" y="connsiteY3437"/>
                </a:cxn>
                <a:cxn ang="0">
                  <a:pos x="connsiteX3438" y="connsiteY3438"/>
                </a:cxn>
                <a:cxn ang="0">
                  <a:pos x="connsiteX3439" y="connsiteY3439"/>
                </a:cxn>
                <a:cxn ang="0">
                  <a:pos x="connsiteX3440" y="connsiteY3440"/>
                </a:cxn>
                <a:cxn ang="0">
                  <a:pos x="connsiteX3441" y="connsiteY3441"/>
                </a:cxn>
                <a:cxn ang="0">
                  <a:pos x="connsiteX3442" y="connsiteY3442"/>
                </a:cxn>
                <a:cxn ang="0">
                  <a:pos x="connsiteX3443" y="connsiteY3443"/>
                </a:cxn>
                <a:cxn ang="0">
                  <a:pos x="connsiteX3444" y="connsiteY3444"/>
                </a:cxn>
                <a:cxn ang="0">
                  <a:pos x="connsiteX3445" y="connsiteY3445"/>
                </a:cxn>
                <a:cxn ang="0">
                  <a:pos x="connsiteX3446" y="connsiteY3446"/>
                </a:cxn>
                <a:cxn ang="0">
                  <a:pos x="connsiteX3447" y="connsiteY3447"/>
                </a:cxn>
                <a:cxn ang="0">
                  <a:pos x="connsiteX3448" y="connsiteY3448"/>
                </a:cxn>
                <a:cxn ang="0">
                  <a:pos x="connsiteX3449" y="connsiteY3449"/>
                </a:cxn>
                <a:cxn ang="0">
                  <a:pos x="connsiteX3450" y="connsiteY3450"/>
                </a:cxn>
                <a:cxn ang="0">
                  <a:pos x="connsiteX3451" y="connsiteY3451"/>
                </a:cxn>
                <a:cxn ang="0">
                  <a:pos x="connsiteX3452" y="connsiteY3452"/>
                </a:cxn>
                <a:cxn ang="0">
                  <a:pos x="connsiteX3453" y="connsiteY3453"/>
                </a:cxn>
                <a:cxn ang="0">
                  <a:pos x="connsiteX3454" y="connsiteY3454"/>
                </a:cxn>
                <a:cxn ang="0">
                  <a:pos x="connsiteX3455" y="connsiteY3455"/>
                </a:cxn>
                <a:cxn ang="0">
                  <a:pos x="connsiteX3456" y="connsiteY3456"/>
                </a:cxn>
                <a:cxn ang="0">
                  <a:pos x="connsiteX3457" y="connsiteY3457"/>
                </a:cxn>
                <a:cxn ang="0">
                  <a:pos x="connsiteX3458" y="connsiteY3458"/>
                </a:cxn>
                <a:cxn ang="0">
                  <a:pos x="connsiteX3459" y="connsiteY3459"/>
                </a:cxn>
                <a:cxn ang="0">
                  <a:pos x="connsiteX3460" y="connsiteY3460"/>
                </a:cxn>
                <a:cxn ang="0">
                  <a:pos x="connsiteX3461" y="connsiteY3461"/>
                </a:cxn>
                <a:cxn ang="0">
                  <a:pos x="connsiteX3462" y="connsiteY3462"/>
                </a:cxn>
                <a:cxn ang="0">
                  <a:pos x="connsiteX3463" y="connsiteY3463"/>
                </a:cxn>
                <a:cxn ang="0">
                  <a:pos x="connsiteX3464" y="connsiteY3464"/>
                </a:cxn>
                <a:cxn ang="0">
                  <a:pos x="connsiteX3465" y="connsiteY3465"/>
                </a:cxn>
                <a:cxn ang="0">
                  <a:pos x="connsiteX3466" y="connsiteY3466"/>
                </a:cxn>
                <a:cxn ang="0">
                  <a:pos x="connsiteX3467" y="connsiteY3467"/>
                </a:cxn>
                <a:cxn ang="0">
                  <a:pos x="connsiteX3468" y="connsiteY3468"/>
                </a:cxn>
                <a:cxn ang="0">
                  <a:pos x="connsiteX3469" y="connsiteY3469"/>
                </a:cxn>
                <a:cxn ang="0">
                  <a:pos x="connsiteX3470" y="connsiteY3470"/>
                </a:cxn>
                <a:cxn ang="0">
                  <a:pos x="connsiteX3471" y="connsiteY3471"/>
                </a:cxn>
                <a:cxn ang="0">
                  <a:pos x="connsiteX3472" y="connsiteY3472"/>
                </a:cxn>
                <a:cxn ang="0">
                  <a:pos x="connsiteX3473" y="connsiteY3473"/>
                </a:cxn>
                <a:cxn ang="0">
                  <a:pos x="connsiteX3474" y="connsiteY3474"/>
                </a:cxn>
                <a:cxn ang="0">
                  <a:pos x="connsiteX3475" y="connsiteY3475"/>
                </a:cxn>
                <a:cxn ang="0">
                  <a:pos x="connsiteX3476" y="connsiteY3476"/>
                </a:cxn>
                <a:cxn ang="0">
                  <a:pos x="connsiteX3477" y="connsiteY3477"/>
                </a:cxn>
                <a:cxn ang="0">
                  <a:pos x="connsiteX3478" y="connsiteY3478"/>
                </a:cxn>
                <a:cxn ang="0">
                  <a:pos x="connsiteX3479" y="connsiteY3479"/>
                </a:cxn>
                <a:cxn ang="0">
                  <a:pos x="connsiteX3480" y="connsiteY3480"/>
                </a:cxn>
                <a:cxn ang="0">
                  <a:pos x="connsiteX3481" y="connsiteY3481"/>
                </a:cxn>
                <a:cxn ang="0">
                  <a:pos x="connsiteX3482" y="connsiteY3482"/>
                </a:cxn>
                <a:cxn ang="0">
                  <a:pos x="connsiteX3483" y="connsiteY3483"/>
                </a:cxn>
                <a:cxn ang="0">
                  <a:pos x="connsiteX3484" y="connsiteY3484"/>
                </a:cxn>
                <a:cxn ang="0">
                  <a:pos x="connsiteX3485" y="connsiteY3485"/>
                </a:cxn>
                <a:cxn ang="0">
                  <a:pos x="connsiteX3486" y="connsiteY3486"/>
                </a:cxn>
                <a:cxn ang="0">
                  <a:pos x="connsiteX3487" y="connsiteY3487"/>
                </a:cxn>
                <a:cxn ang="0">
                  <a:pos x="connsiteX3488" y="connsiteY3488"/>
                </a:cxn>
                <a:cxn ang="0">
                  <a:pos x="connsiteX3489" y="connsiteY3489"/>
                </a:cxn>
                <a:cxn ang="0">
                  <a:pos x="connsiteX3490" y="connsiteY3490"/>
                </a:cxn>
                <a:cxn ang="0">
                  <a:pos x="connsiteX3491" y="connsiteY3491"/>
                </a:cxn>
                <a:cxn ang="0">
                  <a:pos x="connsiteX3492" y="connsiteY3492"/>
                </a:cxn>
                <a:cxn ang="0">
                  <a:pos x="connsiteX3493" y="connsiteY3493"/>
                </a:cxn>
                <a:cxn ang="0">
                  <a:pos x="connsiteX3494" y="connsiteY3494"/>
                </a:cxn>
                <a:cxn ang="0">
                  <a:pos x="connsiteX3495" y="connsiteY3495"/>
                </a:cxn>
                <a:cxn ang="0">
                  <a:pos x="connsiteX3496" y="connsiteY3496"/>
                </a:cxn>
                <a:cxn ang="0">
                  <a:pos x="connsiteX3497" y="connsiteY3497"/>
                </a:cxn>
                <a:cxn ang="0">
                  <a:pos x="connsiteX3498" y="connsiteY3498"/>
                </a:cxn>
                <a:cxn ang="0">
                  <a:pos x="connsiteX3499" y="connsiteY3499"/>
                </a:cxn>
                <a:cxn ang="0">
                  <a:pos x="connsiteX3500" y="connsiteY3500"/>
                </a:cxn>
                <a:cxn ang="0">
                  <a:pos x="connsiteX3501" y="connsiteY3501"/>
                </a:cxn>
                <a:cxn ang="0">
                  <a:pos x="connsiteX3502" y="connsiteY3502"/>
                </a:cxn>
                <a:cxn ang="0">
                  <a:pos x="connsiteX3503" y="connsiteY3503"/>
                </a:cxn>
                <a:cxn ang="0">
                  <a:pos x="connsiteX3504" y="connsiteY3504"/>
                </a:cxn>
                <a:cxn ang="0">
                  <a:pos x="connsiteX3505" y="connsiteY3505"/>
                </a:cxn>
                <a:cxn ang="0">
                  <a:pos x="connsiteX3506" y="connsiteY3506"/>
                </a:cxn>
                <a:cxn ang="0">
                  <a:pos x="connsiteX3507" y="connsiteY3507"/>
                </a:cxn>
                <a:cxn ang="0">
                  <a:pos x="connsiteX3508" y="connsiteY3508"/>
                </a:cxn>
                <a:cxn ang="0">
                  <a:pos x="connsiteX3509" y="connsiteY3509"/>
                </a:cxn>
                <a:cxn ang="0">
                  <a:pos x="connsiteX3510" y="connsiteY3510"/>
                </a:cxn>
                <a:cxn ang="0">
                  <a:pos x="connsiteX3511" y="connsiteY3511"/>
                </a:cxn>
                <a:cxn ang="0">
                  <a:pos x="connsiteX3512" y="connsiteY3512"/>
                </a:cxn>
                <a:cxn ang="0">
                  <a:pos x="connsiteX3513" y="connsiteY3513"/>
                </a:cxn>
                <a:cxn ang="0">
                  <a:pos x="connsiteX3514" y="connsiteY3514"/>
                </a:cxn>
                <a:cxn ang="0">
                  <a:pos x="connsiteX3515" y="connsiteY3515"/>
                </a:cxn>
                <a:cxn ang="0">
                  <a:pos x="connsiteX3516" y="connsiteY3516"/>
                </a:cxn>
                <a:cxn ang="0">
                  <a:pos x="connsiteX3517" y="connsiteY3517"/>
                </a:cxn>
                <a:cxn ang="0">
                  <a:pos x="connsiteX3518" y="connsiteY3518"/>
                </a:cxn>
                <a:cxn ang="0">
                  <a:pos x="connsiteX3519" y="connsiteY3519"/>
                </a:cxn>
                <a:cxn ang="0">
                  <a:pos x="connsiteX3520" y="connsiteY3520"/>
                </a:cxn>
                <a:cxn ang="0">
                  <a:pos x="connsiteX3521" y="connsiteY3521"/>
                </a:cxn>
                <a:cxn ang="0">
                  <a:pos x="connsiteX3522" y="connsiteY3522"/>
                </a:cxn>
                <a:cxn ang="0">
                  <a:pos x="connsiteX3523" y="connsiteY3523"/>
                </a:cxn>
                <a:cxn ang="0">
                  <a:pos x="connsiteX3524" y="connsiteY3524"/>
                </a:cxn>
                <a:cxn ang="0">
                  <a:pos x="connsiteX3525" y="connsiteY3525"/>
                </a:cxn>
                <a:cxn ang="0">
                  <a:pos x="connsiteX3526" y="connsiteY3526"/>
                </a:cxn>
                <a:cxn ang="0">
                  <a:pos x="connsiteX3527" y="connsiteY3527"/>
                </a:cxn>
                <a:cxn ang="0">
                  <a:pos x="connsiteX3528" y="connsiteY3528"/>
                </a:cxn>
                <a:cxn ang="0">
                  <a:pos x="connsiteX3529" y="connsiteY3529"/>
                </a:cxn>
                <a:cxn ang="0">
                  <a:pos x="connsiteX3530" y="connsiteY3530"/>
                </a:cxn>
                <a:cxn ang="0">
                  <a:pos x="connsiteX3531" y="connsiteY3531"/>
                </a:cxn>
                <a:cxn ang="0">
                  <a:pos x="connsiteX3532" y="connsiteY3532"/>
                </a:cxn>
                <a:cxn ang="0">
                  <a:pos x="connsiteX3533" y="connsiteY3533"/>
                </a:cxn>
                <a:cxn ang="0">
                  <a:pos x="connsiteX3534" y="connsiteY3534"/>
                </a:cxn>
                <a:cxn ang="0">
                  <a:pos x="connsiteX3535" y="connsiteY3535"/>
                </a:cxn>
                <a:cxn ang="0">
                  <a:pos x="connsiteX3536" y="connsiteY3536"/>
                </a:cxn>
                <a:cxn ang="0">
                  <a:pos x="connsiteX3537" y="connsiteY3537"/>
                </a:cxn>
                <a:cxn ang="0">
                  <a:pos x="connsiteX3538" y="connsiteY3538"/>
                </a:cxn>
                <a:cxn ang="0">
                  <a:pos x="connsiteX3539" y="connsiteY3539"/>
                </a:cxn>
                <a:cxn ang="0">
                  <a:pos x="connsiteX3540" y="connsiteY3540"/>
                </a:cxn>
                <a:cxn ang="0">
                  <a:pos x="connsiteX3541" y="connsiteY3541"/>
                </a:cxn>
                <a:cxn ang="0">
                  <a:pos x="connsiteX3542" y="connsiteY3542"/>
                </a:cxn>
                <a:cxn ang="0">
                  <a:pos x="connsiteX3543" y="connsiteY3543"/>
                </a:cxn>
                <a:cxn ang="0">
                  <a:pos x="connsiteX3544" y="connsiteY3544"/>
                </a:cxn>
                <a:cxn ang="0">
                  <a:pos x="connsiteX3545" y="connsiteY3545"/>
                </a:cxn>
                <a:cxn ang="0">
                  <a:pos x="connsiteX3546" y="connsiteY3546"/>
                </a:cxn>
                <a:cxn ang="0">
                  <a:pos x="connsiteX3547" y="connsiteY3547"/>
                </a:cxn>
                <a:cxn ang="0">
                  <a:pos x="connsiteX3548" y="connsiteY3548"/>
                </a:cxn>
                <a:cxn ang="0">
                  <a:pos x="connsiteX3549" y="connsiteY3549"/>
                </a:cxn>
                <a:cxn ang="0">
                  <a:pos x="connsiteX3550" y="connsiteY3550"/>
                </a:cxn>
                <a:cxn ang="0">
                  <a:pos x="connsiteX3551" y="connsiteY3551"/>
                </a:cxn>
                <a:cxn ang="0">
                  <a:pos x="connsiteX3552" y="connsiteY3552"/>
                </a:cxn>
                <a:cxn ang="0">
                  <a:pos x="connsiteX3553" y="connsiteY3553"/>
                </a:cxn>
                <a:cxn ang="0">
                  <a:pos x="connsiteX3554" y="connsiteY3554"/>
                </a:cxn>
                <a:cxn ang="0">
                  <a:pos x="connsiteX3555" y="connsiteY3555"/>
                </a:cxn>
                <a:cxn ang="0">
                  <a:pos x="connsiteX3556" y="connsiteY3556"/>
                </a:cxn>
                <a:cxn ang="0">
                  <a:pos x="connsiteX3557" y="connsiteY3557"/>
                </a:cxn>
                <a:cxn ang="0">
                  <a:pos x="connsiteX3558" y="connsiteY3558"/>
                </a:cxn>
                <a:cxn ang="0">
                  <a:pos x="connsiteX3559" y="connsiteY3559"/>
                </a:cxn>
                <a:cxn ang="0">
                  <a:pos x="connsiteX3560" y="connsiteY3560"/>
                </a:cxn>
                <a:cxn ang="0">
                  <a:pos x="connsiteX3561" y="connsiteY3561"/>
                </a:cxn>
                <a:cxn ang="0">
                  <a:pos x="connsiteX3562" y="connsiteY3562"/>
                </a:cxn>
                <a:cxn ang="0">
                  <a:pos x="connsiteX3563" y="connsiteY3563"/>
                </a:cxn>
                <a:cxn ang="0">
                  <a:pos x="connsiteX3564" y="connsiteY3564"/>
                </a:cxn>
                <a:cxn ang="0">
                  <a:pos x="connsiteX3565" y="connsiteY3565"/>
                </a:cxn>
                <a:cxn ang="0">
                  <a:pos x="connsiteX3566" y="connsiteY3566"/>
                </a:cxn>
                <a:cxn ang="0">
                  <a:pos x="connsiteX3567" y="connsiteY3567"/>
                </a:cxn>
                <a:cxn ang="0">
                  <a:pos x="connsiteX3568" y="connsiteY3568"/>
                </a:cxn>
                <a:cxn ang="0">
                  <a:pos x="connsiteX3569" y="connsiteY3569"/>
                </a:cxn>
                <a:cxn ang="0">
                  <a:pos x="connsiteX3570" y="connsiteY3570"/>
                </a:cxn>
                <a:cxn ang="0">
                  <a:pos x="connsiteX3571" y="connsiteY3571"/>
                </a:cxn>
                <a:cxn ang="0">
                  <a:pos x="connsiteX3572" y="connsiteY3572"/>
                </a:cxn>
                <a:cxn ang="0">
                  <a:pos x="connsiteX3573" y="connsiteY3573"/>
                </a:cxn>
                <a:cxn ang="0">
                  <a:pos x="connsiteX3574" y="connsiteY3574"/>
                </a:cxn>
                <a:cxn ang="0">
                  <a:pos x="connsiteX3575" y="connsiteY3575"/>
                </a:cxn>
                <a:cxn ang="0">
                  <a:pos x="connsiteX3576" y="connsiteY3576"/>
                </a:cxn>
                <a:cxn ang="0">
                  <a:pos x="connsiteX3577" y="connsiteY3577"/>
                </a:cxn>
                <a:cxn ang="0">
                  <a:pos x="connsiteX3578" y="connsiteY3578"/>
                </a:cxn>
                <a:cxn ang="0">
                  <a:pos x="connsiteX3579" y="connsiteY3579"/>
                </a:cxn>
                <a:cxn ang="0">
                  <a:pos x="connsiteX3580" y="connsiteY3580"/>
                </a:cxn>
                <a:cxn ang="0">
                  <a:pos x="connsiteX3581" y="connsiteY3581"/>
                </a:cxn>
                <a:cxn ang="0">
                  <a:pos x="connsiteX3582" y="connsiteY3582"/>
                </a:cxn>
                <a:cxn ang="0">
                  <a:pos x="connsiteX3583" y="connsiteY3583"/>
                </a:cxn>
                <a:cxn ang="0">
                  <a:pos x="connsiteX3584" y="connsiteY3584"/>
                </a:cxn>
                <a:cxn ang="0">
                  <a:pos x="connsiteX3585" y="connsiteY3585"/>
                </a:cxn>
                <a:cxn ang="0">
                  <a:pos x="connsiteX3586" y="connsiteY3586"/>
                </a:cxn>
                <a:cxn ang="0">
                  <a:pos x="connsiteX3587" y="connsiteY3587"/>
                </a:cxn>
                <a:cxn ang="0">
                  <a:pos x="connsiteX3588" y="connsiteY3588"/>
                </a:cxn>
                <a:cxn ang="0">
                  <a:pos x="connsiteX3589" y="connsiteY3589"/>
                </a:cxn>
                <a:cxn ang="0">
                  <a:pos x="connsiteX3590" y="connsiteY3590"/>
                </a:cxn>
                <a:cxn ang="0">
                  <a:pos x="connsiteX3591" y="connsiteY3591"/>
                </a:cxn>
                <a:cxn ang="0">
                  <a:pos x="connsiteX3592" y="connsiteY3592"/>
                </a:cxn>
                <a:cxn ang="0">
                  <a:pos x="connsiteX3593" y="connsiteY3593"/>
                </a:cxn>
                <a:cxn ang="0">
                  <a:pos x="connsiteX3594" y="connsiteY3594"/>
                </a:cxn>
                <a:cxn ang="0">
                  <a:pos x="connsiteX3595" y="connsiteY3595"/>
                </a:cxn>
                <a:cxn ang="0">
                  <a:pos x="connsiteX3596" y="connsiteY3596"/>
                </a:cxn>
                <a:cxn ang="0">
                  <a:pos x="connsiteX3597" y="connsiteY3597"/>
                </a:cxn>
                <a:cxn ang="0">
                  <a:pos x="connsiteX3598" y="connsiteY3598"/>
                </a:cxn>
                <a:cxn ang="0">
                  <a:pos x="connsiteX3599" y="connsiteY3599"/>
                </a:cxn>
                <a:cxn ang="0">
                  <a:pos x="connsiteX3600" y="connsiteY3600"/>
                </a:cxn>
                <a:cxn ang="0">
                  <a:pos x="connsiteX3601" y="connsiteY3601"/>
                </a:cxn>
                <a:cxn ang="0">
                  <a:pos x="connsiteX3602" y="connsiteY3602"/>
                </a:cxn>
                <a:cxn ang="0">
                  <a:pos x="connsiteX3603" y="connsiteY3603"/>
                </a:cxn>
                <a:cxn ang="0">
                  <a:pos x="connsiteX3604" y="connsiteY3604"/>
                </a:cxn>
                <a:cxn ang="0">
                  <a:pos x="connsiteX3605" y="connsiteY3605"/>
                </a:cxn>
                <a:cxn ang="0">
                  <a:pos x="connsiteX3606" y="connsiteY3606"/>
                </a:cxn>
                <a:cxn ang="0">
                  <a:pos x="connsiteX3607" y="connsiteY3607"/>
                </a:cxn>
                <a:cxn ang="0">
                  <a:pos x="connsiteX3608" y="connsiteY3608"/>
                </a:cxn>
                <a:cxn ang="0">
                  <a:pos x="connsiteX3609" y="connsiteY3609"/>
                </a:cxn>
                <a:cxn ang="0">
                  <a:pos x="connsiteX3610" y="connsiteY3610"/>
                </a:cxn>
                <a:cxn ang="0">
                  <a:pos x="connsiteX3611" y="connsiteY3611"/>
                </a:cxn>
                <a:cxn ang="0">
                  <a:pos x="connsiteX3612" y="connsiteY3612"/>
                </a:cxn>
                <a:cxn ang="0">
                  <a:pos x="connsiteX3613" y="connsiteY3613"/>
                </a:cxn>
                <a:cxn ang="0">
                  <a:pos x="connsiteX3614" y="connsiteY3614"/>
                </a:cxn>
                <a:cxn ang="0">
                  <a:pos x="connsiteX3615" y="connsiteY3615"/>
                </a:cxn>
                <a:cxn ang="0">
                  <a:pos x="connsiteX3616" y="connsiteY3616"/>
                </a:cxn>
                <a:cxn ang="0">
                  <a:pos x="connsiteX3617" y="connsiteY3617"/>
                </a:cxn>
                <a:cxn ang="0">
                  <a:pos x="connsiteX3618" y="connsiteY3618"/>
                </a:cxn>
                <a:cxn ang="0">
                  <a:pos x="connsiteX3619" y="connsiteY3619"/>
                </a:cxn>
                <a:cxn ang="0">
                  <a:pos x="connsiteX3620" y="connsiteY3620"/>
                </a:cxn>
                <a:cxn ang="0">
                  <a:pos x="connsiteX3621" y="connsiteY3621"/>
                </a:cxn>
                <a:cxn ang="0">
                  <a:pos x="connsiteX3622" y="connsiteY3622"/>
                </a:cxn>
                <a:cxn ang="0">
                  <a:pos x="connsiteX3623" y="connsiteY3623"/>
                </a:cxn>
                <a:cxn ang="0">
                  <a:pos x="connsiteX3624" y="connsiteY3624"/>
                </a:cxn>
                <a:cxn ang="0">
                  <a:pos x="connsiteX3625" y="connsiteY3625"/>
                </a:cxn>
                <a:cxn ang="0">
                  <a:pos x="connsiteX3626" y="connsiteY3626"/>
                </a:cxn>
                <a:cxn ang="0">
                  <a:pos x="connsiteX3627" y="connsiteY3627"/>
                </a:cxn>
                <a:cxn ang="0">
                  <a:pos x="connsiteX3628" y="connsiteY3628"/>
                </a:cxn>
                <a:cxn ang="0">
                  <a:pos x="connsiteX3629" y="connsiteY3629"/>
                </a:cxn>
                <a:cxn ang="0">
                  <a:pos x="connsiteX3630" y="connsiteY3630"/>
                </a:cxn>
                <a:cxn ang="0">
                  <a:pos x="connsiteX3631" y="connsiteY3631"/>
                </a:cxn>
                <a:cxn ang="0">
                  <a:pos x="connsiteX3632" y="connsiteY3632"/>
                </a:cxn>
                <a:cxn ang="0">
                  <a:pos x="connsiteX3633" y="connsiteY3633"/>
                </a:cxn>
                <a:cxn ang="0">
                  <a:pos x="connsiteX3634" y="connsiteY3634"/>
                </a:cxn>
                <a:cxn ang="0">
                  <a:pos x="connsiteX3635" y="connsiteY3635"/>
                </a:cxn>
                <a:cxn ang="0">
                  <a:pos x="connsiteX3636" y="connsiteY3636"/>
                </a:cxn>
                <a:cxn ang="0">
                  <a:pos x="connsiteX3637" y="connsiteY3637"/>
                </a:cxn>
                <a:cxn ang="0">
                  <a:pos x="connsiteX3638" y="connsiteY3638"/>
                </a:cxn>
                <a:cxn ang="0">
                  <a:pos x="connsiteX3639" y="connsiteY3639"/>
                </a:cxn>
                <a:cxn ang="0">
                  <a:pos x="connsiteX3640" y="connsiteY3640"/>
                </a:cxn>
                <a:cxn ang="0">
                  <a:pos x="connsiteX3641" y="connsiteY3641"/>
                </a:cxn>
                <a:cxn ang="0">
                  <a:pos x="connsiteX3642" y="connsiteY3642"/>
                </a:cxn>
                <a:cxn ang="0">
                  <a:pos x="connsiteX3643" y="connsiteY3643"/>
                </a:cxn>
                <a:cxn ang="0">
                  <a:pos x="connsiteX3644" y="connsiteY3644"/>
                </a:cxn>
                <a:cxn ang="0">
                  <a:pos x="connsiteX3645" y="connsiteY3645"/>
                </a:cxn>
                <a:cxn ang="0">
                  <a:pos x="connsiteX3646" y="connsiteY3646"/>
                </a:cxn>
                <a:cxn ang="0">
                  <a:pos x="connsiteX3647" y="connsiteY3647"/>
                </a:cxn>
                <a:cxn ang="0">
                  <a:pos x="connsiteX3648" y="connsiteY3648"/>
                </a:cxn>
                <a:cxn ang="0">
                  <a:pos x="connsiteX3649" y="connsiteY3649"/>
                </a:cxn>
                <a:cxn ang="0">
                  <a:pos x="connsiteX3650" y="connsiteY3650"/>
                </a:cxn>
                <a:cxn ang="0">
                  <a:pos x="connsiteX3651" y="connsiteY3651"/>
                </a:cxn>
                <a:cxn ang="0">
                  <a:pos x="connsiteX3652" y="connsiteY3652"/>
                </a:cxn>
                <a:cxn ang="0">
                  <a:pos x="connsiteX3653" y="connsiteY3653"/>
                </a:cxn>
                <a:cxn ang="0">
                  <a:pos x="connsiteX3654" y="connsiteY3654"/>
                </a:cxn>
                <a:cxn ang="0">
                  <a:pos x="connsiteX3655" y="connsiteY3655"/>
                </a:cxn>
                <a:cxn ang="0">
                  <a:pos x="connsiteX3656" y="connsiteY3656"/>
                </a:cxn>
                <a:cxn ang="0">
                  <a:pos x="connsiteX3657" y="connsiteY3657"/>
                </a:cxn>
                <a:cxn ang="0">
                  <a:pos x="connsiteX3658" y="connsiteY3658"/>
                </a:cxn>
                <a:cxn ang="0">
                  <a:pos x="connsiteX3659" y="connsiteY3659"/>
                </a:cxn>
                <a:cxn ang="0">
                  <a:pos x="connsiteX3660" y="connsiteY3660"/>
                </a:cxn>
                <a:cxn ang="0">
                  <a:pos x="connsiteX3661" y="connsiteY3661"/>
                </a:cxn>
                <a:cxn ang="0">
                  <a:pos x="connsiteX3662" y="connsiteY3662"/>
                </a:cxn>
                <a:cxn ang="0">
                  <a:pos x="connsiteX3663" y="connsiteY3663"/>
                </a:cxn>
                <a:cxn ang="0">
                  <a:pos x="connsiteX3664" y="connsiteY3664"/>
                </a:cxn>
                <a:cxn ang="0">
                  <a:pos x="connsiteX3665" y="connsiteY3665"/>
                </a:cxn>
                <a:cxn ang="0">
                  <a:pos x="connsiteX3666" y="connsiteY3666"/>
                </a:cxn>
                <a:cxn ang="0">
                  <a:pos x="connsiteX3667" y="connsiteY3667"/>
                </a:cxn>
                <a:cxn ang="0">
                  <a:pos x="connsiteX3668" y="connsiteY3668"/>
                </a:cxn>
                <a:cxn ang="0">
                  <a:pos x="connsiteX3669" y="connsiteY3669"/>
                </a:cxn>
                <a:cxn ang="0">
                  <a:pos x="connsiteX3670" y="connsiteY3670"/>
                </a:cxn>
                <a:cxn ang="0">
                  <a:pos x="connsiteX3671" y="connsiteY3671"/>
                </a:cxn>
                <a:cxn ang="0">
                  <a:pos x="connsiteX3672" y="connsiteY3672"/>
                </a:cxn>
                <a:cxn ang="0">
                  <a:pos x="connsiteX3673" y="connsiteY3673"/>
                </a:cxn>
                <a:cxn ang="0">
                  <a:pos x="connsiteX3674" y="connsiteY3674"/>
                </a:cxn>
                <a:cxn ang="0">
                  <a:pos x="connsiteX3675" y="connsiteY3675"/>
                </a:cxn>
                <a:cxn ang="0">
                  <a:pos x="connsiteX3676" y="connsiteY3676"/>
                </a:cxn>
                <a:cxn ang="0">
                  <a:pos x="connsiteX3677" y="connsiteY3677"/>
                </a:cxn>
                <a:cxn ang="0">
                  <a:pos x="connsiteX3678" y="connsiteY3678"/>
                </a:cxn>
                <a:cxn ang="0">
                  <a:pos x="connsiteX3679" y="connsiteY3679"/>
                </a:cxn>
                <a:cxn ang="0">
                  <a:pos x="connsiteX3680" y="connsiteY3680"/>
                </a:cxn>
                <a:cxn ang="0">
                  <a:pos x="connsiteX3681" y="connsiteY3681"/>
                </a:cxn>
                <a:cxn ang="0">
                  <a:pos x="connsiteX3682" y="connsiteY3682"/>
                </a:cxn>
                <a:cxn ang="0">
                  <a:pos x="connsiteX3683" y="connsiteY3683"/>
                </a:cxn>
                <a:cxn ang="0">
                  <a:pos x="connsiteX3684" y="connsiteY3684"/>
                </a:cxn>
                <a:cxn ang="0">
                  <a:pos x="connsiteX3685" y="connsiteY3685"/>
                </a:cxn>
                <a:cxn ang="0">
                  <a:pos x="connsiteX3686" y="connsiteY3686"/>
                </a:cxn>
                <a:cxn ang="0">
                  <a:pos x="connsiteX3687" y="connsiteY3687"/>
                </a:cxn>
                <a:cxn ang="0">
                  <a:pos x="connsiteX3688" y="connsiteY3688"/>
                </a:cxn>
                <a:cxn ang="0">
                  <a:pos x="connsiteX3689" y="connsiteY3689"/>
                </a:cxn>
                <a:cxn ang="0">
                  <a:pos x="connsiteX3690" y="connsiteY3690"/>
                </a:cxn>
                <a:cxn ang="0">
                  <a:pos x="connsiteX3691" y="connsiteY3691"/>
                </a:cxn>
                <a:cxn ang="0">
                  <a:pos x="connsiteX3692" y="connsiteY3692"/>
                </a:cxn>
                <a:cxn ang="0">
                  <a:pos x="connsiteX3693" y="connsiteY3693"/>
                </a:cxn>
                <a:cxn ang="0">
                  <a:pos x="connsiteX3694" y="connsiteY3694"/>
                </a:cxn>
                <a:cxn ang="0">
                  <a:pos x="connsiteX3695" y="connsiteY3695"/>
                </a:cxn>
                <a:cxn ang="0">
                  <a:pos x="connsiteX3696" y="connsiteY3696"/>
                </a:cxn>
                <a:cxn ang="0">
                  <a:pos x="connsiteX3697" y="connsiteY3697"/>
                </a:cxn>
                <a:cxn ang="0">
                  <a:pos x="connsiteX3698" y="connsiteY3698"/>
                </a:cxn>
                <a:cxn ang="0">
                  <a:pos x="connsiteX3699" y="connsiteY3699"/>
                </a:cxn>
                <a:cxn ang="0">
                  <a:pos x="connsiteX3700" y="connsiteY3700"/>
                </a:cxn>
                <a:cxn ang="0">
                  <a:pos x="connsiteX3701" y="connsiteY3701"/>
                </a:cxn>
                <a:cxn ang="0">
                  <a:pos x="connsiteX3702" y="connsiteY3702"/>
                </a:cxn>
                <a:cxn ang="0">
                  <a:pos x="connsiteX3703" y="connsiteY3703"/>
                </a:cxn>
                <a:cxn ang="0">
                  <a:pos x="connsiteX3704" y="connsiteY3704"/>
                </a:cxn>
                <a:cxn ang="0">
                  <a:pos x="connsiteX3705" y="connsiteY3705"/>
                </a:cxn>
                <a:cxn ang="0">
                  <a:pos x="connsiteX3706" y="connsiteY3706"/>
                </a:cxn>
                <a:cxn ang="0">
                  <a:pos x="connsiteX3707" y="connsiteY3707"/>
                </a:cxn>
                <a:cxn ang="0">
                  <a:pos x="connsiteX3708" y="connsiteY3708"/>
                </a:cxn>
                <a:cxn ang="0">
                  <a:pos x="connsiteX3709" y="connsiteY3709"/>
                </a:cxn>
                <a:cxn ang="0">
                  <a:pos x="connsiteX3710" y="connsiteY3710"/>
                </a:cxn>
                <a:cxn ang="0">
                  <a:pos x="connsiteX3711" y="connsiteY3711"/>
                </a:cxn>
                <a:cxn ang="0">
                  <a:pos x="connsiteX3712" y="connsiteY3712"/>
                </a:cxn>
                <a:cxn ang="0">
                  <a:pos x="connsiteX3713" y="connsiteY3713"/>
                </a:cxn>
                <a:cxn ang="0">
                  <a:pos x="connsiteX3714" y="connsiteY3714"/>
                </a:cxn>
                <a:cxn ang="0">
                  <a:pos x="connsiteX3715" y="connsiteY3715"/>
                </a:cxn>
                <a:cxn ang="0">
                  <a:pos x="connsiteX3716" y="connsiteY3716"/>
                </a:cxn>
                <a:cxn ang="0">
                  <a:pos x="connsiteX3717" y="connsiteY3717"/>
                </a:cxn>
                <a:cxn ang="0">
                  <a:pos x="connsiteX3718" y="connsiteY3718"/>
                </a:cxn>
                <a:cxn ang="0">
                  <a:pos x="connsiteX3719" y="connsiteY3719"/>
                </a:cxn>
                <a:cxn ang="0">
                  <a:pos x="connsiteX3720" y="connsiteY3720"/>
                </a:cxn>
                <a:cxn ang="0">
                  <a:pos x="connsiteX3721" y="connsiteY3721"/>
                </a:cxn>
                <a:cxn ang="0">
                  <a:pos x="connsiteX3722" y="connsiteY3722"/>
                </a:cxn>
                <a:cxn ang="0">
                  <a:pos x="connsiteX3723" y="connsiteY3723"/>
                </a:cxn>
                <a:cxn ang="0">
                  <a:pos x="connsiteX3724" y="connsiteY3724"/>
                </a:cxn>
                <a:cxn ang="0">
                  <a:pos x="connsiteX3725" y="connsiteY3725"/>
                </a:cxn>
                <a:cxn ang="0">
                  <a:pos x="connsiteX3726" y="connsiteY3726"/>
                </a:cxn>
                <a:cxn ang="0">
                  <a:pos x="connsiteX3727" y="connsiteY3727"/>
                </a:cxn>
                <a:cxn ang="0">
                  <a:pos x="connsiteX3728" y="connsiteY3728"/>
                </a:cxn>
                <a:cxn ang="0">
                  <a:pos x="connsiteX3729" y="connsiteY3729"/>
                </a:cxn>
                <a:cxn ang="0">
                  <a:pos x="connsiteX3730" y="connsiteY3730"/>
                </a:cxn>
                <a:cxn ang="0">
                  <a:pos x="connsiteX3731" y="connsiteY3731"/>
                </a:cxn>
                <a:cxn ang="0">
                  <a:pos x="connsiteX3732" y="connsiteY3732"/>
                </a:cxn>
                <a:cxn ang="0">
                  <a:pos x="connsiteX3733" y="connsiteY3733"/>
                </a:cxn>
                <a:cxn ang="0">
                  <a:pos x="connsiteX3734" y="connsiteY3734"/>
                </a:cxn>
                <a:cxn ang="0">
                  <a:pos x="connsiteX3735" y="connsiteY3735"/>
                </a:cxn>
                <a:cxn ang="0">
                  <a:pos x="connsiteX3736" y="connsiteY3736"/>
                </a:cxn>
                <a:cxn ang="0">
                  <a:pos x="connsiteX3737" y="connsiteY3737"/>
                </a:cxn>
                <a:cxn ang="0">
                  <a:pos x="connsiteX3738" y="connsiteY3738"/>
                </a:cxn>
                <a:cxn ang="0">
                  <a:pos x="connsiteX3739" y="connsiteY3739"/>
                </a:cxn>
                <a:cxn ang="0">
                  <a:pos x="connsiteX3740" y="connsiteY3740"/>
                </a:cxn>
                <a:cxn ang="0">
                  <a:pos x="connsiteX3741" y="connsiteY3741"/>
                </a:cxn>
                <a:cxn ang="0">
                  <a:pos x="connsiteX3742" y="connsiteY3742"/>
                </a:cxn>
                <a:cxn ang="0">
                  <a:pos x="connsiteX3743" y="connsiteY3743"/>
                </a:cxn>
                <a:cxn ang="0">
                  <a:pos x="connsiteX3744" y="connsiteY3744"/>
                </a:cxn>
                <a:cxn ang="0">
                  <a:pos x="connsiteX3745" y="connsiteY3745"/>
                </a:cxn>
                <a:cxn ang="0">
                  <a:pos x="connsiteX3746" y="connsiteY3746"/>
                </a:cxn>
                <a:cxn ang="0">
                  <a:pos x="connsiteX3747" y="connsiteY3747"/>
                </a:cxn>
                <a:cxn ang="0">
                  <a:pos x="connsiteX3748" y="connsiteY3748"/>
                </a:cxn>
                <a:cxn ang="0">
                  <a:pos x="connsiteX3749" y="connsiteY3749"/>
                </a:cxn>
                <a:cxn ang="0">
                  <a:pos x="connsiteX3750" y="connsiteY3750"/>
                </a:cxn>
                <a:cxn ang="0">
                  <a:pos x="connsiteX3751" y="connsiteY3751"/>
                </a:cxn>
                <a:cxn ang="0">
                  <a:pos x="connsiteX3752" y="connsiteY3752"/>
                </a:cxn>
                <a:cxn ang="0">
                  <a:pos x="connsiteX3753" y="connsiteY3753"/>
                </a:cxn>
                <a:cxn ang="0">
                  <a:pos x="connsiteX3754" y="connsiteY3754"/>
                </a:cxn>
                <a:cxn ang="0">
                  <a:pos x="connsiteX3755" y="connsiteY3755"/>
                </a:cxn>
                <a:cxn ang="0">
                  <a:pos x="connsiteX3756" y="connsiteY3756"/>
                </a:cxn>
                <a:cxn ang="0">
                  <a:pos x="connsiteX3757" y="connsiteY3757"/>
                </a:cxn>
                <a:cxn ang="0">
                  <a:pos x="connsiteX3758" y="connsiteY3758"/>
                </a:cxn>
                <a:cxn ang="0">
                  <a:pos x="connsiteX3759" y="connsiteY3759"/>
                </a:cxn>
                <a:cxn ang="0">
                  <a:pos x="connsiteX3760" y="connsiteY3760"/>
                </a:cxn>
                <a:cxn ang="0">
                  <a:pos x="connsiteX3761" y="connsiteY3761"/>
                </a:cxn>
                <a:cxn ang="0">
                  <a:pos x="connsiteX3762" y="connsiteY3762"/>
                </a:cxn>
                <a:cxn ang="0">
                  <a:pos x="connsiteX3763" y="connsiteY3763"/>
                </a:cxn>
                <a:cxn ang="0">
                  <a:pos x="connsiteX3764" y="connsiteY3764"/>
                </a:cxn>
                <a:cxn ang="0">
                  <a:pos x="connsiteX3765" y="connsiteY3765"/>
                </a:cxn>
                <a:cxn ang="0">
                  <a:pos x="connsiteX3766" y="connsiteY3766"/>
                </a:cxn>
                <a:cxn ang="0">
                  <a:pos x="connsiteX3767" y="connsiteY3767"/>
                </a:cxn>
                <a:cxn ang="0">
                  <a:pos x="connsiteX3768" y="connsiteY3768"/>
                </a:cxn>
                <a:cxn ang="0">
                  <a:pos x="connsiteX3769" y="connsiteY3769"/>
                </a:cxn>
                <a:cxn ang="0">
                  <a:pos x="connsiteX3770" y="connsiteY3770"/>
                </a:cxn>
                <a:cxn ang="0">
                  <a:pos x="connsiteX3771" y="connsiteY3771"/>
                </a:cxn>
                <a:cxn ang="0">
                  <a:pos x="connsiteX3772" y="connsiteY3772"/>
                </a:cxn>
                <a:cxn ang="0">
                  <a:pos x="connsiteX3773" y="connsiteY3773"/>
                </a:cxn>
                <a:cxn ang="0">
                  <a:pos x="connsiteX3774" y="connsiteY3774"/>
                </a:cxn>
                <a:cxn ang="0">
                  <a:pos x="connsiteX3775" y="connsiteY3775"/>
                </a:cxn>
                <a:cxn ang="0">
                  <a:pos x="connsiteX3776" y="connsiteY3776"/>
                </a:cxn>
                <a:cxn ang="0">
                  <a:pos x="connsiteX3777" y="connsiteY3777"/>
                </a:cxn>
                <a:cxn ang="0">
                  <a:pos x="connsiteX3778" y="connsiteY3778"/>
                </a:cxn>
                <a:cxn ang="0">
                  <a:pos x="connsiteX3779" y="connsiteY3779"/>
                </a:cxn>
                <a:cxn ang="0">
                  <a:pos x="connsiteX3780" y="connsiteY3780"/>
                </a:cxn>
                <a:cxn ang="0">
                  <a:pos x="connsiteX3781" y="connsiteY3781"/>
                </a:cxn>
                <a:cxn ang="0">
                  <a:pos x="connsiteX3782" y="connsiteY3782"/>
                </a:cxn>
                <a:cxn ang="0">
                  <a:pos x="connsiteX3783" y="connsiteY3783"/>
                </a:cxn>
                <a:cxn ang="0">
                  <a:pos x="connsiteX3784" y="connsiteY3784"/>
                </a:cxn>
                <a:cxn ang="0">
                  <a:pos x="connsiteX3785" y="connsiteY3785"/>
                </a:cxn>
                <a:cxn ang="0">
                  <a:pos x="connsiteX3786" y="connsiteY3786"/>
                </a:cxn>
                <a:cxn ang="0">
                  <a:pos x="connsiteX3787" y="connsiteY3787"/>
                </a:cxn>
                <a:cxn ang="0">
                  <a:pos x="connsiteX3788" y="connsiteY3788"/>
                </a:cxn>
                <a:cxn ang="0">
                  <a:pos x="connsiteX3789" y="connsiteY3789"/>
                </a:cxn>
                <a:cxn ang="0">
                  <a:pos x="connsiteX3790" y="connsiteY3790"/>
                </a:cxn>
                <a:cxn ang="0">
                  <a:pos x="connsiteX3791" y="connsiteY3791"/>
                </a:cxn>
                <a:cxn ang="0">
                  <a:pos x="connsiteX3792" y="connsiteY3792"/>
                </a:cxn>
                <a:cxn ang="0">
                  <a:pos x="connsiteX3793" y="connsiteY3793"/>
                </a:cxn>
                <a:cxn ang="0">
                  <a:pos x="connsiteX3794" y="connsiteY3794"/>
                </a:cxn>
                <a:cxn ang="0">
                  <a:pos x="connsiteX3795" y="connsiteY3795"/>
                </a:cxn>
                <a:cxn ang="0">
                  <a:pos x="connsiteX3796" y="connsiteY3796"/>
                </a:cxn>
                <a:cxn ang="0">
                  <a:pos x="connsiteX3797" y="connsiteY3797"/>
                </a:cxn>
                <a:cxn ang="0">
                  <a:pos x="connsiteX3798" y="connsiteY3798"/>
                </a:cxn>
                <a:cxn ang="0">
                  <a:pos x="connsiteX3799" y="connsiteY3799"/>
                </a:cxn>
                <a:cxn ang="0">
                  <a:pos x="connsiteX3800" y="connsiteY3800"/>
                </a:cxn>
                <a:cxn ang="0">
                  <a:pos x="connsiteX3801" y="connsiteY3801"/>
                </a:cxn>
                <a:cxn ang="0">
                  <a:pos x="connsiteX3802" y="connsiteY3802"/>
                </a:cxn>
                <a:cxn ang="0">
                  <a:pos x="connsiteX3803" y="connsiteY3803"/>
                </a:cxn>
                <a:cxn ang="0">
                  <a:pos x="connsiteX3804" y="connsiteY3804"/>
                </a:cxn>
                <a:cxn ang="0">
                  <a:pos x="connsiteX3805" y="connsiteY3805"/>
                </a:cxn>
                <a:cxn ang="0">
                  <a:pos x="connsiteX3806" y="connsiteY3806"/>
                </a:cxn>
                <a:cxn ang="0">
                  <a:pos x="connsiteX3807" y="connsiteY3807"/>
                </a:cxn>
                <a:cxn ang="0">
                  <a:pos x="connsiteX3808" y="connsiteY3808"/>
                </a:cxn>
                <a:cxn ang="0">
                  <a:pos x="connsiteX3809" y="connsiteY3809"/>
                </a:cxn>
                <a:cxn ang="0">
                  <a:pos x="connsiteX3810" y="connsiteY3810"/>
                </a:cxn>
                <a:cxn ang="0">
                  <a:pos x="connsiteX3811" y="connsiteY3811"/>
                </a:cxn>
                <a:cxn ang="0">
                  <a:pos x="connsiteX3812" y="connsiteY3812"/>
                </a:cxn>
                <a:cxn ang="0">
                  <a:pos x="connsiteX3813" y="connsiteY3813"/>
                </a:cxn>
                <a:cxn ang="0">
                  <a:pos x="connsiteX3814" y="connsiteY3814"/>
                </a:cxn>
                <a:cxn ang="0">
                  <a:pos x="connsiteX3815" y="connsiteY3815"/>
                </a:cxn>
                <a:cxn ang="0">
                  <a:pos x="connsiteX3816" y="connsiteY3816"/>
                </a:cxn>
                <a:cxn ang="0">
                  <a:pos x="connsiteX3817" y="connsiteY3817"/>
                </a:cxn>
                <a:cxn ang="0">
                  <a:pos x="connsiteX3818" y="connsiteY3818"/>
                </a:cxn>
                <a:cxn ang="0">
                  <a:pos x="connsiteX3819" y="connsiteY3819"/>
                </a:cxn>
                <a:cxn ang="0">
                  <a:pos x="connsiteX3820" y="connsiteY3820"/>
                </a:cxn>
                <a:cxn ang="0">
                  <a:pos x="connsiteX3821" y="connsiteY3821"/>
                </a:cxn>
                <a:cxn ang="0">
                  <a:pos x="connsiteX3822" y="connsiteY3822"/>
                </a:cxn>
                <a:cxn ang="0">
                  <a:pos x="connsiteX3823" y="connsiteY3823"/>
                </a:cxn>
                <a:cxn ang="0">
                  <a:pos x="connsiteX3824" y="connsiteY3824"/>
                </a:cxn>
                <a:cxn ang="0">
                  <a:pos x="connsiteX3825" y="connsiteY3825"/>
                </a:cxn>
                <a:cxn ang="0">
                  <a:pos x="connsiteX3826" y="connsiteY3826"/>
                </a:cxn>
                <a:cxn ang="0">
                  <a:pos x="connsiteX3827" y="connsiteY3827"/>
                </a:cxn>
                <a:cxn ang="0">
                  <a:pos x="connsiteX3828" y="connsiteY3828"/>
                </a:cxn>
                <a:cxn ang="0">
                  <a:pos x="connsiteX3829" y="connsiteY3829"/>
                </a:cxn>
                <a:cxn ang="0">
                  <a:pos x="connsiteX3830" y="connsiteY3830"/>
                </a:cxn>
                <a:cxn ang="0">
                  <a:pos x="connsiteX3831" y="connsiteY3831"/>
                </a:cxn>
                <a:cxn ang="0">
                  <a:pos x="connsiteX3832" y="connsiteY3832"/>
                </a:cxn>
                <a:cxn ang="0">
                  <a:pos x="connsiteX3833" y="connsiteY3833"/>
                </a:cxn>
                <a:cxn ang="0">
                  <a:pos x="connsiteX3834" y="connsiteY3834"/>
                </a:cxn>
                <a:cxn ang="0">
                  <a:pos x="connsiteX3835" y="connsiteY3835"/>
                </a:cxn>
                <a:cxn ang="0">
                  <a:pos x="connsiteX3836" y="connsiteY3836"/>
                </a:cxn>
                <a:cxn ang="0">
                  <a:pos x="connsiteX3837" y="connsiteY3837"/>
                </a:cxn>
                <a:cxn ang="0">
                  <a:pos x="connsiteX3838" y="connsiteY3838"/>
                </a:cxn>
                <a:cxn ang="0">
                  <a:pos x="connsiteX3839" y="connsiteY3839"/>
                </a:cxn>
                <a:cxn ang="0">
                  <a:pos x="connsiteX3840" y="connsiteY3840"/>
                </a:cxn>
                <a:cxn ang="0">
                  <a:pos x="connsiteX3841" y="connsiteY3841"/>
                </a:cxn>
                <a:cxn ang="0">
                  <a:pos x="connsiteX3842" y="connsiteY3842"/>
                </a:cxn>
                <a:cxn ang="0">
                  <a:pos x="connsiteX3843" y="connsiteY3843"/>
                </a:cxn>
                <a:cxn ang="0">
                  <a:pos x="connsiteX3844" y="connsiteY3844"/>
                </a:cxn>
                <a:cxn ang="0">
                  <a:pos x="connsiteX3845" y="connsiteY3845"/>
                </a:cxn>
                <a:cxn ang="0">
                  <a:pos x="connsiteX3846" y="connsiteY3846"/>
                </a:cxn>
                <a:cxn ang="0">
                  <a:pos x="connsiteX3847" y="connsiteY3847"/>
                </a:cxn>
                <a:cxn ang="0">
                  <a:pos x="connsiteX3848" y="connsiteY3848"/>
                </a:cxn>
                <a:cxn ang="0">
                  <a:pos x="connsiteX3849" y="connsiteY3849"/>
                </a:cxn>
                <a:cxn ang="0">
                  <a:pos x="connsiteX3850" y="connsiteY3850"/>
                </a:cxn>
                <a:cxn ang="0">
                  <a:pos x="connsiteX3851" y="connsiteY3851"/>
                </a:cxn>
                <a:cxn ang="0">
                  <a:pos x="connsiteX3852" y="connsiteY3852"/>
                </a:cxn>
                <a:cxn ang="0">
                  <a:pos x="connsiteX3853" y="connsiteY3853"/>
                </a:cxn>
                <a:cxn ang="0">
                  <a:pos x="connsiteX3854" y="connsiteY3854"/>
                </a:cxn>
                <a:cxn ang="0">
                  <a:pos x="connsiteX3855" y="connsiteY3855"/>
                </a:cxn>
                <a:cxn ang="0">
                  <a:pos x="connsiteX3856" y="connsiteY3856"/>
                </a:cxn>
                <a:cxn ang="0">
                  <a:pos x="connsiteX3857" y="connsiteY3857"/>
                </a:cxn>
                <a:cxn ang="0">
                  <a:pos x="connsiteX3858" y="connsiteY3858"/>
                </a:cxn>
                <a:cxn ang="0">
                  <a:pos x="connsiteX3859" y="connsiteY3859"/>
                </a:cxn>
                <a:cxn ang="0">
                  <a:pos x="connsiteX3860" y="connsiteY3860"/>
                </a:cxn>
                <a:cxn ang="0">
                  <a:pos x="connsiteX3861" y="connsiteY3861"/>
                </a:cxn>
                <a:cxn ang="0">
                  <a:pos x="connsiteX3862" y="connsiteY3862"/>
                </a:cxn>
                <a:cxn ang="0">
                  <a:pos x="connsiteX3863" y="connsiteY3863"/>
                </a:cxn>
                <a:cxn ang="0">
                  <a:pos x="connsiteX3864" y="connsiteY3864"/>
                </a:cxn>
                <a:cxn ang="0">
                  <a:pos x="connsiteX3865" y="connsiteY3865"/>
                </a:cxn>
                <a:cxn ang="0">
                  <a:pos x="connsiteX3866" y="connsiteY3866"/>
                </a:cxn>
                <a:cxn ang="0">
                  <a:pos x="connsiteX3867" y="connsiteY3867"/>
                </a:cxn>
                <a:cxn ang="0">
                  <a:pos x="connsiteX3868" y="connsiteY3868"/>
                </a:cxn>
                <a:cxn ang="0">
                  <a:pos x="connsiteX3869" y="connsiteY3869"/>
                </a:cxn>
                <a:cxn ang="0">
                  <a:pos x="connsiteX3870" y="connsiteY3870"/>
                </a:cxn>
                <a:cxn ang="0">
                  <a:pos x="connsiteX3871" y="connsiteY3871"/>
                </a:cxn>
                <a:cxn ang="0">
                  <a:pos x="connsiteX3872" y="connsiteY3872"/>
                </a:cxn>
                <a:cxn ang="0">
                  <a:pos x="connsiteX3873" y="connsiteY3873"/>
                </a:cxn>
                <a:cxn ang="0">
                  <a:pos x="connsiteX3874" y="connsiteY3874"/>
                </a:cxn>
                <a:cxn ang="0">
                  <a:pos x="connsiteX3875" y="connsiteY3875"/>
                </a:cxn>
                <a:cxn ang="0">
                  <a:pos x="connsiteX3876" y="connsiteY3876"/>
                </a:cxn>
                <a:cxn ang="0">
                  <a:pos x="connsiteX3877" y="connsiteY3877"/>
                </a:cxn>
                <a:cxn ang="0">
                  <a:pos x="connsiteX3878" y="connsiteY3878"/>
                </a:cxn>
                <a:cxn ang="0">
                  <a:pos x="connsiteX3879" y="connsiteY3879"/>
                </a:cxn>
                <a:cxn ang="0">
                  <a:pos x="connsiteX3880" y="connsiteY3880"/>
                </a:cxn>
                <a:cxn ang="0">
                  <a:pos x="connsiteX3881" y="connsiteY3881"/>
                </a:cxn>
                <a:cxn ang="0">
                  <a:pos x="connsiteX3882" y="connsiteY3882"/>
                </a:cxn>
                <a:cxn ang="0">
                  <a:pos x="connsiteX3883" y="connsiteY3883"/>
                </a:cxn>
                <a:cxn ang="0">
                  <a:pos x="connsiteX3884" y="connsiteY3884"/>
                </a:cxn>
                <a:cxn ang="0">
                  <a:pos x="connsiteX3885" y="connsiteY3885"/>
                </a:cxn>
                <a:cxn ang="0">
                  <a:pos x="connsiteX3886" y="connsiteY3886"/>
                </a:cxn>
                <a:cxn ang="0">
                  <a:pos x="connsiteX3887" y="connsiteY3887"/>
                </a:cxn>
                <a:cxn ang="0">
                  <a:pos x="connsiteX3888" y="connsiteY3888"/>
                </a:cxn>
                <a:cxn ang="0">
                  <a:pos x="connsiteX3889" y="connsiteY3889"/>
                </a:cxn>
                <a:cxn ang="0">
                  <a:pos x="connsiteX3890" y="connsiteY3890"/>
                </a:cxn>
                <a:cxn ang="0">
                  <a:pos x="connsiteX3891" y="connsiteY3891"/>
                </a:cxn>
                <a:cxn ang="0">
                  <a:pos x="connsiteX3892" y="connsiteY3892"/>
                </a:cxn>
                <a:cxn ang="0">
                  <a:pos x="connsiteX3893" y="connsiteY3893"/>
                </a:cxn>
                <a:cxn ang="0">
                  <a:pos x="connsiteX3894" y="connsiteY3894"/>
                </a:cxn>
                <a:cxn ang="0">
                  <a:pos x="connsiteX3895" y="connsiteY3895"/>
                </a:cxn>
                <a:cxn ang="0">
                  <a:pos x="connsiteX3896" y="connsiteY3896"/>
                </a:cxn>
                <a:cxn ang="0">
                  <a:pos x="connsiteX3897" y="connsiteY3897"/>
                </a:cxn>
                <a:cxn ang="0">
                  <a:pos x="connsiteX3898" y="connsiteY3898"/>
                </a:cxn>
                <a:cxn ang="0">
                  <a:pos x="connsiteX3899" y="connsiteY3899"/>
                </a:cxn>
                <a:cxn ang="0">
                  <a:pos x="connsiteX3900" y="connsiteY3900"/>
                </a:cxn>
                <a:cxn ang="0">
                  <a:pos x="connsiteX3901" y="connsiteY3901"/>
                </a:cxn>
                <a:cxn ang="0">
                  <a:pos x="connsiteX3902" y="connsiteY3902"/>
                </a:cxn>
                <a:cxn ang="0">
                  <a:pos x="connsiteX3903" y="connsiteY3903"/>
                </a:cxn>
                <a:cxn ang="0">
                  <a:pos x="connsiteX3904" y="connsiteY3904"/>
                </a:cxn>
                <a:cxn ang="0">
                  <a:pos x="connsiteX3905" y="connsiteY3905"/>
                </a:cxn>
                <a:cxn ang="0">
                  <a:pos x="connsiteX3906" y="connsiteY3906"/>
                </a:cxn>
                <a:cxn ang="0">
                  <a:pos x="connsiteX3907" y="connsiteY3907"/>
                </a:cxn>
                <a:cxn ang="0">
                  <a:pos x="connsiteX3908" y="connsiteY3908"/>
                </a:cxn>
                <a:cxn ang="0">
                  <a:pos x="connsiteX3909" y="connsiteY3909"/>
                </a:cxn>
                <a:cxn ang="0">
                  <a:pos x="connsiteX3910" y="connsiteY3910"/>
                </a:cxn>
                <a:cxn ang="0">
                  <a:pos x="connsiteX3911" y="connsiteY3911"/>
                </a:cxn>
                <a:cxn ang="0">
                  <a:pos x="connsiteX3912" y="connsiteY3912"/>
                </a:cxn>
                <a:cxn ang="0">
                  <a:pos x="connsiteX3913" y="connsiteY3913"/>
                </a:cxn>
                <a:cxn ang="0">
                  <a:pos x="connsiteX3914" y="connsiteY3914"/>
                </a:cxn>
                <a:cxn ang="0">
                  <a:pos x="connsiteX3915" y="connsiteY3915"/>
                </a:cxn>
                <a:cxn ang="0">
                  <a:pos x="connsiteX3916" y="connsiteY3916"/>
                </a:cxn>
                <a:cxn ang="0">
                  <a:pos x="connsiteX3917" y="connsiteY3917"/>
                </a:cxn>
                <a:cxn ang="0">
                  <a:pos x="connsiteX3918" y="connsiteY3918"/>
                </a:cxn>
                <a:cxn ang="0">
                  <a:pos x="connsiteX3919" y="connsiteY3919"/>
                </a:cxn>
                <a:cxn ang="0">
                  <a:pos x="connsiteX3920" y="connsiteY3920"/>
                </a:cxn>
                <a:cxn ang="0">
                  <a:pos x="connsiteX3921" y="connsiteY3921"/>
                </a:cxn>
                <a:cxn ang="0">
                  <a:pos x="connsiteX3922" y="connsiteY3922"/>
                </a:cxn>
                <a:cxn ang="0">
                  <a:pos x="connsiteX3923" y="connsiteY3923"/>
                </a:cxn>
                <a:cxn ang="0">
                  <a:pos x="connsiteX3924" y="connsiteY3924"/>
                </a:cxn>
                <a:cxn ang="0">
                  <a:pos x="connsiteX3925" y="connsiteY3925"/>
                </a:cxn>
                <a:cxn ang="0">
                  <a:pos x="connsiteX3926" y="connsiteY3926"/>
                </a:cxn>
                <a:cxn ang="0">
                  <a:pos x="connsiteX3927" y="connsiteY3927"/>
                </a:cxn>
                <a:cxn ang="0">
                  <a:pos x="connsiteX3928" y="connsiteY3928"/>
                </a:cxn>
                <a:cxn ang="0">
                  <a:pos x="connsiteX3929" y="connsiteY3929"/>
                </a:cxn>
                <a:cxn ang="0">
                  <a:pos x="connsiteX3930" y="connsiteY3930"/>
                </a:cxn>
                <a:cxn ang="0">
                  <a:pos x="connsiteX3931" y="connsiteY3931"/>
                </a:cxn>
                <a:cxn ang="0">
                  <a:pos x="connsiteX3932" y="connsiteY3932"/>
                </a:cxn>
                <a:cxn ang="0">
                  <a:pos x="connsiteX3933" y="connsiteY3933"/>
                </a:cxn>
                <a:cxn ang="0">
                  <a:pos x="connsiteX3934" y="connsiteY3934"/>
                </a:cxn>
                <a:cxn ang="0">
                  <a:pos x="connsiteX3935" y="connsiteY3935"/>
                </a:cxn>
                <a:cxn ang="0">
                  <a:pos x="connsiteX3936" y="connsiteY3936"/>
                </a:cxn>
                <a:cxn ang="0">
                  <a:pos x="connsiteX3937" y="connsiteY3937"/>
                </a:cxn>
                <a:cxn ang="0">
                  <a:pos x="connsiteX3938" y="connsiteY3938"/>
                </a:cxn>
                <a:cxn ang="0">
                  <a:pos x="connsiteX3939" y="connsiteY3939"/>
                </a:cxn>
                <a:cxn ang="0">
                  <a:pos x="connsiteX3940" y="connsiteY3940"/>
                </a:cxn>
                <a:cxn ang="0">
                  <a:pos x="connsiteX3941" y="connsiteY3941"/>
                </a:cxn>
                <a:cxn ang="0">
                  <a:pos x="connsiteX3942" y="connsiteY3942"/>
                </a:cxn>
                <a:cxn ang="0">
                  <a:pos x="connsiteX3943" y="connsiteY3943"/>
                </a:cxn>
                <a:cxn ang="0">
                  <a:pos x="connsiteX3944" y="connsiteY3944"/>
                </a:cxn>
                <a:cxn ang="0">
                  <a:pos x="connsiteX3945" y="connsiteY3945"/>
                </a:cxn>
                <a:cxn ang="0">
                  <a:pos x="connsiteX3946" y="connsiteY3946"/>
                </a:cxn>
                <a:cxn ang="0">
                  <a:pos x="connsiteX3947" y="connsiteY3947"/>
                </a:cxn>
                <a:cxn ang="0">
                  <a:pos x="connsiteX3948" y="connsiteY3948"/>
                </a:cxn>
                <a:cxn ang="0">
                  <a:pos x="connsiteX3949" y="connsiteY3949"/>
                </a:cxn>
                <a:cxn ang="0">
                  <a:pos x="connsiteX3950" y="connsiteY3950"/>
                </a:cxn>
                <a:cxn ang="0">
                  <a:pos x="connsiteX3951" y="connsiteY3951"/>
                </a:cxn>
                <a:cxn ang="0">
                  <a:pos x="connsiteX3952" y="connsiteY3952"/>
                </a:cxn>
                <a:cxn ang="0">
                  <a:pos x="connsiteX3953" y="connsiteY3953"/>
                </a:cxn>
                <a:cxn ang="0">
                  <a:pos x="connsiteX3954" y="connsiteY3954"/>
                </a:cxn>
                <a:cxn ang="0">
                  <a:pos x="connsiteX3955" y="connsiteY3955"/>
                </a:cxn>
                <a:cxn ang="0">
                  <a:pos x="connsiteX3956" y="connsiteY3956"/>
                </a:cxn>
                <a:cxn ang="0">
                  <a:pos x="connsiteX3957" y="connsiteY3957"/>
                </a:cxn>
                <a:cxn ang="0">
                  <a:pos x="connsiteX3958" y="connsiteY3958"/>
                </a:cxn>
                <a:cxn ang="0">
                  <a:pos x="connsiteX3959" y="connsiteY3959"/>
                </a:cxn>
                <a:cxn ang="0">
                  <a:pos x="connsiteX3960" y="connsiteY3960"/>
                </a:cxn>
                <a:cxn ang="0">
                  <a:pos x="connsiteX3961" y="connsiteY3961"/>
                </a:cxn>
                <a:cxn ang="0">
                  <a:pos x="connsiteX3962" y="connsiteY3962"/>
                </a:cxn>
                <a:cxn ang="0">
                  <a:pos x="connsiteX3963" y="connsiteY3963"/>
                </a:cxn>
                <a:cxn ang="0">
                  <a:pos x="connsiteX3964" y="connsiteY3964"/>
                </a:cxn>
                <a:cxn ang="0">
                  <a:pos x="connsiteX3965" y="connsiteY3965"/>
                </a:cxn>
                <a:cxn ang="0">
                  <a:pos x="connsiteX3966" y="connsiteY3966"/>
                </a:cxn>
                <a:cxn ang="0">
                  <a:pos x="connsiteX3967" y="connsiteY3967"/>
                </a:cxn>
                <a:cxn ang="0">
                  <a:pos x="connsiteX3968" y="connsiteY3968"/>
                </a:cxn>
                <a:cxn ang="0">
                  <a:pos x="connsiteX3969" y="connsiteY3969"/>
                </a:cxn>
                <a:cxn ang="0">
                  <a:pos x="connsiteX3970" y="connsiteY3970"/>
                </a:cxn>
                <a:cxn ang="0">
                  <a:pos x="connsiteX3971" y="connsiteY3971"/>
                </a:cxn>
                <a:cxn ang="0">
                  <a:pos x="connsiteX3972" y="connsiteY3972"/>
                </a:cxn>
                <a:cxn ang="0">
                  <a:pos x="connsiteX3973" y="connsiteY3973"/>
                </a:cxn>
                <a:cxn ang="0">
                  <a:pos x="connsiteX3974" y="connsiteY3974"/>
                </a:cxn>
                <a:cxn ang="0">
                  <a:pos x="connsiteX3975" y="connsiteY3975"/>
                </a:cxn>
                <a:cxn ang="0">
                  <a:pos x="connsiteX3976" y="connsiteY3976"/>
                </a:cxn>
                <a:cxn ang="0">
                  <a:pos x="connsiteX3977" y="connsiteY3977"/>
                </a:cxn>
                <a:cxn ang="0">
                  <a:pos x="connsiteX3978" y="connsiteY3978"/>
                </a:cxn>
                <a:cxn ang="0">
                  <a:pos x="connsiteX3979" y="connsiteY3979"/>
                </a:cxn>
                <a:cxn ang="0">
                  <a:pos x="connsiteX3980" y="connsiteY3980"/>
                </a:cxn>
                <a:cxn ang="0">
                  <a:pos x="connsiteX3981" y="connsiteY3981"/>
                </a:cxn>
                <a:cxn ang="0">
                  <a:pos x="connsiteX3982" y="connsiteY3982"/>
                </a:cxn>
                <a:cxn ang="0">
                  <a:pos x="connsiteX3983" y="connsiteY3983"/>
                </a:cxn>
                <a:cxn ang="0">
                  <a:pos x="connsiteX3984" y="connsiteY3984"/>
                </a:cxn>
                <a:cxn ang="0">
                  <a:pos x="connsiteX3985" y="connsiteY3985"/>
                </a:cxn>
                <a:cxn ang="0">
                  <a:pos x="connsiteX3986" y="connsiteY3986"/>
                </a:cxn>
                <a:cxn ang="0">
                  <a:pos x="connsiteX3987" y="connsiteY3987"/>
                </a:cxn>
                <a:cxn ang="0">
                  <a:pos x="connsiteX3988" y="connsiteY3988"/>
                </a:cxn>
                <a:cxn ang="0">
                  <a:pos x="connsiteX3989" y="connsiteY3989"/>
                </a:cxn>
                <a:cxn ang="0">
                  <a:pos x="connsiteX3990" y="connsiteY3990"/>
                </a:cxn>
                <a:cxn ang="0">
                  <a:pos x="connsiteX3991" y="connsiteY3991"/>
                </a:cxn>
                <a:cxn ang="0">
                  <a:pos x="connsiteX3992" y="connsiteY3992"/>
                </a:cxn>
                <a:cxn ang="0">
                  <a:pos x="connsiteX3993" y="connsiteY3993"/>
                </a:cxn>
                <a:cxn ang="0">
                  <a:pos x="connsiteX3994" y="connsiteY3994"/>
                </a:cxn>
                <a:cxn ang="0">
                  <a:pos x="connsiteX3995" y="connsiteY3995"/>
                </a:cxn>
                <a:cxn ang="0">
                  <a:pos x="connsiteX3996" y="connsiteY3996"/>
                </a:cxn>
                <a:cxn ang="0">
                  <a:pos x="connsiteX3997" y="connsiteY3997"/>
                </a:cxn>
                <a:cxn ang="0">
                  <a:pos x="connsiteX3998" y="connsiteY3998"/>
                </a:cxn>
                <a:cxn ang="0">
                  <a:pos x="connsiteX3999" y="connsiteY3999"/>
                </a:cxn>
                <a:cxn ang="0">
                  <a:pos x="connsiteX4000" y="connsiteY4000"/>
                </a:cxn>
                <a:cxn ang="0">
                  <a:pos x="connsiteX4001" y="connsiteY4001"/>
                </a:cxn>
                <a:cxn ang="0">
                  <a:pos x="connsiteX4002" y="connsiteY4002"/>
                </a:cxn>
                <a:cxn ang="0">
                  <a:pos x="connsiteX4003" y="connsiteY4003"/>
                </a:cxn>
                <a:cxn ang="0">
                  <a:pos x="connsiteX4004" y="connsiteY4004"/>
                </a:cxn>
                <a:cxn ang="0">
                  <a:pos x="connsiteX4005" y="connsiteY4005"/>
                </a:cxn>
                <a:cxn ang="0">
                  <a:pos x="connsiteX4006" y="connsiteY4006"/>
                </a:cxn>
                <a:cxn ang="0">
                  <a:pos x="connsiteX4007" y="connsiteY4007"/>
                </a:cxn>
                <a:cxn ang="0">
                  <a:pos x="connsiteX4008" y="connsiteY4008"/>
                </a:cxn>
                <a:cxn ang="0">
                  <a:pos x="connsiteX4009" y="connsiteY4009"/>
                </a:cxn>
                <a:cxn ang="0">
                  <a:pos x="connsiteX4010" y="connsiteY4010"/>
                </a:cxn>
                <a:cxn ang="0">
                  <a:pos x="connsiteX4011" y="connsiteY4011"/>
                </a:cxn>
                <a:cxn ang="0">
                  <a:pos x="connsiteX4012" y="connsiteY4012"/>
                </a:cxn>
                <a:cxn ang="0">
                  <a:pos x="connsiteX4013" y="connsiteY4013"/>
                </a:cxn>
                <a:cxn ang="0">
                  <a:pos x="connsiteX4014" y="connsiteY4014"/>
                </a:cxn>
                <a:cxn ang="0">
                  <a:pos x="connsiteX4015" y="connsiteY4015"/>
                </a:cxn>
                <a:cxn ang="0">
                  <a:pos x="connsiteX4016" y="connsiteY4016"/>
                </a:cxn>
                <a:cxn ang="0">
                  <a:pos x="connsiteX4017" y="connsiteY4017"/>
                </a:cxn>
                <a:cxn ang="0">
                  <a:pos x="connsiteX4018" y="connsiteY4018"/>
                </a:cxn>
                <a:cxn ang="0">
                  <a:pos x="connsiteX4019" y="connsiteY4019"/>
                </a:cxn>
                <a:cxn ang="0">
                  <a:pos x="connsiteX4020" y="connsiteY4020"/>
                </a:cxn>
                <a:cxn ang="0">
                  <a:pos x="connsiteX4021" y="connsiteY4021"/>
                </a:cxn>
                <a:cxn ang="0">
                  <a:pos x="connsiteX4022" y="connsiteY4022"/>
                </a:cxn>
                <a:cxn ang="0">
                  <a:pos x="connsiteX4023" y="connsiteY4023"/>
                </a:cxn>
                <a:cxn ang="0">
                  <a:pos x="connsiteX4024" y="connsiteY4024"/>
                </a:cxn>
                <a:cxn ang="0">
                  <a:pos x="connsiteX4025" y="connsiteY4025"/>
                </a:cxn>
                <a:cxn ang="0">
                  <a:pos x="connsiteX4026" y="connsiteY4026"/>
                </a:cxn>
                <a:cxn ang="0">
                  <a:pos x="connsiteX4027" y="connsiteY4027"/>
                </a:cxn>
                <a:cxn ang="0">
                  <a:pos x="connsiteX4028" y="connsiteY4028"/>
                </a:cxn>
                <a:cxn ang="0">
                  <a:pos x="connsiteX4029" y="connsiteY4029"/>
                </a:cxn>
                <a:cxn ang="0">
                  <a:pos x="connsiteX4030" y="connsiteY4030"/>
                </a:cxn>
                <a:cxn ang="0">
                  <a:pos x="connsiteX4031" y="connsiteY4031"/>
                </a:cxn>
                <a:cxn ang="0">
                  <a:pos x="connsiteX4032" y="connsiteY4032"/>
                </a:cxn>
                <a:cxn ang="0">
                  <a:pos x="connsiteX4033" y="connsiteY4033"/>
                </a:cxn>
                <a:cxn ang="0">
                  <a:pos x="connsiteX4034" y="connsiteY4034"/>
                </a:cxn>
                <a:cxn ang="0">
                  <a:pos x="connsiteX4035" y="connsiteY4035"/>
                </a:cxn>
                <a:cxn ang="0">
                  <a:pos x="connsiteX4036" y="connsiteY4036"/>
                </a:cxn>
                <a:cxn ang="0">
                  <a:pos x="connsiteX4037" y="connsiteY4037"/>
                </a:cxn>
                <a:cxn ang="0">
                  <a:pos x="connsiteX4038" y="connsiteY4038"/>
                </a:cxn>
                <a:cxn ang="0">
                  <a:pos x="connsiteX4039" y="connsiteY4039"/>
                </a:cxn>
                <a:cxn ang="0">
                  <a:pos x="connsiteX4040" y="connsiteY4040"/>
                </a:cxn>
                <a:cxn ang="0">
                  <a:pos x="connsiteX4041" y="connsiteY4041"/>
                </a:cxn>
                <a:cxn ang="0">
                  <a:pos x="connsiteX4042" y="connsiteY4042"/>
                </a:cxn>
                <a:cxn ang="0">
                  <a:pos x="connsiteX4043" y="connsiteY4043"/>
                </a:cxn>
                <a:cxn ang="0">
                  <a:pos x="connsiteX4044" y="connsiteY4044"/>
                </a:cxn>
                <a:cxn ang="0">
                  <a:pos x="connsiteX4045" y="connsiteY4045"/>
                </a:cxn>
                <a:cxn ang="0">
                  <a:pos x="connsiteX4046" y="connsiteY4046"/>
                </a:cxn>
                <a:cxn ang="0">
                  <a:pos x="connsiteX4047" y="connsiteY4047"/>
                </a:cxn>
                <a:cxn ang="0">
                  <a:pos x="connsiteX4048" y="connsiteY4048"/>
                </a:cxn>
                <a:cxn ang="0">
                  <a:pos x="connsiteX4049" y="connsiteY4049"/>
                </a:cxn>
                <a:cxn ang="0">
                  <a:pos x="connsiteX4050" y="connsiteY4050"/>
                </a:cxn>
                <a:cxn ang="0">
                  <a:pos x="connsiteX4051" y="connsiteY4051"/>
                </a:cxn>
                <a:cxn ang="0">
                  <a:pos x="connsiteX4052" y="connsiteY4052"/>
                </a:cxn>
                <a:cxn ang="0">
                  <a:pos x="connsiteX4053" y="connsiteY4053"/>
                </a:cxn>
                <a:cxn ang="0">
                  <a:pos x="connsiteX4054" y="connsiteY4054"/>
                </a:cxn>
                <a:cxn ang="0">
                  <a:pos x="connsiteX4055" y="connsiteY4055"/>
                </a:cxn>
                <a:cxn ang="0">
                  <a:pos x="connsiteX4056" y="connsiteY4056"/>
                </a:cxn>
                <a:cxn ang="0">
                  <a:pos x="connsiteX4057" y="connsiteY4057"/>
                </a:cxn>
                <a:cxn ang="0">
                  <a:pos x="connsiteX4058" y="connsiteY4058"/>
                </a:cxn>
                <a:cxn ang="0">
                  <a:pos x="connsiteX4059" y="connsiteY4059"/>
                </a:cxn>
                <a:cxn ang="0">
                  <a:pos x="connsiteX4060" y="connsiteY4060"/>
                </a:cxn>
                <a:cxn ang="0">
                  <a:pos x="connsiteX4061" y="connsiteY4061"/>
                </a:cxn>
                <a:cxn ang="0">
                  <a:pos x="connsiteX4062" y="connsiteY4062"/>
                </a:cxn>
                <a:cxn ang="0">
                  <a:pos x="connsiteX4063" y="connsiteY4063"/>
                </a:cxn>
                <a:cxn ang="0">
                  <a:pos x="connsiteX4064" y="connsiteY4064"/>
                </a:cxn>
                <a:cxn ang="0">
                  <a:pos x="connsiteX4065" y="connsiteY4065"/>
                </a:cxn>
                <a:cxn ang="0">
                  <a:pos x="connsiteX4066" y="connsiteY4066"/>
                </a:cxn>
                <a:cxn ang="0">
                  <a:pos x="connsiteX4067" y="connsiteY4067"/>
                </a:cxn>
                <a:cxn ang="0">
                  <a:pos x="connsiteX4068" y="connsiteY4068"/>
                </a:cxn>
                <a:cxn ang="0">
                  <a:pos x="connsiteX4069" y="connsiteY4069"/>
                </a:cxn>
                <a:cxn ang="0">
                  <a:pos x="connsiteX4070" y="connsiteY4070"/>
                </a:cxn>
                <a:cxn ang="0">
                  <a:pos x="connsiteX4071" y="connsiteY4071"/>
                </a:cxn>
                <a:cxn ang="0">
                  <a:pos x="connsiteX4072" y="connsiteY4072"/>
                </a:cxn>
                <a:cxn ang="0">
                  <a:pos x="connsiteX4073" y="connsiteY4073"/>
                </a:cxn>
                <a:cxn ang="0">
                  <a:pos x="connsiteX4074" y="connsiteY4074"/>
                </a:cxn>
                <a:cxn ang="0">
                  <a:pos x="connsiteX4075" y="connsiteY4075"/>
                </a:cxn>
                <a:cxn ang="0">
                  <a:pos x="connsiteX4076" y="connsiteY4076"/>
                </a:cxn>
                <a:cxn ang="0">
                  <a:pos x="connsiteX4077" y="connsiteY4077"/>
                </a:cxn>
                <a:cxn ang="0">
                  <a:pos x="connsiteX4078" y="connsiteY4078"/>
                </a:cxn>
                <a:cxn ang="0">
                  <a:pos x="connsiteX4079" y="connsiteY4079"/>
                </a:cxn>
                <a:cxn ang="0">
                  <a:pos x="connsiteX4080" y="connsiteY4080"/>
                </a:cxn>
                <a:cxn ang="0">
                  <a:pos x="connsiteX4081" y="connsiteY4081"/>
                </a:cxn>
                <a:cxn ang="0">
                  <a:pos x="connsiteX4082" y="connsiteY4082"/>
                </a:cxn>
                <a:cxn ang="0">
                  <a:pos x="connsiteX4083" y="connsiteY4083"/>
                </a:cxn>
                <a:cxn ang="0">
                  <a:pos x="connsiteX4084" y="connsiteY4084"/>
                </a:cxn>
                <a:cxn ang="0">
                  <a:pos x="connsiteX4085" y="connsiteY4085"/>
                </a:cxn>
                <a:cxn ang="0">
                  <a:pos x="connsiteX4086" y="connsiteY4086"/>
                </a:cxn>
                <a:cxn ang="0">
                  <a:pos x="connsiteX4087" y="connsiteY4087"/>
                </a:cxn>
                <a:cxn ang="0">
                  <a:pos x="connsiteX4088" y="connsiteY4088"/>
                </a:cxn>
                <a:cxn ang="0">
                  <a:pos x="connsiteX4089" y="connsiteY4089"/>
                </a:cxn>
                <a:cxn ang="0">
                  <a:pos x="connsiteX4090" y="connsiteY4090"/>
                </a:cxn>
                <a:cxn ang="0">
                  <a:pos x="connsiteX4091" y="connsiteY4091"/>
                </a:cxn>
                <a:cxn ang="0">
                  <a:pos x="connsiteX4092" y="connsiteY4092"/>
                </a:cxn>
                <a:cxn ang="0">
                  <a:pos x="connsiteX4093" y="connsiteY4093"/>
                </a:cxn>
                <a:cxn ang="0">
                  <a:pos x="connsiteX4094" y="connsiteY4094"/>
                </a:cxn>
                <a:cxn ang="0">
                  <a:pos x="connsiteX4095" y="connsiteY4095"/>
                </a:cxn>
                <a:cxn ang="0">
                  <a:pos x="connsiteX4096" y="connsiteY4096"/>
                </a:cxn>
                <a:cxn ang="0">
                  <a:pos x="connsiteX4097" y="connsiteY4097"/>
                </a:cxn>
                <a:cxn ang="0">
                  <a:pos x="connsiteX4098" y="connsiteY4098"/>
                </a:cxn>
                <a:cxn ang="0">
                  <a:pos x="connsiteX4099" y="connsiteY4099"/>
                </a:cxn>
                <a:cxn ang="0">
                  <a:pos x="connsiteX4100" y="connsiteY4100"/>
                </a:cxn>
                <a:cxn ang="0">
                  <a:pos x="connsiteX4101" y="connsiteY4101"/>
                </a:cxn>
                <a:cxn ang="0">
                  <a:pos x="connsiteX4102" y="connsiteY4102"/>
                </a:cxn>
                <a:cxn ang="0">
                  <a:pos x="connsiteX4103" y="connsiteY4103"/>
                </a:cxn>
                <a:cxn ang="0">
                  <a:pos x="connsiteX4104" y="connsiteY4104"/>
                </a:cxn>
                <a:cxn ang="0">
                  <a:pos x="connsiteX4105" y="connsiteY4105"/>
                </a:cxn>
                <a:cxn ang="0">
                  <a:pos x="connsiteX4106" y="connsiteY4106"/>
                </a:cxn>
                <a:cxn ang="0">
                  <a:pos x="connsiteX4107" y="connsiteY4107"/>
                </a:cxn>
                <a:cxn ang="0">
                  <a:pos x="connsiteX4108" y="connsiteY4108"/>
                </a:cxn>
                <a:cxn ang="0">
                  <a:pos x="connsiteX4109" y="connsiteY4109"/>
                </a:cxn>
                <a:cxn ang="0">
                  <a:pos x="connsiteX4110" y="connsiteY4110"/>
                </a:cxn>
                <a:cxn ang="0">
                  <a:pos x="connsiteX4111" y="connsiteY4111"/>
                </a:cxn>
                <a:cxn ang="0">
                  <a:pos x="connsiteX4112" y="connsiteY4112"/>
                </a:cxn>
                <a:cxn ang="0">
                  <a:pos x="connsiteX4113" y="connsiteY4113"/>
                </a:cxn>
                <a:cxn ang="0">
                  <a:pos x="connsiteX4114" y="connsiteY4114"/>
                </a:cxn>
                <a:cxn ang="0">
                  <a:pos x="connsiteX4115" y="connsiteY4115"/>
                </a:cxn>
                <a:cxn ang="0">
                  <a:pos x="connsiteX4116" y="connsiteY4116"/>
                </a:cxn>
                <a:cxn ang="0">
                  <a:pos x="connsiteX4117" y="connsiteY4117"/>
                </a:cxn>
                <a:cxn ang="0">
                  <a:pos x="connsiteX4118" y="connsiteY4118"/>
                </a:cxn>
                <a:cxn ang="0">
                  <a:pos x="connsiteX4119" y="connsiteY4119"/>
                </a:cxn>
                <a:cxn ang="0">
                  <a:pos x="connsiteX4120" y="connsiteY4120"/>
                </a:cxn>
                <a:cxn ang="0">
                  <a:pos x="connsiteX4121" y="connsiteY4121"/>
                </a:cxn>
                <a:cxn ang="0">
                  <a:pos x="connsiteX4122" y="connsiteY4122"/>
                </a:cxn>
                <a:cxn ang="0">
                  <a:pos x="connsiteX4123" y="connsiteY4123"/>
                </a:cxn>
                <a:cxn ang="0">
                  <a:pos x="connsiteX4124" y="connsiteY4124"/>
                </a:cxn>
                <a:cxn ang="0">
                  <a:pos x="connsiteX4125" y="connsiteY4125"/>
                </a:cxn>
                <a:cxn ang="0">
                  <a:pos x="connsiteX4126" y="connsiteY4126"/>
                </a:cxn>
                <a:cxn ang="0">
                  <a:pos x="connsiteX4127" y="connsiteY4127"/>
                </a:cxn>
                <a:cxn ang="0">
                  <a:pos x="connsiteX4128" y="connsiteY4128"/>
                </a:cxn>
                <a:cxn ang="0">
                  <a:pos x="connsiteX4129" y="connsiteY4129"/>
                </a:cxn>
                <a:cxn ang="0">
                  <a:pos x="connsiteX4130" y="connsiteY4130"/>
                </a:cxn>
                <a:cxn ang="0">
                  <a:pos x="connsiteX4131" y="connsiteY4131"/>
                </a:cxn>
                <a:cxn ang="0">
                  <a:pos x="connsiteX4132" y="connsiteY4132"/>
                </a:cxn>
                <a:cxn ang="0">
                  <a:pos x="connsiteX4133" y="connsiteY4133"/>
                </a:cxn>
                <a:cxn ang="0">
                  <a:pos x="connsiteX4134" y="connsiteY4134"/>
                </a:cxn>
                <a:cxn ang="0">
                  <a:pos x="connsiteX4135" y="connsiteY4135"/>
                </a:cxn>
                <a:cxn ang="0">
                  <a:pos x="connsiteX4136" y="connsiteY4136"/>
                </a:cxn>
                <a:cxn ang="0">
                  <a:pos x="connsiteX4137" y="connsiteY4137"/>
                </a:cxn>
                <a:cxn ang="0">
                  <a:pos x="connsiteX4138" y="connsiteY4138"/>
                </a:cxn>
                <a:cxn ang="0">
                  <a:pos x="connsiteX4139" y="connsiteY4139"/>
                </a:cxn>
                <a:cxn ang="0">
                  <a:pos x="connsiteX4140" y="connsiteY4140"/>
                </a:cxn>
                <a:cxn ang="0">
                  <a:pos x="connsiteX4141" y="connsiteY4141"/>
                </a:cxn>
                <a:cxn ang="0">
                  <a:pos x="connsiteX4142" y="connsiteY4142"/>
                </a:cxn>
                <a:cxn ang="0">
                  <a:pos x="connsiteX4143" y="connsiteY4143"/>
                </a:cxn>
                <a:cxn ang="0">
                  <a:pos x="connsiteX4144" y="connsiteY4144"/>
                </a:cxn>
                <a:cxn ang="0">
                  <a:pos x="connsiteX4145" y="connsiteY4145"/>
                </a:cxn>
                <a:cxn ang="0">
                  <a:pos x="connsiteX4146" y="connsiteY4146"/>
                </a:cxn>
                <a:cxn ang="0">
                  <a:pos x="connsiteX4147" y="connsiteY4147"/>
                </a:cxn>
                <a:cxn ang="0">
                  <a:pos x="connsiteX4148" y="connsiteY4148"/>
                </a:cxn>
                <a:cxn ang="0">
                  <a:pos x="connsiteX4149" y="connsiteY4149"/>
                </a:cxn>
                <a:cxn ang="0">
                  <a:pos x="connsiteX4150" y="connsiteY4150"/>
                </a:cxn>
                <a:cxn ang="0">
                  <a:pos x="connsiteX4151" y="connsiteY4151"/>
                </a:cxn>
                <a:cxn ang="0">
                  <a:pos x="connsiteX4152" y="connsiteY4152"/>
                </a:cxn>
                <a:cxn ang="0">
                  <a:pos x="connsiteX4153" y="connsiteY4153"/>
                </a:cxn>
                <a:cxn ang="0">
                  <a:pos x="connsiteX4154" y="connsiteY4154"/>
                </a:cxn>
                <a:cxn ang="0">
                  <a:pos x="connsiteX4155" y="connsiteY4155"/>
                </a:cxn>
                <a:cxn ang="0">
                  <a:pos x="connsiteX4156" y="connsiteY4156"/>
                </a:cxn>
                <a:cxn ang="0">
                  <a:pos x="connsiteX4157" y="connsiteY4157"/>
                </a:cxn>
                <a:cxn ang="0">
                  <a:pos x="connsiteX4158" y="connsiteY4158"/>
                </a:cxn>
                <a:cxn ang="0">
                  <a:pos x="connsiteX4159" y="connsiteY4159"/>
                </a:cxn>
                <a:cxn ang="0">
                  <a:pos x="connsiteX4160" y="connsiteY4160"/>
                </a:cxn>
                <a:cxn ang="0">
                  <a:pos x="connsiteX4161" y="connsiteY4161"/>
                </a:cxn>
                <a:cxn ang="0">
                  <a:pos x="connsiteX4162" y="connsiteY4162"/>
                </a:cxn>
                <a:cxn ang="0">
                  <a:pos x="connsiteX4163" y="connsiteY4163"/>
                </a:cxn>
                <a:cxn ang="0">
                  <a:pos x="connsiteX4164" y="connsiteY4164"/>
                </a:cxn>
                <a:cxn ang="0">
                  <a:pos x="connsiteX4165" y="connsiteY4165"/>
                </a:cxn>
                <a:cxn ang="0">
                  <a:pos x="connsiteX4166" y="connsiteY4166"/>
                </a:cxn>
                <a:cxn ang="0">
                  <a:pos x="connsiteX4167" y="connsiteY4167"/>
                </a:cxn>
                <a:cxn ang="0">
                  <a:pos x="connsiteX4168" y="connsiteY4168"/>
                </a:cxn>
                <a:cxn ang="0">
                  <a:pos x="connsiteX4169" y="connsiteY4169"/>
                </a:cxn>
                <a:cxn ang="0">
                  <a:pos x="connsiteX4170" y="connsiteY4170"/>
                </a:cxn>
                <a:cxn ang="0">
                  <a:pos x="connsiteX4171" y="connsiteY4171"/>
                </a:cxn>
                <a:cxn ang="0">
                  <a:pos x="connsiteX4172" y="connsiteY4172"/>
                </a:cxn>
                <a:cxn ang="0">
                  <a:pos x="connsiteX4173" y="connsiteY4173"/>
                </a:cxn>
                <a:cxn ang="0">
                  <a:pos x="connsiteX4174" y="connsiteY4174"/>
                </a:cxn>
                <a:cxn ang="0">
                  <a:pos x="connsiteX4175" y="connsiteY4175"/>
                </a:cxn>
                <a:cxn ang="0">
                  <a:pos x="connsiteX4176" y="connsiteY4176"/>
                </a:cxn>
                <a:cxn ang="0">
                  <a:pos x="connsiteX4177" y="connsiteY4177"/>
                </a:cxn>
                <a:cxn ang="0">
                  <a:pos x="connsiteX4178" y="connsiteY4178"/>
                </a:cxn>
                <a:cxn ang="0">
                  <a:pos x="connsiteX4179" y="connsiteY4179"/>
                </a:cxn>
                <a:cxn ang="0">
                  <a:pos x="connsiteX4180" y="connsiteY4180"/>
                </a:cxn>
                <a:cxn ang="0">
                  <a:pos x="connsiteX4181" y="connsiteY4181"/>
                </a:cxn>
                <a:cxn ang="0">
                  <a:pos x="connsiteX4182" y="connsiteY4182"/>
                </a:cxn>
                <a:cxn ang="0">
                  <a:pos x="connsiteX4183" y="connsiteY4183"/>
                </a:cxn>
                <a:cxn ang="0">
                  <a:pos x="connsiteX4184" y="connsiteY4184"/>
                </a:cxn>
                <a:cxn ang="0">
                  <a:pos x="connsiteX4185" y="connsiteY4185"/>
                </a:cxn>
                <a:cxn ang="0">
                  <a:pos x="connsiteX4186" y="connsiteY4186"/>
                </a:cxn>
                <a:cxn ang="0">
                  <a:pos x="connsiteX4187" y="connsiteY4187"/>
                </a:cxn>
                <a:cxn ang="0">
                  <a:pos x="connsiteX4188" y="connsiteY4188"/>
                </a:cxn>
                <a:cxn ang="0">
                  <a:pos x="connsiteX4189" y="connsiteY4189"/>
                </a:cxn>
                <a:cxn ang="0">
                  <a:pos x="connsiteX4190" y="connsiteY4190"/>
                </a:cxn>
                <a:cxn ang="0">
                  <a:pos x="connsiteX4191" y="connsiteY4191"/>
                </a:cxn>
                <a:cxn ang="0">
                  <a:pos x="connsiteX4192" y="connsiteY4192"/>
                </a:cxn>
                <a:cxn ang="0">
                  <a:pos x="connsiteX4193" y="connsiteY4193"/>
                </a:cxn>
                <a:cxn ang="0">
                  <a:pos x="connsiteX4194" y="connsiteY4194"/>
                </a:cxn>
                <a:cxn ang="0">
                  <a:pos x="connsiteX4195" y="connsiteY4195"/>
                </a:cxn>
                <a:cxn ang="0">
                  <a:pos x="connsiteX4196" y="connsiteY4196"/>
                </a:cxn>
                <a:cxn ang="0">
                  <a:pos x="connsiteX4197" y="connsiteY4197"/>
                </a:cxn>
                <a:cxn ang="0">
                  <a:pos x="connsiteX4198" y="connsiteY4198"/>
                </a:cxn>
                <a:cxn ang="0">
                  <a:pos x="connsiteX4199" y="connsiteY4199"/>
                </a:cxn>
                <a:cxn ang="0">
                  <a:pos x="connsiteX4200" y="connsiteY4200"/>
                </a:cxn>
                <a:cxn ang="0">
                  <a:pos x="connsiteX4201" y="connsiteY4201"/>
                </a:cxn>
                <a:cxn ang="0">
                  <a:pos x="connsiteX4202" y="connsiteY4202"/>
                </a:cxn>
                <a:cxn ang="0">
                  <a:pos x="connsiteX4203" y="connsiteY4203"/>
                </a:cxn>
                <a:cxn ang="0">
                  <a:pos x="connsiteX4204" y="connsiteY4204"/>
                </a:cxn>
                <a:cxn ang="0">
                  <a:pos x="connsiteX4205" y="connsiteY4205"/>
                </a:cxn>
                <a:cxn ang="0">
                  <a:pos x="connsiteX4206" y="connsiteY4206"/>
                </a:cxn>
                <a:cxn ang="0">
                  <a:pos x="connsiteX4207" y="connsiteY4207"/>
                </a:cxn>
                <a:cxn ang="0">
                  <a:pos x="connsiteX4208" y="connsiteY4208"/>
                </a:cxn>
                <a:cxn ang="0">
                  <a:pos x="connsiteX4209" y="connsiteY4209"/>
                </a:cxn>
                <a:cxn ang="0">
                  <a:pos x="connsiteX4210" y="connsiteY4210"/>
                </a:cxn>
                <a:cxn ang="0">
                  <a:pos x="connsiteX4211" y="connsiteY4211"/>
                </a:cxn>
                <a:cxn ang="0">
                  <a:pos x="connsiteX4212" y="connsiteY4212"/>
                </a:cxn>
                <a:cxn ang="0">
                  <a:pos x="connsiteX4213" y="connsiteY4213"/>
                </a:cxn>
                <a:cxn ang="0">
                  <a:pos x="connsiteX4214" y="connsiteY4214"/>
                </a:cxn>
                <a:cxn ang="0">
                  <a:pos x="connsiteX4215" y="connsiteY4215"/>
                </a:cxn>
                <a:cxn ang="0">
                  <a:pos x="connsiteX4216" y="connsiteY4216"/>
                </a:cxn>
                <a:cxn ang="0">
                  <a:pos x="connsiteX4217" y="connsiteY4217"/>
                </a:cxn>
                <a:cxn ang="0">
                  <a:pos x="connsiteX4218" y="connsiteY4218"/>
                </a:cxn>
                <a:cxn ang="0">
                  <a:pos x="connsiteX4219" y="connsiteY4219"/>
                </a:cxn>
                <a:cxn ang="0">
                  <a:pos x="connsiteX4220" y="connsiteY4220"/>
                </a:cxn>
                <a:cxn ang="0">
                  <a:pos x="connsiteX4221" y="connsiteY4221"/>
                </a:cxn>
                <a:cxn ang="0">
                  <a:pos x="connsiteX4222" y="connsiteY4222"/>
                </a:cxn>
                <a:cxn ang="0">
                  <a:pos x="connsiteX4223" y="connsiteY4223"/>
                </a:cxn>
                <a:cxn ang="0">
                  <a:pos x="connsiteX4224" y="connsiteY4224"/>
                </a:cxn>
                <a:cxn ang="0">
                  <a:pos x="connsiteX4225" y="connsiteY4225"/>
                </a:cxn>
                <a:cxn ang="0">
                  <a:pos x="connsiteX4226" y="connsiteY4226"/>
                </a:cxn>
                <a:cxn ang="0">
                  <a:pos x="connsiteX4227" y="connsiteY4227"/>
                </a:cxn>
                <a:cxn ang="0">
                  <a:pos x="connsiteX4228" y="connsiteY4228"/>
                </a:cxn>
                <a:cxn ang="0">
                  <a:pos x="connsiteX4229" y="connsiteY4229"/>
                </a:cxn>
                <a:cxn ang="0">
                  <a:pos x="connsiteX4230" y="connsiteY4230"/>
                </a:cxn>
                <a:cxn ang="0">
                  <a:pos x="connsiteX4231" y="connsiteY4231"/>
                </a:cxn>
                <a:cxn ang="0">
                  <a:pos x="connsiteX4232" y="connsiteY4232"/>
                </a:cxn>
                <a:cxn ang="0">
                  <a:pos x="connsiteX4233" y="connsiteY4233"/>
                </a:cxn>
                <a:cxn ang="0">
                  <a:pos x="connsiteX4234" y="connsiteY4234"/>
                </a:cxn>
                <a:cxn ang="0">
                  <a:pos x="connsiteX4235" y="connsiteY4235"/>
                </a:cxn>
                <a:cxn ang="0">
                  <a:pos x="connsiteX4236" y="connsiteY4236"/>
                </a:cxn>
                <a:cxn ang="0">
                  <a:pos x="connsiteX4237" y="connsiteY4237"/>
                </a:cxn>
                <a:cxn ang="0">
                  <a:pos x="connsiteX4238" y="connsiteY4238"/>
                </a:cxn>
                <a:cxn ang="0">
                  <a:pos x="connsiteX4239" y="connsiteY4239"/>
                </a:cxn>
                <a:cxn ang="0">
                  <a:pos x="connsiteX4240" y="connsiteY4240"/>
                </a:cxn>
                <a:cxn ang="0">
                  <a:pos x="connsiteX4241" y="connsiteY4241"/>
                </a:cxn>
                <a:cxn ang="0">
                  <a:pos x="connsiteX4242" y="connsiteY4242"/>
                </a:cxn>
                <a:cxn ang="0">
                  <a:pos x="connsiteX4243" y="connsiteY4243"/>
                </a:cxn>
                <a:cxn ang="0">
                  <a:pos x="connsiteX4244" y="connsiteY4244"/>
                </a:cxn>
                <a:cxn ang="0">
                  <a:pos x="connsiteX4245" y="connsiteY4245"/>
                </a:cxn>
                <a:cxn ang="0">
                  <a:pos x="connsiteX4246" y="connsiteY4246"/>
                </a:cxn>
                <a:cxn ang="0">
                  <a:pos x="connsiteX4247" y="connsiteY4247"/>
                </a:cxn>
                <a:cxn ang="0">
                  <a:pos x="connsiteX4248" y="connsiteY4248"/>
                </a:cxn>
                <a:cxn ang="0">
                  <a:pos x="connsiteX4249" y="connsiteY4249"/>
                </a:cxn>
                <a:cxn ang="0">
                  <a:pos x="connsiteX4250" y="connsiteY4250"/>
                </a:cxn>
                <a:cxn ang="0">
                  <a:pos x="connsiteX4251" y="connsiteY4251"/>
                </a:cxn>
                <a:cxn ang="0">
                  <a:pos x="connsiteX4252" y="connsiteY4252"/>
                </a:cxn>
                <a:cxn ang="0">
                  <a:pos x="connsiteX4253" y="connsiteY4253"/>
                </a:cxn>
                <a:cxn ang="0">
                  <a:pos x="connsiteX4254" y="connsiteY4254"/>
                </a:cxn>
                <a:cxn ang="0">
                  <a:pos x="connsiteX4255" y="connsiteY4255"/>
                </a:cxn>
                <a:cxn ang="0">
                  <a:pos x="connsiteX4256" y="connsiteY4256"/>
                </a:cxn>
                <a:cxn ang="0">
                  <a:pos x="connsiteX4257" y="connsiteY4257"/>
                </a:cxn>
                <a:cxn ang="0">
                  <a:pos x="connsiteX4258" y="connsiteY4258"/>
                </a:cxn>
                <a:cxn ang="0">
                  <a:pos x="connsiteX4259" y="connsiteY4259"/>
                </a:cxn>
                <a:cxn ang="0">
                  <a:pos x="connsiteX4260" y="connsiteY4260"/>
                </a:cxn>
                <a:cxn ang="0">
                  <a:pos x="connsiteX4261" y="connsiteY4261"/>
                </a:cxn>
                <a:cxn ang="0">
                  <a:pos x="connsiteX4262" y="connsiteY4262"/>
                </a:cxn>
                <a:cxn ang="0">
                  <a:pos x="connsiteX4263" y="connsiteY4263"/>
                </a:cxn>
                <a:cxn ang="0">
                  <a:pos x="connsiteX4264" y="connsiteY4264"/>
                </a:cxn>
                <a:cxn ang="0">
                  <a:pos x="connsiteX4265" y="connsiteY4265"/>
                </a:cxn>
                <a:cxn ang="0">
                  <a:pos x="connsiteX4266" y="connsiteY4266"/>
                </a:cxn>
                <a:cxn ang="0">
                  <a:pos x="connsiteX4267" y="connsiteY4267"/>
                </a:cxn>
                <a:cxn ang="0">
                  <a:pos x="connsiteX4268" y="connsiteY4268"/>
                </a:cxn>
                <a:cxn ang="0">
                  <a:pos x="connsiteX4269" y="connsiteY4269"/>
                </a:cxn>
                <a:cxn ang="0">
                  <a:pos x="connsiteX4270" y="connsiteY4270"/>
                </a:cxn>
                <a:cxn ang="0">
                  <a:pos x="connsiteX4271" y="connsiteY4271"/>
                </a:cxn>
                <a:cxn ang="0">
                  <a:pos x="connsiteX4272" y="connsiteY4272"/>
                </a:cxn>
                <a:cxn ang="0">
                  <a:pos x="connsiteX4273" y="connsiteY4273"/>
                </a:cxn>
                <a:cxn ang="0">
                  <a:pos x="connsiteX4274" y="connsiteY4274"/>
                </a:cxn>
                <a:cxn ang="0">
                  <a:pos x="connsiteX4275" y="connsiteY4275"/>
                </a:cxn>
                <a:cxn ang="0">
                  <a:pos x="connsiteX4276" y="connsiteY4276"/>
                </a:cxn>
                <a:cxn ang="0">
                  <a:pos x="connsiteX4277" y="connsiteY4277"/>
                </a:cxn>
                <a:cxn ang="0">
                  <a:pos x="connsiteX4278" y="connsiteY4278"/>
                </a:cxn>
                <a:cxn ang="0">
                  <a:pos x="connsiteX4279" y="connsiteY4279"/>
                </a:cxn>
                <a:cxn ang="0">
                  <a:pos x="connsiteX4280" y="connsiteY4280"/>
                </a:cxn>
                <a:cxn ang="0">
                  <a:pos x="connsiteX4281" y="connsiteY4281"/>
                </a:cxn>
                <a:cxn ang="0">
                  <a:pos x="connsiteX4282" y="connsiteY4282"/>
                </a:cxn>
                <a:cxn ang="0">
                  <a:pos x="connsiteX4283" y="connsiteY4283"/>
                </a:cxn>
                <a:cxn ang="0">
                  <a:pos x="connsiteX4284" y="connsiteY4284"/>
                </a:cxn>
                <a:cxn ang="0">
                  <a:pos x="connsiteX4285" y="connsiteY4285"/>
                </a:cxn>
                <a:cxn ang="0">
                  <a:pos x="connsiteX4286" y="connsiteY4286"/>
                </a:cxn>
                <a:cxn ang="0">
                  <a:pos x="connsiteX4287" y="connsiteY4287"/>
                </a:cxn>
                <a:cxn ang="0">
                  <a:pos x="connsiteX4288" y="connsiteY4288"/>
                </a:cxn>
                <a:cxn ang="0">
                  <a:pos x="connsiteX4289" y="connsiteY4289"/>
                </a:cxn>
                <a:cxn ang="0">
                  <a:pos x="connsiteX4290" y="connsiteY4290"/>
                </a:cxn>
                <a:cxn ang="0">
                  <a:pos x="connsiteX4291" y="connsiteY4291"/>
                </a:cxn>
                <a:cxn ang="0">
                  <a:pos x="connsiteX4292" y="connsiteY4292"/>
                </a:cxn>
                <a:cxn ang="0">
                  <a:pos x="connsiteX4293" y="connsiteY4293"/>
                </a:cxn>
                <a:cxn ang="0">
                  <a:pos x="connsiteX4294" y="connsiteY4294"/>
                </a:cxn>
                <a:cxn ang="0">
                  <a:pos x="connsiteX4295" y="connsiteY4295"/>
                </a:cxn>
                <a:cxn ang="0">
                  <a:pos x="connsiteX4296" y="connsiteY4296"/>
                </a:cxn>
                <a:cxn ang="0">
                  <a:pos x="connsiteX4297" y="connsiteY4297"/>
                </a:cxn>
                <a:cxn ang="0">
                  <a:pos x="connsiteX4298" y="connsiteY4298"/>
                </a:cxn>
                <a:cxn ang="0">
                  <a:pos x="connsiteX4299" y="connsiteY4299"/>
                </a:cxn>
                <a:cxn ang="0">
                  <a:pos x="connsiteX4300" y="connsiteY4300"/>
                </a:cxn>
                <a:cxn ang="0">
                  <a:pos x="connsiteX4301" y="connsiteY4301"/>
                </a:cxn>
                <a:cxn ang="0">
                  <a:pos x="connsiteX4302" y="connsiteY4302"/>
                </a:cxn>
                <a:cxn ang="0">
                  <a:pos x="connsiteX4303" y="connsiteY4303"/>
                </a:cxn>
                <a:cxn ang="0">
                  <a:pos x="connsiteX4304" y="connsiteY4304"/>
                </a:cxn>
                <a:cxn ang="0">
                  <a:pos x="connsiteX4305" y="connsiteY4305"/>
                </a:cxn>
                <a:cxn ang="0">
                  <a:pos x="connsiteX4306" y="connsiteY4306"/>
                </a:cxn>
                <a:cxn ang="0">
                  <a:pos x="connsiteX4307" y="connsiteY4307"/>
                </a:cxn>
                <a:cxn ang="0">
                  <a:pos x="connsiteX4308" y="connsiteY4308"/>
                </a:cxn>
                <a:cxn ang="0">
                  <a:pos x="connsiteX4309" y="connsiteY4309"/>
                </a:cxn>
                <a:cxn ang="0">
                  <a:pos x="connsiteX4310" y="connsiteY4310"/>
                </a:cxn>
                <a:cxn ang="0">
                  <a:pos x="connsiteX4311" y="connsiteY4311"/>
                </a:cxn>
                <a:cxn ang="0">
                  <a:pos x="connsiteX4312" y="connsiteY4312"/>
                </a:cxn>
                <a:cxn ang="0">
                  <a:pos x="connsiteX4313" y="connsiteY4313"/>
                </a:cxn>
                <a:cxn ang="0">
                  <a:pos x="connsiteX4314" y="connsiteY4314"/>
                </a:cxn>
                <a:cxn ang="0">
                  <a:pos x="connsiteX4315" y="connsiteY4315"/>
                </a:cxn>
                <a:cxn ang="0">
                  <a:pos x="connsiteX4316" y="connsiteY4316"/>
                </a:cxn>
                <a:cxn ang="0">
                  <a:pos x="connsiteX4317" y="connsiteY4317"/>
                </a:cxn>
                <a:cxn ang="0">
                  <a:pos x="connsiteX4318" y="connsiteY4318"/>
                </a:cxn>
                <a:cxn ang="0">
                  <a:pos x="connsiteX4319" y="connsiteY4319"/>
                </a:cxn>
                <a:cxn ang="0">
                  <a:pos x="connsiteX4320" y="connsiteY4320"/>
                </a:cxn>
                <a:cxn ang="0">
                  <a:pos x="connsiteX4321" y="connsiteY4321"/>
                </a:cxn>
                <a:cxn ang="0">
                  <a:pos x="connsiteX4322" y="connsiteY4322"/>
                </a:cxn>
                <a:cxn ang="0">
                  <a:pos x="connsiteX4323" y="connsiteY4323"/>
                </a:cxn>
                <a:cxn ang="0">
                  <a:pos x="connsiteX4324" y="connsiteY4324"/>
                </a:cxn>
                <a:cxn ang="0">
                  <a:pos x="connsiteX4325" y="connsiteY4325"/>
                </a:cxn>
                <a:cxn ang="0">
                  <a:pos x="connsiteX4326" y="connsiteY4326"/>
                </a:cxn>
                <a:cxn ang="0">
                  <a:pos x="connsiteX4327" y="connsiteY4327"/>
                </a:cxn>
                <a:cxn ang="0">
                  <a:pos x="connsiteX4328" y="connsiteY4328"/>
                </a:cxn>
                <a:cxn ang="0">
                  <a:pos x="connsiteX4329" y="connsiteY4329"/>
                </a:cxn>
                <a:cxn ang="0">
                  <a:pos x="connsiteX4330" y="connsiteY4330"/>
                </a:cxn>
                <a:cxn ang="0">
                  <a:pos x="connsiteX4331" y="connsiteY4331"/>
                </a:cxn>
                <a:cxn ang="0">
                  <a:pos x="connsiteX4332" y="connsiteY4332"/>
                </a:cxn>
                <a:cxn ang="0">
                  <a:pos x="connsiteX4333" y="connsiteY4333"/>
                </a:cxn>
                <a:cxn ang="0">
                  <a:pos x="connsiteX4334" y="connsiteY4334"/>
                </a:cxn>
                <a:cxn ang="0">
                  <a:pos x="connsiteX4335" y="connsiteY4335"/>
                </a:cxn>
                <a:cxn ang="0">
                  <a:pos x="connsiteX4336" y="connsiteY4336"/>
                </a:cxn>
                <a:cxn ang="0">
                  <a:pos x="connsiteX4337" y="connsiteY4337"/>
                </a:cxn>
                <a:cxn ang="0">
                  <a:pos x="connsiteX4338" y="connsiteY4338"/>
                </a:cxn>
                <a:cxn ang="0">
                  <a:pos x="connsiteX4339" y="connsiteY4339"/>
                </a:cxn>
                <a:cxn ang="0">
                  <a:pos x="connsiteX4340" y="connsiteY4340"/>
                </a:cxn>
                <a:cxn ang="0">
                  <a:pos x="connsiteX4341" y="connsiteY4341"/>
                </a:cxn>
                <a:cxn ang="0">
                  <a:pos x="connsiteX4342" y="connsiteY4342"/>
                </a:cxn>
                <a:cxn ang="0">
                  <a:pos x="connsiteX4343" y="connsiteY4343"/>
                </a:cxn>
                <a:cxn ang="0">
                  <a:pos x="connsiteX4344" y="connsiteY4344"/>
                </a:cxn>
                <a:cxn ang="0">
                  <a:pos x="connsiteX4345" y="connsiteY4345"/>
                </a:cxn>
                <a:cxn ang="0">
                  <a:pos x="connsiteX4346" y="connsiteY4346"/>
                </a:cxn>
                <a:cxn ang="0">
                  <a:pos x="connsiteX4347" y="connsiteY4347"/>
                </a:cxn>
                <a:cxn ang="0">
                  <a:pos x="connsiteX4348" y="connsiteY4348"/>
                </a:cxn>
                <a:cxn ang="0">
                  <a:pos x="connsiteX4349" y="connsiteY4349"/>
                </a:cxn>
                <a:cxn ang="0">
                  <a:pos x="connsiteX4350" y="connsiteY4350"/>
                </a:cxn>
                <a:cxn ang="0">
                  <a:pos x="connsiteX4351" y="connsiteY4351"/>
                </a:cxn>
                <a:cxn ang="0">
                  <a:pos x="connsiteX4352" y="connsiteY4352"/>
                </a:cxn>
                <a:cxn ang="0">
                  <a:pos x="connsiteX4353" y="connsiteY4353"/>
                </a:cxn>
                <a:cxn ang="0">
                  <a:pos x="connsiteX4354" y="connsiteY4354"/>
                </a:cxn>
                <a:cxn ang="0">
                  <a:pos x="connsiteX4355" y="connsiteY4355"/>
                </a:cxn>
                <a:cxn ang="0">
                  <a:pos x="connsiteX4356" y="connsiteY4356"/>
                </a:cxn>
                <a:cxn ang="0">
                  <a:pos x="connsiteX4357" y="connsiteY4357"/>
                </a:cxn>
                <a:cxn ang="0">
                  <a:pos x="connsiteX4358" y="connsiteY4358"/>
                </a:cxn>
                <a:cxn ang="0">
                  <a:pos x="connsiteX4359" y="connsiteY4359"/>
                </a:cxn>
                <a:cxn ang="0">
                  <a:pos x="connsiteX4360" y="connsiteY4360"/>
                </a:cxn>
                <a:cxn ang="0">
                  <a:pos x="connsiteX4361" y="connsiteY4361"/>
                </a:cxn>
                <a:cxn ang="0">
                  <a:pos x="connsiteX4362" y="connsiteY4362"/>
                </a:cxn>
                <a:cxn ang="0">
                  <a:pos x="connsiteX4363" y="connsiteY4363"/>
                </a:cxn>
                <a:cxn ang="0">
                  <a:pos x="connsiteX4364" y="connsiteY4364"/>
                </a:cxn>
                <a:cxn ang="0">
                  <a:pos x="connsiteX4365" y="connsiteY4365"/>
                </a:cxn>
                <a:cxn ang="0">
                  <a:pos x="connsiteX4366" y="connsiteY4366"/>
                </a:cxn>
                <a:cxn ang="0">
                  <a:pos x="connsiteX4367" y="connsiteY4367"/>
                </a:cxn>
                <a:cxn ang="0">
                  <a:pos x="connsiteX4368" y="connsiteY4368"/>
                </a:cxn>
                <a:cxn ang="0">
                  <a:pos x="connsiteX4369" y="connsiteY4369"/>
                </a:cxn>
                <a:cxn ang="0">
                  <a:pos x="connsiteX4370" y="connsiteY4370"/>
                </a:cxn>
                <a:cxn ang="0">
                  <a:pos x="connsiteX4371" y="connsiteY4371"/>
                </a:cxn>
                <a:cxn ang="0">
                  <a:pos x="connsiteX4372" y="connsiteY4372"/>
                </a:cxn>
                <a:cxn ang="0">
                  <a:pos x="connsiteX4373" y="connsiteY4373"/>
                </a:cxn>
                <a:cxn ang="0">
                  <a:pos x="connsiteX4374" y="connsiteY4374"/>
                </a:cxn>
                <a:cxn ang="0">
                  <a:pos x="connsiteX4375" y="connsiteY4375"/>
                </a:cxn>
                <a:cxn ang="0">
                  <a:pos x="connsiteX4376" y="connsiteY4376"/>
                </a:cxn>
                <a:cxn ang="0">
                  <a:pos x="connsiteX4377" y="connsiteY4377"/>
                </a:cxn>
                <a:cxn ang="0">
                  <a:pos x="connsiteX4378" y="connsiteY4378"/>
                </a:cxn>
                <a:cxn ang="0">
                  <a:pos x="connsiteX4379" y="connsiteY4379"/>
                </a:cxn>
                <a:cxn ang="0">
                  <a:pos x="connsiteX4380" y="connsiteY4380"/>
                </a:cxn>
                <a:cxn ang="0">
                  <a:pos x="connsiteX4381" y="connsiteY4381"/>
                </a:cxn>
                <a:cxn ang="0">
                  <a:pos x="connsiteX4382" y="connsiteY4382"/>
                </a:cxn>
                <a:cxn ang="0">
                  <a:pos x="connsiteX4383" y="connsiteY4383"/>
                </a:cxn>
                <a:cxn ang="0">
                  <a:pos x="connsiteX4384" y="connsiteY4384"/>
                </a:cxn>
                <a:cxn ang="0">
                  <a:pos x="connsiteX4385" y="connsiteY4385"/>
                </a:cxn>
                <a:cxn ang="0">
                  <a:pos x="connsiteX4386" y="connsiteY4386"/>
                </a:cxn>
                <a:cxn ang="0">
                  <a:pos x="connsiteX4387" y="connsiteY4387"/>
                </a:cxn>
                <a:cxn ang="0">
                  <a:pos x="connsiteX4388" y="connsiteY4388"/>
                </a:cxn>
                <a:cxn ang="0">
                  <a:pos x="connsiteX4389" y="connsiteY4389"/>
                </a:cxn>
                <a:cxn ang="0">
                  <a:pos x="connsiteX4390" y="connsiteY4390"/>
                </a:cxn>
                <a:cxn ang="0">
                  <a:pos x="connsiteX4391" y="connsiteY4391"/>
                </a:cxn>
                <a:cxn ang="0">
                  <a:pos x="connsiteX4392" y="connsiteY4392"/>
                </a:cxn>
                <a:cxn ang="0">
                  <a:pos x="connsiteX4393" y="connsiteY4393"/>
                </a:cxn>
                <a:cxn ang="0">
                  <a:pos x="connsiteX4394" y="connsiteY4394"/>
                </a:cxn>
                <a:cxn ang="0">
                  <a:pos x="connsiteX4395" y="connsiteY4395"/>
                </a:cxn>
                <a:cxn ang="0">
                  <a:pos x="connsiteX4396" y="connsiteY4396"/>
                </a:cxn>
                <a:cxn ang="0">
                  <a:pos x="connsiteX4397" y="connsiteY4397"/>
                </a:cxn>
                <a:cxn ang="0">
                  <a:pos x="connsiteX4398" y="connsiteY4398"/>
                </a:cxn>
                <a:cxn ang="0">
                  <a:pos x="connsiteX4399" y="connsiteY4399"/>
                </a:cxn>
                <a:cxn ang="0">
                  <a:pos x="connsiteX4400" y="connsiteY4400"/>
                </a:cxn>
                <a:cxn ang="0">
                  <a:pos x="connsiteX4401" y="connsiteY4401"/>
                </a:cxn>
                <a:cxn ang="0">
                  <a:pos x="connsiteX4402" y="connsiteY4402"/>
                </a:cxn>
                <a:cxn ang="0">
                  <a:pos x="connsiteX4403" y="connsiteY4403"/>
                </a:cxn>
                <a:cxn ang="0">
                  <a:pos x="connsiteX4404" y="connsiteY4404"/>
                </a:cxn>
                <a:cxn ang="0">
                  <a:pos x="connsiteX4405" y="connsiteY4405"/>
                </a:cxn>
                <a:cxn ang="0">
                  <a:pos x="connsiteX4406" y="connsiteY4406"/>
                </a:cxn>
                <a:cxn ang="0">
                  <a:pos x="connsiteX4407" y="connsiteY4407"/>
                </a:cxn>
                <a:cxn ang="0">
                  <a:pos x="connsiteX4408" y="connsiteY4408"/>
                </a:cxn>
                <a:cxn ang="0">
                  <a:pos x="connsiteX4409" y="connsiteY4409"/>
                </a:cxn>
                <a:cxn ang="0">
                  <a:pos x="connsiteX4410" y="connsiteY4410"/>
                </a:cxn>
                <a:cxn ang="0">
                  <a:pos x="connsiteX4411" y="connsiteY4411"/>
                </a:cxn>
                <a:cxn ang="0">
                  <a:pos x="connsiteX4412" y="connsiteY4412"/>
                </a:cxn>
                <a:cxn ang="0">
                  <a:pos x="connsiteX4413" y="connsiteY4413"/>
                </a:cxn>
                <a:cxn ang="0">
                  <a:pos x="connsiteX4414" y="connsiteY4414"/>
                </a:cxn>
                <a:cxn ang="0">
                  <a:pos x="connsiteX4415" y="connsiteY4415"/>
                </a:cxn>
                <a:cxn ang="0">
                  <a:pos x="connsiteX4416" y="connsiteY4416"/>
                </a:cxn>
                <a:cxn ang="0">
                  <a:pos x="connsiteX4417" y="connsiteY4417"/>
                </a:cxn>
                <a:cxn ang="0">
                  <a:pos x="connsiteX4418" y="connsiteY4418"/>
                </a:cxn>
                <a:cxn ang="0">
                  <a:pos x="connsiteX4419" y="connsiteY4419"/>
                </a:cxn>
                <a:cxn ang="0">
                  <a:pos x="connsiteX4420" y="connsiteY4420"/>
                </a:cxn>
                <a:cxn ang="0">
                  <a:pos x="connsiteX4421" y="connsiteY4421"/>
                </a:cxn>
                <a:cxn ang="0">
                  <a:pos x="connsiteX4422" y="connsiteY4422"/>
                </a:cxn>
                <a:cxn ang="0">
                  <a:pos x="connsiteX4423" y="connsiteY4423"/>
                </a:cxn>
                <a:cxn ang="0">
                  <a:pos x="connsiteX4424" y="connsiteY4424"/>
                </a:cxn>
                <a:cxn ang="0">
                  <a:pos x="connsiteX4425" y="connsiteY4425"/>
                </a:cxn>
                <a:cxn ang="0">
                  <a:pos x="connsiteX4426" y="connsiteY4426"/>
                </a:cxn>
                <a:cxn ang="0">
                  <a:pos x="connsiteX4427" y="connsiteY4427"/>
                </a:cxn>
                <a:cxn ang="0">
                  <a:pos x="connsiteX4428" y="connsiteY4428"/>
                </a:cxn>
                <a:cxn ang="0">
                  <a:pos x="connsiteX4429" y="connsiteY4429"/>
                </a:cxn>
                <a:cxn ang="0">
                  <a:pos x="connsiteX4430" y="connsiteY4430"/>
                </a:cxn>
                <a:cxn ang="0">
                  <a:pos x="connsiteX4431" y="connsiteY4431"/>
                </a:cxn>
                <a:cxn ang="0">
                  <a:pos x="connsiteX4432" y="connsiteY4432"/>
                </a:cxn>
                <a:cxn ang="0">
                  <a:pos x="connsiteX4433" y="connsiteY4433"/>
                </a:cxn>
                <a:cxn ang="0">
                  <a:pos x="connsiteX4434" y="connsiteY4434"/>
                </a:cxn>
                <a:cxn ang="0">
                  <a:pos x="connsiteX4435" y="connsiteY4435"/>
                </a:cxn>
                <a:cxn ang="0">
                  <a:pos x="connsiteX4436" y="connsiteY4436"/>
                </a:cxn>
                <a:cxn ang="0">
                  <a:pos x="connsiteX4437" y="connsiteY4437"/>
                </a:cxn>
                <a:cxn ang="0">
                  <a:pos x="connsiteX4438" y="connsiteY4438"/>
                </a:cxn>
                <a:cxn ang="0">
                  <a:pos x="connsiteX4439" y="connsiteY4439"/>
                </a:cxn>
                <a:cxn ang="0">
                  <a:pos x="connsiteX4440" y="connsiteY4440"/>
                </a:cxn>
                <a:cxn ang="0">
                  <a:pos x="connsiteX4441" y="connsiteY4441"/>
                </a:cxn>
                <a:cxn ang="0">
                  <a:pos x="connsiteX4442" y="connsiteY4442"/>
                </a:cxn>
                <a:cxn ang="0">
                  <a:pos x="connsiteX4443" y="connsiteY4443"/>
                </a:cxn>
                <a:cxn ang="0">
                  <a:pos x="connsiteX4444" y="connsiteY4444"/>
                </a:cxn>
                <a:cxn ang="0">
                  <a:pos x="connsiteX4445" y="connsiteY4445"/>
                </a:cxn>
                <a:cxn ang="0">
                  <a:pos x="connsiteX4446" y="connsiteY4446"/>
                </a:cxn>
                <a:cxn ang="0">
                  <a:pos x="connsiteX4447" y="connsiteY4447"/>
                </a:cxn>
                <a:cxn ang="0">
                  <a:pos x="connsiteX4448" y="connsiteY4448"/>
                </a:cxn>
                <a:cxn ang="0">
                  <a:pos x="connsiteX4449" y="connsiteY4449"/>
                </a:cxn>
                <a:cxn ang="0">
                  <a:pos x="connsiteX4450" y="connsiteY4450"/>
                </a:cxn>
                <a:cxn ang="0">
                  <a:pos x="connsiteX4451" y="connsiteY4451"/>
                </a:cxn>
                <a:cxn ang="0">
                  <a:pos x="connsiteX4452" y="connsiteY4452"/>
                </a:cxn>
                <a:cxn ang="0">
                  <a:pos x="connsiteX4453" y="connsiteY4453"/>
                </a:cxn>
                <a:cxn ang="0">
                  <a:pos x="connsiteX4454" y="connsiteY4454"/>
                </a:cxn>
                <a:cxn ang="0">
                  <a:pos x="connsiteX4455" y="connsiteY4455"/>
                </a:cxn>
                <a:cxn ang="0">
                  <a:pos x="connsiteX4456" y="connsiteY4456"/>
                </a:cxn>
                <a:cxn ang="0">
                  <a:pos x="connsiteX4457" y="connsiteY4457"/>
                </a:cxn>
                <a:cxn ang="0">
                  <a:pos x="connsiteX4458" y="connsiteY4458"/>
                </a:cxn>
                <a:cxn ang="0">
                  <a:pos x="connsiteX4459" y="connsiteY4459"/>
                </a:cxn>
                <a:cxn ang="0">
                  <a:pos x="connsiteX4460" y="connsiteY4460"/>
                </a:cxn>
                <a:cxn ang="0">
                  <a:pos x="connsiteX4461" y="connsiteY4461"/>
                </a:cxn>
                <a:cxn ang="0">
                  <a:pos x="connsiteX4462" y="connsiteY4462"/>
                </a:cxn>
                <a:cxn ang="0">
                  <a:pos x="connsiteX4463" y="connsiteY4463"/>
                </a:cxn>
                <a:cxn ang="0">
                  <a:pos x="connsiteX4464" y="connsiteY4464"/>
                </a:cxn>
                <a:cxn ang="0">
                  <a:pos x="connsiteX4465" y="connsiteY4465"/>
                </a:cxn>
                <a:cxn ang="0">
                  <a:pos x="connsiteX4466" y="connsiteY4466"/>
                </a:cxn>
                <a:cxn ang="0">
                  <a:pos x="connsiteX4467" y="connsiteY4467"/>
                </a:cxn>
                <a:cxn ang="0">
                  <a:pos x="connsiteX4468" y="connsiteY4468"/>
                </a:cxn>
                <a:cxn ang="0">
                  <a:pos x="connsiteX4469" y="connsiteY4469"/>
                </a:cxn>
                <a:cxn ang="0">
                  <a:pos x="connsiteX4470" y="connsiteY4470"/>
                </a:cxn>
                <a:cxn ang="0">
                  <a:pos x="connsiteX4471" y="connsiteY4471"/>
                </a:cxn>
                <a:cxn ang="0">
                  <a:pos x="connsiteX4472" y="connsiteY4472"/>
                </a:cxn>
                <a:cxn ang="0">
                  <a:pos x="connsiteX4473" y="connsiteY4473"/>
                </a:cxn>
                <a:cxn ang="0">
                  <a:pos x="connsiteX4474" y="connsiteY4474"/>
                </a:cxn>
                <a:cxn ang="0">
                  <a:pos x="connsiteX4475" y="connsiteY4475"/>
                </a:cxn>
                <a:cxn ang="0">
                  <a:pos x="connsiteX4476" y="connsiteY4476"/>
                </a:cxn>
                <a:cxn ang="0">
                  <a:pos x="connsiteX4477" y="connsiteY4477"/>
                </a:cxn>
                <a:cxn ang="0">
                  <a:pos x="connsiteX4478" y="connsiteY4478"/>
                </a:cxn>
                <a:cxn ang="0">
                  <a:pos x="connsiteX4479" y="connsiteY4479"/>
                </a:cxn>
                <a:cxn ang="0">
                  <a:pos x="connsiteX4480" y="connsiteY4480"/>
                </a:cxn>
                <a:cxn ang="0">
                  <a:pos x="connsiteX4481" y="connsiteY4481"/>
                </a:cxn>
                <a:cxn ang="0">
                  <a:pos x="connsiteX4482" y="connsiteY4482"/>
                </a:cxn>
                <a:cxn ang="0">
                  <a:pos x="connsiteX4483" y="connsiteY4483"/>
                </a:cxn>
                <a:cxn ang="0">
                  <a:pos x="connsiteX4484" y="connsiteY4484"/>
                </a:cxn>
                <a:cxn ang="0">
                  <a:pos x="connsiteX4485" y="connsiteY4485"/>
                </a:cxn>
                <a:cxn ang="0">
                  <a:pos x="connsiteX4486" y="connsiteY4486"/>
                </a:cxn>
                <a:cxn ang="0">
                  <a:pos x="connsiteX4487" y="connsiteY4487"/>
                </a:cxn>
                <a:cxn ang="0">
                  <a:pos x="connsiteX4488" y="connsiteY4488"/>
                </a:cxn>
                <a:cxn ang="0">
                  <a:pos x="connsiteX4489" y="connsiteY4489"/>
                </a:cxn>
                <a:cxn ang="0">
                  <a:pos x="connsiteX4490" y="connsiteY4490"/>
                </a:cxn>
                <a:cxn ang="0">
                  <a:pos x="connsiteX4491" y="connsiteY4491"/>
                </a:cxn>
                <a:cxn ang="0">
                  <a:pos x="connsiteX4492" y="connsiteY4492"/>
                </a:cxn>
                <a:cxn ang="0">
                  <a:pos x="connsiteX4493" y="connsiteY4493"/>
                </a:cxn>
                <a:cxn ang="0">
                  <a:pos x="connsiteX4494" y="connsiteY4494"/>
                </a:cxn>
                <a:cxn ang="0">
                  <a:pos x="connsiteX4495" y="connsiteY4495"/>
                </a:cxn>
                <a:cxn ang="0">
                  <a:pos x="connsiteX4496" y="connsiteY4496"/>
                </a:cxn>
                <a:cxn ang="0">
                  <a:pos x="connsiteX4497" y="connsiteY4497"/>
                </a:cxn>
                <a:cxn ang="0">
                  <a:pos x="connsiteX4498" y="connsiteY4498"/>
                </a:cxn>
                <a:cxn ang="0">
                  <a:pos x="connsiteX4499" y="connsiteY4499"/>
                </a:cxn>
                <a:cxn ang="0">
                  <a:pos x="connsiteX4500" y="connsiteY4500"/>
                </a:cxn>
                <a:cxn ang="0">
                  <a:pos x="connsiteX4501" y="connsiteY4501"/>
                </a:cxn>
                <a:cxn ang="0">
                  <a:pos x="connsiteX4502" y="connsiteY4502"/>
                </a:cxn>
                <a:cxn ang="0">
                  <a:pos x="connsiteX4503" y="connsiteY4503"/>
                </a:cxn>
                <a:cxn ang="0">
                  <a:pos x="connsiteX4504" y="connsiteY4504"/>
                </a:cxn>
                <a:cxn ang="0">
                  <a:pos x="connsiteX4505" y="connsiteY4505"/>
                </a:cxn>
                <a:cxn ang="0">
                  <a:pos x="connsiteX4506" y="connsiteY4506"/>
                </a:cxn>
                <a:cxn ang="0">
                  <a:pos x="connsiteX4507" y="connsiteY4507"/>
                </a:cxn>
                <a:cxn ang="0">
                  <a:pos x="connsiteX4508" y="connsiteY4508"/>
                </a:cxn>
                <a:cxn ang="0">
                  <a:pos x="connsiteX4509" y="connsiteY4509"/>
                </a:cxn>
                <a:cxn ang="0">
                  <a:pos x="connsiteX4510" y="connsiteY4510"/>
                </a:cxn>
                <a:cxn ang="0">
                  <a:pos x="connsiteX4511" y="connsiteY4511"/>
                </a:cxn>
                <a:cxn ang="0">
                  <a:pos x="connsiteX4512" y="connsiteY4512"/>
                </a:cxn>
                <a:cxn ang="0">
                  <a:pos x="connsiteX4513" y="connsiteY4513"/>
                </a:cxn>
                <a:cxn ang="0">
                  <a:pos x="connsiteX4514" y="connsiteY4514"/>
                </a:cxn>
                <a:cxn ang="0">
                  <a:pos x="connsiteX4515" y="connsiteY4515"/>
                </a:cxn>
                <a:cxn ang="0">
                  <a:pos x="connsiteX4516" y="connsiteY4516"/>
                </a:cxn>
                <a:cxn ang="0">
                  <a:pos x="connsiteX4517" y="connsiteY4517"/>
                </a:cxn>
                <a:cxn ang="0">
                  <a:pos x="connsiteX4518" y="connsiteY4518"/>
                </a:cxn>
                <a:cxn ang="0">
                  <a:pos x="connsiteX4519" y="connsiteY4519"/>
                </a:cxn>
                <a:cxn ang="0">
                  <a:pos x="connsiteX4520" y="connsiteY4520"/>
                </a:cxn>
                <a:cxn ang="0">
                  <a:pos x="connsiteX4521" y="connsiteY4521"/>
                </a:cxn>
                <a:cxn ang="0">
                  <a:pos x="connsiteX4522" y="connsiteY4522"/>
                </a:cxn>
                <a:cxn ang="0">
                  <a:pos x="connsiteX4523" y="connsiteY4523"/>
                </a:cxn>
                <a:cxn ang="0">
                  <a:pos x="connsiteX4524" y="connsiteY4524"/>
                </a:cxn>
                <a:cxn ang="0">
                  <a:pos x="connsiteX4525" y="connsiteY4525"/>
                </a:cxn>
                <a:cxn ang="0">
                  <a:pos x="connsiteX4526" y="connsiteY4526"/>
                </a:cxn>
                <a:cxn ang="0">
                  <a:pos x="connsiteX4527" y="connsiteY4527"/>
                </a:cxn>
                <a:cxn ang="0">
                  <a:pos x="connsiteX4528" y="connsiteY4528"/>
                </a:cxn>
                <a:cxn ang="0">
                  <a:pos x="connsiteX4529" y="connsiteY4529"/>
                </a:cxn>
                <a:cxn ang="0">
                  <a:pos x="connsiteX4530" y="connsiteY4530"/>
                </a:cxn>
                <a:cxn ang="0">
                  <a:pos x="connsiteX4531" y="connsiteY4531"/>
                </a:cxn>
                <a:cxn ang="0">
                  <a:pos x="connsiteX4532" y="connsiteY4532"/>
                </a:cxn>
                <a:cxn ang="0">
                  <a:pos x="connsiteX4533" y="connsiteY4533"/>
                </a:cxn>
                <a:cxn ang="0">
                  <a:pos x="connsiteX4534" y="connsiteY4534"/>
                </a:cxn>
                <a:cxn ang="0">
                  <a:pos x="connsiteX4535" y="connsiteY4535"/>
                </a:cxn>
                <a:cxn ang="0">
                  <a:pos x="connsiteX4536" y="connsiteY4536"/>
                </a:cxn>
                <a:cxn ang="0">
                  <a:pos x="connsiteX4537" y="connsiteY4537"/>
                </a:cxn>
                <a:cxn ang="0">
                  <a:pos x="connsiteX4538" y="connsiteY4538"/>
                </a:cxn>
                <a:cxn ang="0">
                  <a:pos x="connsiteX4539" y="connsiteY4539"/>
                </a:cxn>
                <a:cxn ang="0">
                  <a:pos x="connsiteX4540" y="connsiteY4540"/>
                </a:cxn>
                <a:cxn ang="0">
                  <a:pos x="connsiteX4541" y="connsiteY4541"/>
                </a:cxn>
                <a:cxn ang="0">
                  <a:pos x="connsiteX4542" y="connsiteY4542"/>
                </a:cxn>
                <a:cxn ang="0">
                  <a:pos x="connsiteX4543" y="connsiteY4543"/>
                </a:cxn>
                <a:cxn ang="0">
                  <a:pos x="connsiteX4544" y="connsiteY4544"/>
                </a:cxn>
                <a:cxn ang="0">
                  <a:pos x="connsiteX4545" y="connsiteY4545"/>
                </a:cxn>
                <a:cxn ang="0">
                  <a:pos x="connsiteX4546" y="connsiteY4546"/>
                </a:cxn>
                <a:cxn ang="0">
                  <a:pos x="connsiteX4547" y="connsiteY4547"/>
                </a:cxn>
                <a:cxn ang="0">
                  <a:pos x="connsiteX4548" y="connsiteY4548"/>
                </a:cxn>
                <a:cxn ang="0">
                  <a:pos x="connsiteX4549" y="connsiteY4549"/>
                </a:cxn>
                <a:cxn ang="0">
                  <a:pos x="connsiteX4550" y="connsiteY4550"/>
                </a:cxn>
                <a:cxn ang="0">
                  <a:pos x="connsiteX4551" y="connsiteY4551"/>
                </a:cxn>
                <a:cxn ang="0">
                  <a:pos x="connsiteX4552" y="connsiteY4552"/>
                </a:cxn>
                <a:cxn ang="0">
                  <a:pos x="connsiteX4553" y="connsiteY4553"/>
                </a:cxn>
                <a:cxn ang="0">
                  <a:pos x="connsiteX4554" y="connsiteY4554"/>
                </a:cxn>
                <a:cxn ang="0">
                  <a:pos x="connsiteX4555" y="connsiteY4555"/>
                </a:cxn>
                <a:cxn ang="0">
                  <a:pos x="connsiteX4556" y="connsiteY4556"/>
                </a:cxn>
                <a:cxn ang="0">
                  <a:pos x="connsiteX4557" y="connsiteY4557"/>
                </a:cxn>
                <a:cxn ang="0">
                  <a:pos x="connsiteX4558" y="connsiteY4558"/>
                </a:cxn>
                <a:cxn ang="0">
                  <a:pos x="connsiteX4559" y="connsiteY4559"/>
                </a:cxn>
                <a:cxn ang="0">
                  <a:pos x="connsiteX4560" y="connsiteY4560"/>
                </a:cxn>
                <a:cxn ang="0">
                  <a:pos x="connsiteX4561" y="connsiteY4561"/>
                </a:cxn>
                <a:cxn ang="0">
                  <a:pos x="connsiteX4562" y="connsiteY4562"/>
                </a:cxn>
                <a:cxn ang="0">
                  <a:pos x="connsiteX4563" y="connsiteY4563"/>
                </a:cxn>
                <a:cxn ang="0">
                  <a:pos x="connsiteX4564" y="connsiteY4564"/>
                </a:cxn>
                <a:cxn ang="0">
                  <a:pos x="connsiteX4565" y="connsiteY4565"/>
                </a:cxn>
                <a:cxn ang="0">
                  <a:pos x="connsiteX4566" y="connsiteY4566"/>
                </a:cxn>
                <a:cxn ang="0">
                  <a:pos x="connsiteX4567" y="connsiteY4567"/>
                </a:cxn>
                <a:cxn ang="0">
                  <a:pos x="connsiteX4568" y="connsiteY4568"/>
                </a:cxn>
                <a:cxn ang="0">
                  <a:pos x="connsiteX4569" y="connsiteY4569"/>
                </a:cxn>
                <a:cxn ang="0">
                  <a:pos x="connsiteX4570" y="connsiteY4570"/>
                </a:cxn>
                <a:cxn ang="0">
                  <a:pos x="connsiteX4571" y="connsiteY4571"/>
                </a:cxn>
                <a:cxn ang="0">
                  <a:pos x="connsiteX4572" y="connsiteY4572"/>
                </a:cxn>
                <a:cxn ang="0">
                  <a:pos x="connsiteX4573" y="connsiteY4573"/>
                </a:cxn>
                <a:cxn ang="0">
                  <a:pos x="connsiteX4574" y="connsiteY4574"/>
                </a:cxn>
                <a:cxn ang="0">
                  <a:pos x="connsiteX4575" y="connsiteY4575"/>
                </a:cxn>
                <a:cxn ang="0">
                  <a:pos x="connsiteX4576" y="connsiteY4576"/>
                </a:cxn>
                <a:cxn ang="0">
                  <a:pos x="connsiteX4577" y="connsiteY4577"/>
                </a:cxn>
                <a:cxn ang="0">
                  <a:pos x="connsiteX4578" y="connsiteY4578"/>
                </a:cxn>
                <a:cxn ang="0">
                  <a:pos x="connsiteX4579" y="connsiteY4579"/>
                </a:cxn>
                <a:cxn ang="0">
                  <a:pos x="connsiteX4580" y="connsiteY4580"/>
                </a:cxn>
                <a:cxn ang="0">
                  <a:pos x="connsiteX4581" y="connsiteY4581"/>
                </a:cxn>
                <a:cxn ang="0">
                  <a:pos x="connsiteX4582" y="connsiteY4582"/>
                </a:cxn>
                <a:cxn ang="0">
                  <a:pos x="connsiteX4583" y="connsiteY4583"/>
                </a:cxn>
                <a:cxn ang="0">
                  <a:pos x="connsiteX4584" y="connsiteY4584"/>
                </a:cxn>
                <a:cxn ang="0">
                  <a:pos x="connsiteX4585" y="connsiteY4585"/>
                </a:cxn>
                <a:cxn ang="0">
                  <a:pos x="connsiteX4586" y="connsiteY4586"/>
                </a:cxn>
                <a:cxn ang="0">
                  <a:pos x="connsiteX4587" y="connsiteY4587"/>
                </a:cxn>
                <a:cxn ang="0">
                  <a:pos x="connsiteX4588" y="connsiteY4588"/>
                </a:cxn>
                <a:cxn ang="0">
                  <a:pos x="connsiteX4589" y="connsiteY4589"/>
                </a:cxn>
                <a:cxn ang="0">
                  <a:pos x="connsiteX4590" y="connsiteY4590"/>
                </a:cxn>
                <a:cxn ang="0">
                  <a:pos x="connsiteX4591" y="connsiteY4591"/>
                </a:cxn>
                <a:cxn ang="0">
                  <a:pos x="connsiteX4592" y="connsiteY4592"/>
                </a:cxn>
                <a:cxn ang="0">
                  <a:pos x="connsiteX4593" y="connsiteY4593"/>
                </a:cxn>
                <a:cxn ang="0">
                  <a:pos x="connsiteX4594" y="connsiteY4594"/>
                </a:cxn>
                <a:cxn ang="0">
                  <a:pos x="connsiteX4595" y="connsiteY4595"/>
                </a:cxn>
                <a:cxn ang="0">
                  <a:pos x="connsiteX4596" y="connsiteY4596"/>
                </a:cxn>
                <a:cxn ang="0">
                  <a:pos x="connsiteX4597" y="connsiteY4597"/>
                </a:cxn>
                <a:cxn ang="0">
                  <a:pos x="connsiteX4598" y="connsiteY4598"/>
                </a:cxn>
                <a:cxn ang="0">
                  <a:pos x="connsiteX4599" y="connsiteY4599"/>
                </a:cxn>
                <a:cxn ang="0">
                  <a:pos x="connsiteX4600" y="connsiteY4600"/>
                </a:cxn>
                <a:cxn ang="0">
                  <a:pos x="connsiteX4601" y="connsiteY4601"/>
                </a:cxn>
                <a:cxn ang="0">
                  <a:pos x="connsiteX4602" y="connsiteY4602"/>
                </a:cxn>
                <a:cxn ang="0">
                  <a:pos x="connsiteX4603" y="connsiteY4603"/>
                </a:cxn>
                <a:cxn ang="0">
                  <a:pos x="connsiteX4604" y="connsiteY4604"/>
                </a:cxn>
                <a:cxn ang="0">
                  <a:pos x="connsiteX4605" y="connsiteY4605"/>
                </a:cxn>
                <a:cxn ang="0">
                  <a:pos x="connsiteX4606" y="connsiteY4606"/>
                </a:cxn>
                <a:cxn ang="0">
                  <a:pos x="connsiteX4607" y="connsiteY4607"/>
                </a:cxn>
                <a:cxn ang="0">
                  <a:pos x="connsiteX4608" y="connsiteY4608"/>
                </a:cxn>
                <a:cxn ang="0">
                  <a:pos x="connsiteX4609" y="connsiteY4609"/>
                </a:cxn>
                <a:cxn ang="0">
                  <a:pos x="connsiteX4610" y="connsiteY4610"/>
                </a:cxn>
                <a:cxn ang="0">
                  <a:pos x="connsiteX4611" y="connsiteY4611"/>
                </a:cxn>
                <a:cxn ang="0">
                  <a:pos x="connsiteX4612" y="connsiteY4612"/>
                </a:cxn>
                <a:cxn ang="0">
                  <a:pos x="connsiteX4613" y="connsiteY4613"/>
                </a:cxn>
                <a:cxn ang="0">
                  <a:pos x="connsiteX4614" y="connsiteY4614"/>
                </a:cxn>
                <a:cxn ang="0">
                  <a:pos x="connsiteX4615" y="connsiteY4615"/>
                </a:cxn>
                <a:cxn ang="0">
                  <a:pos x="connsiteX4616" y="connsiteY4616"/>
                </a:cxn>
                <a:cxn ang="0">
                  <a:pos x="connsiteX4617" y="connsiteY4617"/>
                </a:cxn>
                <a:cxn ang="0">
                  <a:pos x="connsiteX4618" y="connsiteY4618"/>
                </a:cxn>
                <a:cxn ang="0">
                  <a:pos x="connsiteX4619" y="connsiteY4619"/>
                </a:cxn>
                <a:cxn ang="0">
                  <a:pos x="connsiteX4620" y="connsiteY4620"/>
                </a:cxn>
                <a:cxn ang="0">
                  <a:pos x="connsiteX4621" y="connsiteY4621"/>
                </a:cxn>
                <a:cxn ang="0">
                  <a:pos x="connsiteX4622" y="connsiteY4622"/>
                </a:cxn>
                <a:cxn ang="0">
                  <a:pos x="connsiteX4623" y="connsiteY4623"/>
                </a:cxn>
                <a:cxn ang="0">
                  <a:pos x="connsiteX4624" y="connsiteY4624"/>
                </a:cxn>
                <a:cxn ang="0">
                  <a:pos x="connsiteX4625" y="connsiteY4625"/>
                </a:cxn>
                <a:cxn ang="0">
                  <a:pos x="connsiteX4626" y="connsiteY4626"/>
                </a:cxn>
                <a:cxn ang="0">
                  <a:pos x="connsiteX4627" y="connsiteY4627"/>
                </a:cxn>
                <a:cxn ang="0">
                  <a:pos x="connsiteX4628" y="connsiteY4628"/>
                </a:cxn>
                <a:cxn ang="0">
                  <a:pos x="connsiteX4629" y="connsiteY4629"/>
                </a:cxn>
                <a:cxn ang="0">
                  <a:pos x="connsiteX4630" y="connsiteY4630"/>
                </a:cxn>
                <a:cxn ang="0">
                  <a:pos x="connsiteX4631" y="connsiteY4631"/>
                </a:cxn>
                <a:cxn ang="0">
                  <a:pos x="connsiteX4632" y="connsiteY4632"/>
                </a:cxn>
                <a:cxn ang="0">
                  <a:pos x="connsiteX4633" y="connsiteY4633"/>
                </a:cxn>
                <a:cxn ang="0">
                  <a:pos x="connsiteX4634" y="connsiteY4634"/>
                </a:cxn>
                <a:cxn ang="0">
                  <a:pos x="connsiteX4635" y="connsiteY4635"/>
                </a:cxn>
                <a:cxn ang="0">
                  <a:pos x="connsiteX4636" y="connsiteY4636"/>
                </a:cxn>
                <a:cxn ang="0">
                  <a:pos x="connsiteX4637" y="connsiteY4637"/>
                </a:cxn>
                <a:cxn ang="0">
                  <a:pos x="connsiteX4638" y="connsiteY4638"/>
                </a:cxn>
                <a:cxn ang="0">
                  <a:pos x="connsiteX4639" y="connsiteY4639"/>
                </a:cxn>
                <a:cxn ang="0">
                  <a:pos x="connsiteX4640" y="connsiteY4640"/>
                </a:cxn>
                <a:cxn ang="0">
                  <a:pos x="connsiteX4641" y="connsiteY4641"/>
                </a:cxn>
                <a:cxn ang="0">
                  <a:pos x="connsiteX4642" y="connsiteY4642"/>
                </a:cxn>
                <a:cxn ang="0">
                  <a:pos x="connsiteX4643" y="connsiteY4643"/>
                </a:cxn>
                <a:cxn ang="0">
                  <a:pos x="connsiteX4644" y="connsiteY4644"/>
                </a:cxn>
                <a:cxn ang="0">
                  <a:pos x="connsiteX4645" y="connsiteY4645"/>
                </a:cxn>
                <a:cxn ang="0">
                  <a:pos x="connsiteX4646" y="connsiteY4646"/>
                </a:cxn>
                <a:cxn ang="0">
                  <a:pos x="connsiteX4647" y="connsiteY4647"/>
                </a:cxn>
                <a:cxn ang="0">
                  <a:pos x="connsiteX4648" y="connsiteY4648"/>
                </a:cxn>
                <a:cxn ang="0">
                  <a:pos x="connsiteX4649" y="connsiteY4649"/>
                </a:cxn>
                <a:cxn ang="0">
                  <a:pos x="connsiteX4650" y="connsiteY4650"/>
                </a:cxn>
                <a:cxn ang="0">
                  <a:pos x="connsiteX4651" y="connsiteY4651"/>
                </a:cxn>
                <a:cxn ang="0">
                  <a:pos x="connsiteX4652" y="connsiteY4652"/>
                </a:cxn>
                <a:cxn ang="0">
                  <a:pos x="connsiteX4653" y="connsiteY4653"/>
                </a:cxn>
                <a:cxn ang="0">
                  <a:pos x="connsiteX4654" y="connsiteY4654"/>
                </a:cxn>
                <a:cxn ang="0">
                  <a:pos x="connsiteX4655" y="connsiteY4655"/>
                </a:cxn>
                <a:cxn ang="0">
                  <a:pos x="connsiteX4656" y="connsiteY4656"/>
                </a:cxn>
                <a:cxn ang="0">
                  <a:pos x="connsiteX4657" y="connsiteY4657"/>
                </a:cxn>
                <a:cxn ang="0">
                  <a:pos x="connsiteX4658" y="connsiteY4658"/>
                </a:cxn>
                <a:cxn ang="0">
                  <a:pos x="connsiteX4659" y="connsiteY4659"/>
                </a:cxn>
                <a:cxn ang="0">
                  <a:pos x="connsiteX4660" y="connsiteY4660"/>
                </a:cxn>
                <a:cxn ang="0">
                  <a:pos x="connsiteX4661" y="connsiteY4661"/>
                </a:cxn>
                <a:cxn ang="0">
                  <a:pos x="connsiteX4662" y="connsiteY4662"/>
                </a:cxn>
                <a:cxn ang="0">
                  <a:pos x="connsiteX4663" y="connsiteY4663"/>
                </a:cxn>
                <a:cxn ang="0">
                  <a:pos x="connsiteX4664" y="connsiteY4664"/>
                </a:cxn>
                <a:cxn ang="0">
                  <a:pos x="connsiteX4665" y="connsiteY4665"/>
                </a:cxn>
                <a:cxn ang="0">
                  <a:pos x="connsiteX4666" y="connsiteY4666"/>
                </a:cxn>
                <a:cxn ang="0">
                  <a:pos x="connsiteX4667" y="connsiteY4667"/>
                </a:cxn>
                <a:cxn ang="0">
                  <a:pos x="connsiteX4668" y="connsiteY4668"/>
                </a:cxn>
                <a:cxn ang="0">
                  <a:pos x="connsiteX4669" y="connsiteY4669"/>
                </a:cxn>
                <a:cxn ang="0">
                  <a:pos x="connsiteX4670" y="connsiteY4670"/>
                </a:cxn>
                <a:cxn ang="0">
                  <a:pos x="connsiteX4671" y="connsiteY4671"/>
                </a:cxn>
                <a:cxn ang="0">
                  <a:pos x="connsiteX4672" y="connsiteY4672"/>
                </a:cxn>
                <a:cxn ang="0">
                  <a:pos x="connsiteX4673" y="connsiteY4673"/>
                </a:cxn>
                <a:cxn ang="0">
                  <a:pos x="connsiteX4674" y="connsiteY4674"/>
                </a:cxn>
                <a:cxn ang="0">
                  <a:pos x="connsiteX4675" y="connsiteY4675"/>
                </a:cxn>
                <a:cxn ang="0">
                  <a:pos x="connsiteX4676" y="connsiteY4676"/>
                </a:cxn>
                <a:cxn ang="0">
                  <a:pos x="connsiteX4677" y="connsiteY4677"/>
                </a:cxn>
                <a:cxn ang="0">
                  <a:pos x="connsiteX4678" y="connsiteY4678"/>
                </a:cxn>
                <a:cxn ang="0">
                  <a:pos x="connsiteX4679" y="connsiteY4679"/>
                </a:cxn>
                <a:cxn ang="0">
                  <a:pos x="connsiteX4680" y="connsiteY4680"/>
                </a:cxn>
                <a:cxn ang="0">
                  <a:pos x="connsiteX4681" y="connsiteY4681"/>
                </a:cxn>
                <a:cxn ang="0">
                  <a:pos x="connsiteX4682" y="connsiteY4682"/>
                </a:cxn>
                <a:cxn ang="0">
                  <a:pos x="connsiteX4683" y="connsiteY4683"/>
                </a:cxn>
                <a:cxn ang="0">
                  <a:pos x="connsiteX4684" y="connsiteY4684"/>
                </a:cxn>
                <a:cxn ang="0">
                  <a:pos x="connsiteX4685" y="connsiteY4685"/>
                </a:cxn>
                <a:cxn ang="0">
                  <a:pos x="connsiteX4686" y="connsiteY4686"/>
                </a:cxn>
                <a:cxn ang="0">
                  <a:pos x="connsiteX4687" y="connsiteY4687"/>
                </a:cxn>
                <a:cxn ang="0">
                  <a:pos x="connsiteX4688" y="connsiteY4688"/>
                </a:cxn>
                <a:cxn ang="0">
                  <a:pos x="connsiteX4689" y="connsiteY4689"/>
                </a:cxn>
                <a:cxn ang="0">
                  <a:pos x="connsiteX4690" y="connsiteY4690"/>
                </a:cxn>
                <a:cxn ang="0">
                  <a:pos x="connsiteX4691" y="connsiteY4691"/>
                </a:cxn>
                <a:cxn ang="0">
                  <a:pos x="connsiteX4692" y="connsiteY4692"/>
                </a:cxn>
                <a:cxn ang="0">
                  <a:pos x="connsiteX4693" y="connsiteY4693"/>
                </a:cxn>
                <a:cxn ang="0">
                  <a:pos x="connsiteX4694" y="connsiteY4694"/>
                </a:cxn>
                <a:cxn ang="0">
                  <a:pos x="connsiteX4695" y="connsiteY4695"/>
                </a:cxn>
                <a:cxn ang="0">
                  <a:pos x="connsiteX4696" y="connsiteY4696"/>
                </a:cxn>
                <a:cxn ang="0">
                  <a:pos x="connsiteX4697" y="connsiteY4697"/>
                </a:cxn>
                <a:cxn ang="0">
                  <a:pos x="connsiteX4698" y="connsiteY4698"/>
                </a:cxn>
                <a:cxn ang="0">
                  <a:pos x="connsiteX4699" y="connsiteY4699"/>
                </a:cxn>
                <a:cxn ang="0">
                  <a:pos x="connsiteX4700" y="connsiteY4700"/>
                </a:cxn>
                <a:cxn ang="0">
                  <a:pos x="connsiteX4701" y="connsiteY4701"/>
                </a:cxn>
                <a:cxn ang="0">
                  <a:pos x="connsiteX4702" y="connsiteY4702"/>
                </a:cxn>
                <a:cxn ang="0">
                  <a:pos x="connsiteX4703" y="connsiteY4703"/>
                </a:cxn>
                <a:cxn ang="0">
                  <a:pos x="connsiteX4704" y="connsiteY4704"/>
                </a:cxn>
                <a:cxn ang="0">
                  <a:pos x="connsiteX4705" y="connsiteY4705"/>
                </a:cxn>
                <a:cxn ang="0">
                  <a:pos x="connsiteX4706" y="connsiteY4706"/>
                </a:cxn>
                <a:cxn ang="0">
                  <a:pos x="connsiteX4707" y="connsiteY4707"/>
                </a:cxn>
                <a:cxn ang="0">
                  <a:pos x="connsiteX4708" y="connsiteY4708"/>
                </a:cxn>
                <a:cxn ang="0">
                  <a:pos x="connsiteX4709" y="connsiteY4709"/>
                </a:cxn>
                <a:cxn ang="0">
                  <a:pos x="connsiteX4710" y="connsiteY4710"/>
                </a:cxn>
                <a:cxn ang="0">
                  <a:pos x="connsiteX4711" y="connsiteY4711"/>
                </a:cxn>
                <a:cxn ang="0">
                  <a:pos x="connsiteX4712" y="connsiteY4712"/>
                </a:cxn>
                <a:cxn ang="0">
                  <a:pos x="connsiteX4713" y="connsiteY4713"/>
                </a:cxn>
                <a:cxn ang="0">
                  <a:pos x="connsiteX4714" y="connsiteY4714"/>
                </a:cxn>
                <a:cxn ang="0">
                  <a:pos x="connsiteX4715" y="connsiteY4715"/>
                </a:cxn>
                <a:cxn ang="0">
                  <a:pos x="connsiteX4716" y="connsiteY4716"/>
                </a:cxn>
                <a:cxn ang="0">
                  <a:pos x="connsiteX4717" y="connsiteY4717"/>
                </a:cxn>
                <a:cxn ang="0">
                  <a:pos x="connsiteX4718" y="connsiteY4718"/>
                </a:cxn>
                <a:cxn ang="0">
                  <a:pos x="connsiteX4719" y="connsiteY4719"/>
                </a:cxn>
                <a:cxn ang="0">
                  <a:pos x="connsiteX4720" y="connsiteY4720"/>
                </a:cxn>
                <a:cxn ang="0">
                  <a:pos x="connsiteX4721" y="connsiteY4721"/>
                </a:cxn>
                <a:cxn ang="0">
                  <a:pos x="connsiteX4722" y="connsiteY4722"/>
                </a:cxn>
                <a:cxn ang="0">
                  <a:pos x="connsiteX4723" y="connsiteY4723"/>
                </a:cxn>
                <a:cxn ang="0">
                  <a:pos x="connsiteX4724" y="connsiteY4724"/>
                </a:cxn>
                <a:cxn ang="0">
                  <a:pos x="connsiteX4725" y="connsiteY4725"/>
                </a:cxn>
                <a:cxn ang="0">
                  <a:pos x="connsiteX4726" y="connsiteY4726"/>
                </a:cxn>
                <a:cxn ang="0">
                  <a:pos x="connsiteX4727" y="connsiteY4727"/>
                </a:cxn>
                <a:cxn ang="0">
                  <a:pos x="connsiteX4728" y="connsiteY4728"/>
                </a:cxn>
                <a:cxn ang="0">
                  <a:pos x="connsiteX4729" y="connsiteY4729"/>
                </a:cxn>
                <a:cxn ang="0">
                  <a:pos x="connsiteX4730" y="connsiteY4730"/>
                </a:cxn>
                <a:cxn ang="0">
                  <a:pos x="connsiteX4731" y="connsiteY4731"/>
                </a:cxn>
                <a:cxn ang="0">
                  <a:pos x="connsiteX4732" y="connsiteY4732"/>
                </a:cxn>
                <a:cxn ang="0">
                  <a:pos x="connsiteX4733" y="connsiteY4733"/>
                </a:cxn>
                <a:cxn ang="0">
                  <a:pos x="connsiteX4734" y="connsiteY4734"/>
                </a:cxn>
                <a:cxn ang="0">
                  <a:pos x="connsiteX4735" y="connsiteY4735"/>
                </a:cxn>
                <a:cxn ang="0">
                  <a:pos x="connsiteX4736" y="connsiteY4736"/>
                </a:cxn>
                <a:cxn ang="0">
                  <a:pos x="connsiteX4737" y="connsiteY4737"/>
                </a:cxn>
                <a:cxn ang="0">
                  <a:pos x="connsiteX4738" y="connsiteY4738"/>
                </a:cxn>
                <a:cxn ang="0">
                  <a:pos x="connsiteX4739" y="connsiteY4739"/>
                </a:cxn>
                <a:cxn ang="0">
                  <a:pos x="connsiteX4740" y="connsiteY4740"/>
                </a:cxn>
                <a:cxn ang="0">
                  <a:pos x="connsiteX4741" y="connsiteY4741"/>
                </a:cxn>
                <a:cxn ang="0">
                  <a:pos x="connsiteX4742" y="connsiteY4742"/>
                </a:cxn>
                <a:cxn ang="0">
                  <a:pos x="connsiteX4743" y="connsiteY4743"/>
                </a:cxn>
                <a:cxn ang="0">
                  <a:pos x="connsiteX4744" y="connsiteY4744"/>
                </a:cxn>
                <a:cxn ang="0">
                  <a:pos x="connsiteX4745" y="connsiteY4745"/>
                </a:cxn>
                <a:cxn ang="0">
                  <a:pos x="connsiteX4746" y="connsiteY4746"/>
                </a:cxn>
                <a:cxn ang="0">
                  <a:pos x="connsiteX4747" y="connsiteY4747"/>
                </a:cxn>
                <a:cxn ang="0">
                  <a:pos x="connsiteX4748" y="connsiteY4748"/>
                </a:cxn>
                <a:cxn ang="0">
                  <a:pos x="connsiteX4749" y="connsiteY4749"/>
                </a:cxn>
                <a:cxn ang="0">
                  <a:pos x="connsiteX4750" y="connsiteY4750"/>
                </a:cxn>
                <a:cxn ang="0">
                  <a:pos x="connsiteX4751" y="connsiteY4751"/>
                </a:cxn>
                <a:cxn ang="0">
                  <a:pos x="connsiteX4752" y="connsiteY4752"/>
                </a:cxn>
                <a:cxn ang="0">
                  <a:pos x="connsiteX4753" y="connsiteY4753"/>
                </a:cxn>
                <a:cxn ang="0">
                  <a:pos x="connsiteX4754" y="connsiteY4754"/>
                </a:cxn>
                <a:cxn ang="0">
                  <a:pos x="connsiteX4755" y="connsiteY4755"/>
                </a:cxn>
                <a:cxn ang="0">
                  <a:pos x="connsiteX4756" y="connsiteY4756"/>
                </a:cxn>
                <a:cxn ang="0">
                  <a:pos x="connsiteX4757" y="connsiteY4757"/>
                </a:cxn>
                <a:cxn ang="0">
                  <a:pos x="connsiteX4758" y="connsiteY4758"/>
                </a:cxn>
                <a:cxn ang="0">
                  <a:pos x="connsiteX4759" y="connsiteY4759"/>
                </a:cxn>
                <a:cxn ang="0">
                  <a:pos x="connsiteX4760" y="connsiteY4760"/>
                </a:cxn>
                <a:cxn ang="0">
                  <a:pos x="connsiteX4761" y="connsiteY4761"/>
                </a:cxn>
                <a:cxn ang="0">
                  <a:pos x="connsiteX4762" y="connsiteY4762"/>
                </a:cxn>
                <a:cxn ang="0">
                  <a:pos x="connsiteX4763" y="connsiteY4763"/>
                </a:cxn>
                <a:cxn ang="0">
                  <a:pos x="connsiteX4764" y="connsiteY4764"/>
                </a:cxn>
                <a:cxn ang="0">
                  <a:pos x="connsiteX4765" y="connsiteY4765"/>
                </a:cxn>
                <a:cxn ang="0">
                  <a:pos x="connsiteX4766" y="connsiteY4766"/>
                </a:cxn>
                <a:cxn ang="0">
                  <a:pos x="connsiteX4767" y="connsiteY4767"/>
                </a:cxn>
                <a:cxn ang="0">
                  <a:pos x="connsiteX4768" y="connsiteY4768"/>
                </a:cxn>
                <a:cxn ang="0">
                  <a:pos x="connsiteX4769" y="connsiteY4769"/>
                </a:cxn>
                <a:cxn ang="0">
                  <a:pos x="connsiteX4770" y="connsiteY4770"/>
                </a:cxn>
                <a:cxn ang="0">
                  <a:pos x="connsiteX4771" y="connsiteY4771"/>
                </a:cxn>
                <a:cxn ang="0">
                  <a:pos x="connsiteX4772" y="connsiteY4772"/>
                </a:cxn>
                <a:cxn ang="0">
                  <a:pos x="connsiteX4773" y="connsiteY4773"/>
                </a:cxn>
                <a:cxn ang="0">
                  <a:pos x="connsiteX4774" y="connsiteY4774"/>
                </a:cxn>
                <a:cxn ang="0">
                  <a:pos x="connsiteX4775" y="connsiteY4775"/>
                </a:cxn>
                <a:cxn ang="0">
                  <a:pos x="connsiteX4776" y="connsiteY4776"/>
                </a:cxn>
                <a:cxn ang="0">
                  <a:pos x="connsiteX4777" y="connsiteY4777"/>
                </a:cxn>
                <a:cxn ang="0">
                  <a:pos x="connsiteX4778" y="connsiteY4778"/>
                </a:cxn>
                <a:cxn ang="0">
                  <a:pos x="connsiteX4779" y="connsiteY4779"/>
                </a:cxn>
                <a:cxn ang="0">
                  <a:pos x="connsiteX4780" y="connsiteY4780"/>
                </a:cxn>
                <a:cxn ang="0">
                  <a:pos x="connsiteX4781" y="connsiteY4781"/>
                </a:cxn>
                <a:cxn ang="0">
                  <a:pos x="connsiteX4782" y="connsiteY4782"/>
                </a:cxn>
                <a:cxn ang="0">
                  <a:pos x="connsiteX4783" y="connsiteY4783"/>
                </a:cxn>
                <a:cxn ang="0">
                  <a:pos x="connsiteX4784" y="connsiteY4784"/>
                </a:cxn>
                <a:cxn ang="0">
                  <a:pos x="connsiteX4785" y="connsiteY4785"/>
                </a:cxn>
                <a:cxn ang="0">
                  <a:pos x="connsiteX4786" y="connsiteY4786"/>
                </a:cxn>
                <a:cxn ang="0">
                  <a:pos x="connsiteX4787" y="connsiteY4787"/>
                </a:cxn>
                <a:cxn ang="0">
                  <a:pos x="connsiteX4788" y="connsiteY4788"/>
                </a:cxn>
                <a:cxn ang="0">
                  <a:pos x="connsiteX4789" y="connsiteY4789"/>
                </a:cxn>
                <a:cxn ang="0">
                  <a:pos x="connsiteX4790" y="connsiteY4790"/>
                </a:cxn>
                <a:cxn ang="0">
                  <a:pos x="connsiteX4791" y="connsiteY4791"/>
                </a:cxn>
                <a:cxn ang="0">
                  <a:pos x="connsiteX4792" y="connsiteY4792"/>
                </a:cxn>
                <a:cxn ang="0">
                  <a:pos x="connsiteX4793" y="connsiteY4793"/>
                </a:cxn>
                <a:cxn ang="0">
                  <a:pos x="connsiteX4794" y="connsiteY4794"/>
                </a:cxn>
                <a:cxn ang="0">
                  <a:pos x="connsiteX4795" y="connsiteY4795"/>
                </a:cxn>
                <a:cxn ang="0">
                  <a:pos x="connsiteX4796" y="connsiteY4796"/>
                </a:cxn>
                <a:cxn ang="0">
                  <a:pos x="connsiteX4797" y="connsiteY4797"/>
                </a:cxn>
                <a:cxn ang="0">
                  <a:pos x="connsiteX4798" y="connsiteY4798"/>
                </a:cxn>
                <a:cxn ang="0">
                  <a:pos x="connsiteX4799" y="connsiteY4799"/>
                </a:cxn>
                <a:cxn ang="0">
                  <a:pos x="connsiteX4800" y="connsiteY4800"/>
                </a:cxn>
                <a:cxn ang="0">
                  <a:pos x="connsiteX4801" y="connsiteY4801"/>
                </a:cxn>
                <a:cxn ang="0">
                  <a:pos x="connsiteX4802" y="connsiteY4802"/>
                </a:cxn>
                <a:cxn ang="0">
                  <a:pos x="connsiteX4803" y="connsiteY4803"/>
                </a:cxn>
                <a:cxn ang="0">
                  <a:pos x="connsiteX4804" y="connsiteY4804"/>
                </a:cxn>
                <a:cxn ang="0">
                  <a:pos x="connsiteX4805" y="connsiteY4805"/>
                </a:cxn>
                <a:cxn ang="0">
                  <a:pos x="connsiteX4806" y="connsiteY4806"/>
                </a:cxn>
                <a:cxn ang="0">
                  <a:pos x="connsiteX4807" y="connsiteY4807"/>
                </a:cxn>
                <a:cxn ang="0">
                  <a:pos x="connsiteX4808" y="connsiteY4808"/>
                </a:cxn>
                <a:cxn ang="0">
                  <a:pos x="connsiteX4809" y="connsiteY4809"/>
                </a:cxn>
                <a:cxn ang="0">
                  <a:pos x="connsiteX4810" y="connsiteY4810"/>
                </a:cxn>
                <a:cxn ang="0">
                  <a:pos x="connsiteX4811" y="connsiteY4811"/>
                </a:cxn>
                <a:cxn ang="0">
                  <a:pos x="connsiteX4812" y="connsiteY4812"/>
                </a:cxn>
                <a:cxn ang="0">
                  <a:pos x="connsiteX4813" y="connsiteY4813"/>
                </a:cxn>
                <a:cxn ang="0">
                  <a:pos x="connsiteX4814" y="connsiteY4814"/>
                </a:cxn>
                <a:cxn ang="0">
                  <a:pos x="connsiteX4815" y="connsiteY4815"/>
                </a:cxn>
                <a:cxn ang="0">
                  <a:pos x="connsiteX4816" y="connsiteY4816"/>
                </a:cxn>
                <a:cxn ang="0">
                  <a:pos x="connsiteX4817" y="connsiteY4817"/>
                </a:cxn>
                <a:cxn ang="0">
                  <a:pos x="connsiteX4818" y="connsiteY4818"/>
                </a:cxn>
                <a:cxn ang="0">
                  <a:pos x="connsiteX4819" y="connsiteY4819"/>
                </a:cxn>
                <a:cxn ang="0">
                  <a:pos x="connsiteX4820" y="connsiteY4820"/>
                </a:cxn>
                <a:cxn ang="0">
                  <a:pos x="connsiteX4821" y="connsiteY4821"/>
                </a:cxn>
                <a:cxn ang="0">
                  <a:pos x="connsiteX4822" y="connsiteY4822"/>
                </a:cxn>
                <a:cxn ang="0">
                  <a:pos x="connsiteX4823" y="connsiteY4823"/>
                </a:cxn>
                <a:cxn ang="0">
                  <a:pos x="connsiteX4824" y="connsiteY4824"/>
                </a:cxn>
                <a:cxn ang="0">
                  <a:pos x="connsiteX4825" y="connsiteY4825"/>
                </a:cxn>
                <a:cxn ang="0">
                  <a:pos x="connsiteX4826" y="connsiteY4826"/>
                </a:cxn>
                <a:cxn ang="0">
                  <a:pos x="connsiteX4827" y="connsiteY4827"/>
                </a:cxn>
                <a:cxn ang="0">
                  <a:pos x="connsiteX4828" y="connsiteY4828"/>
                </a:cxn>
                <a:cxn ang="0">
                  <a:pos x="connsiteX4829" y="connsiteY4829"/>
                </a:cxn>
                <a:cxn ang="0">
                  <a:pos x="connsiteX4830" y="connsiteY4830"/>
                </a:cxn>
                <a:cxn ang="0">
                  <a:pos x="connsiteX4831" y="connsiteY4831"/>
                </a:cxn>
                <a:cxn ang="0">
                  <a:pos x="connsiteX4832" y="connsiteY4832"/>
                </a:cxn>
                <a:cxn ang="0">
                  <a:pos x="connsiteX4833" y="connsiteY4833"/>
                </a:cxn>
                <a:cxn ang="0">
                  <a:pos x="connsiteX4834" y="connsiteY4834"/>
                </a:cxn>
                <a:cxn ang="0">
                  <a:pos x="connsiteX4835" y="connsiteY4835"/>
                </a:cxn>
                <a:cxn ang="0">
                  <a:pos x="connsiteX4836" y="connsiteY4836"/>
                </a:cxn>
                <a:cxn ang="0">
                  <a:pos x="connsiteX4837" y="connsiteY4837"/>
                </a:cxn>
                <a:cxn ang="0">
                  <a:pos x="connsiteX4838" y="connsiteY4838"/>
                </a:cxn>
                <a:cxn ang="0">
                  <a:pos x="connsiteX4839" y="connsiteY4839"/>
                </a:cxn>
                <a:cxn ang="0">
                  <a:pos x="connsiteX4840" y="connsiteY4840"/>
                </a:cxn>
                <a:cxn ang="0">
                  <a:pos x="connsiteX4841" y="connsiteY4841"/>
                </a:cxn>
                <a:cxn ang="0">
                  <a:pos x="connsiteX4842" y="connsiteY4842"/>
                </a:cxn>
                <a:cxn ang="0">
                  <a:pos x="connsiteX4843" y="connsiteY4843"/>
                </a:cxn>
                <a:cxn ang="0">
                  <a:pos x="connsiteX4844" y="connsiteY4844"/>
                </a:cxn>
                <a:cxn ang="0">
                  <a:pos x="connsiteX4845" y="connsiteY4845"/>
                </a:cxn>
                <a:cxn ang="0">
                  <a:pos x="connsiteX4846" y="connsiteY4846"/>
                </a:cxn>
                <a:cxn ang="0">
                  <a:pos x="connsiteX4847" y="connsiteY4847"/>
                </a:cxn>
                <a:cxn ang="0">
                  <a:pos x="connsiteX4848" y="connsiteY4848"/>
                </a:cxn>
                <a:cxn ang="0">
                  <a:pos x="connsiteX4849" y="connsiteY4849"/>
                </a:cxn>
                <a:cxn ang="0">
                  <a:pos x="connsiteX4850" y="connsiteY4850"/>
                </a:cxn>
                <a:cxn ang="0">
                  <a:pos x="connsiteX4851" y="connsiteY4851"/>
                </a:cxn>
                <a:cxn ang="0">
                  <a:pos x="connsiteX4852" y="connsiteY4852"/>
                </a:cxn>
                <a:cxn ang="0">
                  <a:pos x="connsiteX4853" y="connsiteY4853"/>
                </a:cxn>
                <a:cxn ang="0">
                  <a:pos x="connsiteX4854" y="connsiteY4854"/>
                </a:cxn>
                <a:cxn ang="0">
                  <a:pos x="connsiteX4855" y="connsiteY4855"/>
                </a:cxn>
                <a:cxn ang="0">
                  <a:pos x="connsiteX4856" y="connsiteY4856"/>
                </a:cxn>
                <a:cxn ang="0">
                  <a:pos x="connsiteX4857" y="connsiteY4857"/>
                </a:cxn>
                <a:cxn ang="0">
                  <a:pos x="connsiteX4858" y="connsiteY4858"/>
                </a:cxn>
                <a:cxn ang="0">
                  <a:pos x="connsiteX4859" y="connsiteY4859"/>
                </a:cxn>
                <a:cxn ang="0">
                  <a:pos x="connsiteX4860" y="connsiteY4860"/>
                </a:cxn>
                <a:cxn ang="0">
                  <a:pos x="connsiteX4861" y="connsiteY4861"/>
                </a:cxn>
                <a:cxn ang="0">
                  <a:pos x="connsiteX4862" y="connsiteY4862"/>
                </a:cxn>
                <a:cxn ang="0">
                  <a:pos x="connsiteX4863" y="connsiteY4863"/>
                </a:cxn>
                <a:cxn ang="0">
                  <a:pos x="connsiteX4864" y="connsiteY4864"/>
                </a:cxn>
                <a:cxn ang="0">
                  <a:pos x="connsiteX4865" y="connsiteY4865"/>
                </a:cxn>
                <a:cxn ang="0">
                  <a:pos x="connsiteX4866" y="connsiteY4866"/>
                </a:cxn>
                <a:cxn ang="0">
                  <a:pos x="connsiteX4867" y="connsiteY4867"/>
                </a:cxn>
                <a:cxn ang="0">
                  <a:pos x="connsiteX4868" y="connsiteY4868"/>
                </a:cxn>
                <a:cxn ang="0">
                  <a:pos x="connsiteX4869" y="connsiteY4869"/>
                </a:cxn>
                <a:cxn ang="0">
                  <a:pos x="connsiteX4870" y="connsiteY4870"/>
                </a:cxn>
                <a:cxn ang="0">
                  <a:pos x="connsiteX4871" y="connsiteY4871"/>
                </a:cxn>
                <a:cxn ang="0">
                  <a:pos x="connsiteX4872" y="connsiteY4872"/>
                </a:cxn>
                <a:cxn ang="0">
                  <a:pos x="connsiteX4873" y="connsiteY4873"/>
                </a:cxn>
                <a:cxn ang="0">
                  <a:pos x="connsiteX4874" y="connsiteY4874"/>
                </a:cxn>
                <a:cxn ang="0">
                  <a:pos x="connsiteX4875" y="connsiteY4875"/>
                </a:cxn>
                <a:cxn ang="0">
                  <a:pos x="connsiteX4876" y="connsiteY4876"/>
                </a:cxn>
                <a:cxn ang="0">
                  <a:pos x="connsiteX4877" y="connsiteY4877"/>
                </a:cxn>
                <a:cxn ang="0">
                  <a:pos x="connsiteX4878" y="connsiteY4878"/>
                </a:cxn>
                <a:cxn ang="0">
                  <a:pos x="connsiteX4879" y="connsiteY4879"/>
                </a:cxn>
                <a:cxn ang="0">
                  <a:pos x="connsiteX4880" y="connsiteY4880"/>
                </a:cxn>
                <a:cxn ang="0">
                  <a:pos x="connsiteX4881" y="connsiteY4881"/>
                </a:cxn>
                <a:cxn ang="0">
                  <a:pos x="connsiteX4882" y="connsiteY4882"/>
                </a:cxn>
                <a:cxn ang="0">
                  <a:pos x="connsiteX4883" y="connsiteY4883"/>
                </a:cxn>
                <a:cxn ang="0">
                  <a:pos x="connsiteX4884" y="connsiteY4884"/>
                </a:cxn>
                <a:cxn ang="0">
                  <a:pos x="connsiteX4885" y="connsiteY4885"/>
                </a:cxn>
                <a:cxn ang="0">
                  <a:pos x="connsiteX4886" y="connsiteY4886"/>
                </a:cxn>
                <a:cxn ang="0">
                  <a:pos x="connsiteX4887" y="connsiteY4887"/>
                </a:cxn>
                <a:cxn ang="0">
                  <a:pos x="connsiteX4888" y="connsiteY4888"/>
                </a:cxn>
                <a:cxn ang="0">
                  <a:pos x="connsiteX4889" y="connsiteY4889"/>
                </a:cxn>
                <a:cxn ang="0">
                  <a:pos x="connsiteX4890" y="connsiteY4890"/>
                </a:cxn>
                <a:cxn ang="0">
                  <a:pos x="connsiteX4891" y="connsiteY4891"/>
                </a:cxn>
                <a:cxn ang="0">
                  <a:pos x="connsiteX4892" y="connsiteY4892"/>
                </a:cxn>
                <a:cxn ang="0">
                  <a:pos x="connsiteX4893" y="connsiteY4893"/>
                </a:cxn>
                <a:cxn ang="0">
                  <a:pos x="connsiteX4894" y="connsiteY4894"/>
                </a:cxn>
                <a:cxn ang="0">
                  <a:pos x="connsiteX4895" y="connsiteY4895"/>
                </a:cxn>
                <a:cxn ang="0">
                  <a:pos x="connsiteX4896" y="connsiteY4896"/>
                </a:cxn>
                <a:cxn ang="0">
                  <a:pos x="connsiteX4897" y="connsiteY4897"/>
                </a:cxn>
                <a:cxn ang="0">
                  <a:pos x="connsiteX4898" y="connsiteY4898"/>
                </a:cxn>
                <a:cxn ang="0">
                  <a:pos x="connsiteX4899" y="connsiteY4899"/>
                </a:cxn>
                <a:cxn ang="0">
                  <a:pos x="connsiteX4900" y="connsiteY4900"/>
                </a:cxn>
                <a:cxn ang="0">
                  <a:pos x="connsiteX4901" y="connsiteY4901"/>
                </a:cxn>
                <a:cxn ang="0">
                  <a:pos x="connsiteX4902" y="connsiteY4902"/>
                </a:cxn>
                <a:cxn ang="0">
                  <a:pos x="connsiteX4903" y="connsiteY4903"/>
                </a:cxn>
                <a:cxn ang="0">
                  <a:pos x="connsiteX4904" y="connsiteY4904"/>
                </a:cxn>
                <a:cxn ang="0">
                  <a:pos x="connsiteX4905" y="connsiteY4905"/>
                </a:cxn>
                <a:cxn ang="0">
                  <a:pos x="connsiteX4906" y="connsiteY4906"/>
                </a:cxn>
                <a:cxn ang="0">
                  <a:pos x="connsiteX4907" y="connsiteY4907"/>
                </a:cxn>
                <a:cxn ang="0">
                  <a:pos x="connsiteX4908" y="connsiteY4908"/>
                </a:cxn>
                <a:cxn ang="0">
                  <a:pos x="connsiteX4909" y="connsiteY4909"/>
                </a:cxn>
                <a:cxn ang="0">
                  <a:pos x="connsiteX4910" y="connsiteY4910"/>
                </a:cxn>
                <a:cxn ang="0">
                  <a:pos x="connsiteX4911" y="connsiteY4911"/>
                </a:cxn>
                <a:cxn ang="0">
                  <a:pos x="connsiteX4912" y="connsiteY4912"/>
                </a:cxn>
                <a:cxn ang="0">
                  <a:pos x="connsiteX4913" y="connsiteY4913"/>
                </a:cxn>
                <a:cxn ang="0">
                  <a:pos x="connsiteX4914" y="connsiteY4914"/>
                </a:cxn>
                <a:cxn ang="0">
                  <a:pos x="connsiteX4915" y="connsiteY4915"/>
                </a:cxn>
                <a:cxn ang="0">
                  <a:pos x="connsiteX4916" y="connsiteY4916"/>
                </a:cxn>
                <a:cxn ang="0">
                  <a:pos x="connsiteX4917" y="connsiteY4917"/>
                </a:cxn>
                <a:cxn ang="0">
                  <a:pos x="connsiteX4918" y="connsiteY4918"/>
                </a:cxn>
                <a:cxn ang="0">
                  <a:pos x="connsiteX4919" y="connsiteY4919"/>
                </a:cxn>
                <a:cxn ang="0">
                  <a:pos x="connsiteX4920" y="connsiteY4920"/>
                </a:cxn>
                <a:cxn ang="0">
                  <a:pos x="connsiteX4921" y="connsiteY4921"/>
                </a:cxn>
                <a:cxn ang="0">
                  <a:pos x="connsiteX4922" y="connsiteY4922"/>
                </a:cxn>
                <a:cxn ang="0">
                  <a:pos x="connsiteX4923" y="connsiteY4923"/>
                </a:cxn>
                <a:cxn ang="0">
                  <a:pos x="connsiteX4924" y="connsiteY4924"/>
                </a:cxn>
                <a:cxn ang="0">
                  <a:pos x="connsiteX4925" y="connsiteY4925"/>
                </a:cxn>
                <a:cxn ang="0">
                  <a:pos x="connsiteX4926" y="connsiteY4926"/>
                </a:cxn>
                <a:cxn ang="0">
                  <a:pos x="connsiteX4927" y="connsiteY4927"/>
                </a:cxn>
                <a:cxn ang="0">
                  <a:pos x="connsiteX4928" y="connsiteY4928"/>
                </a:cxn>
                <a:cxn ang="0">
                  <a:pos x="connsiteX4929" y="connsiteY4929"/>
                </a:cxn>
                <a:cxn ang="0">
                  <a:pos x="connsiteX4930" y="connsiteY4930"/>
                </a:cxn>
                <a:cxn ang="0">
                  <a:pos x="connsiteX4931" y="connsiteY4931"/>
                </a:cxn>
                <a:cxn ang="0">
                  <a:pos x="connsiteX4932" y="connsiteY4932"/>
                </a:cxn>
                <a:cxn ang="0">
                  <a:pos x="connsiteX4933" y="connsiteY4933"/>
                </a:cxn>
                <a:cxn ang="0">
                  <a:pos x="connsiteX4934" y="connsiteY4934"/>
                </a:cxn>
                <a:cxn ang="0">
                  <a:pos x="connsiteX4935" y="connsiteY4935"/>
                </a:cxn>
                <a:cxn ang="0">
                  <a:pos x="connsiteX4936" y="connsiteY4936"/>
                </a:cxn>
                <a:cxn ang="0">
                  <a:pos x="connsiteX4937" y="connsiteY4937"/>
                </a:cxn>
                <a:cxn ang="0">
                  <a:pos x="connsiteX4938" y="connsiteY4938"/>
                </a:cxn>
                <a:cxn ang="0">
                  <a:pos x="connsiteX4939" y="connsiteY4939"/>
                </a:cxn>
                <a:cxn ang="0">
                  <a:pos x="connsiteX4940" y="connsiteY4940"/>
                </a:cxn>
                <a:cxn ang="0">
                  <a:pos x="connsiteX4941" y="connsiteY4941"/>
                </a:cxn>
                <a:cxn ang="0">
                  <a:pos x="connsiteX4942" y="connsiteY4942"/>
                </a:cxn>
                <a:cxn ang="0">
                  <a:pos x="connsiteX4943" y="connsiteY4943"/>
                </a:cxn>
                <a:cxn ang="0">
                  <a:pos x="connsiteX4944" y="connsiteY4944"/>
                </a:cxn>
                <a:cxn ang="0">
                  <a:pos x="connsiteX4945" y="connsiteY4945"/>
                </a:cxn>
                <a:cxn ang="0">
                  <a:pos x="connsiteX4946" y="connsiteY4946"/>
                </a:cxn>
                <a:cxn ang="0">
                  <a:pos x="connsiteX4947" y="connsiteY4947"/>
                </a:cxn>
                <a:cxn ang="0">
                  <a:pos x="connsiteX4948" y="connsiteY4948"/>
                </a:cxn>
                <a:cxn ang="0">
                  <a:pos x="connsiteX4949" y="connsiteY4949"/>
                </a:cxn>
                <a:cxn ang="0">
                  <a:pos x="connsiteX4950" y="connsiteY4950"/>
                </a:cxn>
                <a:cxn ang="0">
                  <a:pos x="connsiteX4951" y="connsiteY4951"/>
                </a:cxn>
                <a:cxn ang="0">
                  <a:pos x="connsiteX4952" y="connsiteY4952"/>
                </a:cxn>
                <a:cxn ang="0">
                  <a:pos x="connsiteX4953" y="connsiteY4953"/>
                </a:cxn>
                <a:cxn ang="0">
                  <a:pos x="connsiteX4954" y="connsiteY4954"/>
                </a:cxn>
                <a:cxn ang="0">
                  <a:pos x="connsiteX4955" y="connsiteY4955"/>
                </a:cxn>
                <a:cxn ang="0">
                  <a:pos x="connsiteX4956" y="connsiteY4956"/>
                </a:cxn>
                <a:cxn ang="0">
                  <a:pos x="connsiteX4957" y="connsiteY4957"/>
                </a:cxn>
                <a:cxn ang="0">
                  <a:pos x="connsiteX4958" y="connsiteY4958"/>
                </a:cxn>
                <a:cxn ang="0">
                  <a:pos x="connsiteX4959" y="connsiteY4959"/>
                </a:cxn>
                <a:cxn ang="0">
                  <a:pos x="connsiteX4960" y="connsiteY4960"/>
                </a:cxn>
                <a:cxn ang="0">
                  <a:pos x="connsiteX4961" y="connsiteY4961"/>
                </a:cxn>
                <a:cxn ang="0">
                  <a:pos x="connsiteX4962" y="connsiteY4962"/>
                </a:cxn>
                <a:cxn ang="0">
                  <a:pos x="connsiteX4963" y="connsiteY4963"/>
                </a:cxn>
                <a:cxn ang="0">
                  <a:pos x="connsiteX4964" y="connsiteY4964"/>
                </a:cxn>
                <a:cxn ang="0">
                  <a:pos x="connsiteX4965" y="connsiteY4965"/>
                </a:cxn>
                <a:cxn ang="0">
                  <a:pos x="connsiteX4966" y="connsiteY4966"/>
                </a:cxn>
                <a:cxn ang="0">
                  <a:pos x="connsiteX4967" y="connsiteY4967"/>
                </a:cxn>
                <a:cxn ang="0">
                  <a:pos x="connsiteX4968" y="connsiteY4968"/>
                </a:cxn>
                <a:cxn ang="0">
                  <a:pos x="connsiteX4969" y="connsiteY4969"/>
                </a:cxn>
                <a:cxn ang="0">
                  <a:pos x="connsiteX4970" y="connsiteY4970"/>
                </a:cxn>
                <a:cxn ang="0">
                  <a:pos x="connsiteX4971" y="connsiteY4971"/>
                </a:cxn>
                <a:cxn ang="0">
                  <a:pos x="connsiteX4972" y="connsiteY4972"/>
                </a:cxn>
                <a:cxn ang="0">
                  <a:pos x="connsiteX4973" y="connsiteY4973"/>
                </a:cxn>
                <a:cxn ang="0">
                  <a:pos x="connsiteX4974" y="connsiteY4974"/>
                </a:cxn>
                <a:cxn ang="0">
                  <a:pos x="connsiteX4975" y="connsiteY4975"/>
                </a:cxn>
                <a:cxn ang="0">
                  <a:pos x="connsiteX4976" y="connsiteY4976"/>
                </a:cxn>
                <a:cxn ang="0">
                  <a:pos x="connsiteX4977" y="connsiteY4977"/>
                </a:cxn>
                <a:cxn ang="0">
                  <a:pos x="connsiteX4978" y="connsiteY4978"/>
                </a:cxn>
                <a:cxn ang="0">
                  <a:pos x="connsiteX4979" y="connsiteY4979"/>
                </a:cxn>
                <a:cxn ang="0">
                  <a:pos x="connsiteX4980" y="connsiteY4980"/>
                </a:cxn>
                <a:cxn ang="0">
                  <a:pos x="connsiteX4981" y="connsiteY4981"/>
                </a:cxn>
                <a:cxn ang="0">
                  <a:pos x="connsiteX4982" y="connsiteY4982"/>
                </a:cxn>
                <a:cxn ang="0">
                  <a:pos x="connsiteX4983" y="connsiteY4983"/>
                </a:cxn>
                <a:cxn ang="0">
                  <a:pos x="connsiteX4984" y="connsiteY4984"/>
                </a:cxn>
                <a:cxn ang="0">
                  <a:pos x="connsiteX4985" y="connsiteY4985"/>
                </a:cxn>
                <a:cxn ang="0">
                  <a:pos x="connsiteX4986" y="connsiteY4986"/>
                </a:cxn>
                <a:cxn ang="0">
                  <a:pos x="connsiteX4987" y="connsiteY4987"/>
                </a:cxn>
                <a:cxn ang="0">
                  <a:pos x="connsiteX4988" y="connsiteY4988"/>
                </a:cxn>
                <a:cxn ang="0">
                  <a:pos x="connsiteX4989" y="connsiteY4989"/>
                </a:cxn>
                <a:cxn ang="0">
                  <a:pos x="connsiteX4990" y="connsiteY4990"/>
                </a:cxn>
                <a:cxn ang="0">
                  <a:pos x="connsiteX4991" y="connsiteY4991"/>
                </a:cxn>
                <a:cxn ang="0">
                  <a:pos x="connsiteX4992" y="connsiteY4992"/>
                </a:cxn>
                <a:cxn ang="0">
                  <a:pos x="connsiteX4993" y="connsiteY4993"/>
                </a:cxn>
                <a:cxn ang="0">
                  <a:pos x="connsiteX4994" y="connsiteY4994"/>
                </a:cxn>
                <a:cxn ang="0">
                  <a:pos x="connsiteX4995" y="connsiteY4995"/>
                </a:cxn>
                <a:cxn ang="0">
                  <a:pos x="connsiteX4996" y="connsiteY4996"/>
                </a:cxn>
                <a:cxn ang="0">
                  <a:pos x="connsiteX4997" y="connsiteY4997"/>
                </a:cxn>
                <a:cxn ang="0">
                  <a:pos x="connsiteX4998" y="connsiteY4998"/>
                </a:cxn>
                <a:cxn ang="0">
                  <a:pos x="connsiteX4999" y="connsiteY4999"/>
                </a:cxn>
                <a:cxn ang="0">
                  <a:pos x="connsiteX5000" y="connsiteY5000"/>
                </a:cxn>
                <a:cxn ang="0">
                  <a:pos x="connsiteX5001" y="connsiteY5001"/>
                </a:cxn>
                <a:cxn ang="0">
                  <a:pos x="connsiteX5002" y="connsiteY5002"/>
                </a:cxn>
                <a:cxn ang="0">
                  <a:pos x="connsiteX5003" y="connsiteY5003"/>
                </a:cxn>
                <a:cxn ang="0">
                  <a:pos x="connsiteX5004" y="connsiteY5004"/>
                </a:cxn>
                <a:cxn ang="0">
                  <a:pos x="connsiteX5005" y="connsiteY5005"/>
                </a:cxn>
                <a:cxn ang="0">
                  <a:pos x="connsiteX5006" y="connsiteY5006"/>
                </a:cxn>
                <a:cxn ang="0">
                  <a:pos x="connsiteX5007" y="connsiteY5007"/>
                </a:cxn>
                <a:cxn ang="0">
                  <a:pos x="connsiteX5008" y="connsiteY5008"/>
                </a:cxn>
                <a:cxn ang="0">
                  <a:pos x="connsiteX5009" y="connsiteY5009"/>
                </a:cxn>
                <a:cxn ang="0">
                  <a:pos x="connsiteX5010" y="connsiteY5010"/>
                </a:cxn>
                <a:cxn ang="0">
                  <a:pos x="connsiteX5011" y="connsiteY5011"/>
                </a:cxn>
                <a:cxn ang="0">
                  <a:pos x="connsiteX5012" y="connsiteY5012"/>
                </a:cxn>
                <a:cxn ang="0">
                  <a:pos x="connsiteX5013" y="connsiteY5013"/>
                </a:cxn>
                <a:cxn ang="0">
                  <a:pos x="connsiteX5014" y="connsiteY5014"/>
                </a:cxn>
                <a:cxn ang="0">
                  <a:pos x="connsiteX5015" y="connsiteY5015"/>
                </a:cxn>
                <a:cxn ang="0">
                  <a:pos x="connsiteX5016" y="connsiteY5016"/>
                </a:cxn>
                <a:cxn ang="0">
                  <a:pos x="connsiteX5017" y="connsiteY5017"/>
                </a:cxn>
                <a:cxn ang="0">
                  <a:pos x="connsiteX5018" y="connsiteY5018"/>
                </a:cxn>
                <a:cxn ang="0">
                  <a:pos x="connsiteX5019" y="connsiteY5019"/>
                </a:cxn>
                <a:cxn ang="0">
                  <a:pos x="connsiteX5020" y="connsiteY5020"/>
                </a:cxn>
                <a:cxn ang="0">
                  <a:pos x="connsiteX5021" y="connsiteY5021"/>
                </a:cxn>
                <a:cxn ang="0">
                  <a:pos x="connsiteX5022" y="connsiteY5022"/>
                </a:cxn>
                <a:cxn ang="0">
                  <a:pos x="connsiteX5023" y="connsiteY5023"/>
                </a:cxn>
                <a:cxn ang="0">
                  <a:pos x="connsiteX5024" y="connsiteY5024"/>
                </a:cxn>
                <a:cxn ang="0">
                  <a:pos x="connsiteX5025" y="connsiteY5025"/>
                </a:cxn>
                <a:cxn ang="0">
                  <a:pos x="connsiteX5026" y="connsiteY5026"/>
                </a:cxn>
                <a:cxn ang="0">
                  <a:pos x="connsiteX5027" y="connsiteY5027"/>
                </a:cxn>
                <a:cxn ang="0">
                  <a:pos x="connsiteX5028" y="connsiteY5028"/>
                </a:cxn>
                <a:cxn ang="0">
                  <a:pos x="connsiteX5029" y="connsiteY5029"/>
                </a:cxn>
                <a:cxn ang="0">
                  <a:pos x="connsiteX5030" y="connsiteY5030"/>
                </a:cxn>
                <a:cxn ang="0">
                  <a:pos x="connsiteX5031" y="connsiteY5031"/>
                </a:cxn>
                <a:cxn ang="0">
                  <a:pos x="connsiteX5032" y="connsiteY5032"/>
                </a:cxn>
                <a:cxn ang="0">
                  <a:pos x="connsiteX5033" y="connsiteY5033"/>
                </a:cxn>
                <a:cxn ang="0">
                  <a:pos x="connsiteX5034" y="connsiteY5034"/>
                </a:cxn>
                <a:cxn ang="0">
                  <a:pos x="connsiteX5035" y="connsiteY5035"/>
                </a:cxn>
                <a:cxn ang="0">
                  <a:pos x="connsiteX5036" y="connsiteY5036"/>
                </a:cxn>
                <a:cxn ang="0">
                  <a:pos x="connsiteX5037" y="connsiteY5037"/>
                </a:cxn>
                <a:cxn ang="0">
                  <a:pos x="connsiteX5038" y="connsiteY5038"/>
                </a:cxn>
                <a:cxn ang="0">
                  <a:pos x="connsiteX5039" y="connsiteY5039"/>
                </a:cxn>
                <a:cxn ang="0">
                  <a:pos x="connsiteX5040" y="connsiteY5040"/>
                </a:cxn>
                <a:cxn ang="0">
                  <a:pos x="connsiteX5041" y="connsiteY5041"/>
                </a:cxn>
                <a:cxn ang="0">
                  <a:pos x="connsiteX5042" y="connsiteY5042"/>
                </a:cxn>
                <a:cxn ang="0">
                  <a:pos x="connsiteX5043" y="connsiteY5043"/>
                </a:cxn>
                <a:cxn ang="0">
                  <a:pos x="connsiteX5044" y="connsiteY5044"/>
                </a:cxn>
                <a:cxn ang="0">
                  <a:pos x="connsiteX5045" y="connsiteY5045"/>
                </a:cxn>
                <a:cxn ang="0">
                  <a:pos x="connsiteX5046" y="connsiteY5046"/>
                </a:cxn>
                <a:cxn ang="0">
                  <a:pos x="connsiteX5047" y="connsiteY5047"/>
                </a:cxn>
                <a:cxn ang="0">
                  <a:pos x="connsiteX5048" y="connsiteY5048"/>
                </a:cxn>
                <a:cxn ang="0">
                  <a:pos x="connsiteX5049" y="connsiteY5049"/>
                </a:cxn>
                <a:cxn ang="0">
                  <a:pos x="connsiteX5050" y="connsiteY5050"/>
                </a:cxn>
                <a:cxn ang="0">
                  <a:pos x="connsiteX5051" y="connsiteY5051"/>
                </a:cxn>
                <a:cxn ang="0">
                  <a:pos x="connsiteX5052" y="connsiteY5052"/>
                </a:cxn>
                <a:cxn ang="0">
                  <a:pos x="connsiteX5053" y="connsiteY5053"/>
                </a:cxn>
                <a:cxn ang="0">
                  <a:pos x="connsiteX5054" y="connsiteY5054"/>
                </a:cxn>
                <a:cxn ang="0">
                  <a:pos x="connsiteX5055" y="connsiteY5055"/>
                </a:cxn>
                <a:cxn ang="0">
                  <a:pos x="connsiteX5056" y="connsiteY5056"/>
                </a:cxn>
                <a:cxn ang="0">
                  <a:pos x="connsiteX5057" y="connsiteY5057"/>
                </a:cxn>
                <a:cxn ang="0">
                  <a:pos x="connsiteX5058" y="connsiteY5058"/>
                </a:cxn>
                <a:cxn ang="0">
                  <a:pos x="connsiteX5059" y="connsiteY5059"/>
                </a:cxn>
                <a:cxn ang="0">
                  <a:pos x="connsiteX5060" y="connsiteY5060"/>
                </a:cxn>
                <a:cxn ang="0">
                  <a:pos x="connsiteX5061" y="connsiteY5061"/>
                </a:cxn>
                <a:cxn ang="0">
                  <a:pos x="connsiteX5062" y="connsiteY5062"/>
                </a:cxn>
                <a:cxn ang="0">
                  <a:pos x="connsiteX5063" y="connsiteY5063"/>
                </a:cxn>
                <a:cxn ang="0">
                  <a:pos x="connsiteX5064" y="connsiteY5064"/>
                </a:cxn>
                <a:cxn ang="0">
                  <a:pos x="connsiteX5065" y="connsiteY5065"/>
                </a:cxn>
                <a:cxn ang="0">
                  <a:pos x="connsiteX5066" y="connsiteY5066"/>
                </a:cxn>
                <a:cxn ang="0">
                  <a:pos x="connsiteX5067" y="connsiteY5067"/>
                </a:cxn>
                <a:cxn ang="0">
                  <a:pos x="connsiteX5068" y="connsiteY5068"/>
                </a:cxn>
                <a:cxn ang="0">
                  <a:pos x="connsiteX5069" y="connsiteY5069"/>
                </a:cxn>
                <a:cxn ang="0">
                  <a:pos x="connsiteX5070" y="connsiteY5070"/>
                </a:cxn>
                <a:cxn ang="0">
                  <a:pos x="connsiteX5071" y="connsiteY5071"/>
                </a:cxn>
                <a:cxn ang="0">
                  <a:pos x="connsiteX5072" y="connsiteY5072"/>
                </a:cxn>
                <a:cxn ang="0">
                  <a:pos x="connsiteX5073" y="connsiteY5073"/>
                </a:cxn>
                <a:cxn ang="0">
                  <a:pos x="connsiteX5074" y="connsiteY5074"/>
                </a:cxn>
                <a:cxn ang="0">
                  <a:pos x="connsiteX5075" y="connsiteY5075"/>
                </a:cxn>
                <a:cxn ang="0">
                  <a:pos x="connsiteX5076" y="connsiteY5076"/>
                </a:cxn>
                <a:cxn ang="0">
                  <a:pos x="connsiteX5077" y="connsiteY5077"/>
                </a:cxn>
                <a:cxn ang="0">
                  <a:pos x="connsiteX5078" y="connsiteY5078"/>
                </a:cxn>
                <a:cxn ang="0">
                  <a:pos x="connsiteX5079" y="connsiteY5079"/>
                </a:cxn>
                <a:cxn ang="0">
                  <a:pos x="connsiteX5080" y="connsiteY5080"/>
                </a:cxn>
                <a:cxn ang="0">
                  <a:pos x="connsiteX5081" y="connsiteY5081"/>
                </a:cxn>
                <a:cxn ang="0">
                  <a:pos x="connsiteX5082" y="connsiteY5082"/>
                </a:cxn>
                <a:cxn ang="0">
                  <a:pos x="connsiteX5083" y="connsiteY5083"/>
                </a:cxn>
                <a:cxn ang="0">
                  <a:pos x="connsiteX5084" y="connsiteY5084"/>
                </a:cxn>
                <a:cxn ang="0">
                  <a:pos x="connsiteX5085" y="connsiteY5085"/>
                </a:cxn>
                <a:cxn ang="0">
                  <a:pos x="connsiteX5086" y="connsiteY5086"/>
                </a:cxn>
                <a:cxn ang="0">
                  <a:pos x="connsiteX5087" y="connsiteY5087"/>
                </a:cxn>
                <a:cxn ang="0">
                  <a:pos x="connsiteX5088" y="connsiteY5088"/>
                </a:cxn>
                <a:cxn ang="0">
                  <a:pos x="connsiteX5089" y="connsiteY5089"/>
                </a:cxn>
                <a:cxn ang="0">
                  <a:pos x="connsiteX5090" y="connsiteY5090"/>
                </a:cxn>
                <a:cxn ang="0">
                  <a:pos x="connsiteX5091" y="connsiteY5091"/>
                </a:cxn>
                <a:cxn ang="0">
                  <a:pos x="connsiteX5092" y="connsiteY5092"/>
                </a:cxn>
                <a:cxn ang="0">
                  <a:pos x="connsiteX5093" y="connsiteY5093"/>
                </a:cxn>
                <a:cxn ang="0">
                  <a:pos x="connsiteX5094" y="connsiteY5094"/>
                </a:cxn>
                <a:cxn ang="0">
                  <a:pos x="connsiteX5095" y="connsiteY5095"/>
                </a:cxn>
                <a:cxn ang="0">
                  <a:pos x="connsiteX5096" y="connsiteY5096"/>
                </a:cxn>
                <a:cxn ang="0">
                  <a:pos x="connsiteX5097" y="connsiteY5097"/>
                </a:cxn>
                <a:cxn ang="0">
                  <a:pos x="connsiteX5098" y="connsiteY5098"/>
                </a:cxn>
                <a:cxn ang="0">
                  <a:pos x="connsiteX5099" y="connsiteY5099"/>
                </a:cxn>
                <a:cxn ang="0">
                  <a:pos x="connsiteX5100" y="connsiteY5100"/>
                </a:cxn>
                <a:cxn ang="0">
                  <a:pos x="connsiteX5101" y="connsiteY5101"/>
                </a:cxn>
                <a:cxn ang="0">
                  <a:pos x="connsiteX5102" y="connsiteY5102"/>
                </a:cxn>
                <a:cxn ang="0">
                  <a:pos x="connsiteX5103" y="connsiteY5103"/>
                </a:cxn>
                <a:cxn ang="0">
                  <a:pos x="connsiteX5104" y="connsiteY5104"/>
                </a:cxn>
                <a:cxn ang="0">
                  <a:pos x="connsiteX5105" y="connsiteY5105"/>
                </a:cxn>
                <a:cxn ang="0">
                  <a:pos x="connsiteX5106" y="connsiteY5106"/>
                </a:cxn>
                <a:cxn ang="0">
                  <a:pos x="connsiteX5107" y="connsiteY5107"/>
                </a:cxn>
                <a:cxn ang="0">
                  <a:pos x="connsiteX5108" y="connsiteY5108"/>
                </a:cxn>
                <a:cxn ang="0">
                  <a:pos x="connsiteX5109" y="connsiteY5109"/>
                </a:cxn>
                <a:cxn ang="0">
                  <a:pos x="connsiteX5110" y="connsiteY5110"/>
                </a:cxn>
                <a:cxn ang="0">
                  <a:pos x="connsiteX5111" y="connsiteY5111"/>
                </a:cxn>
                <a:cxn ang="0">
                  <a:pos x="connsiteX5112" y="connsiteY5112"/>
                </a:cxn>
                <a:cxn ang="0">
                  <a:pos x="connsiteX5113" y="connsiteY5113"/>
                </a:cxn>
                <a:cxn ang="0">
                  <a:pos x="connsiteX5114" y="connsiteY5114"/>
                </a:cxn>
                <a:cxn ang="0">
                  <a:pos x="connsiteX5115" y="connsiteY5115"/>
                </a:cxn>
                <a:cxn ang="0">
                  <a:pos x="connsiteX5116" y="connsiteY5116"/>
                </a:cxn>
                <a:cxn ang="0">
                  <a:pos x="connsiteX5117" y="connsiteY5117"/>
                </a:cxn>
                <a:cxn ang="0">
                  <a:pos x="connsiteX5118" y="connsiteY5118"/>
                </a:cxn>
                <a:cxn ang="0">
                  <a:pos x="connsiteX5119" y="connsiteY5119"/>
                </a:cxn>
                <a:cxn ang="0">
                  <a:pos x="connsiteX5120" y="connsiteY5120"/>
                </a:cxn>
                <a:cxn ang="0">
                  <a:pos x="connsiteX5121" y="connsiteY5121"/>
                </a:cxn>
                <a:cxn ang="0">
                  <a:pos x="connsiteX5122" y="connsiteY5122"/>
                </a:cxn>
                <a:cxn ang="0">
                  <a:pos x="connsiteX5123" y="connsiteY5123"/>
                </a:cxn>
                <a:cxn ang="0">
                  <a:pos x="connsiteX5124" y="connsiteY5124"/>
                </a:cxn>
                <a:cxn ang="0">
                  <a:pos x="connsiteX5125" y="connsiteY5125"/>
                </a:cxn>
                <a:cxn ang="0">
                  <a:pos x="connsiteX5126" y="connsiteY5126"/>
                </a:cxn>
                <a:cxn ang="0">
                  <a:pos x="connsiteX5127" y="connsiteY5127"/>
                </a:cxn>
                <a:cxn ang="0">
                  <a:pos x="connsiteX5128" y="connsiteY5128"/>
                </a:cxn>
                <a:cxn ang="0">
                  <a:pos x="connsiteX5129" y="connsiteY5129"/>
                </a:cxn>
                <a:cxn ang="0">
                  <a:pos x="connsiteX5130" y="connsiteY5130"/>
                </a:cxn>
                <a:cxn ang="0">
                  <a:pos x="connsiteX5131" y="connsiteY5131"/>
                </a:cxn>
                <a:cxn ang="0">
                  <a:pos x="connsiteX5132" y="connsiteY5132"/>
                </a:cxn>
                <a:cxn ang="0">
                  <a:pos x="connsiteX5133" y="connsiteY5133"/>
                </a:cxn>
                <a:cxn ang="0">
                  <a:pos x="connsiteX5134" y="connsiteY5134"/>
                </a:cxn>
                <a:cxn ang="0">
                  <a:pos x="connsiteX5135" y="connsiteY5135"/>
                </a:cxn>
                <a:cxn ang="0">
                  <a:pos x="connsiteX5136" y="connsiteY5136"/>
                </a:cxn>
                <a:cxn ang="0">
                  <a:pos x="connsiteX5137" y="connsiteY5137"/>
                </a:cxn>
                <a:cxn ang="0">
                  <a:pos x="connsiteX5138" y="connsiteY5138"/>
                </a:cxn>
                <a:cxn ang="0">
                  <a:pos x="connsiteX5139" y="connsiteY5139"/>
                </a:cxn>
                <a:cxn ang="0">
                  <a:pos x="connsiteX5140" y="connsiteY5140"/>
                </a:cxn>
                <a:cxn ang="0">
                  <a:pos x="connsiteX5141" y="connsiteY5141"/>
                </a:cxn>
                <a:cxn ang="0">
                  <a:pos x="connsiteX5142" y="connsiteY5142"/>
                </a:cxn>
                <a:cxn ang="0">
                  <a:pos x="connsiteX5143" y="connsiteY5143"/>
                </a:cxn>
                <a:cxn ang="0">
                  <a:pos x="connsiteX5144" y="connsiteY5144"/>
                </a:cxn>
                <a:cxn ang="0">
                  <a:pos x="connsiteX5145" y="connsiteY5145"/>
                </a:cxn>
                <a:cxn ang="0">
                  <a:pos x="connsiteX5146" y="connsiteY5146"/>
                </a:cxn>
                <a:cxn ang="0">
                  <a:pos x="connsiteX5147" y="connsiteY5147"/>
                </a:cxn>
                <a:cxn ang="0">
                  <a:pos x="connsiteX5148" y="connsiteY5148"/>
                </a:cxn>
                <a:cxn ang="0">
                  <a:pos x="connsiteX5149" y="connsiteY5149"/>
                </a:cxn>
                <a:cxn ang="0">
                  <a:pos x="connsiteX5150" y="connsiteY5150"/>
                </a:cxn>
                <a:cxn ang="0">
                  <a:pos x="connsiteX5151" y="connsiteY5151"/>
                </a:cxn>
                <a:cxn ang="0">
                  <a:pos x="connsiteX5152" y="connsiteY5152"/>
                </a:cxn>
                <a:cxn ang="0">
                  <a:pos x="connsiteX5153" y="connsiteY5153"/>
                </a:cxn>
                <a:cxn ang="0">
                  <a:pos x="connsiteX5154" y="connsiteY5154"/>
                </a:cxn>
                <a:cxn ang="0">
                  <a:pos x="connsiteX5155" y="connsiteY5155"/>
                </a:cxn>
                <a:cxn ang="0">
                  <a:pos x="connsiteX5156" y="connsiteY5156"/>
                </a:cxn>
                <a:cxn ang="0">
                  <a:pos x="connsiteX5157" y="connsiteY5157"/>
                </a:cxn>
                <a:cxn ang="0">
                  <a:pos x="connsiteX5158" y="connsiteY5158"/>
                </a:cxn>
                <a:cxn ang="0">
                  <a:pos x="connsiteX5159" y="connsiteY5159"/>
                </a:cxn>
                <a:cxn ang="0">
                  <a:pos x="connsiteX5160" y="connsiteY5160"/>
                </a:cxn>
                <a:cxn ang="0">
                  <a:pos x="connsiteX5161" y="connsiteY5161"/>
                </a:cxn>
                <a:cxn ang="0">
                  <a:pos x="connsiteX5162" y="connsiteY5162"/>
                </a:cxn>
                <a:cxn ang="0">
                  <a:pos x="connsiteX5163" y="connsiteY5163"/>
                </a:cxn>
                <a:cxn ang="0">
                  <a:pos x="connsiteX5164" y="connsiteY5164"/>
                </a:cxn>
                <a:cxn ang="0">
                  <a:pos x="connsiteX5165" y="connsiteY5165"/>
                </a:cxn>
                <a:cxn ang="0">
                  <a:pos x="connsiteX5166" y="connsiteY5166"/>
                </a:cxn>
                <a:cxn ang="0">
                  <a:pos x="connsiteX5167" y="connsiteY5167"/>
                </a:cxn>
                <a:cxn ang="0">
                  <a:pos x="connsiteX5168" y="connsiteY5168"/>
                </a:cxn>
                <a:cxn ang="0">
                  <a:pos x="connsiteX5169" y="connsiteY5169"/>
                </a:cxn>
                <a:cxn ang="0">
                  <a:pos x="connsiteX5170" y="connsiteY5170"/>
                </a:cxn>
                <a:cxn ang="0">
                  <a:pos x="connsiteX5171" y="connsiteY5171"/>
                </a:cxn>
                <a:cxn ang="0">
                  <a:pos x="connsiteX5172" y="connsiteY5172"/>
                </a:cxn>
                <a:cxn ang="0">
                  <a:pos x="connsiteX5173" y="connsiteY5173"/>
                </a:cxn>
                <a:cxn ang="0">
                  <a:pos x="connsiteX5174" y="connsiteY5174"/>
                </a:cxn>
                <a:cxn ang="0">
                  <a:pos x="connsiteX5175" y="connsiteY5175"/>
                </a:cxn>
                <a:cxn ang="0">
                  <a:pos x="connsiteX5176" y="connsiteY5176"/>
                </a:cxn>
                <a:cxn ang="0">
                  <a:pos x="connsiteX5177" y="connsiteY5177"/>
                </a:cxn>
                <a:cxn ang="0">
                  <a:pos x="connsiteX5178" y="connsiteY5178"/>
                </a:cxn>
                <a:cxn ang="0">
                  <a:pos x="connsiteX5179" y="connsiteY5179"/>
                </a:cxn>
                <a:cxn ang="0">
                  <a:pos x="connsiteX5180" y="connsiteY5180"/>
                </a:cxn>
                <a:cxn ang="0">
                  <a:pos x="connsiteX5181" y="connsiteY5181"/>
                </a:cxn>
                <a:cxn ang="0">
                  <a:pos x="connsiteX5182" y="connsiteY5182"/>
                </a:cxn>
                <a:cxn ang="0">
                  <a:pos x="connsiteX5183" y="connsiteY5183"/>
                </a:cxn>
                <a:cxn ang="0">
                  <a:pos x="connsiteX5184" y="connsiteY5184"/>
                </a:cxn>
                <a:cxn ang="0">
                  <a:pos x="connsiteX5185" y="connsiteY5185"/>
                </a:cxn>
                <a:cxn ang="0">
                  <a:pos x="connsiteX5186" y="connsiteY5186"/>
                </a:cxn>
                <a:cxn ang="0">
                  <a:pos x="connsiteX5187" y="connsiteY5187"/>
                </a:cxn>
                <a:cxn ang="0">
                  <a:pos x="connsiteX5188" y="connsiteY5188"/>
                </a:cxn>
                <a:cxn ang="0">
                  <a:pos x="connsiteX5189" y="connsiteY5189"/>
                </a:cxn>
                <a:cxn ang="0">
                  <a:pos x="connsiteX5190" y="connsiteY5190"/>
                </a:cxn>
                <a:cxn ang="0">
                  <a:pos x="connsiteX5191" y="connsiteY5191"/>
                </a:cxn>
                <a:cxn ang="0">
                  <a:pos x="connsiteX5192" y="connsiteY5192"/>
                </a:cxn>
                <a:cxn ang="0">
                  <a:pos x="connsiteX5193" y="connsiteY5193"/>
                </a:cxn>
                <a:cxn ang="0">
                  <a:pos x="connsiteX5194" y="connsiteY5194"/>
                </a:cxn>
                <a:cxn ang="0">
                  <a:pos x="connsiteX5195" y="connsiteY5195"/>
                </a:cxn>
                <a:cxn ang="0">
                  <a:pos x="connsiteX5196" y="connsiteY5196"/>
                </a:cxn>
                <a:cxn ang="0">
                  <a:pos x="connsiteX5197" y="connsiteY5197"/>
                </a:cxn>
                <a:cxn ang="0">
                  <a:pos x="connsiteX5198" y="connsiteY5198"/>
                </a:cxn>
                <a:cxn ang="0">
                  <a:pos x="connsiteX5199" y="connsiteY5199"/>
                </a:cxn>
                <a:cxn ang="0">
                  <a:pos x="connsiteX5200" y="connsiteY5200"/>
                </a:cxn>
                <a:cxn ang="0">
                  <a:pos x="connsiteX5201" y="connsiteY5201"/>
                </a:cxn>
                <a:cxn ang="0">
                  <a:pos x="connsiteX5202" y="connsiteY5202"/>
                </a:cxn>
                <a:cxn ang="0">
                  <a:pos x="connsiteX5203" y="connsiteY5203"/>
                </a:cxn>
                <a:cxn ang="0">
                  <a:pos x="connsiteX5204" y="connsiteY5204"/>
                </a:cxn>
                <a:cxn ang="0">
                  <a:pos x="connsiteX5205" y="connsiteY5205"/>
                </a:cxn>
                <a:cxn ang="0">
                  <a:pos x="connsiteX5206" y="connsiteY5206"/>
                </a:cxn>
                <a:cxn ang="0">
                  <a:pos x="connsiteX5207" y="connsiteY5207"/>
                </a:cxn>
                <a:cxn ang="0">
                  <a:pos x="connsiteX5208" y="connsiteY5208"/>
                </a:cxn>
                <a:cxn ang="0">
                  <a:pos x="connsiteX5209" y="connsiteY5209"/>
                </a:cxn>
                <a:cxn ang="0">
                  <a:pos x="connsiteX5210" y="connsiteY5210"/>
                </a:cxn>
                <a:cxn ang="0">
                  <a:pos x="connsiteX5211" y="connsiteY5211"/>
                </a:cxn>
                <a:cxn ang="0">
                  <a:pos x="connsiteX5212" y="connsiteY5212"/>
                </a:cxn>
                <a:cxn ang="0">
                  <a:pos x="connsiteX5213" y="connsiteY5213"/>
                </a:cxn>
                <a:cxn ang="0">
                  <a:pos x="connsiteX5214" y="connsiteY5214"/>
                </a:cxn>
                <a:cxn ang="0">
                  <a:pos x="connsiteX5215" y="connsiteY5215"/>
                </a:cxn>
                <a:cxn ang="0">
                  <a:pos x="connsiteX5216" y="connsiteY5216"/>
                </a:cxn>
                <a:cxn ang="0">
                  <a:pos x="connsiteX5217" y="connsiteY5217"/>
                </a:cxn>
                <a:cxn ang="0">
                  <a:pos x="connsiteX5218" y="connsiteY5218"/>
                </a:cxn>
                <a:cxn ang="0">
                  <a:pos x="connsiteX5219" y="connsiteY5219"/>
                </a:cxn>
                <a:cxn ang="0">
                  <a:pos x="connsiteX5220" y="connsiteY5220"/>
                </a:cxn>
                <a:cxn ang="0">
                  <a:pos x="connsiteX5221" y="connsiteY5221"/>
                </a:cxn>
                <a:cxn ang="0">
                  <a:pos x="connsiteX5222" y="connsiteY5222"/>
                </a:cxn>
                <a:cxn ang="0">
                  <a:pos x="connsiteX5223" y="connsiteY5223"/>
                </a:cxn>
                <a:cxn ang="0">
                  <a:pos x="connsiteX5224" y="connsiteY5224"/>
                </a:cxn>
                <a:cxn ang="0">
                  <a:pos x="connsiteX5225" y="connsiteY5225"/>
                </a:cxn>
                <a:cxn ang="0">
                  <a:pos x="connsiteX5226" y="connsiteY5226"/>
                </a:cxn>
                <a:cxn ang="0">
                  <a:pos x="connsiteX5227" y="connsiteY5227"/>
                </a:cxn>
                <a:cxn ang="0">
                  <a:pos x="connsiteX5228" y="connsiteY5228"/>
                </a:cxn>
                <a:cxn ang="0">
                  <a:pos x="connsiteX5229" y="connsiteY5229"/>
                </a:cxn>
                <a:cxn ang="0">
                  <a:pos x="connsiteX5230" y="connsiteY5230"/>
                </a:cxn>
                <a:cxn ang="0">
                  <a:pos x="connsiteX5231" y="connsiteY5231"/>
                </a:cxn>
                <a:cxn ang="0">
                  <a:pos x="connsiteX5232" y="connsiteY5232"/>
                </a:cxn>
                <a:cxn ang="0">
                  <a:pos x="connsiteX5233" y="connsiteY5233"/>
                </a:cxn>
                <a:cxn ang="0">
                  <a:pos x="connsiteX5234" y="connsiteY5234"/>
                </a:cxn>
                <a:cxn ang="0">
                  <a:pos x="connsiteX5235" y="connsiteY5235"/>
                </a:cxn>
                <a:cxn ang="0">
                  <a:pos x="connsiteX5236" y="connsiteY5236"/>
                </a:cxn>
                <a:cxn ang="0">
                  <a:pos x="connsiteX5237" y="connsiteY5237"/>
                </a:cxn>
                <a:cxn ang="0">
                  <a:pos x="connsiteX5238" y="connsiteY5238"/>
                </a:cxn>
                <a:cxn ang="0">
                  <a:pos x="connsiteX5239" y="connsiteY5239"/>
                </a:cxn>
                <a:cxn ang="0">
                  <a:pos x="connsiteX5240" y="connsiteY5240"/>
                </a:cxn>
                <a:cxn ang="0">
                  <a:pos x="connsiteX5241" y="connsiteY5241"/>
                </a:cxn>
                <a:cxn ang="0">
                  <a:pos x="connsiteX5242" y="connsiteY5242"/>
                </a:cxn>
                <a:cxn ang="0">
                  <a:pos x="connsiteX5243" y="connsiteY5243"/>
                </a:cxn>
                <a:cxn ang="0">
                  <a:pos x="connsiteX5244" y="connsiteY5244"/>
                </a:cxn>
                <a:cxn ang="0">
                  <a:pos x="connsiteX5245" y="connsiteY5245"/>
                </a:cxn>
                <a:cxn ang="0">
                  <a:pos x="connsiteX5246" y="connsiteY5246"/>
                </a:cxn>
                <a:cxn ang="0">
                  <a:pos x="connsiteX5247" y="connsiteY5247"/>
                </a:cxn>
                <a:cxn ang="0">
                  <a:pos x="connsiteX5248" y="connsiteY5248"/>
                </a:cxn>
                <a:cxn ang="0">
                  <a:pos x="connsiteX5249" y="connsiteY5249"/>
                </a:cxn>
                <a:cxn ang="0">
                  <a:pos x="connsiteX5250" y="connsiteY5250"/>
                </a:cxn>
                <a:cxn ang="0">
                  <a:pos x="connsiteX5251" y="connsiteY5251"/>
                </a:cxn>
                <a:cxn ang="0">
                  <a:pos x="connsiteX5252" y="connsiteY5252"/>
                </a:cxn>
                <a:cxn ang="0">
                  <a:pos x="connsiteX5253" y="connsiteY5253"/>
                </a:cxn>
                <a:cxn ang="0">
                  <a:pos x="connsiteX5254" y="connsiteY5254"/>
                </a:cxn>
                <a:cxn ang="0">
                  <a:pos x="connsiteX5255" y="connsiteY5255"/>
                </a:cxn>
                <a:cxn ang="0">
                  <a:pos x="connsiteX5256" y="connsiteY5256"/>
                </a:cxn>
                <a:cxn ang="0">
                  <a:pos x="connsiteX5257" y="connsiteY5257"/>
                </a:cxn>
                <a:cxn ang="0">
                  <a:pos x="connsiteX5258" y="connsiteY5258"/>
                </a:cxn>
                <a:cxn ang="0">
                  <a:pos x="connsiteX5259" y="connsiteY5259"/>
                </a:cxn>
                <a:cxn ang="0">
                  <a:pos x="connsiteX5260" y="connsiteY5260"/>
                </a:cxn>
                <a:cxn ang="0">
                  <a:pos x="connsiteX5261" y="connsiteY5261"/>
                </a:cxn>
                <a:cxn ang="0">
                  <a:pos x="connsiteX5262" y="connsiteY5262"/>
                </a:cxn>
                <a:cxn ang="0">
                  <a:pos x="connsiteX5263" y="connsiteY5263"/>
                </a:cxn>
                <a:cxn ang="0">
                  <a:pos x="connsiteX5264" y="connsiteY5264"/>
                </a:cxn>
                <a:cxn ang="0">
                  <a:pos x="connsiteX5265" y="connsiteY5265"/>
                </a:cxn>
                <a:cxn ang="0">
                  <a:pos x="connsiteX5266" y="connsiteY5266"/>
                </a:cxn>
                <a:cxn ang="0">
                  <a:pos x="connsiteX5267" y="connsiteY5267"/>
                </a:cxn>
                <a:cxn ang="0">
                  <a:pos x="connsiteX5268" y="connsiteY5268"/>
                </a:cxn>
                <a:cxn ang="0">
                  <a:pos x="connsiteX5269" y="connsiteY5269"/>
                </a:cxn>
                <a:cxn ang="0">
                  <a:pos x="connsiteX5270" y="connsiteY5270"/>
                </a:cxn>
                <a:cxn ang="0">
                  <a:pos x="connsiteX5271" y="connsiteY5271"/>
                </a:cxn>
                <a:cxn ang="0">
                  <a:pos x="connsiteX5272" y="connsiteY5272"/>
                </a:cxn>
                <a:cxn ang="0">
                  <a:pos x="connsiteX5273" y="connsiteY5273"/>
                </a:cxn>
                <a:cxn ang="0">
                  <a:pos x="connsiteX5274" y="connsiteY5274"/>
                </a:cxn>
                <a:cxn ang="0">
                  <a:pos x="connsiteX5275" y="connsiteY5275"/>
                </a:cxn>
                <a:cxn ang="0">
                  <a:pos x="connsiteX5276" y="connsiteY5276"/>
                </a:cxn>
                <a:cxn ang="0">
                  <a:pos x="connsiteX5277" y="connsiteY5277"/>
                </a:cxn>
                <a:cxn ang="0">
                  <a:pos x="connsiteX5278" y="connsiteY5278"/>
                </a:cxn>
                <a:cxn ang="0">
                  <a:pos x="connsiteX5279" y="connsiteY5279"/>
                </a:cxn>
                <a:cxn ang="0">
                  <a:pos x="connsiteX5280" y="connsiteY5280"/>
                </a:cxn>
                <a:cxn ang="0">
                  <a:pos x="connsiteX5281" y="connsiteY5281"/>
                </a:cxn>
                <a:cxn ang="0">
                  <a:pos x="connsiteX5282" y="connsiteY5282"/>
                </a:cxn>
                <a:cxn ang="0">
                  <a:pos x="connsiteX5283" y="connsiteY5283"/>
                </a:cxn>
                <a:cxn ang="0">
                  <a:pos x="connsiteX5284" y="connsiteY5284"/>
                </a:cxn>
                <a:cxn ang="0">
                  <a:pos x="connsiteX5285" y="connsiteY5285"/>
                </a:cxn>
                <a:cxn ang="0">
                  <a:pos x="connsiteX5286" y="connsiteY5286"/>
                </a:cxn>
                <a:cxn ang="0">
                  <a:pos x="connsiteX5287" y="connsiteY5287"/>
                </a:cxn>
                <a:cxn ang="0">
                  <a:pos x="connsiteX5288" y="connsiteY5288"/>
                </a:cxn>
                <a:cxn ang="0">
                  <a:pos x="connsiteX5289" y="connsiteY5289"/>
                </a:cxn>
                <a:cxn ang="0">
                  <a:pos x="connsiteX5290" y="connsiteY5290"/>
                </a:cxn>
                <a:cxn ang="0">
                  <a:pos x="connsiteX5291" y="connsiteY5291"/>
                </a:cxn>
                <a:cxn ang="0">
                  <a:pos x="connsiteX5292" y="connsiteY5292"/>
                </a:cxn>
                <a:cxn ang="0">
                  <a:pos x="connsiteX5293" y="connsiteY5293"/>
                </a:cxn>
                <a:cxn ang="0">
                  <a:pos x="connsiteX5294" y="connsiteY5294"/>
                </a:cxn>
                <a:cxn ang="0">
                  <a:pos x="connsiteX5295" y="connsiteY5295"/>
                </a:cxn>
                <a:cxn ang="0">
                  <a:pos x="connsiteX5296" y="connsiteY5296"/>
                </a:cxn>
                <a:cxn ang="0">
                  <a:pos x="connsiteX5297" y="connsiteY5297"/>
                </a:cxn>
                <a:cxn ang="0">
                  <a:pos x="connsiteX5298" y="connsiteY5298"/>
                </a:cxn>
                <a:cxn ang="0">
                  <a:pos x="connsiteX5299" y="connsiteY5299"/>
                </a:cxn>
                <a:cxn ang="0">
                  <a:pos x="connsiteX5300" y="connsiteY5300"/>
                </a:cxn>
                <a:cxn ang="0">
                  <a:pos x="connsiteX5301" y="connsiteY5301"/>
                </a:cxn>
                <a:cxn ang="0">
                  <a:pos x="connsiteX5302" y="connsiteY5302"/>
                </a:cxn>
                <a:cxn ang="0">
                  <a:pos x="connsiteX5303" y="connsiteY5303"/>
                </a:cxn>
                <a:cxn ang="0">
                  <a:pos x="connsiteX5304" y="connsiteY5304"/>
                </a:cxn>
                <a:cxn ang="0">
                  <a:pos x="connsiteX5305" y="connsiteY5305"/>
                </a:cxn>
                <a:cxn ang="0">
                  <a:pos x="connsiteX5306" y="connsiteY5306"/>
                </a:cxn>
                <a:cxn ang="0">
                  <a:pos x="connsiteX5307" y="connsiteY5307"/>
                </a:cxn>
                <a:cxn ang="0">
                  <a:pos x="connsiteX5308" y="connsiteY5308"/>
                </a:cxn>
                <a:cxn ang="0">
                  <a:pos x="connsiteX5309" y="connsiteY5309"/>
                </a:cxn>
                <a:cxn ang="0">
                  <a:pos x="connsiteX5310" y="connsiteY5310"/>
                </a:cxn>
                <a:cxn ang="0">
                  <a:pos x="connsiteX5311" y="connsiteY5311"/>
                </a:cxn>
                <a:cxn ang="0">
                  <a:pos x="connsiteX5312" y="connsiteY5312"/>
                </a:cxn>
                <a:cxn ang="0">
                  <a:pos x="connsiteX5313" y="connsiteY5313"/>
                </a:cxn>
                <a:cxn ang="0">
                  <a:pos x="connsiteX5314" y="connsiteY5314"/>
                </a:cxn>
                <a:cxn ang="0">
                  <a:pos x="connsiteX5315" y="connsiteY5315"/>
                </a:cxn>
                <a:cxn ang="0">
                  <a:pos x="connsiteX5316" y="connsiteY5316"/>
                </a:cxn>
                <a:cxn ang="0">
                  <a:pos x="connsiteX5317" y="connsiteY5317"/>
                </a:cxn>
                <a:cxn ang="0">
                  <a:pos x="connsiteX5318" y="connsiteY5318"/>
                </a:cxn>
                <a:cxn ang="0">
                  <a:pos x="connsiteX5319" y="connsiteY5319"/>
                </a:cxn>
                <a:cxn ang="0">
                  <a:pos x="connsiteX5320" y="connsiteY5320"/>
                </a:cxn>
                <a:cxn ang="0">
                  <a:pos x="connsiteX5321" y="connsiteY5321"/>
                </a:cxn>
                <a:cxn ang="0">
                  <a:pos x="connsiteX5322" y="connsiteY5322"/>
                </a:cxn>
                <a:cxn ang="0">
                  <a:pos x="connsiteX5323" y="connsiteY5323"/>
                </a:cxn>
                <a:cxn ang="0">
                  <a:pos x="connsiteX5324" y="connsiteY5324"/>
                </a:cxn>
                <a:cxn ang="0">
                  <a:pos x="connsiteX5325" y="connsiteY5325"/>
                </a:cxn>
                <a:cxn ang="0">
                  <a:pos x="connsiteX5326" y="connsiteY5326"/>
                </a:cxn>
                <a:cxn ang="0">
                  <a:pos x="connsiteX5327" y="connsiteY5327"/>
                </a:cxn>
                <a:cxn ang="0">
                  <a:pos x="connsiteX5328" y="connsiteY5328"/>
                </a:cxn>
                <a:cxn ang="0">
                  <a:pos x="connsiteX5329" y="connsiteY5329"/>
                </a:cxn>
                <a:cxn ang="0">
                  <a:pos x="connsiteX5330" y="connsiteY5330"/>
                </a:cxn>
                <a:cxn ang="0">
                  <a:pos x="connsiteX5331" y="connsiteY5331"/>
                </a:cxn>
                <a:cxn ang="0">
                  <a:pos x="connsiteX5332" y="connsiteY5332"/>
                </a:cxn>
                <a:cxn ang="0">
                  <a:pos x="connsiteX5333" y="connsiteY5333"/>
                </a:cxn>
                <a:cxn ang="0">
                  <a:pos x="connsiteX5334" y="connsiteY5334"/>
                </a:cxn>
                <a:cxn ang="0">
                  <a:pos x="connsiteX5335" y="connsiteY5335"/>
                </a:cxn>
                <a:cxn ang="0">
                  <a:pos x="connsiteX5336" y="connsiteY5336"/>
                </a:cxn>
                <a:cxn ang="0">
                  <a:pos x="connsiteX5337" y="connsiteY5337"/>
                </a:cxn>
                <a:cxn ang="0">
                  <a:pos x="connsiteX5338" y="connsiteY5338"/>
                </a:cxn>
                <a:cxn ang="0">
                  <a:pos x="connsiteX5339" y="connsiteY5339"/>
                </a:cxn>
                <a:cxn ang="0">
                  <a:pos x="connsiteX5340" y="connsiteY5340"/>
                </a:cxn>
                <a:cxn ang="0">
                  <a:pos x="connsiteX5341" y="connsiteY5341"/>
                </a:cxn>
                <a:cxn ang="0">
                  <a:pos x="connsiteX5342" y="connsiteY5342"/>
                </a:cxn>
                <a:cxn ang="0">
                  <a:pos x="connsiteX5343" y="connsiteY5343"/>
                </a:cxn>
                <a:cxn ang="0">
                  <a:pos x="connsiteX5344" y="connsiteY5344"/>
                </a:cxn>
                <a:cxn ang="0">
                  <a:pos x="connsiteX5345" y="connsiteY5345"/>
                </a:cxn>
                <a:cxn ang="0">
                  <a:pos x="connsiteX5346" y="connsiteY5346"/>
                </a:cxn>
                <a:cxn ang="0">
                  <a:pos x="connsiteX5347" y="connsiteY5347"/>
                </a:cxn>
                <a:cxn ang="0">
                  <a:pos x="connsiteX5348" y="connsiteY5348"/>
                </a:cxn>
                <a:cxn ang="0">
                  <a:pos x="connsiteX5349" y="connsiteY5349"/>
                </a:cxn>
                <a:cxn ang="0">
                  <a:pos x="connsiteX5350" y="connsiteY5350"/>
                </a:cxn>
                <a:cxn ang="0">
                  <a:pos x="connsiteX5351" y="connsiteY5351"/>
                </a:cxn>
                <a:cxn ang="0">
                  <a:pos x="connsiteX5352" y="connsiteY5352"/>
                </a:cxn>
                <a:cxn ang="0">
                  <a:pos x="connsiteX5353" y="connsiteY5353"/>
                </a:cxn>
                <a:cxn ang="0">
                  <a:pos x="connsiteX5354" y="connsiteY5354"/>
                </a:cxn>
                <a:cxn ang="0">
                  <a:pos x="connsiteX5355" y="connsiteY5355"/>
                </a:cxn>
                <a:cxn ang="0">
                  <a:pos x="connsiteX5356" y="connsiteY5356"/>
                </a:cxn>
                <a:cxn ang="0">
                  <a:pos x="connsiteX5357" y="connsiteY5357"/>
                </a:cxn>
                <a:cxn ang="0">
                  <a:pos x="connsiteX5358" y="connsiteY5358"/>
                </a:cxn>
                <a:cxn ang="0">
                  <a:pos x="connsiteX5359" y="connsiteY5359"/>
                </a:cxn>
                <a:cxn ang="0">
                  <a:pos x="connsiteX5360" y="connsiteY5360"/>
                </a:cxn>
                <a:cxn ang="0">
                  <a:pos x="connsiteX5361" y="connsiteY5361"/>
                </a:cxn>
                <a:cxn ang="0">
                  <a:pos x="connsiteX5362" y="connsiteY5362"/>
                </a:cxn>
                <a:cxn ang="0">
                  <a:pos x="connsiteX5363" y="connsiteY5363"/>
                </a:cxn>
                <a:cxn ang="0">
                  <a:pos x="connsiteX5364" y="connsiteY5364"/>
                </a:cxn>
                <a:cxn ang="0">
                  <a:pos x="connsiteX5365" y="connsiteY5365"/>
                </a:cxn>
                <a:cxn ang="0">
                  <a:pos x="connsiteX5366" y="connsiteY5366"/>
                </a:cxn>
                <a:cxn ang="0">
                  <a:pos x="connsiteX5367" y="connsiteY5367"/>
                </a:cxn>
                <a:cxn ang="0">
                  <a:pos x="connsiteX5368" y="connsiteY5368"/>
                </a:cxn>
                <a:cxn ang="0">
                  <a:pos x="connsiteX5369" y="connsiteY5369"/>
                </a:cxn>
                <a:cxn ang="0">
                  <a:pos x="connsiteX5370" y="connsiteY5370"/>
                </a:cxn>
                <a:cxn ang="0">
                  <a:pos x="connsiteX5371" y="connsiteY5371"/>
                </a:cxn>
                <a:cxn ang="0">
                  <a:pos x="connsiteX5372" y="connsiteY5372"/>
                </a:cxn>
                <a:cxn ang="0">
                  <a:pos x="connsiteX5373" y="connsiteY5373"/>
                </a:cxn>
                <a:cxn ang="0">
                  <a:pos x="connsiteX5374" y="connsiteY5374"/>
                </a:cxn>
                <a:cxn ang="0">
                  <a:pos x="connsiteX5375" y="connsiteY5375"/>
                </a:cxn>
                <a:cxn ang="0">
                  <a:pos x="connsiteX5376" y="connsiteY5376"/>
                </a:cxn>
                <a:cxn ang="0">
                  <a:pos x="connsiteX5377" y="connsiteY5377"/>
                </a:cxn>
                <a:cxn ang="0">
                  <a:pos x="connsiteX5378" y="connsiteY5378"/>
                </a:cxn>
                <a:cxn ang="0">
                  <a:pos x="connsiteX5379" y="connsiteY5379"/>
                </a:cxn>
                <a:cxn ang="0">
                  <a:pos x="connsiteX5380" y="connsiteY5380"/>
                </a:cxn>
                <a:cxn ang="0">
                  <a:pos x="connsiteX5381" y="connsiteY5381"/>
                </a:cxn>
                <a:cxn ang="0">
                  <a:pos x="connsiteX5382" y="connsiteY5382"/>
                </a:cxn>
                <a:cxn ang="0">
                  <a:pos x="connsiteX5383" y="connsiteY5383"/>
                </a:cxn>
                <a:cxn ang="0">
                  <a:pos x="connsiteX5384" y="connsiteY5384"/>
                </a:cxn>
                <a:cxn ang="0">
                  <a:pos x="connsiteX5385" y="connsiteY5385"/>
                </a:cxn>
                <a:cxn ang="0">
                  <a:pos x="connsiteX5386" y="connsiteY5386"/>
                </a:cxn>
                <a:cxn ang="0">
                  <a:pos x="connsiteX5387" y="connsiteY5387"/>
                </a:cxn>
                <a:cxn ang="0">
                  <a:pos x="connsiteX5388" y="connsiteY5388"/>
                </a:cxn>
                <a:cxn ang="0">
                  <a:pos x="connsiteX5389" y="connsiteY5389"/>
                </a:cxn>
                <a:cxn ang="0">
                  <a:pos x="connsiteX5390" y="connsiteY5390"/>
                </a:cxn>
                <a:cxn ang="0">
                  <a:pos x="connsiteX5391" y="connsiteY5391"/>
                </a:cxn>
                <a:cxn ang="0">
                  <a:pos x="connsiteX5392" y="connsiteY5392"/>
                </a:cxn>
                <a:cxn ang="0">
                  <a:pos x="connsiteX5393" y="connsiteY5393"/>
                </a:cxn>
                <a:cxn ang="0">
                  <a:pos x="connsiteX5394" y="connsiteY5394"/>
                </a:cxn>
                <a:cxn ang="0">
                  <a:pos x="connsiteX5395" y="connsiteY5395"/>
                </a:cxn>
                <a:cxn ang="0">
                  <a:pos x="connsiteX5396" y="connsiteY5396"/>
                </a:cxn>
                <a:cxn ang="0">
                  <a:pos x="connsiteX5397" y="connsiteY5397"/>
                </a:cxn>
                <a:cxn ang="0">
                  <a:pos x="connsiteX5398" y="connsiteY5398"/>
                </a:cxn>
                <a:cxn ang="0">
                  <a:pos x="connsiteX5399" y="connsiteY5399"/>
                </a:cxn>
                <a:cxn ang="0">
                  <a:pos x="connsiteX5400" y="connsiteY5400"/>
                </a:cxn>
                <a:cxn ang="0">
                  <a:pos x="connsiteX5401" y="connsiteY5401"/>
                </a:cxn>
                <a:cxn ang="0">
                  <a:pos x="connsiteX5402" y="connsiteY5402"/>
                </a:cxn>
                <a:cxn ang="0">
                  <a:pos x="connsiteX5403" y="connsiteY5403"/>
                </a:cxn>
                <a:cxn ang="0">
                  <a:pos x="connsiteX5404" y="connsiteY5404"/>
                </a:cxn>
                <a:cxn ang="0">
                  <a:pos x="connsiteX5405" y="connsiteY5405"/>
                </a:cxn>
                <a:cxn ang="0">
                  <a:pos x="connsiteX5406" y="connsiteY5406"/>
                </a:cxn>
                <a:cxn ang="0">
                  <a:pos x="connsiteX5407" y="connsiteY5407"/>
                </a:cxn>
                <a:cxn ang="0">
                  <a:pos x="connsiteX5408" y="connsiteY5408"/>
                </a:cxn>
                <a:cxn ang="0">
                  <a:pos x="connsiteX5409" y="connsiteY5409"/>
                </a:cxn>
                <a:cxn ang="0">
                  <a:pos x="connsiteX5410" y="connsiteY5410"/>
                </a:cxn>
                <a:cxn ang="0">
                  <a:pos x="connsiteX5411" y="connsiteY5411"/>
                </a:cxn>
                <a:cxn ang="0">
                  <a:pos x="connsiteX5412" y="connsiteY5412"/>
                </a:cxn>
                <a:cxn ang="0">
                  <a:pos x="connsiteX5413" y="connsiteY5413"/>
                </a:cxn>
                <a:cxn ang="0">
                  <a:pos x="connsiteX5414" y="connsiteY5414"/>
                </a:cxn>
                <a:cxn ang="0">
                  <a:pos x="connsiteX5415" y="connsiteY5415"/>
                </a:cxn>
                <a:cxn ang="0">
                  <a:pos x="connsiteX5416" y="connsiteY5416"/>
                </a:cxn>
                <a:cxn ang="0">
                  <a:pos x="connsiteX5417" y="connsiteY5417"/>
                </a:cxn>
                <a:cxn ang="0">
                  <a:pos x="connsiteX5418" y="connsiteY5418"/>
                </a:cxn>
                <a:cxn ang="0">
                  <a:pos x="connsiteX5419" y="connsiteY5419"/>
                </a:cxn>
                <a:cxn ang="0">
                  <a:pos x="connsiteX5420" y="connsiteY5420"/>
                </a:cxn>
                <a:cxn ang="0">
                  <a:pos x="connsiteX5421" y="connsiteY5421"/>
                </a:cxn>
                <a:cxn ang="0">
                  <a:pos x="connsiteX5422" y="connsiteY5422"/>
                </a:cxn>
                <a:cxn ang="0">
                  <a:pos x="connsiteX5423" y="connsiteY5423"/>
                </a:cxn>
                <a:cxn ang="0">
                  <a:pos x="connsiteX5424" y="connsiteY5424"/>
                </a:cxn>
                <a:cxn ang="0">
                  <a:pos x="connsiteX5425" y="connsiteY5425"/>
                </a:cxn>
                <a:cxn ang="0">
                  <a:pos x="connsiteX5426" y="connsiteY5426"/>
                </a:cxn>
                <a:cxn ang="0">
                  <a:pos x="connsiteX5427" y="connsiteY5427"/>
                </a:cxn>
                <a:cxn ang="0">
                  <a:pos x="connsiteX5428" y="connsiteY5428"/>
                </a:cxn>
                <a:cxn ang="0">
                  <a:pos x="connsiteX5429" y="connsiteY5429"/>
                </a:cxn>
                <a:cxn ang="0">
                  <a:pos x="connsiteX5430" y="connsiteY5430"/>
                </a:cxn>
                <a:cxn ang="0">
                  <a:pos x="connsiteX5431" y="connsiteY5431"/>
                </a:cxn>
                <a:cxn ang="0">
                  <a:pos x="connsiteX5432" y="connsiteY5432"/>
                </a:cxn>
                <a:cxn ang="0">
                  <a:pos x="connsiteX5433" y="connsiteY5433"/>
                </a:cxn>
                <a:cxn ang="0">
                  <a:pos x="connsiteX5434" y="connsiteY5434"/>
                </a:cxn>
                <a:cxn ang="0">
                  <a:pos x="connsiteX5435" y="connsiteY5435"/>
                </a:cxn>
                <a:cxn ang="0">
                  <a:pos x="connsiteX5436" y="connsiteY5436"/>
                </a:cxn>
                <a:cxn ang="0">
                  <a:pos x="connsiteX5437" y="connsiteY5437"/>
                </a:cxn>
                <a:cxn ang="0">
                  <a:pos x="connsiteX5438" y="connsiteY5438"/>
                </a:cxn>
                <a:cxn ang="0">
                  <a:pos x="connsiteX5439" y="connsiteY5439"/>
                </a:cxn>
                <a:cxn ang="0">
                  <a:pos x="connsiteX5440" y="connsiteY5440"/>
                </a:cxn>
                <a:cxn ang="0">
                  <a:pos x="connsiteX5441" y="connsiteY5441"/>
                </a:cxn>
                <a:cxn ang="0">
                  <a:pos x="connsiteX5442" y="connsiteY5442"/>
                </a:cxn>
                <a:cxn ang="0">
                  <a:pos x="connsiteX5443" y="connsiteY5443"/>
                </a:cxn>
                <a:cxn ang="0">
                  <a:pos x="connsiteX5444" y="connsiteY5444"/>
                </a:cxn>
                <a:cxn ang="0">
                  <a:pos x="connsiteX5445" y="connsiteY5445"/>
                </a:cxn>
                <a:cxn ang="0">
                  <a:pos x="connsiteX5446" y="connsiteY5446"/>
                </a:cxn>
                <a:cxn ang="0">
                  <a:pos x="connsiteX5447" y="connsiteY5447"/>
                </a:cxn>
                <a:cxn ang="0">
                  <a:pos x="connsiteX5448" y="connsiteY5448"/>
                </a:cxn>
                <a:cxn ang="0">
                  <a:pos x="connsiteX5449" y="connsiteY5449"/>
                </a:cxn>
                <a:cxn ang="0">
                  <a:pos x="connsiteX5450" y="connsiteY5450"/>
                </a:cxn>
                <a:cxn ang="0">
                  <a:pos x="connsiteX5451" y="connsiteY5451"/>
                </a:cxn>
                <a:cxn ang="0">
                  <a:pos x="connsiteX5452" y="connsiteY5452"/>
                </a:cxn>
                <a:cxn ang="0">
                  <a:pos x="connsiteX5453" y="connsiteY5453"/>
                </a:cxn>
                <a:cxn ang="0">
                  <a:pos x="connsiteX5454" y="connsiteY5454"/>
                </a:cxn>
                <a:cxn ang="0">
                  <a:pos x="connsiteX5455" y="connsiteY5455"/>
                </a:cxn>
                <a:cxn ang="0">
                  <a:pos x="connsiteX5456" y="connsiteY5456"/>
                </a:cxn>
                <a:cxn ang="0">
                  <a:pos x="connsiteX5457" y="connsiteY5457"/>
                </a:cxn>
                <a:cxn ang="0">
                  <a:pos x="connsiteX5458" y="connsiteY5458"/>
                </a:cxn>
                <a:cxn ang="0">
                  <a:pos x="connsiteX5459" y="connsiteY5459"/>
                </a:cxn>
                <a:cxn ang="0">
                  <a:pos x="connsiteX5460" y="connsiteY5460"/>
                </a:cxn>
                <a:cxn ang="0">
                  <a:pos x="connsiteX5461" y="connsiteY5461"/>
                </a:cxn>
                <a:cxn ang="0">
                  <a:pos x="connsiteX5462" y="connsiteY5462"/>
                </a:cxn>
                <a:cxn ang="0">
                  <a:pos x="connsiteX5463" y="connsiteY5463"/>
                </a:cxn>
                <a:cxn ang="0">
                  <a:pos x="connsiteX5464" y="connsiteY5464"/>
                </a:cxn>
                <a:cxn ang="0">
                  <a:pos x="connsiteX5465" y="connsiteY5465"/>
                </a:cxn>
                <a:cxn ang="0">
                  <a:pos x="connsiteX5466" y="connsiteY5466"/>
                </a:cxn>
                <a:cxn ang="0">
                  <a:pos x="connsiteX5467" y="connsiteY5467"/>
                </a:cxn>
                <a:cxn ang="0">
                  <a:pos x="connsiteX5468" y="connsiteY5468"/>
                </a:cxn>
                <a:cxn ang="0">
                  <a:pos x="connsiteX5469" y="connsiteY5469"/>
                </a:cxn>
                <a:cxn ang="0">
                  <a:pos x="connsiteX5470" y="connsiteY5470"/>
                </a:cxn>
                <a:cxn ang="0">
                  <a:pos x="connsiteX5471" y="connsiteY5471"/>
                </a:cxn>
                <a:cxn ang="0">
                  <a:pos x="connsiteX5472" y="connsiteY5472"/>
                </a:cxn>
                <a:cxn ang="0">
                  <a:pos x="connsiteX5473" y="connsiteY5473"/>
                </a:cxn>
                <a:cxn ang="0">
                  <a:pos x="connsiteX5474" y="connsiteY5474"/>
                </a:cxn>
                <a:cxn ang="0">
                  <a:pos x="connsiteX5475" y="connsiteY5475"/>
                </a:cxn>
                <a:cxn ang="0">
                  <a:pos x="connsiteX5476" y="connsiteY5476"/>
                </a:cxn>
                <a:cxn ang="0">
                  <a:pos x="connsiteX5477" y="connsiteY5477"/>
                </a:cxn>
                <a:cxn ang="0">
                  <a:pos x="connsiteX5478" y="connsiteY5478"/>
                </a:cxn>
                <a:cxn ang="0">
                  <a:pos x="connsiteX5479" y="connsiteY5479"/>
                </a:cxn>
                <a:cxn ang="0">
                  <a:pos x="connsiteX5480" y="connsiteY5480"/>
                </a:cxn>
                <a:cxn ang="0">
                  <a:pos x="connsiteX5481" y="connsiteY5481"/>
                </a:cxn>
                <a:cxn ang="0">
                  <a:pos x="connsiteX5482" y="connsiteY5482"/>
                </a:cxn>
                <a:cxn ang="0">
                  <a:pos x="connsiteX5483" y="connsiteY5483"/>
                </a:cxn>
                <a:cxn ang="0">
                  <a:pos x="connsiteX5484" y="connsiteY5484"/>
                </a:cxn>
                <a:cxn ang="0">
                  <a:pos x="connsiteX5485" y="connsiteY5485"/>
                </a:cxn>
                <a:cxn ang="0">
                  <a:pos x="connsiteX5486" y="connsiteY5486"/>
                </a:cxn>
                <a:cxn ang="0">
                  <a:pos x="connsiteX5487" y="connsiteY5487"/>
                </a:cxn>
                <a:cxn ang="0">
                  <a:pos x="connsiteX5488" y="connsiteY5488"/>
                </a:cxn>
                <a:cxn ang="0">
                  <a:pos x="connsiteX5489" y="connsiteY5489"/>
                </a:cxn>
                <a:cxn ang="0">
                  <a:pos x="connsiteX5490" y="connsiteY5490"/>
                </a:cxn>
                <a:cxn ang="0">
                  <a:pos x="connsiteX5491" y="connsiteY5491"/>
                </a:cxn>
                <a:cxn ang="0">
                  <a:pos x="connsiteX5492" y="connsiteY5492"/>
                </a:cxn>
                <a:cxn ang="0">
                  <a:pos x="connsiteX5493" y="connsiteY5493"/>
                </a:cxn>
                <a:cxn ang="0">
                  <a:pos x="connsiteX5494" y="connsiteY5494"/>
                </a:cxn>
                <a:cxn ang="0">
                  <a:pos x="connsiteX5495" y="connsiteY5495"/>
                </a:cxn>
                <a:cxn ang="0">
                  <a:pos x="connsiteX5496" y="connsiteY5496"/>
                </a:cxn>
                <a:cxn ang="0">
                  <a:pos x="connsiteX5497" y="connsiteY5497"/>
                </a:cxn>
                <a:cxn ang="0">
                  <a:pos x="connsiteX5498" y="connsiteY5498"/>
                </a:cxn>
                <a:cxn ang="0">
                  <a:pos x="connsiteX5499" y="connsiteY5499"/>
                </a:cxn>
                <a:cxn ang="0">
                  <a:pos x="connsiteX5500" y="connsiteY5500"/>
                </a:cxn>
                <a:cxn ang="0">
                  <a:pos x="connsiteX5501" y="connsiteY5501"/>
                </a:cxn>
                <a:cxn ang="0">
                  <a:pos x="connsiteX5502" y="connsiteY5502"/>
                </a:cxn>
                <a:cxn ang="0">
                  <a:pos x="connsiteX5503" y="connsiteY5503"/>
                </a:cxn>
                <a:cxn ang="0">
                  <a:pos x="connsiteX5504" y="connsiteY5504"/>
                </a:cxn>
                <a:cxn ang="0">
                  <a:pos x="connsiteX5505" y="connsiteY5505"/>
                </a:cxn>
                <a:cxn ang="0">
                  <a:pos x="connsiteX5506" y="connsiteY5506"/>
                </a:cxn>
                <a:cxn ang="0">
                  <a:pos x="connsiteX5507" y="connsiteY5507"/>
                </a:cxn>
                <a:cxn ang="0">
                  <a:pos x="connsiteX5508" y="connsiteY5508"/>
                </a:cxn>
                <a:cxn ang="0">
                  <a:pos x="connsiteX5509" y="connsiteY5509"/>
                </a:cxn>
                <a:cxn ang="0">
                  <a:pos x="connsiteX5510" y="connsiteY5510"/>
                </a:cxn>
                <a:cxn ang="0">
                  <a:pos x="connsiteX5511" y="connsiteY5511"/>
                </a:cxn>
                <a:cxn ang="0">
                  <a:pos x="connsiteX5512" y="connsiteY5512"/>
                </a:cxn>
                <a:cxn ang="0">
                  <a:pos x="connsiteX5513" y="connsiteY5513"/>
                </a:cxn>
                <a:cxn ang="0">
                  <a:pos x="connsiteX5514" y="connsiteY5514"/>
                </a:cxn>
                <a:cxn ang="0">
                  <a:pos x="connsiteX5515" y="connsiteY5515"/>
                </a:cxn>
                <a:cxn ang="0">
                  <a:pos x="connsiteX5516" y="connsiteY5516"/>
                </a:cxn>
                <a:cxn ang="0">
                  <a:pos x="connsiteX5517" y="connsiteY5517"/>
                </a:cxn>
                <a:cxn ang="0">
                  <a:pos x="connsiteX5518" y="connsiteY5518"/>
                </a:cxn>
                <a:cxn ang="0">
                  <a:pos x="connsiteX5519" y="connsiteY5519"/>
                </a:cxn>
                <a:cxn ang="0">
                  <a:pos x="connsiteX5520" y="connsiteY5520"/>
                </a:cxn>
                <a:cxn ang="0">
                  <a:pos x="connsiteX5521" y="connsiteY5521"/>
                </a:cxn>
                <a:cxn ang="0">
                  <a:pos x="connsiteX5522" y="connsiteY5522"/>
                </a:cxn>
                <a:cxn ang="0">
                  <a:pos x="connsiteX5523" y="connsiteY5523"/>
                </a:cxn>
                <a:cxn ang="0">
                  <a:pos x="connsiteX5524" y="connsiteY5524"/>
                </a:cxn>
                <a:cxn ang="0">
                  <a:pos x="connsiteX5525" y="connsiteY5525"/>
                </a:cxn>
                <a:cxn ang="0">
                  <a:pos x="connsiteX5526" y="connsiteY5526"/>
                </a:cxn>
                <a:cxn ang="0">
                  <a:pos x="connsiteX5527" y="connsiteY5527"/>
                </a:cxn>
                <a:cxn ang="0">
                  <a:pos x="connsiteX5528" y="connsiteY5528"/>
                </a:cxn>
                <a:cxn ang="0">
                  <a:pos x="connsiteX5529" y="connsiteY5529"/>
                </a:cxn>
                <a:cxn ang="0">
                  <a:pos x="connsiteX5530" y="connsiteY5530"/>
                </a:cxn>
                <a:cxn ang="0">
                  <a:pos x="connsiteX5531" y="connsiteY5531"/>
                </a:cxn>
                <a:cxn ang="0">
                  <a:pos x="connsiteX5532" y="connsiteY5532"/>
                </a:cxn>
                <a:cxn ang="0">
                  <a:pos x="connsiteX5533" y="connsiteY5533"/>
                </a:cxn>
                <a:cxn ang="0">
                  <a:pos x="connsiteX5534" y="connsiteY5534"/>
                </a:cxn>
                <a:cxn ang="0">
                  <a:pos x="connsiteX5535" y="connsiteY5535"/>
                </a:cxn>
                <a:cxn ang="0">
                  <a:pos x="connsiteX5536" y="connsiteY5536"/>
                </a:cxn>
                <a:cxn ang="0">
                  <a:pos x="connsiteX5537" y="connsiteY5537"/>
                </a:cxn>
                <a:cxn ang="0">
                  <a:pos x="connsiteX5538" y="connsiteY5538"/>
                </a:cxn>
                <a:cxn ang="0">
                  <a:pos x="connsiteX5539" y="connsiteY5539"/>
                </a:cxn>
                <a:cxn ang="0">
                  <a:pos x="connsiteX5540" y="connsiteY5540"/>
                </a:cxn>
                <a:cxn ang="0">
                  <a:pos x="connsiteX5541" y="connsiteY5541"/>
                </a:cxn>
                <a:cxn ang="0">
                  <a:pos x="connsiteX5542" y="connsiteY5542"/>
                </a:cxn>
                <a:cxn ang="0">
                  <a:pos x="connsiteX5543" y="connsiteY5543"/>
                </a:cxn>
                <a:cxn ang="0">
                  <a:pos x="connsiteX5544" y="connsiteY5544"/>
                </a:cxn>
                <a:cxn ang="0">
                  <a:pos x="connsiteX5545" y="connsiteY5545"/>
                </a:cxn>
                <a:cxn ang="0">
                  <a:pos x="connsiteX5546" y="connsiteY5546"/>
                </a:cxn>
                <a:cxn ang="0">
                  <a:pos x="connsiteX5547" y="connsiteY5547"/>
                </a:cxn>
                <a:cxn ang="0">
                  <a:pos x="connsiteX5548" y="connsiteY5548"/>
                </a:cxn>
                <a:cxn ang="0">
                  <a:pos x="connsiteX5549" y="connsiteY5549"/>
                </a:cxn>
                <a:cxn ang="0">
                  <a:pos x="connsiteX5550" y="connsiteY5550"/>
                </a:cxn>
                <a:cxn ang="0">
                  <a:pos x="connsiteX5551" y="connsiteY5551"/>
                </a:cxn>
                <a:cxn ang="0">
                  <a:pos x="connsiteX5552" y="connsiteY5552"/>
                </a:cxn>
                <a:cxn ang="0">
                  <a:pos x="connsiteX5553" y="connsiteY5553"/>
                </a:cxn>
                <a:cxn ang="0">
                  <a:pos x="connsiteX5554" y="connsiteY5554"/>
                </a:cxn>
                <a:cxn ang="0">
                  <a:pos x="connsiteX5555" y="connsiteY5555"/>
                </a:cxn>
                <a:cxn ang="0">
                  <a:pos x="connsiteX5556" y="connsiteY5556"/>
                </a:cxn>
                <a:cxn ang="0">
                  <a:pos x="connsiteX5557" y="connsiteY5557"/>
                </a:cxn>
                <a:cxn ang="0">
                  <a:pos x="connsiteX5558" y="connsiteY5558"/>
                </a:cxn>
                <a:cxn ang="0">
                  <a:pos x="connsiteX5559" y="connsiteY5559"/>
                </a:cxn>
                <a:cxn ang="0">
                  <a:pos x="connsiteX5560" y="connsiteY5560"/>
                </a:cxn>
                <a:cxn ang="0">
                  <a:pos x="connsiteX5561" y="connsiteY5561"/>
                </a:cxn>
                <a:cxn ang="0">
                  <a:pos x="connsiteX5562" y="connsiteY5562"/>
                </a:cxn>
                <a:cxn ang="0">
                  <a:pos x="connsiteX5563" y="connsiteY5563"/>
                </a:cxn>
                <a:cxn ang="0">
                  <a:pos x="connsiteX5564" y="connsiteY5564"/>
                </a:cxn>
                <a:cxn ang="0">
                  <a:pos x="connsiteX5565" y="connsiteY5565"/>
                </a:cxn>
                <a:cxn ang="0">
                  <a:pos x="connsiteX5566" y="connsiteY5566"/>
                </a:cxn>
                <a:cxn ang="0">
                  <a:pos x="connsiteX5567" y="connsiteY5567"/>
                </a:cxn>
                <a:cxn ang="0">
                  <a:pos x="connsiteX5568" y="connsiteY5568"/>
                </a:cxn>
                <a:cxn ang="0">
                  <a:pos x="connsiteX5569" y="connsiteY5569"/>
                </a:cxn>
                <a:cxn ang="0">
                  <a:pos x="connsiteX5570" y="connsiteY5570"/>
                </a:cxn>
                <a:cxn ang="0">
                  <a:pos x="connsiteX5571" y="connsiteY5571"/>
                </a:cxn>
                <a:cxn ang="0">
                  <a:pos x="connsiteX5572" y="connsiteY5572"/>
                </a:cxn>
                <a:cxn ang="0">
                  <a:pos x="connsiteX5573" y="connsiteY5573"/>
                </a:cxn>
                <a:cxn ang="0">
                  <a:pos x="connsiteX5574" y="connsiteY5574"/>
                </a:cxn>
                <a:cxn ang="0">
                  <a:pos x="connsiteX5575" y="connsiteY5575"/>
                </a:cxn>
                <a:cxn ang="0">
                  <a:pos x="connsiteX5576" y="connsiteY5576"/>
                </a:cxn>
                <a:cxn ang="0">
                  <a:pos x="connsiteX5577" y="connsiteY5577"/>
                </a:cxn>
                <a:cxn ang="0">
                  <a:pos x="connsiteX5578" y="connsiteY5578"/>
                </a:cxn>
                <a:cxn ang="0">
                  <a:pos x="connsiteX5579" y="connsiteY5579"/>
                </a:cxn>
                <a:cxn ang="0">
                  <a:pos x="connsiteX5580" y="connsiteY5580"/>
                </a:cxn>
                <a:cxn ang="0">
                  <a:pos x="connsiteX5581" y="connsiteY5581"/>
                </a:cxn>
                <a:cxn ang="0">
                  <a:pos x="connsiteX5582" y="connsiteY5582"/>
                </a:cxn>
                <a:cxn ang="0">
                  <a:pos x="connsiteX5583" y="connsiteY5583"/>
                </a:cxn>
                <a:cxn ang="0">
                  <a:pos x="connsiteX5584" y="connsiteY5584"/>
                </a:cxn>
                <a:cxn ang="0">
                  <a:pos x="connsiteX5585" y="connsiteY5585"/>
                </a:cxn>
                <a:cxn ang="0">
                  <a:pos x="connsiteX5586" y="connsiteY5586"/>
                </a:cxn>
                <a:cxn ang="0">
                  <a:pos x="connsiteX5587" y="connsiteY5587"/>
                </a:cxn>
                <a:cxn ang="0">
                  <a:pos x="connsiteX5588" y="connsiteY5588"/>
                </a:cxn>
                <a:cxn ang="0">
                  <a:pos x="connsiteX5589" y="connsiteY5589"/>
                </a:cxn>
                <a:cxn ang="0">
                  <a:pos x="connsiteX5590" y="connsiteY5590"/>
                </a:cxn>
                <a:cxn ang="0">
                  <a:pos x="connsiteX5591" y="connsiteY5591"/>
                </a:cxn>
                <a:cxn ang="0">
                  <a:pos x="connsiteX5592" y="connsiteY5592"/>
                </a:cxn>
                <a:cxn ang="0">
                  <a:pos x="connsiteX5593" y="connsiteY5593"/>
                </a:cxn>
                <a:cxn ang="0">
                  <a:pos x="connsiteX5594" y="connsiteY5594"/>
                </a:cxn>
                <a:cxn ang="0">
                  <a:pos x="connsiteX5595" y="connsiteY5595"/>
                </a:cxn>
                <a:cxn ang="0">
                  <a:pos x="connsiteX5596" y="connsiteY5596"/>
                </a:cxn>
                <a:cxn ang="0">
                  <a:pos x="connsiteX5597" y="connsiteY5597"/>
                </a:cxn>
                <a:cxn ang="0">
                  <a:pos x="connsiteX5598" y="connsiteY5598"/>
                </a:cxn>
                <a:cxn ang="0">
                  <a:pos x="connsiteX5599" y="connsiteY5599"/>
                </a:cxn>
                <a:cxn ang="0">
                  <a:pos x="connsiteX5600" y="connsiteY5600"/>
                </a:cxn>
                <a:cxn ang="0">
                  <a:pos x="connsiteX5601" y="connsiteY5601"/>
                </a:cxn>
                <a:cxn ang="0">
                  <a:pos x="connsiteX5602" y="connsiteY5602"/>
                </a:cxn>
                <a:cxn ang="0">
                  <a:pos x="connsiteX5603" y="connsiteY5603"/>
                </a:cxn>
                <a:cxn ang="0">
                  <a:pos x="connsiteX5604" y="connsiteY5604"/>
                </a:cxn>
                <a:cxn ang="0">
                  <a:pos x="connsiteX5605" y="connsiteY5605"/>
                </a:cxn>
                <a:cxn ang="0">
                  <a:pos x="connsiteX5606" y="connsiteY5606"/>
                </a:cxn>
                <a:cxn ang="0">
                  <a:pos x="connsiteX5607" y="connsiteY5607"/>
                </a:cxn>
                <a:cxn ang="0">
                  <a:pos x="connsiteX5608" y="connsiteY5608"/>
                </a:cxn>
                <a:cxn ang="0">
                  <a:pos x="connsiteX5609" y="connsiteY5609"/>
                </a:cxn>
                <a:cxn ang="0">
                  <a:pos x="connsiteX5610" y="connsiteY5610"/>
                </a:cxn>
                <a:cxn ang="0">
                  <a:pos x="connsiteX5611" y="connsiteY5611"/>
                </a:cxn>
                <a:cxn ang="0">
                  <a:pos x="connsiteX5612" y="connsiteY5612"/>
                </a:cxn>
                <a:cxn ang="0">
                  <a:pos x="connsiteX5613" y="connsiteY5613"/>
                </a:cxn>
                <a:cxn ang="0">
                  <a:pos x="connsiteX5614" y="connsiteY5614"/>
                </a:cxn>
                <a:cxn ang="0">
                  <a:pos x="connsiteX5615" y="connsiteY5615"/>
                </a:cxn>
                <a:cxn ang="0">
                  <a:pos x="connsiteX5616" y="connsiteY5616"/>
                </a:cxn>
                <a:cxn ang="0">
                  <a:pos x="connsiteX5617" y="connsiteY5617"/>
                </a:cxn>
                <a:cxn ang="0">
                  <a:pos x="connsiteX5618" y="connsiteY5618"/>
                </a:cxn>
                <a:cxn ang="0">
                  <a:pos x="connsiteX5619" y="connsiteY5619"/>
                </a:cxn>
                <a:cxn ang="0">
                  <a:pos x="connsiteX5620" y="connsiteY5620"/>
                </a:cxn>
                <a:cxn ang="0">
                  <a:pos x="connsiteX5621" y="connsiteY5621"/>
                </a:cxn>
                <a:cxn ang="0">
                  <a:pos x="connsiteX5622" y="connsiteY5622"/>
                </a:cxn>
                <a:cxn ang="0">
                  <a:pos x="connsiteX5623" y="connsiteY5623"/>
                </a:cxn>
                <a:cxn ang="0">
                  <a:pos x="connsiteX5624" y="connsiteY5624"/>
                </a:cxn>
                <a:cxn ang="0">
                  <a:pos x="connsiteX5625" y="connsiteY5625"/>
                </a:cxn>
                <a:cxn ang="0">
                  <a:pos x="connsiteX5626" y="connsiteY5626"/>
                </a:cxn>
                <a:cxn ang="0">
                  <a:pos x="connsiteX5627" y="connsiteY5627"/>
                </a:cxn>
                <a:cxn ang="0">
                  <a:pos x="connsiteX5628" y="connsiteY5628"/>
                </a:cxn>
                <a:cxn ang="0">
                  <a:pos x="connsiteX5629" y="connsiteY5629"/>
                </a:cxn>
                <a:cxn ang="0">
                  <a:pos x="connsiteX5630" y="connsiteY5630"/>
                </a:cxn>
                <a:cxn ang="0">
                  <a:pos x="connsiteX5631" y="connsiteY5631"/>
                </a:cxn>
                <a:cxn ang="0">
                  <a:pos x="connsiteX5632" y="connsiteY5632"/>
                </a:cxn>
                <a:cxn ang="0">
                  <a:pos x="connsiteX5633" y="connsiteY5633"/>
                </a:cxn>
                <a:cxn ang="0">
                  <a:pos x="connsiteX5634" y="connsiteY5634"/>
                </a:cxn>
                <a:cxn ang="0">
                  <a:pos x="connsiteX5635" y="connsiteY5635"/>
                </a:cxn>
                <a:cxn ang="0">
                  <a:pos x="connsiteX5636" y="connsiteY5636"/>
                </a:cxn>
                <a:cxn ang="0">
                  <a:pos x="connsiteX5637" y="connsiteY5637"/>
                </a:cxn>
                <a:cxn ang="0">
                  <a:pos x="connsiteX5638" y="connsiteY5638"/>
                </a:cxn>
                <a:cxn ang="0">
                  <a:pos x="connsiteX5639" y="connsiteY5639"/>
                </a:cxn>
                <a:cxn ang="0">
                  <a:pos x="connsiteX5640" y="connsiteY5640"/>
                </a:cxn>
                <a:cxn ang="0">
                  <a:pos x="connsiteX5641" y="connsiteY5641"/>
                </a:cxn>
                <a:cxn ang="0">
                  <a:pos x="connsiteX5642" y="connsiteY5642"/>
                </a:cxn>
                <a:cxn ang="0">
                  <a:pos x="connsiteX5643" y="connsiteY5643"/>
                </a:cxn>
                <a:cxn ang="0">
                  <a:pos x="connsiteX5644" y="connsiteY5644"/>
                </a:cxn>
                <a:cxn ang="0">
                  <a:pos x="connsiteX5645" y="connsiteY5645"/>
                </a:cxn>
                <a:cxn ang="0">
                  <a:pos x="connsiteX5646" y="connsiteY5646"/>
                </a:cxn>
                <a:cxn ang="0">
                  <a:pos x="connsiteX5647" y="connsiteY5647"/>
                </a:cxn>
                <a:cxn ang="0">
                  <a:pos x="connsiteX5648" y="connsiteY5648"/>
                </a:cxn>
                <a:cxn ang="0">
                  <a:pos x="connsiteX5649" y="connsiteY5649"/>
                </a:cxn>
                <a:cxn ang="0">
                  <a:pos x="connsiteX5650" y="connsiteY5650"/>
                </a:cxn>
                <a:cxn ang="0">
                  <a:pos x="connsiteX5651" y="connsiteY5651"/>
                </a:cxn>
                <a:cxn ang="0">
                  <a:pos x="connsiteX5652" y="connsiteY5652"/>
                </a:cxn>
                <a:cxn ang="0">
                  <a:pos x="connsiteX5653" y="connsiteY5653"/>
                </a:cxn>
                <a:cxn ang="0">
                  <a:pos x="connsiteX5654" y="connsiteY5654"/>
                </a:cxn>
                <a:cxn ang="0">
                  <a:pos x="connsiteX5655" y="connsiteY5655"/>
                </a:cxn>
                <a:cxn ang="0">
                  <a:pos x="connsiteX5656" y="connsiteY5656"/>
                </a:cxn>
                <a:cxn ang="0">
                  <a:pos x="connsiteX5657" y="connsiteY5657"/>
                </a:cxn>
                <a:cxn ang="0">
                  <a:pos x="connsiteX5658" y="connsiteY5658"/>
                </a:cxn>
                <a:cxn ang="0">
                  <a:pos x="connsiteX5659" y="connsiteY5659"/>
                </a:cxn>
                <a:cxn ang="0">
                  <a:pos x="connsiteX5660" y="connsiteY5660"/>
                </a:cxn>
                <a:cxn ang="0">
                  <a:pos x="connsiteX5661" y="connsiteY5661"/>
                </a:cxn>
                <a:cxn ang="0">
                  <a:pos x="connsiteX5662" y="connsiteY5662"/>
                </a:cxn>
                <a:cxn ang="0">
                  <a:pos x="connsiteX5663" y="connsiteY5663"/>
                </a:cxn>
                <a:cxn ang="0">
                  <a:pos x="connsiteX5664" y="connsiteY5664"/>
                </a:cxn>
                <a:cxn ang="0">
                  <a:pos x="connsiteX5665" y="connsiteY5665"/>
                </a:cxn>
                <a:cxn ang="0">
                  <a:pos x="connsiteX5666" y="connsiteY5666"/>
                </a:cxn>
                <a:cxn ang="0">
                  <a:pos x="connsiteX5667" y="connsiteY5667"/>
                </a:cxn>
                <a:cxn ang="0">
                  <a:pos x="connsiteX5668" y="connsiteY5668"/>
                </a:cxn>
                <a:cxn ang="0">
                  <a:pos x="connsiteX5669" y="connsiteY5669"/>
                </a:cxn>
                <a:cxn ang="0">
                  <a:pos x="connsiteX5670" y="connsiteY5670"/>
                </a:cxn>
                <a:cxn ang="0">
                  <a:pos x="connsiteX5671" y="connsiteY5671"/>
                </a:cxn>
                <a:cxn ang="0">
                  <a:pos x="connsiteX5672" y="connsiteY5672"/>
                </a:cxn>
                <a:cxn ang="0">
                  <a:pos x="connsiteX5673" y="connsiteY5673"/>
                </a:cxn>
                <a:cxn ang="0">
                  <a:pos x="connsiteX5674" y="connsiteY5674"/>
                </a:cxn>
                <a:cxn ang="0">
                  <a:pos x="connsiteX5675" y="connsiteY5675"/>
                </a:cxn>
                <a:cxn ang="0">
                  <a:pos x="connsiteX5676" y="connsiteY5676"/>
                </a:cxn>
                <a:cxn ang="0">
                  <a:pos x="connsiteX5677" y="connsiteY5677"/>
                </a:cxn>
                <a:cxn ang="0">
                  <a:pos x="connsiteX5678" y="connsiteY5678"/>
                </a:cxn>
                <a:cxn ang="0">
                  <a:pos x="connsiteX5679" y="connsiteY5679"/>
                </a:cxn>
                <a:cxn ang="0">
                  <a:pos x="connsiteX5680" y="connsiteY5680"/>
                </a:cxn>
                <a:cxn ang="0">
                  <a:pos x="connsiteX5681" y="connsiteY5681"/>
                </a:cxn>
                <a:cxn ang="0">
                  <a:pos x="connsiteX5682" y="connsiteY5682"/>
                </a:cxn>
                <a:cxn ang="0">
                  <a:pos x="connsiteX5683" y="connsiteY5683"/>
                </a:cxn>
                <a:cxn ang="0">
                  <a:pos x="connsiteX5684" y="connsiteY5684"/>
                </a:cxn>
                <a:cxn ang="0">
                  <a:pos x="connsiteX5685" y="connsiteY5685"/>
                </a:cxn>
                <a:cxn ang="0">
                  <a:pos x="connsiteX5686" y="connsiteY5686"/>
                </a:cxn>
                <a:cxn ang="0">
                  <a:pos x="connsiteX5687" y="connsiteY5687"/>
                </a:cxn>
                <a:cxn ang="0">
                  <a:pos x="connsiteX5688" y="connsiteY5688"/>
                </a:cxn>
                <a:cxn ang="0">
                  <a:pos x="connsiteX5689" y="connsiteY5689"/>
                </a:cxn>
                <a:cxn ang="0">
                  <a:pos x="connsiteX5690" y="connsiteY5690"/>
                </a:cxn>
                <a:cxn ang="0">
                  <a:pos x="connsiteX5691" y="connsiteY5691"/>
                </a:cxn>
                <a:cxn ang="0">
                  <a:pos x="connsiteX5692" y="connsiteY5692"/>
                </a:cxn>
                <a:cxn ang="0">
                  <a:pos x="connsiteX5693" y="connsiteY5693"/>
                </a:cxn>
                <a:cxn ang="0">
                  <a:pos x="connsiteX5694" y="connsiteY5694"/>
                </a:cxn>
                <a:cxn ang="0">
                  <a:pos x="connsiteX5695" y="connsiteY5695"/>
                </a:cxn>
                <a:cxn ang="0">
                  <a:pos x="connsiteX5696" y="connsiteY5696"/>
                </a:cxn>
                <a:cxn ang="0">
                  <a:pos x="connsiteX5697" y="connsiteY5697"/>
                </a:cxn>
                <a:cxn ang="0">
                  <a:pos x="connsiteX5698" y="connsiteY5698"/>
                </a:cxn>
                <a:cxn ang="0">
                  <a:pos x="connsiteX5699" y="connsiteY5699"/>
                </a:cxn>
                <a:cxn ang="0">
                  <a:pos x="connsiteX5700" y="connsiteY5700"/>
                </a:cxn>
                <a:cxn ang="0">
                  <a:pos x="connsiteX5701" y="connsiteY5701"/>
                </a:cxn>
                <a:cxn ang="0">
                  <a:pos x="connsiteX5702" y="connsiteY5702"/>
                </a:cxn>
                <a:cxn ang="0">
                  <a:pos x="connsiteX5703" y="connsiteY5703"/>
                </a:cxn>
                <a:cxn ang="0">
                  <a:pos x="connsiteX5704" y="connsiteY5704"/>
                </a:cxn>
                <a:cxn ang="0">
                  <a:pos x="connsiteX5705" y="connsiteY5705"/>
                </a:cxn>
                <a:cxn ang="0">
                  <a:pos x="connsiteX5706" y="connsiteY5706"/>
                </a:cxn>
                <a:cxn ang="0">
                  <a:pos x="connsiteX5707" y="connsiteY5707"/>
                </a:cxn>
                <a:cxn ang="0">
                  <a:pos x="connsiteX5708" y="connsiteY5708"/>
                </a:cxn>
                <a:cxn ang="0">
                  <a:pos x="connsiteX5709" y="connsiteY5709"/>
                </a:cxn>
                <a:cxn ang="0">
                  <a:pos x="connsiteX5710" y="connsiteY5710"/>
                </a:cxn>
                <a:cxn ang="0">
                  <a:pos x="connsiteX5711" y="connsiteY5711"/>
                </a:cxn>
                <a:cxn ang="0">
                  <a:pos x="connsiteX5712" y="connsiteY5712"/>
                </a:cxn>
                <a:cxn ang="0">
                  <a:pos x="connsiteX5713" y="connsiteY5713"/>
                </a:cxn>
                <a:cxn ang="0">
                  <a:pos x="connsiteX5714" y="connsiteY5714"/>
                </a:cxn>
                <a:cxn ang="0">
                  <a:pos x="connsiteX5715" y="connsiteY5715"/>
                </a:cxn>
                <a:cxn ang="0">
                  <a:pos x="connsiteX5716" y="connsiteY5716"/>
                </a:cxn>
                <a:cxn ang="0">
                  <a:pos x="connsiteX5717" y="connsiteY5717"/>
                </a:cxn>
                <a:cxn ang="0">
                  <a:pos x="connsiteX5718" y="connsiteY5718"/>
                </a:cxn>
                <a:cxn ang="0">
                  <a:pos x="connsiteX5719" y="connsiteY5719"/>
                </a:cxn>
                <a:cxn ang="0">
                  <a:pos x="connsiteX5720" y="connsiteY5720"/>
                </a:cxn>
                <a:cxn ang="0">
                  <a:pos x="connsiteX5721" y="connsiteY5721"/>
                </a:cxn>
                <a:cxn ang="0">
                  <a:pos x="connsiteX5722" y="connsiteY5722"/>
                </a:cxn>
                <a:cxn ang="0">
                  <a:pos x="connsiteX5723" y="connsiteY5723"/>
                </a:cxn>
                <a:cxn ang="0">
                  <a:pos x="connsiteX5724" y="connsiteY5724"/>
                </a:cxn>
                <a:cxn ang="0">
                  <a:pos x="connsiteX5725" y="connsiteY5725"/>
                </a:cxn>
                <a:cxn ang="0">
                  <a:pos x="connsiteX5726" y="connsiteY5726"/>
                </a:cxn>
                <a:cxn ang="0">
                  <a:pos x="connsiteX5727" y="connsiteY5727"/>
                </a:cxn>
                <a:cxn ang="0">
                  <a:pos x="connsiteX5728" y="connsiteY5728"/>
                </a:cxn>
                <a:cxn ang="0">
                  <a:pos x="connsiteX5729" y="connsiteY5729"/>
                </a:cxn>
                <a:cxn ang="0">
                  <a:pos x="connsiteX5730" y="connsiteY5730"/>
                </a:cxn>
                <a:cxn ang="0">
                  <a:pos x="connsiteX5731" y="connsiteY5731"/>
                </a:cxn>
                <a:cxn ang="0">
                  <a:pos x="connsiteX5732" y="connsiteY5732"/>
                </a:cxn>
                <a:cxn ang="0">
                  <a:pos x="connsiteX5733" y="connsiteY5733"/>
                </a:cxn>
                <a:cxn ang="0">
                  <a:pos x="connsiteX5734" y="connsiteY5734"/>
                </a:cxn>
                <a:cxn ang="0">
                  <a:pos x="connsiteX5735" y="connsiteY5735"/>
                </a:cxn>
                <a:cxn ang="0">
                  <a:pos x="connsiteX5736" y="connsiteY5736"/>
                </a:cxn>
                <a:cxn ang="0">
                  <a:pos x="connsiteX5737" y="connsiteY5737"/>
                </a:cxn>
                <a:cxn ang="0">
                  <a:pos x="connsiteX5738" y="connsiteY5738"/>
                </a:cxn>
                <a:cxn ang="0">
                  <a:pos x="connsiteX5739" y="connsiteY5739"/>
                </a:cxn>
                <a:cxn ang="0">
                  <a:pos x="connsiteX5740" y="connsiteY5740"/>
                </a:cxn>
                <a:cxn ang="0">
                  <a:pos x="connsiteX5741" y="connsiteY5741"/>
                </a:cxn>
                <a:cxn ang="0">
                  <a:pos x="connsiteX5742" y="connsiteY5742"/>
                </a:cxn>
                <a:cxn ang="0">
                  <a:pos x="connsiteX5743" y="connsiteY5743"/>
                </a:cxn>
                <a:cxn ang="0">
                  <a:pos x="connsiteX5744" y="connsiteY5744"/>
                </a:cxn>
                <a:cxn ang="0">
                  <a:pos x="connsiteX5745" y="connsiteY5745"/>
                </a:cxn>
                <a:cxn ang="0">
                  <a:pos x="connsiteX5746" y="connsiteY5746"/>
                </a:cxn>
                <a:cxn ang="0">
                  <a:pos x="connsiteX5747" y="connsiteY5747"/>
                </a:cxn>
                <a:cxn ang="0">
                  <a:pos x="connsiteX5748" y="connsiteY5748"/>
                </a:cxn>
                <a:cxn ang="0">
                  <a:pos x="connsiteX5749" y="connsiteY5749"/>
                </a:cxn>
                <a:cxn ang="0">
                  <a:pos x="connsiteX5750" y="connsiteY5750"/>
                </a:cxn>
                <a:cxn ang="0">
                  <a:pos x="connsiteX5751" y="connsiteY5751"/>
                </a:cxn>
                <a:cxn ang="0">
                  <a:pos x="connsiteX5752" y="connsiteY5752"/>
                </a:cxn>
                <a:cxn ang="0">
                  <a:pos x="connsiteX5753" y="connsiteY5753"/>
                </a:cxn>
                <a:cxn ang="0">
                  <a:pos x="connsiteX5754" y="connsiteY5754"/>
                </a:cxn>
                <a:cxn ang="0">
                  <a:pos x="connsiteX5755" y="connsiteY5755"/>
                </a:cxn>
                <a:cxn ang="0">
                  <a:pos x="connsiteX5756" y="connsiteY5756"/>
                </a:cxn>
                <a:cxn ang="0">
                  <a:pos x="connsiteX5757" y="connsiteY5757"/>
                </a:cxn>
                <a:cxn ang="0">
                  <a:pos x="connsiteX5758" y="connsiteY5758"/>
                </a:cxn>
                <a:cxn ang="0">
                  <a:pos x="connsiteX5759" y="connsiteY5759"/>
                </a:cxn>
                <a:cxn ang="0">
                  <a:pos x="connsiteX5760" y="connsiteY5760"/>
                </a:cxn>
                <a:cxn ang="0">
                  <a:pos x="connsiteX5761" y="connsiteY5761"/>
                </a:cxn>
                <a:cxn ang="0">
                  <a:pos x="connsiteX5762" y="connsiteY5762"/>
                </a:cxn>
                <a:cxn ang="0">
                  <a:pos x="connsiteX5763" y="connsiteY5763"/>
                </a:cxn>
                <a:cxn ang="0">
                  <a:pos x="connsiteX5764" y="connsiteY5764"/>
                </a:cxn>
                <a:cxn ang="0">
                  <a:pos x="connsiteX5765" y="connsiteY5765"/>
                </a:cxn>
                <a:cxn ang="0">
                  <a:pos x="connsiteX5766" y="connsiteY5766"/>
                </a:cxn>
                <a:cxn ang="0">
                  <a:pos x="connsiteX5767" y="connsiteY5767"/>
                </a:cxn>
                <a:cxn ang="0">
                  <a:pos x="connsiteX5768" y="connsiteY5768"/>
                </a:cxn>
                <a:cxn ang="0">
                  <a:pos x="connsiteX5769" y="connsiteY5769"/>
                </a:cxn>
                <a:cxn ang="0">
                  <a:pos x="connsiteX5770" y="connsiteY5770"/>
                </a:cxn>
                <a:cxn ang="0">
                  <a:pos x="connsiteX5771" y="connsiteY5771"/>
                </a:cxn>
                <a:cxn ang="0">
                  <a:pos x="connsiteX5772" y="connsiteY5772"/>
                </a:cxn>
                <a:cxn ang="0">
                  <a:pos x="connsiteX5773" y="connsiteY5773"/>
                </a:cxn>
                <a:cxn ang="0">
                  <a:pos x="connsiteX5774" y="connsiteY5774"/>
                </a:cxn>
                <a:cxn ang="0">
                  <a:pos x="connsiteX5775" y="connsiteY5775"/>
                </a:cxn>
                <a:cxn ang="0">
                  <a:pos x="connsiteX5776" y="connsiteY5776"/>
                </a:cxn>
                <a:cxn ang="0">
                  <a:pos x="connsiteX5777" y="connsiteY5777"/>
                </a:cxn>
                <a:cxn ang="0">
                  <a:pos x="connsiteX5778" y="connsiteY5778"/>
                </a:cxn>
                <a:cxn ang="0">
                  <a:pos x="connsiteX5779" y="connsiteY5779"/>
                </a:cxn>
                <a:cxn ang="0">
                  <a:pos x="connsiteX5780" y="connsiteY5780"/>
                </a:cxn>
                <a:cxn ang="0">
                  <a:pos x="connsiteX5781" y="connsiteY5781"/>
                </a:cxn>
                <a:cxn ang="0">
                  <a:pos x="connsiteX5782" y="connsiteY5782"/>
                </a:cxn>
                <a:cxn ang="0">
                  <a:pos x="connsiteX5783" y="connsiteY5783"/>
                </a:cxn>
                <a:cxn ang="0">
                  <a:pos x="connsiteX5784" y="connsiteY5784"/>
                </a:cxn>
                <a:cxn ang="0">
                  <a:pos x="connsiteX5785" y="connsiteY5785"/>
                </a:cxn>
                <a:cxn ang="0">
                  <a:pos x="connsiteX5786" y="connsiteY5786"/>
                </a:cxn>
                <a:cxn ang="0">
                  <a:pos x="connsiteX5787" y="connsiteY5787"/>
                </a:cxn>
                <a:cxn ang="0">
                  <a:pos x="connsiteX5788" y="connsiteY5788"/>
                </a:cxn>
                <a:cxn ang="0">
                  <a:pos x="connsiteX5789" y="connsiteY5789"/>
                </a:cxn>
                <a:cxn ang="0">
                  <a:pos x="connsiteX5790" y="connsiteY5790"/>
                </a:cxn>
                <a:cxn ang="0">
                  <a:pos x="connsiteX5791" y="connsiteY5791"/>
                </a:cxn>
                <a:cxn ang="0">
                  <a:pos x="connsiteX5792" y="connsiteY5792"/>
                </a:cxn>
                <a:cxn ang="0">
                  <a:pos x="connsiteX5793" y="connsiteY5793"/>
                </a:cxn>
                <a:cxn ang="0">
                  <a:pos x="connsiteX5794" y="connsiteY5794"/>
                </a:cxn>
                <a:cxn ang="0">
                  <a:pos x="connsiteX5795" y="connsiteY5795"/>
                </a:cxn>
                <a:cxn ang="0">
                  <a:pos x="connsiteX5796" y="connsiteY5796"/>
                </a:cxn>
                <a:cxn ang="0">
                  <a:pos x="connsiteX5797" y="connsiteY5797"/>
                </a:cxn>
                <a:cxn ang="0">
                  <a:pos x="connsiteX5798" y="connsiteY5798"/>
                </a:cxn>
                <a:cxn ang="0">
                  <a:pos x="connsiteX5799" y="connsiteY5799"/>
                </a:cxn>
                <a:cxn ang="0">
                  <a:pos x="connsiteX5800" y="connsiteY5800"/>
                </a:cxn>
                <a:cxn ang="0">
                  <a:pos x="connsiteX5801" y="connsiteY5801"/>
                </a:cxn>
                <a:cxn ang="0">
                  <a:pos x="connsiteX5802" y="connsiteY5802"/>
                </a:cxn>
                <a:cxn ang="0">
                  <a:pos x="connsiteX5803" y="connsiteY5803"/>
                </a:cxn>
                <a:cxn ang="0">
                  <a:pos x="connsiteX5804" y="connsiteY5804"/>
                </a:cxn>
                <a:cxn ang="0">
                  <a:pos x="connsiteX5805" y="connsiteY5805"/>
                </a:cxn>
                <a:cxn ang="0">
                  <a:pos x="connsiteX5806" y="connsiteY5806"/>
                </a:cxn>
                <a:cxn ang="0">
                  <a:pos x="connsiteX5807" y="connsiteY5807"/>
                </a:cxn>
                <a:cxn ang="0">
                  <a:pos x="connsiteX5808" y="connsiteY5808"/>
                </a:cxn>
                <a:cxn ang="0">
                  <a:pos x="connsiteX5809" y="connsiteY5809"/>
                </a:cxn>
                <a:cxn ang="0">
                  <a:pos x="connsiteX5810" y="connsiteY5810"/>
                </a:cxn>
                <a:cxn ang="0">
                  <a:pos x="connsiteX5811" y="connsiteY5811"/>
                </a:cxn>
                <a:cxn ang="0">
                  <a:pos x="connsiteX5812" y="connsiteY5812"/>
                </a:cxn>
                <a:cxn ang="0">
                  <a:pos x="connsiteX5813" y="connsiteY5813"/>
                </a:cxn>
                <a:cxn ang="0">
                  <a:pos x="connsiteX5814" y="connsiteY5814"/>
                </a:cxn>
                <a:cxn ang="0">
                  <a:pos x="connsiteX5815" y="connsiteY5815"/>
                </a:cxn>
                <a:cxn ang="0">
                  <a:pos x="connsiteX5816" y="connsiteY5816"/>
                </a:cxn>
                <a:cxn ang="0">
                  <a:pos x="connsiteX5817" y="connsiteY5817"/>
                </a:cxn>
                <a:cxn ang="0">
                  <a:pos x="connsiteX5818" y="connsiteY5818"/>
                </a:cxn>
                <a:cxn ang="0">
                  <a:pos x="connsiteX5819" y="connsiteY5819"/>
                </a:cxn>
                <a:cxn ang="0">
                  <a:pos x="connsiteX5820" y="connsiteY5820"/>
                </a:cxn>
                <a:cxn ang="0">
                  <a:pos x="connsiteX5821" y="connsiteY5821"/>
                </a:cxn>
                <a:cxn ang="0">
                  <a:pos x="connsiteX5822" y="connsiteY5822"/>
                </a:cxn>
                <a:cxn ang="0">
                  <a:pos x="connsiteX5823" y="connsiteY5823"/>
                </a:cxn>
                <a:cxn ang="0">
                  <a:pos x="connsiteX5824" y="connsiteY5824"/>
                </a:cxn>
                <a:cxn ang="0">
                  <a:pos x="connsiteX5825" y="connsiteY5825"/>
                </a:cxn>
                <a:cxn ang="0">
                  <a:pos x="connsiteX5826" y="connsiteY5826"/>
                </a:cxn>
                <a:cxn ang="0">
                  <a:pos x="connsiteX5827" y="connsiteY5827"/>
                </a:cxn>
                <a:cxn ang="0">
                  <a:pos x="connsiteX5828" y="connsiteY5828"/>
                </a:cxn>
                <a:cxn ang="0">
                  <a:pos x="connsiteX5829" y="connsiteY5829"/>
                </a:cxn>
                <a:cxn ang="0">
                  <a:pos x="connsiteX5830" y="connsiteY5830"/>
                </a:cxn>
                <a:cxn ang="0">
                  <a:pos x="connsiteX5831" y="connsiteY5831"/>
                </a:cxn>
                <a:cxn ang="0">
                  <a:pos x="connsiteX5832" y="connsiteY5832"/>
                </a:cxn>
                <a:cxn ang="0">
                  <a:pos x="connsiteX5833" y="connsiteY5833"/>
                </a:cxn>
                <a:cxn ang="0">
                  <a:pos x="connsiteX5834" y="connsiteY5834"/>
                </a:cxn>
                <a:cxn ang="0">
                  <a:pos x="connsiteX5835" y="connsiteY5835"/>
                </a:cxn>
                <a:cxn ang="0">
                  <a:pos x="connsiteX5836" y="connsiteY5836"/>
                </a:cxn>
                <a:cxn ang="0">
                  <a:pos x="connsiteX5837" y="connsiteY5837"/>
                </a:cxn>
                <a:cxn ang="0">
                  <a:pos x="connsiteX5838" y="connsiteY5838"/>
                </a:cxn>
                <a:cxn ang="0">
                  <a:pos x="connsiteX5839" y="connsiteY5839"/>
                </a:cxn>
                <a:cxn ang="0">
                  <a:pos x="connsiteX5840" y="connsiteY5840"/>
                </a:cxn>
                <a:cxn ang="0">
                  <a:pos x="connsiteX5841" y="connsiteY5841"/>
                </a:cxn>
                <a:cxn ang="0">
                  <a:pos x="connsiteX5842" y="connsiteY5842"/>
                </a:cxn>
                <a:cxn ang="0">
                  <a:pos x="connsiteX5843" y="connsiteY5843"/>
                </a:cxn>
                <a:cxn ang="0">
                  <a:pos x="connsiteX5844" y="connsiteY5844"/>
                </a:cxn>
                <a:cxn ang="0">
                  <a:pos x="connsiteX5845" y="connsiteY5845"/>
                </a:cxn>
                <a:cxn ang="0">
                  <a:pos x="connsiteX5846" y="connsiteY5846"/>
                </a:cxn>
                <a:cxn ang="0">
                  <a:pos x="connsiteX5847" y="connsiteY5847"/>
                </a:cxn>
                <a:cxn ang="0">
                  <a:pos x="connsiteX5848" y="connsiteY5848"/>
                </a:cxn>
                <a:cxn ang="0">
                  <a:pos x="connsiteX5849" y="connsiteY5849"/>
                </a:cxn>
                <a:cxn ang="0">
                  <a:pos x="connsiteX5850" y="connsiteY5850"/>
                </a:cxn>
                <a:cxn ang="0">
                  <a:pos x="connsiteX5851" y="connsiteY5851"/>
                </a:cxn>
                <a:cxn ang="0">
                  <a:pos x="connsiteX5852" y="connsiteY5852"/>
                </a:cxn>
                <a:cxn ang="0">
                  <a:pos x="connsiteX5853" y="connsiteY5853"/>
                </a:cxn>
                <a:cxn ang="0">
                  <a:pos x="connsiteX5854" y="connsiteY5854"/>
                </a:cxn>
                <a:cxn ang="0">
                  <a:pos x="connsiteX5855" y="connsiteY5855"/>
                </a:cxn>
                <a:cxn ang="0">
                  <a:pos x="connsiteX5856" y="connsiteY5856"/>
                </a:cxn>
                <a:cxn ang="0">
                  <a:pos x="connsiteX5857" y="connsiteY5857"/>
                </a:cxn>
                <a:cxn ang="0">
                  <a:pos x="connsiteX5858" y="connsiteY5858"/>
                </a:cxn>
                <a:cxn ang="0">
                  <a:pos x="connsiteX5859" y="connsiteY5859"/>
                </a:cxn>
                <a:cxn ang="0">
                  <a:pos x="connsiteX5860" y="connsiteY5860"/>
                </a:cxn>
                <a:cxn ang="0">
                  <a:pos x="connsiteX5861" y="connsiteY5861"/>
                </a:cxn>
                <a:cxn ang="0">
                  <a:pos x="connsiteX5862" y="connsiteY5862"/>
                </a:cxn>
                <a:cxn ang="0">
                  <a:pos x="connsiteX5863" y="connsiteY5863"/>
                </a:cxn>
                <a:cxn ang="0">
                  <a:pos x="connsiteX5864" y="connsiteY5864"/>
                </a:cxn>
                <a:cxn ang="0">
                  <a:pos x="connsiteX5865" y="connsiteY5865"/>
                </a:cxn>
                <a:cxn ang="0">
                  <a:pos x="connsiteX5866" y="connsiteY5866"/>
                </a:cxn>
                <a:cxn ang="0">
                  <a:pos x="connsiteX5867" y="connsiteY5867"/>
                </a:cxn>
                <a:cxn ang="0">
                  <a:pos x="connsiteX5868" y="connsiteY5868"/>
                </a:cxn>
                <a:cxn ang="0">
                  <a:pos x="connsiteX5869" y="connsiteY5869"/>
                </a:cxn>
                <a:cxn ang="0">
                  <a:pos x="connsiteX5870" y="connsiteY5870"/>
                </a:cxn>
                <a:cxn ang="0">
                  <a:pos x="connsiteX5871" y="connsiteY5871"/>
                </a:cxn>
                <a:cxn ang="0">
                  <a:pos x="connsiteX5872" y="connsiteY5872"/>
                </a:cxn>
                <a:cxn ang="0">
                  <a:pos x="connsiteX5873" y="connsiteY5873"/>
                </a:cxn>
                <a:cxn ang="0">
                  <a:pos x="connsiteX5874" y="connsiteY5874"/>
                </a:cxn>
                <a:cxn ang="0">
                  <a:pos x="connsiteX5875" y="connsiteY5875"/>
                </a:cxn>
                <a:cxn ang="0">
                  <a:pos x="connsiteX5876" y="connsiteY5876"/>
                </a:cxn>
                <a:cxn ang="0">
                  <a:pos x="connsiteX5877" y="connsiteY5877"/>
                </a:cxn>
                <a:cxn ang="0">
                  <a:pos x="connsiteX5878" y="connsiteY5878"/>
                </a:cxn>
                <a:cxn ang="0">
                  <a:pos x="connsiteX5879" y="connsiteY5879"/>
                </a:cxn>
                <a:cxn ang="0">
                  <a:pos x="connsiteX5880" y="connsiteY5880"/>
                </a:cxn>
                <a:cxn ang="0">
                  <a:pos x="connsiteX5881" y="connsiteY5881"/>
                </a:cxn>
                <a:cxn ang="0">
                  <a:pos x="connsiteX5882" y="connsiteY5882"/>
                </a:cxn>
                <a:cxn ang="0">
                  <a:pos x="connsiteX5883" y="connsiteY5883"/>
                </a:cxn>
                <a:cxn ang="0">
                  <a:pos x="connsiteX5884" y="connsiteY5884"/>
                </a:cxn>
                <a:cxn ang="0">
                  <a:pos x="connsiteX5885" y="connsiteY5885"/>
                </a:cxn>
                <a:cxn ang="0">
                  <a:pos x="connsiteX5886" y="connsiteY5886"/>
                </a:cxn>
                <a:cxn ang="0">
                  <a:pos x="connsiteX5887" y="connsiteY5887"/>
                </a:cxn>
                <a:cxn ang="0">
                  <a:pos x="connsiteX5888" y="connsiteY5888"/>
                </a:cxn>
                <a:cxn ang="0">
                  <a:pos x="connsiteX5889" y="connsiteY5889"/>
                </a:cxn>
                <a:cxn ang="0">
                  <a:pos x="connsiteX5890" y="connsiteY5890"/>
                </a:cxn>
                <a:cxn ang="0">
                  <a:pos x="connsiteX5891" y="connsiteY5891"/>
                </a:cxn>
                <a:cxn ang="0">
                  <a:pos x="connsiteX5892" y="connsiteY5892"/>
                </a:cxn>
                <a:cxn ang="0">
                  <a:pos x="connsiteX5893" y="connsiteY5893"/>
                </a:cxn>
                <a:cxn ang="0">
                  <a:pos x="connsiteX5894" y="connsiteY5894"/>
                </a:cxn>
                <a:cxn ang="0">
                  <a:pos x="connsiteX5895" y="connsiteY5895"/>
                </a:cxn>
                <a:cxn ang="0">
                  <a:pos x="connsiteX5896" y="connsiteY5896"/>
                </a:cxn>
                <a:cxn ang="0">
                  <a:pos x="connsiteX5897" y="connsiteY5897"/>
                </a:cxn>
                <a:cxn ang="0">
                  <a:pos x="connsiteX5898" y="connsiteY5898"/>
                </a:cxn>
                <a:cxn ang="0">
                  <a:pos x="connsiteX5899" y="connsiteY5899"/>
                </a:cxn>
                <a:cxn ang="0">
                  <a:pos x="connsiteX5900" y="connsiteY5900"/>
                </a:cxn>
                <a:cxn ang="0">
                  <a:pos x="connsiteX5901" y="connsiteY5901"/>
                </a:cxn>
                <a:cxn ang="0">
                  <a:pos x="connsiteX5902" y="connsiteY5902"/>
                </a:cxn>
                <a:cxn ang="0">
                  <a:pos x="connsiteX5903" y="connsiteY5903"/>
                </a:cxn>
                <a:cxn ang="0">
                  <a:pos x="connsiteX5904" y="connsiteY5904"/>
                </a:cxn>
                <a:cxn ang="0">
                  <a:pos x="connsiteX5905" y="connsiteY5905"/>
                </a:cxn>
                <a:cxn ang="0">
                  <a:pos x="connsiteX5906" y="connsiteY5906"/>
                </a:cxn>
                <a:cxn ang="0">
                  <a:pos x="connsiteX5907" y="connsiteY5907"/>
                </a:cxn>
                <a:cxn ang="0">
                  <a:pos x="connsiteX5908" y="connsiteY5908"/>
                </a:cxn>
                <a:cxn ang="0">
                  <a:pos x="connsiteX5909" y="connsiteY5909"/>
                </a:cxn>
                <a:cxn ang="0">
                  <a:pos x="connsiteX5910" y="connsiteY5910"/>
                </a:cxn>
                <a:cxn ang="0">
                  <a:pos x="connsiteX5911" y="connsiteY5911"/>
                </a:cxn>
                <a:cxn ang="0">
                  <a:pos x="connsiteX5912" y="connsiteY5912"/>
                </a:cxn>
                <a:cxn ang="0">
                  <a:pos x="connsiteX5913" y="connsiteY5913"/>
                </a:cxn>
                <a:cxn ang="0">
                  <a:pos x="connsiteX5914" y="connsiteY5914"/>
                </a:cxn>
                <a:cxn ang="0">
                  <a:pos x="connsiteX5915" y="connsiteY5915"/>
                </a:cxn>
                <a:cxn ang="0">
                  <a:pos x="connsiteX5916" y="connsiteY5916"/>
                </a:cxn>
                <a:cxn ang="0">
                  <a:pos x="connsiteX5917" y="connsiteY5917"/>
                </a:cxn>
                <a:cxn ang="0">
                  <a:pos x="connsiteX5918" y="connsiteY5918"/>
                </a:cxn>
                <a:cxn ang="0">
                  <a:pos x="connsiteX5919" y="connsiteY5919"/>
                </a:cxn>
                <a:cxn ang="0">
                  <a:pos x="connsiteX5920" y="connsiteY5920"/>
                </a:cxn>
                <a:cxn ang="0">
                  <a:pos x="connsiteX5921" y="connsiteY5921"/>
                </a:cxn>
                <a:cxn ang="0">
                  <a:pos x="connsiteX5922" y="connsiteY5922"/>
                </a:cxn>
                <a:cxn ang="0">
                  <a:pos x="connsiteX5923" y="connsiteY5923"/>
                </a:cxn>
                <a:cxn ang="0">
                  <a:pos x="connsiteX5924" y="connsiteY5924"/>
                </a:cxn>
                <a:cxn ang="0">
                  <a:pos x="connsiteX5925" y="connsiteY5925"/>
                </a:cxn>
                <a:cxn ang="0">
                  <a:pos x="connsiteX5926" y="connsiteY5926"/>
                </a:cxn>
                <a:cxn ang="0">
                  <a:pos x="connsiteX5927" y="connsiteY5927"/>
                </a:cxn>
                <a:cxn ang="0">
                  <a:pos x="connsiteX5928" y="connsiteY5928"/>
                </a:cxn>
                <a:cxn ang="0">
                  <a:pos x="connsiteX5929" y="connsiteY5929"/>
                </a:cxn>
                <a:cxn ang="0">
                  <a:pos x="connsiteX5930" y="connsiteY5930"/>
                </a:cxn>
                <a:cxn ang="0">
                  <a:pos x="connsiteX5931" y="connsiteY5931"/>
                </a:cxn>
                <a:cxn ang="0">
                  <a:pos x="connsiteX5932" y="connsiteY5932"/>
                </a:cxn>
                <a:cxn ang="0">
                  <a:pos x="connsiteX5933" y="connsiteY5933"/>
                </a:cxn>
                <a:cxn ang="0">
                  <a:pos x="connsiteX5934" y="connsiteY5934"/>
                </a:cxn>
                <a:cxn ang="0">
                  <a:pos x="connsiteX5935" y="connsiteY5935"/>
                </a:cxn>
                <a:cxn ang="0">
                  <a:pos x="connsiteX5936" y="connsiteY5936"/>
                </a:cxn>
                <a:cxn ang="0">
                  <a:pos x="connsiteX5937" y="connsiteY5937"/>
                </a:cxn>
                <a:cxn ang="0">
                  <a:pos x="connsiteX5938" y="connsiteY5938"/>
                </a:cxn>
                <a:cxn ang="0">
                  <a:pos x="connsiteX5939" y="connsiteY5939"/>
                </a:cxn>
                <a:cxn ang="0">
                  <a:pos x="connsiteX5940" y="connsiteY5940"/>
                </a:cxn>
                <a:cxn ang="0">
                  <a:pos x="connsiteX5941" y="connsiteY5941"/>
                </a:cxn>
                <a:cxn ang="0">
                  <a:pos x="connsiteX5942" y="connsiteY5942"/>
                </a:cxn>
                <a:cxn ang="0">
                  <a:pos x="connsiteX5943" y="connsiteY5943"/>
                </a:cxn>
                <a:cxn ang="0">
                  <a:pos x="connsiteX5944" y="connsiteY5944"/>
                </a:cxn>
                <a:cxn ang="0">
                  <a:pos x="connsiteX5945" y="connsiteY5945"/>
                </a:cxn>
                <a:cxn ang="0">
                  <a:pos x="connsiteX5946" y="connsiteY5946"/>
                </a:cxn>
                <a:cxn ang="0">
                  <a:pos x="connsiteX5947" y="connsiteY5947"/>
                </a:cxn>
                <a:cxn ang="0">
                  <a:pos x="connsiteX5948" y="connsiteY5948"/>
                </a:cxn>
                <a:cxn ang="0">
                  <a:pos x="connsiteX5949" y="connsiteY5949"/>
                </a:cxn>
                <a:cxn ang="0">
                  <a:pos x="connsiteX5950" y="connsiteY5950"/>
                </a:cxn>
                <a:cxn ang="0">
                  <a:pos x="connsiteX5951" y="connsiteY5951"/>
                </a:cxn>
                <a:cxn ang="0">
                  <a:pos x="connsiteX5952" y="connsiteY5952"/>
                </a:cxn>
                <a:cxn ang="0">
                  <a:pos x="connsiteX5953" y="connsiteY5953"/>
                </a:cxn>
                <a:cxn ang="0">
                  <a:pos x="connsiteX5954" y="connsiteY5954"/>
                </a:cxn>
                <a:cxn ang="0">
                  <a:pos x="connsiteX5955" y="connsiteY5955"/>
                </a:cxn>
                <a:cxn ang="0">
                  <a:pos x="connsiteX5956" y="connsiteY5956"/>
                </a:cxn>
                <a:cxn ang="0">
                  <a:pos x="connsiteX5957" y="connsiteY5957"/>
                </a:cxn>
                <a:cxn ang="0">
                  <a:pos x="connsiteX5958" y="connsiteY5958"/>
                </a:cxn>
                <a:cxn ang="0">
                  <a:pos x="connsiteX5959" y="connsiteY5959"/>
                </a:cxn>
                <a:cxn ang="0">
                  <a:pos x="connsiteX5960" y="connsiteY5960"/>
                </a:cxn>
                <a:cxn ang="0">
                  <a:pos x="connsiteX5961" y="connsiteY5961"/>
                </a:cxn>
                <a:cxn ang="0">
                  <a:pos x="connsiteX5962" y="connsiteY5962"/>
                </a:cxn>
                <a:cxn ang="0">
                  <a:pos x="connsiteX5963" y="connsiteY5963"/>
                </a:cxn>
                <a:cxn ang="0">
                  <a:pos x="connsiteX5964" y="connsiteY5964"/>
                </a:cxn>
                <a:cxn ang="0">
                  <a:pos x="connsiteX5965" y="connsiteY5965"/>
                </a:cxn>
                <a:cxn ang="0">
                  <a:pos x="connsiteX5966" y="connsiteY5966"/>
                </a:cxn>
                <a:cxn ang="0">
                  <a:pos x="connsiteX5967" y="connsiteY5967"/>
                </a:cxn>
                <a:cxn ang="0">
                  <a:pos x="connsiteX5968" y="connsiteY5968"/>
                </a:cxn>
                <a:cxn ang="0">
                  <a:pos x="connsiteX5969" y="connsiteY5969"/>
                </a:cxn>
                <a:cxn ang="0">
                  <a:pos x="connsiteX5970" y="connsiteY5970"/>
                </a:cxn>
                <a:cxn ang="0">
                  <a:pos x="connsiteX5971" y="connsiteY5971"/>
                </a:cxn>
                <a:cxn ang="0">
                  <a:pos x="connsiteX5972" y="connsiteY5972"/>
                </a:cxn>
                <a:cxn ang="0">
                  <a:pos x="connsiteX5973" y="connsiteY5973"/>
                </a:cxn>
                <a:cxn ang="0">
                  <a:pos x="connsiteX5974" y="connsiteY5974"/>
                </a:cxn>
                <a:cxn ang="0">
                  <a:pos x="connsiteX5975" y="connsiteY5975"/>
                </a:cxn>
                <a:cxn ang="0">
                  <a:pos x="connsiteX5976" y="connsiteY5976"/>
                </a:cxn>
                <a:cxn ang="0">
                  <a:pos x="connsiteX5977" y="connsiteY5977"/>
                </a:cxn>
                <a:cxn ang="0">
                  <a:pos x="connsiteX5978" y="connsiteY5978"/>
                </a:cxn>
                <a:cxn ang="0">
                  <a:pos x="connsiteX5979" y="connsiteY5979"/>
                </a:cxn>
                <a:cxn ang="0">
                  <a:pos x="connsiteX5980" y="connsiteY5980"/>
                </a:cxn>
                <a:cxn ang="0">
                  <a:pos x="connsiteX5981" y="connsiteY5981"/>
                </a:cxn>
                <a:cxn ang="0">
                  <a:pos x="connsiteX5982" y="connsiteY5982"/>
                </a:cxn>
                <a:cxn ang="0">
                  <a:pos x="connsiteX5983" y="connsiteY5983"/>
                </a:cxn>
                <a:cxn ang="0">
                  <a:pos x="connsiteX5984" y="connsiteY5984"/>
                </a:cxn>
                <a:cxn ang="0">
                  <a:pos x="connsiteX5985" y="connsiteY5985"/>
                </a:cxn>
                <a:cxn ang="0">
                  <a:pos x="connsiteX5986" y="connsiteY5986"/>
                </a:cxn>
                <a:cxn ang="0">
                  <a:pos x="connsiteX5987" y="connsiteY5987"/>
                </a:cxn>
                <a:cxn ang="0">
                  <a:pos x="connsiteX5988" y="connsiteY5988"/>
                </a:cxn>
                <a:cxn ang="0">
                  <a:pos x="connsiteX5989" y="connsiteY5989"/>
                </a:cxn>
                <a:cxn ang="0">
                  <a:pos x="connsiteX5990" y="connsiteY5990"/>
                </a:cxn>
                <a:cxn ang="0">
                  <a:pos x="connsiteX5991" y="connsiteY5991"/>
                </a:cxn>
                <a:cxn ang="0">
                  <a:pos x="connsiteX5992" y="connsiteY5992"/>
                </a:cxn>
                <a:cxn ang="0">
                  <a:pos x="connsiteX5993" y="connsiteY5993"/>
                </a:cxn>
                <a:cxn ang="0">
                  <a:pos x="connsiteX5994" y="connsiteY5994"/>
                </a:cxn>
                <a:cxn ang="0">
                  <a:pos x="connsiteX5995" y="connsiteY5995"/>
                </a:cxn>
                <a:cxn ang="0">
                  <a:pos x="connsiteX5996" y="connsiteY5996"/>
                </a:cxn>
                <a:cxn ang="0">
                  <a:pos x="connsiteX5997" y="connsiteY5997"/>
                </a:cxn>
                <a:cxn ang="0">
                  <a:pos x="connsiteX5998" y="connsiteY5998"/>
                </a:cxn>
                <a:cxn ang="0">
                  <a:pos x="connsiteX5999" y="connsiteY5999"/>
                </a:cxn>
                <a:cxn ang="0">
                  <a:pos x="connsiteX6000" y="connsiteY6000"/>
                </a:cxn>
                <a:cxn ang="0">
                  <a:pos x="connsiteX6001" y="connsiteY6001"/>
                </a:cxn>
                <a:cxn ang="0">
                  <a:pos x="connsiteX6002" y="connsiteY6002"/>
                </a:cxn>
                <a:cxn ang="0">
                  <a:pos x="connsiteX6003" y="connsiteY6003"/>
                </a:cxn>
                <a:cxn ang="0">
                  <a:pos x="connsiteX6004" y="connsiteY6004"/>
                </a:cxn>
                <a:cxn ang="0">
                  <a:pos x="connsiteX6005" y="connsiteY6005"/>
                </a:cxn>
                <a:cxn ang="0">
                  <a:pos x="connsiteX6006" y="connsiteY6006"/>
                </a:cxn>
                <a:cxn ang="0">
                  <a:pos x="connsiteX6007" y="connsiteY6007"/>
                </a:cxn>
                <a:cxn ang="0">
                  <a:pos x="connsiteX6008" y="connsiteY6008"/>
                </a:cxn>
                <a:cxn ang="0">
                  <a:pos x="connsiteX6009" y="connsiteY6009"/>
                </a:cxn>
                <a:cxn ang="0">
                  <a:pos x="connsiteX6010" y="connsiteY6010"/>
                </a:cxn>
                <a:cxn ang="0">
                  <a:pos x="connsiteX6011" y="connsiteY6011"/>
                </a:cxn>
                <a:cxn ang="0">
                  <a:pos x="connsiteX6012" y="connsiteY6012"/>
                </a:cxn>
                <a:cxn ang="0">
                  <a:pos x="connsiteX6013" y="connsiteY6013"/>
                </a:cxn>
                <a:cxn ang="0">
                  <a:pos x="connsiteX6014" y="connsiteY6014"/>
                </a:cxn>
                <a:cxn ang="0">
                  <a:pos x="connsiteX6015" y="connsiteY6015"/>
                </a:cxn>
                <a:cxn ang="0">
                  <a:pos x="connsiteX6016" y="connsiteY6016"/>
                </a:cxn>
                <a:cxn ang="0">
                  <a:pos x="connsiteX6017" y="connsiteY6017"/>
                </a:cxn>
                <a:cxn ang="0">
                  <a:pos x="connsiteX6018" y="connsiteY6018"/>
                </a:cxn>
                <a:cxn ang="0">
                  <a:pos x="connsiteX6019" y="connsiteY6019"/>
                </a:cxn>
                <a:cxn ang="0">
                  <a:pos x="connsiteX6020" y="connsiteY6020"/>
                </a:cxn>
                <a:cxn ang="0">
                  <a:pos x="connsiteX6021" y="connsiteY6021"/>
                </a:cxn>
                <a:cxn ang="0">
                  <a:pos x="connsiteX6022" y="connsiteY6022"/>
                </a:cxn>
                <a:cxn ang="0">
                  <a:pos x="connsiteX6023" y="connsiteY6023"/>
                </a:cxn>
                <a:cxn ang="0">
                  <a:pos x="connsiteX6024" y="connsiteY6024"/>
                </a:cxn>
                <a:cxn ang="0">
                  <a:pos x="connsiteX6025" y="connsiteY6025"/>
                </a:cxn>
                <a:cxn ang="0">
                  <a:pos x="connsiteX6026" y="connsiteY6026"/>
                </a:cxn>
                <a:cxn ang="0">
                  <a:pos x="connsiteX6027" y="connsiteY6027"/>
                </a:cxn>
                <a:cxn ang="0">
                  <a:pos x="connsiteX6028" y="connsiteY6028"/>
                </a:cxn>
                <a:cxn ang="0">
                  <a:pos x="connsiteX6029" y="connsiteY6029"/>
                </a:cxn>
                <a:cxn ang="0">
                  <a:pos x="connsiteX6030" y="connsiteY6030"/>
                </a:cxn>
                <a:cxn ang="0">
                  <a:pos x="connsiteX6031" y="connsiteY6031"/>
                </a:cxn>
                <a:cxn ang="0">
                  <a:pos x="connsiteX6032" y="connsiteY6032"/>
                </a:cxn>
                <a:cxn ang="0">
                  <a:pos x="connsiteX6033" y="connsiteY6033"/>
                </a:cxn>
                <a:cxn ang="0">
                  <a:pos x="connsiteX6034" y="connsiteY6034"/>
                </a:cxn>
                <a:cxn ang="0">
                  <a:pos x="connsiteX6035" y="connsiteY6035"/>
                </a:cxn>
                <a:cxn ang="0">
                  <a:pos x="connsiteX6036" y="connsiteY6036"/>
                </a:cxn>
                <a:cxn ang="0">
                  <a:pos x="connsiteX6037" y="connsiteY6037"/>
                </a:cxn>
                <a:cxn ang="0">
                  <a:pos x="connsiteX6038" y="connsiteY6038"/>
                </a:cxn>
                <a:cxn ang="0">
                  <a:pos x="connsiteX6039" y="connsiteY6039"/>
                </a:cxn>
                <a:cxn ang="0">
                  <a:pos x="connsiteX6040" y="connsiteY6040"/>
                </a:cxn>
                <a:cxn ang="0">
                  <a:pos x="connsiteX6041" y="connsiteY6041"/>
                </a:cxn>
                <a:cxn ang="0">
                  <a:pos x="connsiteX6042" y="connsiteY6042"/>
                </a:cxn>
                <a:cxn ang="0">
                  <a:pos x="connsiteX6043" y="connsiteY6043"/>
                </a:cxn>
                <a:cxn ang="0">
                  <a:pos x="connsiteX6044" y="connsiteY6044"/>
                </a:cxn>
                <a:cxn ang="0">
                  <a:pos x="connsiteX6045" y="connsiteY6045"/>
                </a:cxn>
                <a:cxn ang="0">
                  <a:pos x="connsiteX6046" y="connsiteY6046"/>
                </a:cxn>
                <a:cxn ang="0">
                  <a:pos x="connsiteX6047" y="connsiteY6047"/>
                </a:cxn>
                <a:cxn ang="0">
                  <a:pos x="connsiteX6048" y="connsiteY6048"/>
                </a:cxn>
                <a:cxn ang="0">
                  <a:pos x="connsiteX6049" y="connsiteY6049"/>
                </a:cxn>
                <a:cxn ang="0">
                  <a:pos x="connsiteX6050" y="connsiteY6050"/>
                </a:cxn>
                <a:cxn ang="0">
                  <a:pos x="connsiteX6051" y="connsiteY6051"/>
                </a:cxn>
                <a:cxn ang="0">
                  <a:pos x="connsiteX6052" y="connsiteY6052"/>
                </a:cxn>
                <a:cxn ang="0">
                  <a:pos x="connsiteX6053" y="connsiteY6053"/>
                </a:cxn>
                <a:cxn ang="0">
                  <a:pos x="connsiteX6054" y="connsiteY6054"/>
                </a:cxn>
                <a:cxn ang="0">
                  <a:pos x="connsiteX6055" y="connsiteY6055"/>
                </a:cxn>
                <a:cxn ang="0">
                  <a:pos x="connsiteX6056" y="connsiteY6056"/>
                </a:cxn>
                <a:cxn ang="0">
                  <a:pos x="connsiteX6057" y="connsiteY6057"/>
                </a:cxn>
                <a:cxn ang="0">
                  <a:pos x="connsiteX6058" y="connsiteY6058"/>
                </a:cxn>
                <a:cxn ang="0">
                  <a:pos x="connsiteX6059" y="connsiteY6059"/>
                </a:cxn>
                <a:cxn ang="0">
                  <a:pos x="connsiteX6060" y="connsiteY6060"/>
                </a:cxn>
                <a:cxn ang="0">
                  <a:pos x="connsiteX6061" y="connsiteY6061"/>
                </a:cxn>
                <a:cxn ang="0">
                  <a:pos x="connsiteX6062" y="connsiteY6062"/>
                </a:cxn>
                <a:cxn ang="0">
                  <a:pos x="connsiteX6063" y="connsiteY6063"/>
                </a:cxn>
                <a:cxn ang="0">
                  <a:pos x="connsiteX6064" y="connsiteY6064"/>
                </a:cxn>
                <a:cxn ang="0">
                  <a:pos x="connsiteX6065" y="connsiteY6065"/>
                </a:cxn>
                <a:cxn ang="0">
                  <a:pos x="connsiteX6066" y="connsiteY6066"/>
                </a:cxn>
                <a:cxn ang="0">
                  <a:pos x="connsiteX6067" y="connsiteY6067"/>
                </a:cxn>
                <a:cxn ang="0">
                  <a:pos x="connsiteX6068" y="connsiteY6068"/>
                </a:cxn>
                <a:cxn ang="0">
                  <a:pos x="connsiteX6069" y="connsiteY6069"/>
                </a:cxn>
                <a:cxn ang="0">
                  <a:pos x="connsiteX6070" y="connsiteY6070"/>
                </a:cxn>
                <a:cxn ang="0">
                  <a:pos x="connsiteX6071" y="connsiteY6071"/>
                </a:cxn>
                <a:cxn ang="0">
                  <a:pos x="connsiteX6072" y="connsiteY6072"/>
                </a:cxn>
                <a:cxn ang="0">
                  <a:pos x="connsiteX6073" y="connsiteY6073"/>
                </a:cxn>
                <a:cxn ang="0">
                  <a:pos x="connsiteX6074" y="connsiteY6074"/>
                </a:cxn>
                <a:cxn ang="0">
                  <a:pos x="connsiteX6075" y="connsiteY6075"/>
                </a:cxn>
                <a:cxn ang="0">
                  <a:pos x="connsiteX6076" y="connsiteY6076"/>
                </a:cxn>
                <a:cxn ang="0">
                  <a:pos x="connsiteX6077" y="connsiteY6077"/>
                </a:cxn>
                <a:cxn ang="0">
                  <a:pos x="connsiteX6078" y="connsiteY6078"/>
                </a:cxn>
                <a:cxn ang="0">
                  <a:pos x="connsiteX6079" y="connsiteY6079"/>
                </a:cxn>
                <a:cxn ang="0">
                  <a:pos x="connsiteX6080" y="connsiteY6080"/>
                </a:cxn>
                <a:cxn ang="0">
                  <a:pos x="connsiteX6081" y="connsiteY6081"/>
                </a:cxn>
                <a:cxn ang="0">
                  <a:pos x="connsiteX6082" y="connsiteY6082"/>
                </a:cxn>
                <a:cxn ang="0">
                  <a:pos x="connsiteX6083" y="connsiteY6083"/>
                </a:cxn>
                <a:cxn ang="0">
                  <a:pos x="connsiteX6084" y="connsiteY6084"/>
                </a:cxn>
                <a:cxn ang="0">
                  <a:pos x="connsiteX6085" y="connsiteY6085"/>
                </a:cxn>
                <a:cxn ang="0">
                  <a:pos x="connsiteX6086" y="connsiteY6086"/>
                </a:cxn>
                <a:cxn ang="0">
                  <a:pos x="connsiteX6087" y="connsiteY6087"/>
                </a:cxn>
                <a:cxn ang="0">
                  <a:pos x="connsiteX6088" y="connsiteY6088"/>
                </a:cxn>
                <a:cxn ang="0">
                  <a:pos x="connsiteX6089" y="connsiteY6089"/>
                </a:cxn>
                <a:cxn ang="0">
                  <a:pos x="connsiteX6090" y="connsiteY6090"/>
                </a:cxn>
                <a:cxn ang="0">
                  <a:pos x="connsiteX6091" y="connsiteY6091"/>
                </a:cxn>
                <a:cxn ang="0">
                  <a:pos x="connsiteX6092" y="connsiteY6092"/>
                </a:cxn>
                <a:cxn ang="0">
                  <a:pos x="connsiteX6093" y="connsiteY6093"/>
                </a:cxn>
                <a:cxn ang="0">
                  <a:pos x="connsiteX6094" y="connsiteY6094"/>
                </a:cxn>
                <a:cxn ang="0">
                  <a:pos x="connsiteX6095" y="connsiteY6095"/>
                </a:cxn>
                <a:cxn ang="0">
                  <a:pos x="connsiteX6096" y="connsiteY6096"/>
                </a:cxn>
                <a:cxn ang="0">
                  <a:pos x="connsiteX6097" y="connsiteY6097"/>
                </a:cxn>
                <a:cxn ang="0">
                  <a:pos x="connsiteX6098" y="connsiteY6098"/>
                </a:cxn>
                <a:cxn ang="0">
                  <a:pos x="connsiteX6099" y="connsiteY6099"/>
                </a:cxn>
                <a:cxn ang="0">
                  <a:pos x="connsiteX6100" y="connsiteY6100"/>
                </a:cxn>
                <a:cxn ang="0">
                  <a:pos x="connsiteX6101" y="connsiteY6101"/>
                </a:cxn>
                <a:cxn ang="0">
                  <a:pos x="connsiteX6102" y="connsiteY6102"/>
                </a:cxn>
                <a:cxn ang="0">
                  <a:pos x="connsiteX6103" y="connsiteY6103"/>
                </a:cxn>
                <a:cxn ang="0">
                  <a:pos x="connsiteX6104" y="connsiteY6104"/>
                </a:cxn>
                <a:cxn ang="0">
                  <a:pos x="connsiteX6105" y="connsiteY6105"/>
                </a:cxn>
                <a:cxn ang="0">
                  <a:pos x="connsiteX6106" y="connsiteY6106"/>
                </a:cxn>
                <a:cxn ang="0">
                  <a:pos x="connsiteX6107" y="connsiteY6107"/>
                </a:cxn>
                <a:cxn ang="0">
                  <a:pos x="connsiteX6108" y="connsiteY6108"/>
                </a:cxn>
                <a:cxn ang="0">
                  <a:pos x="connsiteX6109" y="connsiteY6109"/>
                </a:cxn>
                <a:cxn ang="0">
                  <a:pos x="connsiteX6110" y="connsiteY6110"/>
                </a:cxn>
                <a:cxn ang="0">
                  <a:pos x="connsiteX6111" y="connsiteY6111"/>
                </a:cxn>
                <a:cxn ang="0">
                  <a:pos x="connsiteX6112" y="connsiteY6112"/>
                </a:cxn>
                <a:cxn ang="0">
                  <a:pos x="connsiteX6113" y="connsiteY6113"/>
                </a:cxn>
                <a:cxn ang="0">
                  <a:pos x="connsiteX6114" y="connsiteY6114"/>
                </a:cxn>
                <a:cxn ang="0">
                  <a:pos x="connsiteX6115" y="connsiteY6115"/>
                </a:cxn>
                <a:cxn ang="0">
                  <a:pos x="connsiteX6116" y="connsiteY6116"/>
                </a:cxn>
                <a:cxn ang="0">
                  <a:pos x="connsiteX6117" y="connsiteY6117"/>
                </a:cxn>
                <a:cxn ang="0">
                  <a:pos x="connsiteX6118" y="connsiteY6118"/>
                </a:cxn>
                <a:cxn ang="0">
                  <a:pos x="connsiteX6119" y="connsiteY6119"/>
                </a:cxn>
                <a:cxn ang="0">
                  <a:pos x="connsiteX6120" y="connsiteY6120"/>
                </a:cxn>
                <a:cxn ang="0">
                  <a:pos x="connsiteX6121" y="connsiteY6121"/>
                </a:cxn>
                <a:cxn ang="0">
                  <a:pos x="connsiteX6122" y="connsiteY6122"/>
                </a:cxn>
                <a:cxn ang="0">
                  <a:pos x="connsiteX6123" y="connsiteY6123"/>
                </a:cxn>
                <a:cxn ang="0">
                  <a:pos x="connsiteX6124" y="connsiteY6124"/>
                </a:cxn>
                <a:cxn ang="0">
                  <a:pos x="connsiteX6125" y="connsiteY6125"/>
                </a:cxn>
                <a:cxn ang="0">
                  <a:pos x="connsiteX6126" y="connsiteY6126"/>
                </a:cxn>
                <a:cxn ang="0">
                  <a:pos x="connsiteX6127" y="connsiteY6127"/>
                </a:cxn>
                <a:cxn ang="0">
                  <a:pos x="connsiteX6128" y="connsiteY6128"/>
                </a:cxn>
                <a:cxn ang="0">
                  <a:pos x="connsiteX6129" y="connsiteY6129"/>
                </a:cxn>
                <a:cxn ang="0">
                  <a:pos x="connsiteX6130" y="connsiteY6130"/>
                </a:cxn>
                <a:cxn ang="0">
                  <a:pos x="connsiteX6131" y="connsiteY6131"/>
                </a:cxn>
                <a:cxn ang="0">
                  <a:pos x="connsiteX6132" y="connsiteY6132"/>
                </a:cxn>
                <a:cxn ang="0">
                  <a:pos x="connsiteX6133" y="connsiteY6133"/>
                </a:cxn>
                <a:cxn ang="0">
                  <a:pos x="connsiteX6134" y="connsiteY6134"/>
                </a:cxn>
                <a:cxn ang="0">
                  <a:pos x="connsiteX6135" y="connsiteY6135"/>
                </a:cxn>
                <a:cxn ang="0">
                  <a:pos x="connsiteX6136" y="connsiteY6136"/>
                </a:cxn>
                <a:cxn ang="0">
                  <a:pos x="connsiteX6137" y="connsiteY6137"/>
                </a:cxn>
                <a:cxn ang="0">
                  <a:pos x="connsiteX6138" y="connsiteY6138"/>
                </a:cxn>
                <a:cxn ang="0">
                  <a:pos x="connsiteX6139" y="connsiteY6139"/>
                </a:cxn>
                <a:cxn ang="0">
                  <a:pos x="connsiteX6140" y="connsiteY6140"/>
                </a:cxn>
                <a:cxn ang="0">
                  <a:pos x="connsiteX6141" y="connsiteY6141"/>
                </a:cxn>
                <a:cxn ang="0">
                  <a:pos x="connsiteX6142" y="connsiteY6142"/>
                </a:cxn>
                <a:cxn ang="0">
                  <a:pos x="connsiteX6143" y="connsiteY6143"/>
                </a:cxn>
                <a:cxn ang="0">
                  <a:pos x="connsiteX6144" y="connsiteY6144"/>
                </a:cxn>
                <a:cxn ang="0">
                  <a:pos x="connsiteX6145" y="connsiteY6145"/>
                </a:cxn>
                <a:cxn ang="0">
                  <a:pos x="connsiteX6146" y="connsiteY6146"/>
                </a:cxn>
                <a:cxn ang="0">
                  <a:pos x="connsiteX6147" y="connsiteY6147"/>
                </a:cxn>
                <a:cxn ang="0">
                  <a:pos x="connsiteX6148" y="connsiteY6148"/>
                </a:cxn>
                <a:cxn ang="0">
                  <a:pos x="connsiteX6149" y="connsiteY6149"/>
                </a:cxn>
                <a:cxn ang="0">
                  <a:pos x="connsiteX6150" y="connsiteY6150"/>
                </a:cxn>
                <a:cxn ang="0">
                  <a:pos x="connsiteX6151" y="connsiteY6151"/>
                </a:cxn>
                <a:cxn ang="0">
                  <a:pos x="connsiteX6152" y="connsiteY6152"/>
                </a:cxn>
                <a:cxn ang="0">
                  <a:pos x="connsiteX6153" y="connsiteY6153"/>
                </a:cxn>
                <a:cxn ang="0">
                  <a:pos x="connsiteX6154" y="connsiteY6154"/>
                </a:cxn>
                <a:cxn ang="0">
                  <a:pos x="connsiteX6155" y="connsiteY6155"/>
                </a:cxn>
                <a:cxn ang="0">
                  <a:pos x="connsiteX6156" y="connsiteY6156"/>
                </a:cxn>
                <a:cxn ang="0">
                  <a:pos x="connsiteX6157" y="connsiteY6157"/>
                </a:cxn>
                <a:cxn ang="0">
                  <a:pos x="connsiteX6158" y="connsiteY6158"/>
                </a:cxn>
                <a:cxn ang="0">
                  <a:pos x="connsiteX6159" y="connsiteY6159"/>
                </a:cxn>
                <a:cxn ang="0">
                  <a:pos x="connsiteX6160" y="connsiteY6160"/>
                </a:cxn>
                <a:cxn ang="0">
                  <a:pos x="connsiteX6161" y="connsiteY6161"/>
                </a:cxn>
                <a:cxn ang="0">
                  <a:pos x="connsiteX6162" y="connsiteY6162"/>
                </a:cxn>
                <a:cxn ang="0">
                  <a:pos x="connsiteX6163" y="connsiteY6163"/>
                </a:cxn>
                <a:cxn ang="0">
                  <a:pos x="connsiteX6164" y="connsiteY6164"/>
                </a:cxn>
                <a:cxn ang="0">
                  <a:pos x="connsiteX6165" y="connsiteY6165"/>
                </a:cxn>
                <a:cxn ang="0">
                  <a:pos x="connsiteX6166" y="connsiteY6166"/>
                </a:cxn>
                <a:cxn ang="0">
                  <a:pos x="connsiteX6167" y="connsiteY6167"/>
                </a:cxn>
                <a:cxn ang="0">
                  <a:pos x="connsiteX6168" y="connsiteY6168"/>
                </a:cxn>
                <a:cxn ang="0">
                  <a:pos x="connsiteX6169" y="connsiteY6169"/>
                </a:cxn>
                <a:cxn ang="0">
                  <a:pos x="connsiteX6170" y="connsiteY6170"/>
                </a:cxn>
                <a:cxn ang="0">
                  <a:pos x="connsiteX6171" y="connsiteY6171"/>
                </a:cxn>
                <a:cxn ang="0">
                  <a:pos x="connsiteX6172" y="connsiteY6172"/>
                </a:cxn>
                <a:cxn ang="0">
                  <a:pos x="connsiteX6173" y="connsiteY6173"/>
                </a:cxn>
                <a:cxn ang="0">
                  <a:pos x="connsiteX6174" y="connsiteY6174"/>
                </a:cxn>
                <a:cxn ang="0">
                  <a:pos x="connsiteX6175" y="connsiteY6175"/>
                </a:cxn>
                <a:cxn ang="0">
                  <a:pos x="connsiteX6176" y="connsiteY6176"/>
                </a:cxn>
                <a:cxn ang="0">
                  <a:pos x="connsiteX6177" y="connsiteY6177"/>
                </a:cxn>
                <a:cxn ang="0">
                  <a:pos x="connsiteX6178" y="connsiteY6178"/>
                </a:cxn>
                <a:cxn ang="0">
                  <a:pos x="connsiteX6179" y="connsiteY6179"/>
                </a:cxn>
                <a:cxn ang="0">
                  <a:pos x="connsiteX6180" y="connsiteY6180"/>
                </a:cxn>
                <a:cxn ang="0">
                  <a:pos x="connsiteX6181" y="connsiteY6181"/>
                </a:cxn>
                <a:cxn ang="0">
                  <a:pos x="connsiteX6182" y="connsiteY6182"/>
                </a:cxn>
                <a:cxn ang="0">
                  <a:pos x="connsiteX6183" y="connsiteY6183"/>
                </a:cxn>
                <a:cxn ang="0">
                  <a:pos x="connsiteX6184" y="connsiteY6184"/>
                </a:cxn>
                <a:cxn ang="0">
                  <a:pos x="connsiteX6185" y="connsiteY6185"/>
                </a:cxn>
                <a:cxn ang="0">
                  <a:pos x="connsiteX6186" y="connsiteY6186"/>
                </a:cxn>
                <a:cxn ang="0">
                  <a:pos x="connsiteX6187" y="connsiteY6187"/>
                </a:cxn>
                <a:cxn ang="0">
                  <a:pos x="connsiteX6188" y="connsiteY6188"/>
                </a:cxn>
                <a:cxn ang="0">
                  <a:pos x="connsiteX6189" y="connsiteY6189"/>
                </a:cxn>
                <a:cxn ang="0">
                  <a:pos x="connsiteX6190" y="connsiteY6190"/>
                </a:cxn>
                <a:cxn ang="0">
                  <a:pos x="connsiteX6191" y="connsiteY6191"/>
                </a:cxn>
                <a:cxn ang="0">
                  <a:pos x="connsiteX6192" y="connsiteY6192"/>
                </a:cxn>
                <a:cxn ang="0">
                  <a:pos x="connsiteX6193" y="connsiteY6193"/>
                </a:cxn>
                <a:cxn ang="0">
                  <a:pos x="connsiteX6194" y="connsiteY6194"/>
                </a:cxn>
                <a:cxn ang="0">
                  <a:pos x="connsiteX6195" y="connsiteY6195"/>
                </a:cxn>
                <a:cxn ang="0">
                  <a:pos x="connsiteX6196" y="connsiteY6196"/>
                </a:cxn>
                <a:cxn ang="0">
                  <a:pos x="connsiteX6197" y="connsiteY6197"/>
                </a:cxn>
                <a:cxn ang="0">
                  <a:pos x="connsiteX6198" y="connsiteY6198"/>
                </a:cxn>
                <a:cxn ang="0">
                  <a:pos x="connsiteX6199" y="connsiteY6199"/>
                </a:cxn>
                <a:cxn ang="0">
                  <a:pos x="connsiteX6200" y="connsiteY6200"/>
                </a:cxn>
                <a:cxn ang="0">
                  <a:pos x="connsiteX6201" y="connsiteY6201"/>
                </a:cxn>
                <a:cxn ang="0">
                  <a:pos x="connsiteX6202" y="connsiteY6202"/>
                </a:cxn>
                <a:cxn ang="0">
                  <a:pos x="connsiteX6203" y="connsiteY6203"/>
                </a:cxn>
                <a:cxn ang="0">
                  <a:pos x="connsiteX6204" y="connsiteY6204"/>
                </a:cxn>
                <a:cxn ang="0">
                  <a:pos x="connsiteX6205" y="connsiteY6205"/>
                </a:cxn>
                <a:cxn ang="0">
                  <a:pos x="connsiteX6206" y="connsiteY6206"/>
                </a:cxn>
                <a:cxn ang="0">
                  <a:pos x="connsiteX6207" y="connsiteY6207"/>
                </a:cxn>
                <a:cxn ang="0">
                  <a:pos x="connsiteX6208" y="connsiteY6208"/>
                </a:cxn>
                <a:cxn ang="0">
                  <a:pos x="connsiteX6209" y="connsiteY6209"/>
                </a:cxn>
                <a:cxn ang="0">
                  <a:pos x="connsiteX6210" y="connsiteY6210"/>
                </a:cxn>
                <a:cxn ang="0">
                  <a:pos x="connsiteX6211" y="connsiteY6211"/>
                </a:cxn>
                <a:cxn ang="0">
                  <a:pos x="connsiteX6212" y="connsiteY6212"/>
                </a:cxn>
                <a:cxn ang="0">
                  <a:pos x="connsiteX6213" y="connsiteY6213"/>
                </a:cxn>
                <a:cxn ang="0">
                  <a:pos x="connsiteX6214" y="connsiteY6214"/>
                </a:cxn>
                <a:cxn ang="0">
                  <a:pos x="connsiteX6215" y="connsiteY6215"/>
                </a:cxn>
                <a:cxn ang="0">
                  <a:pos x="connsiteX6216" y="connsiteY6216"/>
                </a:cxn>
                <a:cxn ang="0">
                  <a:pos x="connsiteX6217" y="connsiteY6217"/>
                </a:cxn>
                <a:cxn ang="0">
                  <a:pos x="connsiteX6218" y="connsiteY6218"/>
                </a:cxn>
                <a:cxn ang="0">
                  <a:pos x="connsiteX6219" y="connsiteY6219"/>
                </a:cxn>
                <a:cxn ang="0">
                  <a:pos x="connsiteX6220" y="connsiteY6220"/>
                </a:cxn>
                <a:cxn ang="0">
                  <a:pos x="connsiteX6221" y="connsiteY6221"/>
                </a:cxn>
                <a:cxn ang="0">
                  <a:pos x="connsiteX6222" y="connsiteY6222"/>
                </a:cxn>
                <a:cxn ang="0">
                  <a:pos x="connsiteX6223" y="connsiteY6223"/>
                </a:cxn>
                <a:cxn ang="0">
                  <a:pos x="connsiteX6224" y="connsiteY6224"/>
                </a:cxn>
                <a:cxn ang="0">
                  <a:pos x="connsiteX6225" y="connsiteY6225"/>
                </a:cxn>
                <a:cxn ang="0">
                  <a:pos x="connsiteX6226" y="connsiteY6226"/>
                </a:cxn>
                <a:cxn ang="0">
                  <a:pos x="connsiteX6227" y="connsiteY6227"/>
                </a:cxn>
                <a:cxn ang="0">
                  <a:pos x="connsiteX6228" y="connsiteY6228"/>
                </a:cxn>
                <a:cxn ang="0">
                  <a:pos x="connsiteX6229" y="connsiteY6229"/>
                </a:cxn>
                <a:cxn ang="0">
                  <a:pos x="connsiteX6230" y="connsiteY6230"/>
                </a:cxn>
                <a:cxn ang="0">
                  <a:pos x="connsiteX6231" y="connsiteY6231"/>
                </a:cxn>
                <a:cxn ang="0">
                  <a:pos x="connsiteX6232" y="connsiteY6232"/>
                </a:cxn>
                <a:cxn ang="0">
                  <a:pos x="connsiteX6233" y="connsiteY6233"/>
                </a:cxn>
                <a:cxn ang="0">
                  <a:pos x="connsiteX6234" y="connsiteY6234"/>
                </a:cxn>
                <a:cxn ang="0">
                  <a:pos x="connsiteX6235" y="connsiteY6235"/>
                </a:cxn>
                <a:cxn ang="0">
                  <a:pos x="connsiteX6236" y="connsiteY6236"/>
                </a:cxn>
                <a:cxn ang="0">
                  <a:pos x="connsiteX6237" y="connsiteY6237"/>
                </a:cxn>
                <a:cxn ang="0">
                  <a:pos x="connsiteX6238" y="connsiteY6238"/>
                </a:cxn>
                <a:cxn ang="0">
                  <a:pos x="connsiteX6239" y="connsiteY6239"/>
                </a:cxn>
                <a:cxn ang="0">
                  <a:pos x="connsiteX6240" y="connsiteY6240"/>
                </a:cxn>
                <a:cxn ang="0">
                  <a:pos x="connsiteX6241" y="connsiteY6241"/>
                </a:cxn>
                <a:cxn ang="0">
                  <a:pos x="connsiteX6242" y="connsiteY6242"/>
                </a:cxn>
                <a:cxn ang="0">
                  <a:pos x="connsiteX6243" y="connsiteY6243"/>
                </a:cxn>
                <a:cxn ang="0">
                  <a:pos x="connsiteX6244" y="connsiteY6244"/>
                </a:cxn>
                <a:cxn ang="0">
                  <a:pos x="connsiteX6245" y="connsiteY6245"/>
                </a:cxn>
                <a:cxn ang="0">
                  <a:pos x="connsiteX6246" y="connsiteY6246"/>
                </a:cxn>
                <a:cxn ang="0">
                  <a:pos x="connsiteX6247" y="connsiteY6247"/>
                </a:cxn>
                <a:cxn ang="0">
                  <a:pos x="connsiteX6248" y="connsiteY6248"/>
                </a:cxn>
                <a:cxn ang="0">
                  <a:pos x="connsiteX6249" y="connsiteY6249"/>
                </a:cxn>
                <a:cxn ang="0">
                  <a:pos x="connsiteX6250" y="connsiteY6250"/>
                </a:cxn>
                <a:cxn ang="0">
                  <a:pos x="connsiteX6251" y="connsiteY6251"/>
                </a:cxn>
                <a:cxn ang="0">
                  <a:pos x="connsiteX6252" y="connsiteY6252"/>
                </a:cxn>
                <a:cxn ang="0">
                  <a:pos x="connsiteX6253" y="connsiteY6253"/>
                </a:cxn>
                <a:cxn ang="0">
                  <a:pos x="connsiteX6254" y="connsiteY6254"/>
                </a:cxn>
                <a:cxn ang="0">
                  <a:pos x="connsiteX6255" y="connsiteY6255"/>
                </a:cxn>
                <a:cxn ang="0">
                  <a:pos x="connsiteX6256" y="connsiteY6256"/>
                </a:cxn>
                <a:cxn ang="0">
                  <a:pos x="connsiteX6257" y="connsiteY6257"/>
                </a:cxn>
                <a:cxn ang="0">
                  <a:pos x="connsiteX6258" y="connsiteY6258"/>
                </a:cxn>
                <a:cxn ang="0">
                  <a:pos x="connsiteX6259" y="connsiteY6259"/>
                </a:cxn>
                <a:cxn ang="0">
                  <a:pos x="connsiteX6260" y="connsiteY6260"/>
                </a:cxn>
                <a:cxn ang="0">
                  <a:pos x="connsiteX6261" y="connsiteY6261"/>
                </a:cxn>
                <a:cxn ang="0">
                  <a:pos x="connsiteX6262" y="connsiteY6262"/>
                </a:cxn>
                <a:cxn ang="0">
                  <a:pos x="connsiteX6263" y="connsiteY6263"/>
                </a:cxn>
                <a:cxn ang="0">
                  <a:pos x="connsiteX6264" y="connsiteY6264"/>
                </a:cxn>
                <a:cxn ang="0">
                  <a:pos x="connsiteX6265" y="connsiteY6265"/>
                </a:cxn>
                <a:cxn ang="0">
                  <a:pos x="connsiteX6266" y="connsiteY6266"/>
                </a:cxn>
                <a:cxn ang="0">
                  <a:pos x="connsiteX6267" y="connsiteY6267"/>
                </a:cxn>
                <a:cxn ang="0">
                  <a:pos x="connsiteX6268" y="connsiteY6268"/>
                </a:cxn>
                <a:cxn ang="0">
                  <a:pos x="connsiteX6269" y="connsiteY6269"/>
                </a:cxn>
                <a:cxn ang="0">
                  <a:pos x="connsiteX6270" y="connsiteY6270"/>
                </a:cxn>
                <a:cxn ang="0">
                  <a:pos x="connsiteX6271" y="connsiteY6271"/>
                </a:cxn>
                <a:cxn ang="0">
                  <a:pos x="connsiteX6272" y="connsiteY6272"/>
                </a:cxn>
                <a:cxn ang="0">
                  <a:pos x="connsiteX6273" y="connsiteY6273"/>
                </a:cxn>
                <a:cxn ang="0">
                  <a:pos x="connsiteX6274" y="connsiteY6274"/>
                </a:cxn>
                <a:cxn ang="0">
                  <a:pos x="connsiteX6275" y="connsiteY6275"/>
                </a:cxn>
                <a:cxn ang="0">
                  <a:pos x="connsiteX6276" y="connsiteY6276"/>
                </a:cxn>
                <a:cxn ang="0">
                  <a:pos x="connsiteX6277" y="connsiteY6277"/>
                </a:cxn>
                <a:cxn ang="0">
                  <a:pos x="connsiteX6278" y="connsiteY6278"/>
                </a:cxn>
                <a:cxn ang="0">
                  <a:pos x="connsiteX6279" y="connsiteY6279"/>
                </a:cxn>
                <a:cxn ang="0">
                  <a:pos x="connsiteX6280" y="connsiteY6280"/>
                </a:cxn>
                <a:cxn ang="0">
                  <a:pos x="connsiteX6281" y="connsiteY6281"/>
                </a:cxn>
                <a:cxn ang="0">
                  <a:pos x="connsiteX6282" y="connsiteY6282"/>
                </a:cxn>
                <a:cxn ang="0">
                  <a:pos x="connsiteX6283" y="connsiteY6283"/>
                </a:cxn>
                <a:cxn ang="0">
                  <a:pos x="connsiteX6284" y="connsiteY6284"/>
                </a:cxn>
                <a:cxn ang="0">
                  <a:pos x="connsiteX6285" y="connsiteY6285"/>
                </a:cxn>
                <a:cxn ang="0">
                  <a:pos x="connsiteX6286" y="connsiteY6286"/>
                </a:cxn>
                <a:cxn ang="0">
                  <a:pos x="connsiteX6287" y="connsiteY6287"/>
                </a:cxn>
                <a:cxn ang="0">
                  <a:pos x="connsiteX6288" y="connsiteY6288"/>
                </a:cxn>
                <a:cxn ang="0">
                  <a:pos x="connsiteX6289" y="connsiteY6289"/>
                </a:cxn>
                <a:cxn ang="0">
                  <a:pos x="connsiteX6290" y="connsiteY6290"/>
                </a:cxn>
                <a:cxn ang="0">
                  <a:pos x="connsiteX6291" y="connsiteY6291"/>
                </a:cxn>
                <a:cxn ang="0">
                  <a:pos x="connsiteX6292" y="connsiteY6292"/>
                </a:cxn>
                <a:cxn ang="0">
                  <a:pos x="connsiteX6293" y="connsiteY6293"/>
                </a:cxn>
                <a:cxn ang="0">
                  <a:pos x="connsiteX6294" y="connsiteY6294"/>
                </a:cxn>
                <a:cxn ang="0">
                  <a:pos x="connsiteX6295" y="connsiteY6295"/>
                </a:cxn>
                <a:cxn ang="0">
                  <a:pos x="connsiteX6296" y="connsiteY6296"/>
                </a:cxn>
                <a:cxn ang="0">
                  <a:pos x="connsiteX6297" y="connsiteY6297"/>
                </a:cxn>
                <a:cxn ang="0">
                  <a:pos x="connsiteX6298" y="connsiteY6298"/>
                </a:cxn>
                <a:cxn ang="0">
                  <a:pos x="connsiteX6299" y="connsiteY6299"/>
                </a:cxn>
                <a:cxn ang="0">
                  <a:pos x="connsiteX6300" y="connsiteY6300"/>
                </a:cxn>
                <a:cxn ang="0">
                  <a:pos x="connsiteX6301" y="connsiteY6301"/>
                </a:cxn>
                <a:cxn ang="0">
                  <a:pos x="connsiteX6302" y="connsiteY6302"/>
                </a:cxn>
                <a:cxn ang="0">
                  <a:pos x="connsiteX6303" y="connsiteY6303"/>
                </a:cxn>
                <a:cxn ang="0">
                  <a:pos x="connsiteX6304" y="connsiteY6304"/>
                </a:cxn>
                <a:cxn ang="0">
                  <a:pos x="connsiteX6305" y="connsiteY6305"/>
                </a:cxn>
                <a:cxn ang="0">
                  <a:pos x="connsiteX6306" y="connsiteY6306"/>
                </a:cxn>
                <a:cxn ang="0">
                  <a:pos x="connsiteX6307" y="connsiteY6307"/>
                </a:cxn>
                <a:cxn ang="0">
                  <a:pos x="connsiteX6308" y="connsiteY6308"/>
                </a:cxn>
                <a:cxn ang="0">
                  <a:pos x="connsiteX6309" y="connsiteY6309"/>
                </a:cxn>
                <a:cxn ang="0">
                  <a:pos x="connsiteX6310" y="connsiteY6310"/>
                </a:cxn>
                <a:cxn ang="0">
                  <a:pos x="connsiteX6311" y="connsiteY6311"/>
                </a:cxn>
                <a:cxn ang="0">
                  <a:pos x="connsiteX6312" y="connsiteY6312"/>
                </a:cxn>
                <a:cxn ang="0">
                  <a:pos x="connsiteX6313" y="connsiteY6313"/>
                </a:cxn>
                <a:cxn ang="0">
                  <a:pos x="connsiteX6314" y="connsiteY6314"/>
                </a:cxn>
                <a:cxn ang="0">
                  <a:pos x="connsiteX6315" y="connsiteY6315"/>
                </a:cxn>
                <a:cxn ang="0">
                  <a:pos x="connsiteX6316" y="connsiteY6316"/>
                </a:cxn>
                <a:cxn ang="0">
                  <a:pos x="connsiteX6317" y="connsiteY6317"/>
                </a:cxn>
                <a:cxn ang="0">
                  <a:pos x="connsiteX6318" y="connsiteY6318"/>
                </a:cxn>
                <a:cxn ang="0">
                  <a:pos x="connsiteX6319" y="connsiteY6319"/>
                </a:cxn>
                <a:cxn ang="0">
                  <a:pos x="connsiteX6320" y="connsiteY6320"/>
                </a:cxn>
                <a:cxn ang="0">
                  <a:pos x="connsiteX6321" y="connsiteY6321"/>
                </a:cxn>
                <a:cxn ang="0">
                  <a:pos x="connsiteX6322" y="connsiteY6322"/>
                </a:cxn>
                <a:cxn ang="0">
                  <a:pos x="connsiteX6323" y="connsiteY6323"/>
                </a:cxn>
                <a:cxn ang="0">
                  <a:pos x="connsiteX6324" y="connsiteY6324"/>
                </a:cxn>
                <a:cxn ang="0">
                  <a:pos x="connsiteX6325" y="connsiteY6325"/>
                </a:cxn>
                <a:cxn ang="0">
                  <a:pos x="connsiteX6326" y="connsiteY6326"/>
                </a:cxn>
                <a:cxn ang="0">
                  <a:pos x="connsiteX6327" y="connsiteY6327"/>
                </a:cxn>
                <a:cxn ang="0">
                  <a:pos x="connsiteX6328" y="connsiteY6328"/>
                </a:cxn>
                <a:cxn ang="0">
                  <a:pos x="connsiteX6329" y="connsiteY6329"/>
                </a:cxn>
                <a:cxn ang="0">
                  <a:pos x="connsiteX6330" y="connsiteY6330"/>
                </a:cxn>
                <a:cxn ang="0">
                  <a:pos x="connsiteX6331" y="connsiteY6331"/>
                </a:cxn>
                <a:cxn ang="0">
                  <a:pos x="connsiteX6332" y="connsiteY6332"/>
                </a:cxn>
                <a:cxn ang="0">
                  <a:pos x="connsiteX6333" y="connsiteY6333"/>
                </a:cxn>
                <a:cxn ang="0">
                  <a:pos x="connsiteX6334" y="connsiteY6334"/>
                </a:cxn>
                <a:cxn ang="0">
                  <a:pos x="connsiteX6335" y="connsiteY6335"/>
                </a:cxn>
                <a:cxn ang="0">
                  <a:pos x="connsiteX6336" y="connsiteY6336"/>
                </a:cxn>
                <a:cxn ang="0">
                  <a:pos x="connsiteX6337" y="connsiteY6337"/>
                </a:cxn>
                <a:cxn ang="0">
                  <a:pos x="connsiteX6338" y="connsiteY6338"/>
                </a:cxn>
                <a:cxn ang="0">
                  <a:pos x="connsiteX6339" y="connsiteY6339"/>
                </a:cxn>
                <a:cxn ang="0">
                  <a:pos x="connsiteX6340" y="connsiteY6340"/>
                </a:cxn>
                <a:cxn ang="0">
                  <a:pos x="connsiteX6341" y="connsiteY6341"/>
                </a:cxn>
                <a:cxn ang="0">
                  <a:pos x="connsiteX6342" y="connsiteY6342"/>
                </a:cxn>
                <a:cxn ang="0">
                  <a:pos x="connsiteX6343" y="connsiteY6343"/>
                </a:cxn>
                <a:cxn ang="0">
                  <a:pos x="connsiteX6344" y="connsiteY6344"/>
                </a:cxn>
                <a:cxn ang="0">
                  <a:pos x="connsiteX6345" y="connsiteY6345"/>
                </a:cxn>
                <a:cxn ang="0">
                  <a:pos x="connsiteX6346" y="connsiteY6346"/>
                </a:cxn>
                <a:cxn ang="0">
                  <a:pos x="connsiteX6347" y="connsiteY6347"/>
                </a:cxn>
                <a:cxn ang="0">
                  <a:pos x="connsiteX6348" y="connsiteY6348"/>
                </a:cxn>
                <a:cxn ang="0">
                  <a:pos x="connsiteX6349" y="connsiteY6349"/>
                </a:cxn>
                <a:cxn ang="0">
                  <a:pos x="connsiteX6350" y="connsiteY6350"/>
                </a:cxn>
                <a:cxn ang="0">
                  <a:pos x="connsiteX6351" y="connsiteY6351"/>
                </a:cxn>
                <a:cxn ang="0">
                  <a:pos x="connsiteX6352" y="connsiteY6352"/>
                </a:cxn>
                <a:cxn ang="0">
                  <a:pos x="connsiteX6353" y="connsiteY6353"/>
                </a:cxn>
                <a:cxn ang="0">
                  <a:pos x="connsiteX6354" y="connsiteY6354"/>
                </a:cxn>
                <a:cxn ang="0">
                  <a:pos x="connsiteX6355" y="connsiteY6355"/>
                </a:cxn>
                <a:cxn ang="0">
                  <a:pos x="connsiteX6356" y="connsiteY6356"/>
                </a:cxn>
                <a:cxn ang="0">
                  <a:pos x="connsiteX6357" y="connsiteY6357"/>
                </a:cxn>
                <a:cxn ang="0">
                  <a:pos x="connsiteX6358" y="connsiteY6358"/>
                </a:cxn>
                <a:cxn ang="0">
                  <a:pos x="connsiteX6359" y="connsiteY6359"/>
                </a:cxn>
                <a:cxn ang="0">
                  <a:pos x="connsiteX6360" y="connsiteY6360"/>
                </a:cxn>
                <a:cxn ang="0">
                  <a:pos x="connsiteX6361" y="connsiteY6361"/>
                </a:cxn>
                <a:cxn ang="0">
                  <a:pos x="connsiteX6362" y="connsiteY6362"/>
                </a:cxn>
                <a:cxn ang="0">
                  <a:pos x="connsiteX6363" y="connsiteY6363"/>
                </a:cxn>
                <a:cxn ang="0">
                  <a:pos x="connsiteX6364" y="connsiteY6364"/>
                </a:cxn>
                <a:cxn ang="0">
                  <a:pos x="connsiteX6365" y="connsiteY6365"/>
                </a:cxn>
                <a:cxn ang="0">
                  <a:pos x="connsiteX6366" y="connsiteY6366"/>
                </a:cxn>
                <a:cxn ang="0">
                  <a:pos x="connsiteX6367" y="connsiteY6367"/>
                </a:cxn>
                <a:cxn ang="0">
                  <a:pos x="connsiteX6368" y="connsiteY6368"/>
                </a:cxn>
                <a:cxn ang="0">
                  <a:pos x="connsiteX6369" y="connsiteY6369"/>
                </a:cxn>
                <a:cxn ang="0">
                  <a:pos x="connsiteX6370" y="connsiteY6370"/>
                </a:cxn>
                <a:cxn ang="0">
                  <a:pos x="connsiteX6371" y="connsiteY6371"/>
                </a:cxn>
                <a:cxn ang="0">
                  <a:pos x="connsiteX6372" y="connsiteY6372"/>
                </a:cxn>
                <a:cxn ang="0">
                  <a:pos x="connsiteX6373" y="connsiteY6373"/>
                </a:cxn>
                <a:cxn ang="0">
                  <a:pos x="connsiteX6374" y="connsiteY6374"/>
                </a:cxn>
                <a:cxn ang="0">
                  <a:pos x="connsiteX6375" y="connsiteY6375"/>
                </a:cxn>
                <a:cxn ang="0">
                  <a:pos x="connsiteX6376" y="connsiteY6376"/>
                </a:cxn>
                <a:cxn ang="0">
                  <a:pos x="connsiteX6377" y="connsiteY6377"/>
                </a:cxn>
                <a:cxn ang="0">
                  <a:pos x="connsiteX6378" y="connsiteY6378"/>
                </a:cxn>
                <a:cxn ang="0">
                  <a:pos x="connsiteX6379" y="connsiteY6379"/>
                </a:cxn>
                <a:cxn ang="0">
                  <a:pos x="connsiteX6380" y="connsiteY6380"/>
                </a:cxn>
                <a:cxn ang="0">
                  <a:pos x="connsiteX6381" y="connsiteY6381"/>
                </a:cxn>
                <a:cxn ang="0">
                  <a:pos x="connsiteX6382" y="connsiteY6382"/>
                </a:cxn>
                <a:cxn ang="0">
                  <a:pos x="connsiteX6383" y="connsiteY6383"/>
                </a:cxn>
                <a:cxn ang="0">
                  <a:pos x="connsiteX6384" y="connsiteY6384"/>
                </a:cxn>
                <a:cxn ang="0">
                  <a:pos x="connsiteX6385" y="connsiteY6385"/>
                </a:cxn>
                <a:cxn ang="0">
                  <a:pos x="connsiteX6386" y="connsiteY6386"/>
                </a:cxn>
                <a:cxn ang="0">
                  <a:pos x="connsiteX6387" y="connsiteY6387"/>
                </a:cxn>
                <a:cxn ang="0">
                  <a:pos x="connsiteX6388" y="connsiteY6388"/>
                </a:cxn>
                <a:cxn ang="0">
                  <a:pos x="connsiteX6389" y="connsiteY6389"/>
                </a:cxn>
                <a:cxn ang="0">
                  <a:pos x="connsiteX6390" y="connsiteY6390"/>
                </a:cxn>
                <a:cxn ang="0">
                  <a:pos x="connsiteX6391" y="connsiteY6391"/>
                </a:cxn>
                <a:cxn ang="0">
                  <a:pos x="connsiteX6392" y="connsiteY6392"/>
                </a:cxn>
                <a:cxn ang="0">
                  <a:pos x="connsiteX6393" y="connsiteY6393"/>
                </a:cxn>
                <a:cxn ang="0">
                  <a:pos x="connsiteX6394" y="connsiteY6394"/>
                </a:cxn>
                <a:cxn ang="0">
                  <a:pos x="connsiteX6395" y="connsiteY6395"/>
                </a:cxn>
                <a:cxn ang="0">
                  <a:pos x="connsiteX6396" y="connsiteY6396"/>
                </a:cxn>
                <a:cxn ang="0">
                  <a:pos x="connsiteX6397" y="connsiteY6397"/>
                </a:cxn>
                <a:cxn ang="0">
                  <a:pos x="connsiteX6398" y="connsiteY6398"/>
                </a:cxn>
                <a:cxn ang="0">
                  <a:pos x="connsiteX6399" y="connsiteY6399"/>
                </a:cxn>
                <a:cxn ang="0">
                  <a:pos x="connsiteX6400" y="connsiteY6400"/>
                </a:cxn>
                <a:cxn ang="0">
                  <a:pos x="connsiteX6401" y="connsiteY6401"/>
                </a:cxn>
                <a:cxn ang="0">
                  <a:pos x="connsiteX6402" y="connsiteY6402"/>
                </a:cxn>
                <a:cxn ang="0">
                  <a:pos x="connsiteX6403" y="connsiteY6403"/>
                </a:cxn>
                <a:cxn ang="0">
                  <a:pos x="connsiteX6404" y="connsiteY6404"/>
                </a:cxn>
                <a:cxn ang="0">
                  <a:pos x="connsiteX6405" y="connsiteY6405"/>
                </a:cxn>
                <a:cxn ang="0">
                  <a:pos x="connsiteX6406" y="connsiteY6406"/>
                </a:cxn>
                <a:cxn ang="0">
                  <a:pos x="connsiteX6407" y="connsiteY6407"/>
                </a:cxn>
                <a:cxn ang="0">
                  <a:pos x="connsiteX6408" y="connsiteY6408"/>
                </a:cxn>
                <a:cxn ang="0">
                  <a:pos x="connsiteX6409" y="connsiteY6409"/>
                </a:cxn>
                <a:cxn ang="0">
                  <a:pos x="connsiteX6410" y="connsiteY6410"/>
                </a:cxn>
                <a:cxn ang="0">
                  <a:pos x="connsiteX6411" y="connsiteY6411"/>
                </a:cxn>
                <a:cxn ang="0">
                  <a:pos x="connsiteX6412" y="connsiteY6412"/>
                </a:cxn>
                <a:cxn ang="0">
                  <a:pos x="connsiteX6413" y="connsiteY6413"/>
                </a:cxn>
                <a:cxn ang="0">
                  <a:pos x="connsiteX6414" y="connsiteY6414"/>
                </a:cxn>
                <a:cxn ang="0">
                  <a:pos x="connsiteX6415" y="connsiteY6415"/>
                </a:cxn>
                <a:cxn ang="0">
                  <a:pos x="connsiteX6416" y="connsiteY6416"/>
                </a:cxn>
                <a:cxn ang="0">
                  <a:pos x="connsiteX6417" y="connsiteY6417"/>
                </a:cxn>
                <a:cxn ang="0">
                  <a:pos x="connsiteX6418" y="connsiteY6418"/>
                </a:cxn>
                <a:cxn ang="0">
                  <a:pos x="connsiteX6419" y="connsiteY6419"/>
                </a:cxn>
                <a:cxn ang="0">
                  <a:pos x="connsiteX6420" y="connsiteY6420"/>
                </a:cxn>
                <a:cxn ang="0">
                  <a:pos x="connsiteX6421" y="connsiteY6421"/>
                </a:cxn>
                <a:cxn ang="0">
                  <a:pos x="connsiteX6422" y="connsiteY6422"/>
                </a:cxn>
                <a:cxn ang="0">
                  <a:pos x="connsiteX6423" y="connsiteY6423"/>
                </a:cxn>
                <a:cxn ang="0">
                  <a:pos x="connsiteX6424" y="connsiteY6424"/>
                </a:cxn>
                <a:cxn ang="0">
                  <a:pos x="connsiteX6425" y="connsiteY6425"/>
                </a:cxn>
                <a:cxn ang="0">
                  <a:pos x="connsiteX6426" y="connsiteY6426"/>
                </a:cxn>
                <a:cxn ang="0">
                  <a:pos x="connsiteX6427" y="connsiteY6427"/>
                </a:cxn>
                <a:cxn ang="0">
                  <a:pos x="connsiteX6428" y="connsiteY6428"/>
                </a:cxn>
                <a:cxn ang="0">
                  <a:pos x="connsiteX6429" y="connsiteY6429"/>
                </a:cxn>
                <a:cxn ang="0">
                  <a:pos x="connsiteX6430" y="connsiteY6430"/>
                </a:cxn>
                <a:cxn ang="0">
                  <a:pos x="connsiteX6431" y="connsiteY6431"/>
                </a:cxn>
                <a:cxn ang="0">
                  <a:pos x="connsiteX6432" y="connsiteY6432"/>
                </a:cxn>
                <a:cxn ang="0">
                  <a:pos x="connsiteX6433" y="connsiteY6433"/>
                </a:cxn>
                <a:cxn ang="0">
                  <a:pos x="connsiteX6434" y="connsiteY6434"/>
                </a:cxn>
                <a:cxn ang="0">
                  <a:pos x="connsiteX6435" y="connsiteY6435"/>
                </a:cxn>
                <a:cxn ang="0">
                  <a:pos x="connsiteX6436" y="connsiteY6436"/>
                </a:cxn>
                <a:cxn ang="0">
                  <a:pos x="connsiteX6437" y="connsiteY6437"/>
                </a:cxn>
                <a:cxn ang="0">
                  <a:pos x="connsiteX6438" y="connsiteY6438"/>
                </a:cxn>
                <a:cxn ang="0">
                  <a:pos x="connsiteX6439" y="connsiteY6439"/>
                </a:cxn>
                <a:cxn ang="0">
                  <a:pos x="connsiteX6440" y="connsiteY6440"/>
                </a:cxn>
                <a:cxn ang="0">
                  <a:pos x="connsiteX6441" y="connsiteY6441"/>
                </a:cxn>
                <a:cxn ang="0">
                  <a:pos x="connsiteX6442" y="connsiteY6442"/>
                </a:cxn>
                <a:cxn ang="0">
                  <a:pos x="connsiteX6443" y="connsiteY6443"/>
                </a:cxn>
                <a:cxn ang="0">
                  <a:pos x="connsiteX6444" y="connsiteY6444"/>
                </a:cxn>
                <a:cxn ang="0">
                  <a:pos x="connsiteX6445" y="connsiteY6445"/>
                </a:cxn>
                <a:cxn ang="0">
                  <a:pos x="connsiteX6446" y="connsiteY6446"/>
                </a:cxn>
                <a:cxn ang="0">
                  <a:pos x="connsiteX6447" y="connsiteY6447"/>
                </a:cxn>
                <a:cxn ang="0">
                  <a:pos x="connsiteX6448" y="connsiteY6448"/>
                </a:cxn>
                <a:cxn ang="0">
                  <a:pos x="connsiteX6449" y="connsiteY6449"/>
                </a:cxn>
                <a:cxn ang="0">
                  <a:pos x="connsiteX6450" y="connsiteY6450"/>
                </a:cxn>
                <a:cxn ang="0">
                  <a:pos x="connsiteX6451" y="connsiteY6451"/>
                </a:cxn>
                <a:cxn ang="0">
                  <a:pos x="connsiteX6452" y="connsiteY6452"/>
                </a:cxn>
                <a:cxn ang="0">
                  <a:pos x="connsiteX6453" y="connsiteY6453"/>
                </a:cxn>
                <a:cxn ang="0">
                  <a:pos x="connsiteX6454" y="connsiteY6454"/>
                </a:cxn>
                <a:cxn ang="0">
                  <a:pos x="connsiteX6455" y="connsiteY6455"/>
                </a:cxn>
                <a:cxn ang="0">
                  <a:pos x="connsiteX6456" y="connsiteY6456"/>
                </a:cxn>
                <a:cxn ang="0">
                  <a:pos x="connsiteX6457" y="connsiteY6457"/>
                </a:cxn>
                <a:cxn ang="0">
                  <a:pos x="connsiteX6458" y="connsiteY6458"/>
                </a:cxn>
                <a:cxn ang="0">
                  <a:pos x="connsiteX6459" y="connsiteY6459"/>
                </a:cxn>
                <a:cxn ang="0">
                  <a:pos x="connsiteX6460" y="connsiteY6460"/>
                </a:cxn>
                <a:cxn ang="0">
                  <a:pos x="connsiteX6461" y="connsiteY6461"/>
                </a:cxn>
                <a:cxn ang="0">
                  <a:pos x="connsiteX6462" y="connsiteY6462"/>
                </a:cxn>
                <a:cxn ang="0">
                  <a:pos x="connsiteX6463" y="connsiteY6463"/>
                </a:cxn>
                <a:cxn ang="0">
                  <a:pos x="connsiteX6464" y="connsiteY6464"/>
                </a:cxn>
                <a:cxn ang="0">
                  <a:pos x="connsiteX6465" y="connsiteY6465"/>
                </a:cxn>
                <a:cxn ang="0">
                  <a:pos x="connsiteX6466" y="connsiteY6466"/>
                </a:cxn>
                <a:cxn ang="0">
                  <a:pos x="connsiteX6467" y="connsiteY6467"/>
                </a:cxn>
                <a:cxn ang="0">
                  <a:pos x="connsiteX6468" y="connsiteY6468"/>
                </a:cxn>
                <a:cxn ang="0">
                  <a:pos x="connsiteX6469" y="connsiteY6469"/>
                </a:cxn>
                <a:cxn ang="0">
                  <a:pos x="connsiteX6470" y="connsiteY6470"/>
                </a:cxn>
                <a:cxn ang="0">
                  <a:pos x="connsiteX6471" y="connsiteY6471"/>
                </a:cxn>
                <a:cxn ang="0">
                  <a:pos x="connsiteX6472" y="connsiteY6472"/>
                </a:cxn>
                <a:cxn ang="0">
                  <a:pos x="connsiteX6473" y="connsiteY6473"/>
                </a:cxn>
                <a:cxn ang="0">
                  <a:pos x="connsiteX6474" y="connsiteY6474"/>
                </a:cxn>
                <a:cxn ang="0">
                  <a:pos x="connsiteX6475" y="connsiteY6475"/>
                </a:cxn>
                <a:cxn ang="0">
                  <a:pos x="connsiteX6476" y="connsiteY6476"/>
                </a:cxn>
                <a:cxn ang="0">
                  <a:pos x="connsiteX6477" y="connsiteY6477"/>
                </a:cxn>
                <a:cxn ang="0">
                  <a:pos x="connsiteX6478" y="connsiteY6478"/>
                </a:cxn>
                <a:cxn ang="0">
                  <a:pos x="connsiteX6479" y="connsiteY6479"/>
                </a:cxn>
                <a:cxn ang="0">
                  <a:pos x="connsiteX6480" y="connsiteY6480"/>
                </a:cxn>
                <a:cxn ang="0">
                  <a:pos x="connsiteX6481" y="connsiteY6481"/>
                </a:cxn>
                <a:cxn ang="0">
                  <a:pos x="connsiteX6482" y="connsiteY6482"/>
                </a:cxn>
                <a:cxn ang="0">
                  <a:pos x="connsiteX6483" y="connsiteY6483"/>
                </a:cxn>
                <a:cxn ang="0">
                  <a:pos x="connsiteX6484" y="connsiteY6484"/>
                </a:cxn>
                <a:cxn ang="0">
                  <a:pos x="connsiteX6485" y="connsiteY6485"/>
                </a:cxn>
                <a:cxn ang="0">
                  <a:pos x="connsiteX6486" y="connsiteY6486"/>
                </a:cxn>
                <a:cxn ang="0">
                  <a:pos x="connsiteX6487" y="connsiteY6487"/>
                </a:cxn>
                <a:cxn ang="0">
                  <a:pos x="connsiteX6488" y="connsiteY6488"/>
                </a:cxn>
                <a:cxn ang="0">
                  <a:pos x="connsiteX6489" y="connsiteY6489"/>
                </a:cxn>
                <a:cxn ang="0">
                  <a:pos x="connsiteX6490" y="connsiteY6490"/>
                </a:cxn>
                <a:cxn ang="0">
                  <a:pos x="connsiteX6491" y="connsiteY6491"/>
                </a:cxn>
                <a:cxn ang="0">
                  <a:pos x="connsiteX6492" y="connsiteY6492"/>
                </a:cxn>
                <a:cxn ang="0">
                  <a:pos x="connsiteX6493" y="connsiteY6493"/>
                </a:cxn>
                <a:cxn ang="0">
                  <a:pos x="connsiteX6494" y="connsiteY6494"/>
                </a:cxn>
                <a:cxn ang="0">
                  <a:pos x="connsiteX6495" y="connsiteY6495"/>
                </a:cxn>
                <a:cxn ang="0">
                  <a:pos x="connsiteX6496" y="connsiteY6496"/>
                </a:cxn>
                <a:cxn ang="0">
                  <a:pos x="connsiteX6497" y="connsiteY6497"/>
                </a:cxn>
                <a:cxn ang="0">
                  <a:pos x="connsiteX6498" y="connsiteY6498"/>
                </a:cxn>
                <a:cxn ang="0">
                  <a:pos x="connsiteX6499" y="connsiteY6499"/>
                </a:cxn>
                <a:cxn ang="0">
                  <a:pos x="connsiteX6500" y="connsiteY6500"/>
                </a:cxn>
                <a:cxn ang="0">
                  <a:pos x="connsiteX6501" y="connsiteY6501"/>
                </a:cxn>
                <a:cxn ang="0">
                  <a:pos x="connsiteX6502" y="connsiteY6502"/>
                </a:cxn>
                <a:cxn ang="0">
                  <a:pos x="connsiteX6503" y="connsiteY6503"/>
                </a:cxn>
                <a:cxn ang="0">
                  <a:pos x="connsiteX6504" y="connsiteY6504"/>
                </a:cxn>
                <a:cxn ang="0">
                  <a:pos x="connsiteX6505" y="connsiteY6505"/>
                </a:cxn>
                <a:cxn ang="0">
                  <a:pos x="connsiteX6506" y="connsiteY6506"/>
                </a:cxn>
                <a:cxn ang="0">
                  <a:pos x="connsiteX6507" y="connsiteY6507"/>
                </a:cxn>
                <a:cxn ang="0">
                  <a:pos x="connsiteX6508" y="connsiteY6508"/>
                </a:cxn>
                <a:cxn ang="0">
                  <a:pos x="connsiteX6509" y="connsiteY6509"/>
                </a:cxn>
                <a:cxn ang="0">
                  <a:pos x="connsiteX6510" y="connsiteY6510"/>
                </a:cxn>
                <a:cxn ang="0">
                  <a:pos x="connsiteX6511" y="connsiteY6511"/>
                </a:cxn>
                <a:cxn ang="0">
                  <a:pos x="connsiteX6512" y="connsiteY6512"/>
                </a:cxn>
                <a:cxn ang="0">
                  <a:pos x="connsiteX6513" y="connsiteY6513"/>
                </a:cxn>
                <a:cxn ang="0">
                  <a:pos x="connsiteX6514" y="connsiteY6514"/>
                </a:cxn>
                <a:cxn ang="0">
                  <a:pos x="connsiteX6515" y="connsiteY6515"/>
                </a:cxn>
                <a:cxn ang="0">
                  <a:pos x="connsiteX6516" y="connsiteY6516"/>
                </a:cxn>
                <a:cxn ang="0">
                  <a:pos x="connsiteX6517" y="connsiteY6517"/>
                </a:cxn>
                <a:cxn ang="0">
                  <a:pos x="connsiteX6518" y="connsiteY6518"/>
                </a:cxn>
                <a:cxn ang="0">
                  <a:pos x="connsiteX6519" y="connsiteY6519"/>
                </a:cxn>
                <a:cxn ang="0">
                  <a:pos x="connsiteX6520" y="connsiteY6520"/>
                </a:cxn>
                <a:cxn ang="0">
                  <a:pos x="connsiteX6521" y="connsiteY6521"/>
                </a:cxn>
                <a:cxn ang="0">
                  <a:pos x="connsiteX6522" y="connsiteY6522"/>
                </a:cxn>
                <a:cxn ang="0">
                  <a:pos x="connsiteX6523" y="connsiteY6523"/>
                </a:cxn>
                <a:cxn ang="0">
                  <a:pos x="connsiteX6524" y="connsiteY6524"/>
                </a:cxn>
                <a:cxn ang="0">
                  <a:pos x="connsiteX6525" y="connsiteY6525"/>
                </a:cxn>
                <a:cxn ang="0">
                  <a:pos x="connsiteX6526" y="connsiteY6526"/>
                </a:cxn>
                <a:cxn ang="0">
                  <a:pos x="connsiteX6527" y="connsiteY6527"/>
                </a:cxn>
                <a:cxn ang="0">
                  <a:pos x="connsiteX6528" y="connsiteY6528"/>
                </a:cxn>
                <a:cxn ang="0">
                  <a:pos x="connsiteX6529" y="connsiteY6529"/>
                </a:cxn>
                <a:cxn ang="0">
                  <a:pos x="connsiteX6530" y="connsiteY6530"/>
                </a:cxn>
                <a:cxn ang="0">
                  <a:pos x="connsiteX6531" y="connsiteY6531"/>
                </a:cxn>
                <a:cxn ang="0">
                  <a:pos x="connsiteX6532" y="connsiteY6532"/>
                </a:cxn>
                <a:cxn ang="0">
                  <a:pos x="connsiteX6533" y="connsiteY6533"/>
                </a:cxn>
                <a:cxn ang="0">
                  <a:pos x="connsiteX6534" y="connsiteY6534"/>
                </a:cxn>
                <a:cxn ang="0">
                  <a:pos x="connsiteX6535" y="connsiteY6535"/>
                </a:cxn>
                <a:cxn ang="0">
                  <a:pos x="connsiteX6536" y="connsiteY6536"/>
                </a:cxn>
                <a:cxn ang="0">
                  <a:pos x="connsiteX6537" y="connsiteY6537"/>
                </a:cxn>
                <a:cxn ang="0">
                  <a:pos x="connsiteX6538" y="connsiteY6538"/>
                </a:cxn>
                <a:cxn ang="0">
                  <a:pos x="connsiteX6539" y="connsiteY6539"/>
                </a:cxn>
                <a:cxn ang="0">
                  <a:pos x="connsiteX6540" y="connsiteY6540"/>
                </a:cxn>
                <a:cxn ang="0">
                  <a:pos x="connsiteX6541" y="connsiteY6541"/>
                </a:cxn>
                <a:cxn ang="0">
                  <a:pos x="connsiteX6542" y="connsiteY6542"/>
                </a:cxn>
                <a:cxn ang="0">
                  <a:pos x="connsiteX6543" y="connsiteY6543"/>
                </a:cxn>
                <a:cxn ang="0">
                  <a:pos x="connsiteX6544" y="connsiteY6544"/>
                </a:cxn>
                <a:cxn ang="0">
                  <a:pos x="connsiteX6545" y="connsiteY6545"/>
                </a:cxn>
                <a:cxn ang="0">
                  <a:pos x="connsiteX6546" y="connsiteY6546"/>
                </a:cxn>
                <a:cxn ang="0">
                  <a:pos x="connsiteX6547" y="connsiteY6547"/>
                </a:cxn>
                <a:cxn ang="0">
                  <a:pos x="connsiteX6548" y="connsiteY6548"/>
                </a:cxn>
                <a:cxn ang="0">
                  <a:pos x="connsiteX6549" y="connsiteY6549"/>
                </a:cxn>
                <a:cxn ang="0">
                  <a:pos x="connsiteX6550" y="connsiteY6550"/>
                </a:cxn>
                <a:cxn ang="0">
                  <a:pos x="connsiteX6551" y="connsiteY6551"/>
                </a:cxn>
                <a:cxn ang="0">
                  <a:pos x="connsiteX6552" y="connsiteY6552"/>
                </a:cxn>
                <a:cxn ang="0">
                  <a:pos x="connsiteX6553" y="connsiteY6553"/>
                </a:cxn>
                <a:cxn ang="0">
                  <a:pos x="connsiteX6554" y="connsiteY6554"/>
                </a:cxn>
                <a:cxn ang="0">
                  <a:pos x="connsiteX6555" y="connsiteY6555"/>
                </a:cxn>
                <a:cxn ang="0">
                  <a:pos x="connsiteX6556" y="connsiteY6556"/>
                </a:cxn>
                <a:cxn ang="0">
                  <a:pos x="connsiteX6557" y="connsiteY6557"/>
                </a:cxn>
                <a:cxn ang="0">
                  <a:pos x="connsiteX6558" y="connsiteY6558"/>
                </a:cxn>
                <a:cxn ang="0">
                  <a:pos x="connsiteX6559" y="connsiteY6559"/>
                </a:cxn>
                <a:cxn ang="0">
                  <a:pos x="connsiteX6560" y="connsiteY6560"/>
                </a:cxn>
                <a:cxn ang="0">
                  <a:pos x="connsiteX6561" y="connsiteY6561"/>
                </a:cxn>
                <a:cxn ang="0">
                  <a:pos x="connsiteX6562" y="connsiteY6562"/>
                </a:cxn>
                <a:cxn ang="0">
                  <a:pos x="connsiteX6563" y="connsiteY6563"/>
                </a:cxn>
                <a:cxn ang="0">
                  <a:pos x="connsiteX6564" y="connsiteY6564"/>
                </a:cxn>
                <a:cxn ang="0">
                  <a:pos x="connsiteX6565" y="connsiteY6565"/>
                </a:cxn>
                <a:cxn ang="0">
                  <a:pos x="connsiteX6566" y="connsiteY6566"/>
                </a:cxn>
                <a:cxn ang="0">
                  <a:pos x="connsiteX6567" y="connsiteY6567"/>
                </a:cxn>
                <a:cxn ang="0">
                  <a:pos x="connsiteX6568" y="connsiteY6568"/>
                </a:cxn>
                <a:cxn ang="0">
                  <a:pos x="connsiteX6569" y="connsiteY6569"/>
                </a:cxn>
                <a:cxn ang="0">
                  <a:pos x="connsiteX6570" y="connsiteY6570"/>
                </a:cxn>
                <a:cxn ang="0">
                  <a:pos x="connsiteX6571" y="connsiteY6571"/>
                </a:cxn>
                <a:cxn ang="0">
                  <a:pos x="connsiteX6572" y="connsiteY6572"/>
                </a:cxn>
                <a:cxn ang="0">
                  <a:pos x="connsiteX6573" y="connsiteY6573"/>
                </a:cxn>
                <a:cxn ang="0">
                  <a:pos x="connsiteX6574" y="connsiteY6574"/>
                </a:cxn>
                <a:cxn ang="0">
                  <a:pos x="connsiteX6575" y="connsiteY6575"/>
                </a:cxn>
                <a:cxn ang="0">
                  <a:pos x="connsiteX6576" y="connsiteY6576"/>
                </a:cxn>
                <a:cxn ang="0">
                  <a:pos x="connsiteX6577" y="connsiteY6577"/>
                </a:cxn>
                <a:cxn ang="0">
                  <a:pos x="connsiteX6578" y="connsiteY6578"/>
                </a:cxn>
                <a:cxn ang="0">
                  <a:pos x="connsiteX6579" y="connsiteY6579"/>
                </a:cxn>
                <a:cxn ang="0">
                  <a:pos x="connsiteX6580" y="connsiteY6580"/>
                </a:cxn>
                <a:cxn ang="0">
                  <a:pos x="connsiteX6581" y="connsiteY6581"/>
                </a:cxn>
                <a:cxn ang="0">
                  <a:pos x="connsiteX6582" y="connsiteY6582"/>
                </a:cxn>
                <a:cxn ang="0">
                  <a:pos x="connsiteX6583" y="connsiteY6583"/>
                </a:cxn>
                <a:cxn ang="0">
                  <a:pos x="connsiteX6584" y="connsiteY6584"/>
                </a:cxn>
                <a:cxn ang="0">
                  <a:pos x="connsiteX6585" y="connsiteY6585"/>
                </a:cxn>
                <a:cxn ang="0">
                  <a:pos x="connsiteX6586" y="connsiteY6586"/>
                </a:cxn>
                <a:cxn ang="0">
                  <a:pos x="connsiteX6587" y="connsiteY6587"/>
                </a:cxn>
                <a:cxn ang="0">
                  <a:pos x="connsiteX6588" y="connsiteY6588"/>
                </a:cxn>
                <a:cxn ang="0">
                  <a:pos x="connsiteX6589" y="connsiteY6589"/>
                </a:cxn>
                <a:cxn ang="0">
                  <a:pos x="connsiteX6590" y="connsiteY6590"/>
                </a:cxn>
                <a:cxn ang="0">
                  <a:pos x="connsiteX6591" y="connsiteY6591"/>
                </a:cxn>
                <a:cxn ang="0">
                  <a:pos x="connsiteX6592" y="connsiteY6592"/>
                </a:cxn>
                <a:cxn ang="0">
                  <a:pos x="connsiteX6593" y="connsiteY6593"/>
                </a:cxn>
                <a:cxn ang="0">
                  <a:pos x="connsiteX6594" y="connsiteY6594"/>
                </a:cxn>
                <a:cxn ang="0">
                  <a:pos x="connsiteX6595" y="connsiteY6595"/>
                </a:cxn>
                <a:cxn ang="0">
                  <a:pos x="connsiteX6596" y="connsiteY6596"/>
                </a:cxn>
                <a:cxn ang="0">
                  <a:pos x="connsiteX6597" y="connsiteY6597"/>
                </a:cxn>
                <a:cxn ang="0">
                  <a:pos x="connsiteX6598" y="connsiteY6598"/>
                </a:cxn>
                <a:cxn ang="0">
                  <a:pos x="connsiteX6599" y="connsiteY6599"/>
                </a:cxn>
                <a:cxn ang="0">
                  <a:pos x="connsiteX6600" y="connsiteY6600"/>
                </a:cxn>
                <a:cxn ang="0">
                  <a:pos x="connsiteX6601" y="connsiteY6601"/>
                </a:cxn>
                <a:cxn ang="0">
                  <a:pos x="connsiteX6602" y="connsiteY6602"/>
                </a:cxn>
                <a:cxn ang="0">
                  <a:pos x="connsiteX6603" y="connsiteY6603"/>
                </a:cxn>
                <a:cxn ang="0">
                  <a:pos x="connsiteX6604" y="connsiteY6604"/>
                </a:cxn>
                <a:cxn ang="0">
                  <a:pos x="connsiteX6605" y="connsiteY6605"/>
                </a:cxn>
                <a:cxn ang="0">
                  <a:pos x="connsiteX6606" y="connsiteY6606"/>
                </a:cxn>
                <a:cxn ang="0">
                  <a:pos x="connsiteX6607" y="connsiteY6607"/>
                </a:cxn>
                <a:cxn ang="0">
                  <a:pos x="connsiteX6608" y="connsiteY6608"/>
                </a:cxn>
                <a:cxn ang="0">
                  <a:pos x="connsiteX6609" y="connsiteY6609"/>
                </a:cxn>
                <a:cxn ang="0">
                  <a:pos x="connsiteX6610" y="connsiteY6610"/>
                </a:cxn>
                <a:cxn ang="0">
                  <a:pos x="connsiteX6611" y="connsiteY6611"/>
                </a:cxn>
                <a:cxn ang="0">
                  <a:pos x="connsiteX6612" y="connsiteY6612"/>
                </a:cxn>
                <a:cxn ang="0">
                  <a:pos x="connsiteX6613" y="connsiteY6613"/>
                </a:cxn>
                <a:cxn ang="0">
                  <a:pos x="connsiteX6614" y="connsiteY6614"/>
                </a:cxn>
                <a:cxn ang="0">
                  <a:pos x="connsiteX6615" y="connsiteY6615"/>
                </a:cxn>
                <a:cxn ang="0">
                  <a:pos x="connsiteX6616" y="connsiteY6616"/>
                </a:cxn>
                <a:cxn ang="0">
                  <a:pos x="connsiteX6617" y="connsiteY6617"/>
                </a:cxn>
                <a:cxn ang="0">
                  <a:pos x="connsiteX6618" y="connsiteY6618"/>
                </a:cxn>
                <a:cxn ang="0">
                  <a:pos x="connsiteX6619" y="connsiteY6619"/>
                </a:cxn>
                <a:cxn ang="0">
                  <a:pos x="connsiteX6620" y="connsiteY6620"/>
                </a:cxn>
                <a:cxn ang="0">
                  <a:pos x="connsiteX6621" y="connsiteY6621"/>
                </a:cxn>
                <a:cxn ang="0">
                  <a:pos x="connsiteX6622" y="connsiteY6622"/>
                </a:cxn>
                <a:cxn ang="0">
                  <a:pos x="connsiteX6623" y="connsiteY6623"/>
                </a:cxn>
                <a:cxn ang="0">
                  <a:pos x="connsiteX6624" y="connsiteY6624"/>
                </a:cxn>
                <a:cxn ang="0">
                  <a:pos x="connsiteX6625" y="connsiteY6625"/>
                </a:cxn>
                <a:cxn ang="0">
                  <a:pos x="connsiteX6626" y="connsiteY6626"/>
                </a:cxn>
                <a:cxn ang="0">
                  <a:pos x="connsiteX6627" y="connsiteY6627"/>
                </a:cxn>
                <a:cxn ang="0">
                  <a:pos x="connsiteX6628" y="connsiteY6628"/>
                </a:cxn>
                <a:cxn ang="0">
                  <a:pos x="connsiteX6629" y="connsiteY6629"/>
                </a:cxn>
                <a:cxn ang="0">
                  <a:pos x="connsiteX6630" y="connsiteY6630"/>
                </a:cxn>
                <a:cxn ang="0">
                  <a:pos x="connsiteX6631" y="connsiteY6631"/>
                </a:cxn>
                <a:cxn ang="0">
                  <a:pos x="connsiteX6632" y="connsiteY6632"/>
                </a:cxn>
                <a:cxn ang="0">
                  <a:pos x="connsiteX6633" y="connsiteY6633"/>
                </a:cxn>
                <a:cxn ang="0">
                  <a:pos x="connsiteX6634" y="connsiteY6634"/>
                </a:cxn>
                <a:cxn ang="0">
                  <a:pos x="connsiteX6635" y="connsiteY6635"/>
                </a:cxn>
                <a:cxn ang="0">
                  <a:pos x="connsiteX6636" y="connsiteY6636"/>
                </a:cxn>
                <a:cxn ang="0">
                  <a:pos x="connsiteX6637" y="connsiteY6637"/>
                </a:cxn>
                <a:cxn ang="0">
                  <a:pos x="connsiteX6638" y="connsiteY6638"/>
                </a:cxn>
                <a:cxn ang="0">
                  <a:pos x="connsiteX6639" y="connsiteY6639"/>
                </a:cxn>
                <a:cxn ang="0">
                  <a:pos x="connsiteX6640" y="connsiteY6640"/>
                </a:cxn>
                <a:cxn ang="0">
                  <a:pos x="connsiteX6641" y="connsiteY6641"/>
                </a:cxn>
                <a:cxn ang="0">
                  <a:pos x="connsiteX6642" y="connsiteY6642"/>
                </a:cxn>
                <a:cxn ang="0">
                  <a:pos x="connsiteX6643" y="connsiteY6643"/>
                </a:cxn>
                <a:cxn ang="0">
                  <a:pos x="connsiteX6644" y="connsiteY6644"/>
                </a:cxn>
                <a:cxn ang="0">
                  <a:pos x="connsiteX6645" y="connsiteY6645"/>
                </a:cxn>
                <a:cxn ang="0">
                  <a:pos x="connsiteX6646" y="connsiteY6646"/>
                </a:cxn>
                <a:cxn ang="0">
                  <a:pos x="connsiteX6647" y="connsiteY6647"/>
                </a:cxn>
                <a:cxn ang="0">
                  <a:pos x="connsiteX6648" y="connsiteY6648"/>
                </a:cxn>
                <a:cxn ang="0">
                  <a:pos x="connsiteX6649" y="connsiteY6649"/>
                </a:cxn>
                <a:cxn ang="0">
                  <a:pos x="connsiteX6650" y="connsiteY6650"/>
                </a:cxn>
                <a:cxn ang="0">
                  <a:pos x="connsiteX6651" y="connsiteY6651"/>
                </a:cxn>
                <a:cxn ang="0">
                  <a:pos x="connsiteX6652" y="connsiteY6652"/>
                </a:cxn>
                <a:cxn ang="0">
                  <a:pos x="connsiteX6653" y="connsiteY6653"/>
                </a:cxn>
                <a:cxn ang="0">
                  <a:pos x="connsiteX6654" y="connsiteY6654"/>
                </a:cxn>
                <a:cxn ang="0">
                  <a:pos x="connsiteX6655" y="connsiteY6655"/>
                </a:cxn>
                <a:cxn ang="0">
                  <a:pos x="connsiteX6656" y="connsiteY6656"/>
                </a:cxn>
                <a:cxn ang="0">
                  <a:pos x="connsiteX6657" y="connsiteY6657"/>
                </a:cxn>
                <a:cxn ang="0">
                  <a:pos x="connsiteX6658" y="connsiteY6658"/>
                </a:cxn>
                <a:cxn ang="0">
                  <a:pos x="connsiteX6659" y="connsiteY6659"/>
                </a:cxn>
                <a:cxn ang="0">
                  <a:pos x="connsiteX6660" y="connsiteY6660"/>
                </a:cxn>
                <a:cxn ang="0">
                  <a:pos x="connsiteX6661" y="connsiteY6661"/>
                </a:cxn>
                <a:cxn ang="0">
                  <a:pos x="connsiteX6662" y="connsiteY6662"/>
                </a:cxn>
                <a:cxn ang="0">
                  <a:pos x="connsiteX6663" y="connsiteY6663"/>
                </a:cxn>
                <a:cxn ang="0">
                  <a:pos x="connsiteX6664" y="connsiteY6664"/>
                </a:cxn>
                <a:cxn ang="0">
                  <a:pos x="connsiteX6665" y="connsiteY6665"/>
                </a:cxn>
                <a:cxn ang="0">
                  <a:pos x="connsiteX6666" y="connsiteY6666"/>
                </a:cxn>
                <a:cxn ang="0">
                  <a:pos x="connsiteX6667" y="connsiteY6667"/>
                </a:cxn>
                <a:cxn ang="0">
                  <a:pos x="connsiteX6668" y="connsiteY6668"/>
                </a:cxn>
                <a:cxn ang="0">
                  <a:pos x="connsiteX6669" y="connsiteY6669"/>
                </a:cxn>
                <a:cxn ang="0">
                  <a:pos x="connsiteX6670" y="connsiteY6670"/>
                </a:cxn>
                <a:cxn ang="0">
                  <a:pos x="connsiteX6671" y="connsiteY6671"/>
                </a:cxn>
                <a:cxn ang="0">
                  <a:pos x="connsiteX6672" y="connsiteY6672"/>
                </a:cxn>
                <a:cxn ang="0">
                  <a:pos x="connsiteX6673" y="connsiteY6673"/>
                </a:cxn>
                <a:cxn ang="0">
                  <a:pos x="connsiteX6674" y="connsiteY6674"/>
                </a:cxn>
                <a:cxn ang="0">
                  <a:pos x="connsiteX6675" y="connsiteY6675"/>
                </a:cxn>
                <a:cxn ang="0">
                  <a:pos x="connsiteX6676" y="connsiteY6676"/>
                </a:cxn>
                <a:cxn ang="0">
                  <a:pos x="connsiteX6677" y="connsiteY6677"/>
                </a:cxn>
                <a:cxn ang="0">
                  <a:pos x="connsiteX6678" y="connsiteY6678"/>
                </a:cxn>
                <a:cxn ang="0">
                  <a:pos x="connsiteX6679" y="connsiteY6679"/>
                </a:cxn>
                <a:cxn ang="0">
                  <a:pos x="connsiteX6680" y="connsiteY6680"/>
                </a:cxn>
                <a:cxn ang="0">
                  <a:pos x="connsiteX6681" y="connsiteY6681"/>
                </a:cxn>
                <a:cxn ang="0">
                  <a:pos x="connsiteX6682" y="connsiteY6682"/>
                </a:cxn>
                <a:cxn ang="0">
                  <a:pos x="connsiteX6683" y="connsiteY6683"/>
                </a:cxn>
                <a:cxn ang="0">
                  <a:pos x="connsiteX6684" y="connsiteY6684"/>
                </a:cxn>
                <a:cxn ang="0">
                  <a:pos x="connsiteX6685" y="connsiteY6685"/>
                </a:cxn>
                <a:cxn ang="0">
                  <a:pos x="connsiteX6686" y="connsiteY6686"/>
                </a:cxn>
                <a:cxn ang="0">
                  <a:pos x="connsiteX6687" y="connsiteY6687"/>
                </a:cxn>
                <a:cxn ang="0">
                  <a:pos x="connsiteX6688" y="connsiteY6688"/>
                </a:cxn>
                <a:cxn ang="0">
                  <a:pos x="connsiteX6689" y="connsiteY6689"/>
                </a:cxn>
                <a:cxn ang="0">
                  <a:pos x="connsiteX6690" y="connsiteY6690"/>
                </a:cxn>
                <a:cxn ang="0">
                  <a:pos x="connsiteX6691" y="connsiteY6691"/>
                </a:cxn>
                <a:cxn ang="0">
                  <a:pos x="connsiteX6692" y="connsiteY6692"/>
                </a:cxn>
                <a:cxn ang="0">
                  <a:pos x="connsiteX6693" y="connsiteY6693"/>
                </a:cxn>
                <a:cxn ang="0">
                  <a:pos x="connsiteX6694" y="connsiteY6694"/>
                </a:cxn>
                <a:cxn ang="0">
                  <a:pos x="connsiteX6695" y="connsiteY6695"/>
                </a:cxn>
                <a:cxn ang="0">
                  <a:pos x="connsiteX6696" y="connsiteY6696"/>
                </a:cxn>
                <a:cxn ang="0">
                  <a:pos x="connsiteX6697" y="connsiteY6697"/>
                </a:cxn>
                <a:cxn ang="0">
                  <a:pos x="connsiteX6698" y="connsiteY6698"/>
                </a:cxn>
                <a:cxn ang="0">
                  <a:pos x="connsiteX6699" y="connsiteY6699"/>
                </a:cxn>
                <a:cxn ang="0">
                  <a:pos x="connsiteX6700" y="connsiteY6700"/>
                </a:cxn>
                <a:cxn ang="0">
                  <a:pos x="connsiteX6701" y="connsiteY6701"/>
                </a:cxn>
                <a:cxn ang="0">
                  <a:pos x="connsiteX6702" y="connsiteY6702"/>
                </a:cxn>
                <a:cxn ang="0">
                  <a:pos x="connsiteX6703" y="connsiteY6703"/>
                </a:cxn>
                <a:cxn ang="0">
                  <a:pos x="connsiteX6704" y="connsiteY6704"/>
                </a:cxn>
                <a:cxn ang="0">
                  <a:pos x="connsiteX6705" y="connsiteY6705"/>
                </a:cxn>
                <a:cxn ang="0">
                  <a:pos x="connsiteX6706" y="connsiteY6706"/>
                </a:cxn>
                <a:cxn ang="0">
                  <a:pos x="connsiteX6707" y="connsiteY6707"/>
                </a:cxn>
                <a:cxn ang="0">
                  <a:pos x="connsiteX6708" y="connsiteY6708"/>
                </a:cxn>
                <a:cxn ang="0">
                  <a:pos x="connsiteX6709" y="connsiteY6709"/>
                </a:cxn>
                <a:cxn ang="0">
                  <a:pos x="connsiteX6710" y="connsiteY6710"/>
                </a:cxn>
                <a:cxn ang="0">
                  <a:pos x="connsiteX6711" y="connsiteY6711"/>
                </a:cxn>
                <a:cxn ang="0">
                  <a:pos x="connsiteX6712" y="connsiteY6712"/>
                </a:cxn>
                <a:cxn ang="0">
                  <a:pos x="connsiteX6713" y="connsiteY6713"/>
                </a:cxn>
                <a:cxn ang="0">
                  <a:pos x="connsiteX6714" y="connsiteY6714"/>
                </a:cxn>
                <a:cxn ang="0">
                  <a:pos x="connsiteX6715" y="connsiteY6715"/>
                </a:cxn>
                <a:cxn ang="0">
                  <a:pos x="connsiteX6716" y="connsiteY6716"/>
                </a:cxn>
                <a:cxn ang="0">
                  <a:pos x="connsiteX6717" y="connsiteY6717"/>
                </a:cxn>
                <a:cxn ang="0">
                  <a:pos x="connsiteX6718" y="connsiteY6718"/>
                </a:cxn>
                <a:cxn ang="0">
                  <a:pos x="connsiteX6719" y="connsiteY6719"/>
                </a:cxn>
                <a:cxn ang="0">
                  <a:pos x="connsiteX6720" y="connsiteY6720"/>
                </a:cxn>
                <a:cxn ang="0">
                  <a:pos x="connsiteX6721" y="connsiteY6721"/>
                </a:cxn>
                <a:cxn ang="0">
                  <a:pos x="connsiteX6722" y="connsiteY6722"/>
                </a:cxn>
                <a:cxn ang="0">
                  <a:pos x="connsiteX6723" y="connsiteY6723"/>
                </a:cxn>
                <a:cxn ang="0">
                  <a:pos x="connsiteX6724" y="connsiteY6724"/>
                </a:cxn>
                <a:cxn ang="0">
                  <a:pos x="connsiteX6725" y="connsiteY6725"/>
                </a:cxn>
                <a:cxn ang="0">
                  <a:pos x="connsiteX6726" y="connsiteY6726"/>
                </a:cxn>
                <a:cxn ang="0">
                  <a:pos x="connsiteX6727" y="connsiteY6727"/>
                </a:cxn>
                <a:cxn ang="0">
                  <a:pos x="connsiteX6728" y="connsiteY6728"/>
                </a:cxn>
                <a:cxn ang="0">
                  <a:pos x="connsiteX6729" y="connsiteY6729"/>
                </a:cxn>
                <a:cxn ang="0">
                  <a:pos x="connsiteX6730" y="connsiteY6730"/>
                </a:cxn>
                <a:cxn ang="0">
                  <a:pos x="connsiteX6731" y="connsiteY6731"/>
                </a:cxn>
                <a:cxn ang="0">
                  <a:pos x="connsiteX6732" y="connsiteY6732"/>
                </a:cxn>
                <a:cxn ang="0">
                  <a:pos x="connsiteX6733" y="connsiteY6733"/>
                </a:cxn>
                <a:cxn ang="0">
                  <a:pos x="connsiteX6734" y="connsiteY6734"/>
                </a:cxn>
                <a:cxn ang="0">
                  <a:pos x="connsiteX6735" y="connsiteY6735"/>
                </a:cxn>
                <a:cxn ang="0">
                  <a:pos x="connsiteX6736" y="connsiteY6736"/>
                </a:cxn>
                <a:cxn ang="0">
                  <a:pos x="connsiteX6737" y="connsiteY6737"/>
                </a:cxn>
                <a:cxn ang="0">
                  <a:pos x="connsiteX6738" y="connsiteY6738"/>
                </a:cxn>
                <a:cxn ang="0">
                  <a:pos x="connsiteX6739" y="connsiteY6739"/>
                </a:cxn>
                <a:cxn ang="0">
                  <a:pos x="connsiteX6740" y="connsiteY6740"/>
                </a:cxn>
                <a:cxn ang="0">
                  <a:pos x="connsiteX6741" y="connsiteY6741"/>
                </a:cxn>
                <a:cxn ang="0">
                  <a:pos x="connsiteX6742" y="connsiteY6742"/>
                </a:cxn>
                <a:cxn ang="0">
                  <a:pos x="connsiteX6743" y="connsiteY6743"/>
                </a:cxn>
                <a:cxn ang="0">
                  <a:pos x="connsiteX6744" y="connsiteY6744"/>
                </a:cxn>
                <a:cxn ang="0">
                  <a:pos x="connsiteX6745" y="connsiteY6745"/>
                </a:cxn>
                <a:cxn ang="0">
                  <a:pos x="connsiteX6746" y="connsiteY6746"/>
                </a:cxn>
                <a:cxn ang="0">
                  <a:pos x="connsiteX6747" y="connsiteY6747"/>
                </a:cxn>
                <a:cxn ang="0">
                  <a:pos x="connsiteX6748" y="connsiteY6748"/>
                </a:cxn>
                <a:cxn ang="0">
                  <a:pos x="connsiteX6749" y="connsiteY6749"/>
                </a:cxn>
                <a:cxn ang="0">
                  <a:pos x="connsiteX6750" y="connsiteY6750"/>
                </a:cxn>
                <a:cxn ang="0">
                  <a:pos x="connsiteX6751" y="connsiteY6751"/>
                </a:cxn>
                <a:cxn ang="0">
                  <a:pos x="connsiteX6752" y="connsiteY6752"/>
                </a:cxn>
                <a:cxn ang="0">
                  <a:pos x="connsiteX6753" y="connsiteY6753"/>
                </a:cxn>
                <a:cxn ang="0">
                  <a:pos x="connsiteX6754" y="connsiteY6754"/>
                </a:cxn>
                <a:cxn ang="0">
                  <a:pos x="connsiteX6755" y="connsiteY6755"/>
                </a:cxn>
                <a:cxn ang="0">
                  <a:pos x="connsiteX6756" y="connsiteY6756"/>
                </a:cxn>
                <a:cxn ang="0">
                  <a:pos x="connsiteX6757" y="connsiteY6757"/>
                </a:cxn>
                <a:cxn ang="0">
                  <a:pos x="connsiteX6758" y="connsiteY6758"/>
                </a:cxn>
                <a:cxn ang="0">
                  <a:pos x="connsiteX6759" y="connsiteY6759"/>
                </a:cxn>
                <a:cxn ang="0">
                  <a:pos x="connsiteX6760" y="connsiteY6760"/>
                </a:cxn>
                <a:cxn ang="0">
                  <a:pos x="connsiteX6761" y="connsiteY6761"/>
                </a:cxn>
                <a:cxn ang="0">
                  <a:pos x="connsiteX6762" y="connsiteY6762"/>
                </a:cxn>
                <a:cxn ang="0">
                  <a:pos x="connsiteX6763" y="connsiteY6763"/>
                </a:cxn>
                <a:cxn ang="0">
                  <a:pos x="connsiteX6764" y="connsiteY6764"/>
                </a:cxn>
                <a:cxn ang="0">
                  <a:pos x="connsiteX6765" y="connsiteY6765"/>
                </a:cxn>
                <a:cxn ang="0">
                  <a:pos x="connsiteX6766" y="connsiteY6766"/>
                </a:cxn>
                <a:cxn ang="0">
                  <a:pos x="connsiteX6767" y="connsiteY6767"/>
                </a:cxn>
                <a:cxn ang="0">
                  <a:pos x="connsiteX6768" y="connsiteY6768"/>
                </a:cxn>
                <a:cxn ang="0">
                  <a:pos x="connsiteX6769" y="connsiteY6769"/>
                </a:cxn>
                <a:cxn ang="0">
                  <a:pos x="connsiteX6770" y="connsiteY6770"/>
                </a:cxn>
                <a:cxn ang="0">
                  <a:pos x="connsiteX6771" y="connsiteY6771"/>
                </a:cxn>
                <a:cxn ang="0">
                  <a:pos x="connsiteX6772" y="connsiteY6772"/>
                </a:cxn>
                <a:cxn ang="0">
                  <a:pos x="connsiteX6773" y="connsiteY6773"/>
                </a:cxn>
                <a:cxn ang="0">
                  <a:pos x="connsiteX6774" y="connsiteY6774"/>
                </a:cxn>
                <a:cxn ang="0">
                  <a:pos x="connsiteX6775" y="connsiteY6775"/>
                </a:cxn>
                <a:cxn ang="0">
                  <a:pos x="connsiteX6776" y="connsiteY6776"/>
                </a:cxn>
                <a:cxn ang="0">
                  <a:pos x="connsiteX6777" y="connsiteY6777"/>
                </a:cxn>
                <a:cxn ang="0">
                  <a:pos x="connsiteX6778" y="connsiteY6778"/>
                </a:cxn>
                <a:cxn ang="0">
                  <a:pos x="connsiteX6779" y="connsiteY6779"/>
                </a:cxn>
                <a:cxn ang="0">
                  <a:pos x="connsiteX6780" y="connsiteY6780"/>
                </a:cxn>
                <a:cxn ang="0">
                  <a:pos x="connsiteX6781" y="connsiteY6781"/>
                </a:cxn>
                <a:cxn ang="0">
                  <a:pos x="connsiteX6782" y="connsiteY6782"/>
                </a:cxn>
                <a:cxn ang="0">
                  <a:pos x="connsiteX6783" y="connsiteY6783"/>
                </a:cxn>
                <a:cxn ang="0">
                  <a:pos x="connsiteX6784" y="connsiteY6784"/>
                </a:cxn>
                <a:cxn ang="0">
                  <a:pos x="connsiteX6785" y="connsiteY6785"/>
                </a:cxn>
                <a:cxn ang="0">
                  <a:pos x="connsiteX6786" y="connsiteY6786"/>
                </a:cxn>
                <a:cxn ang="0">
                  <a:pos x="connsiteX6787" y="connsiteY6787"/>
                </a:cxn>
                <a:cxn ang="0">
                  <a:pos x="connsiteX6788" y="connsiteY6788"/>
                </a:cxn>
                <a:cxn ang="0">
                  <a:pos x="connsiteX6789" y="connsiteY6789"/>
                </a:cxn>
                <a:cxn ang="0">
                  <a:pos x="connsiteX6790" y="connsiteY6790"/>
                </a:cxn>
                <a:cxn ang="0">
                  <a:pos x="connsiteX6791" y="connsiteY6791"/>
                </a:cxn>
                <a:cxn ang="0">
                  <a:pos x="connsiteX6792" y="connsiteY6792"/>
                </a:cxn>
                <a:cxn ang="0">
                  <a:pos x="connsiteX6793" y="connsiteY6793"/>
                </a:cxn>
                <a:cxn ang="0">
                  <a:pos x="connsiteX6794" y="connsiteY6794"/>
                </a:cxn>
                <a:cxn ang="0">
                  <a:pos x="connsiteX6795" y="connsiteY6795"/>
                </a:cxn>
                <a:cxn ang="0">
                  <a:pos x="connsiteX6796" y="connsiteY6796"/>
                </a:cxn>
                <a:cxn ang="0">
                  <a:pos x="connsiteX6797" y="connsiteY6797"/>
                </a:cxn>
                <a:cxn ang="0">
                  <a:pos x="connsiteX6798" y="connsiteY6798"/>
                </a:cxn>
                <a:cxn ang="0">
                  <a:pos x="connsiteX6799" y="connsiteY6799"/>
                </a:cxn>
                <a:cxn ang="0">
                  <a:pos x="connsiteX6800" y="connsiteY6800"/>
                </a:cxn>
                <a:cxn ang="0">
                  <a:pos x="connsiteX6801" y="connsiteY6801"/>
                </a:cxn>
                <a:cxn ang="0">
                  <a:pos x="connsiteX6802" y="connsiteY6802"/>
                </a:cxn>
                <a:cxn ang="0">
                  <a:pos x="connsiteX6803" y="connsiteY6803"/>
                </a:cxn>
                <a:cxn ang="0">
                  <a:pos x="connsiteX6804" y="connsiteY6804"/>
                </a:cxn>
                <a:cxn ang="0">
                  <a:pos x="connsiteX6805" y="connsiteY6805"/>
                </a:cxn>
                <a:cxn ang="0">
                  <a:pos x="connsiteX6806" y="connsiteY6806"/>
                </a:cxn>
                <a:cxn ang="0">
                  <a:pos x="connsiteX6807" y="connsiteY6807"/>
                </a:cxn>
                <a:cxn ang="0">
                  <a:pos x="connsiteX6808" y="connsiteY6808"/>
                </a:cxn>
                <a:cxn ang="0">
                  <a:pos x="connsiteX6809" y="connsiteY6809"/>
                </a:cxn>
                <a:cxn ang="0">
                  <a:pos x="connsiteX6810" y="connsiteY6810"/>
                </a:cxn>
                <a:cxn ang="0">
                  <a:pos x="connsiteX6811" y="connsiteY6811"/>
                </a:cxn>
                <a:cxn ang="0">
                  <a:pos x="connsiteX6812" y="connsiteY6812"/>
                </a:cxn>
                <a:cxn ang="0">
                  <a:pos x="connsiteX6813" y="connsiteY6813"/>
                </a:cxn>
                <a:cxn ang="0">
                  <a:pos x="connsiteX6814" y="connsiteY6814"/>
                </a:cxn>
                <a:cxn ang="0">
                  <a:pos x="connsiteX6815" y="connsiteY6815"/>
                </a:cxn>
                <a:cxn ang="0">
                  <a:pos x="connsiteX6816" y="connsiteY6816"/>
                </a:cxn>
                <a:cxn ang="0">
                  <a:pos x="connsiteX6817" y="connsiteY6817"/>
                </a:cxn>
                <a:cxn ang="0">
                  <a:pos x="connsiteX6818" y="connsiteY6818"/>
                </a:cxn>
                <a:cxn ang="0">
                  <a:pos x="connsiteX6819" y="connsiteY6819"/>
                </a:cxn>
                <a:cxn ang="0">
                  <a:pos x="connsiteX6820" y="connsiteY6820"/>
                </a:cxn>
                <a:cxn ang="0">
                  <a:pos x="connsiteX6821" y="connsiteY6821"/>
                </a:cxn>
                <a:cxn ang="0">
                  <a:pos x="connsiteX6822" y="connsiteY6822"/>
                </a:cxn>
                <a:cxn ang="0">
                  <a:pos x="connsiteX6823" y="connsiteY6823"/>
                </a:cxn>
                <a:cxn ang="0">
                  <a:pos x="connsiteX6824" y="connsiteY6824"/>
                </a:cxn>
                <a:cxn ang="0">
                  <a:pos x="connsiteX6825" y="connsiteY6825"/>
                </a:cxn>
                <a:cxn ang="0">
                  <a:pos x="connsiteX6826" y="connsiteY6826"/>
                </a:cxn>
                <a:cxn ang="0">
                  <a:pos x="connsiteX6827" y="connsiteY6827"/>
                </a:cxn>
                <a:cxn ang="0">
                  <a:pos x="connsiteX6828" y="connsiteY6828"/>
                </a:cxn>
                <a:cxn ang="0">
                  <a:pos x="connsiteX6829" y="connsiteY6829"/>
                </a:cxn>
                <a:cxn ang="0">
                  <a:pos x="connsiteX6830" y="connsiteY6830"/>
                </a:cxn>
                <a:cxn ang="0">
                  <a:pos x="connsiteX6831" y="connsiteY6831"/>
                </a:cxn>
                <a:cxn ang="0">
                  <a:pos x="connsiteX6832" y="connsiteY6832"/>
                </a:cxn>
                <a:cxn ang="0">
                  <a:pos x="connsiteX6833" y="connsiteY6833"/>
                </a:cxn>
                <a:cxn ang="0">
                  <a:pos x="connsiteX6834" y="connsiteY6834"/>
                </a:cxn>
                <a:cxn ang="0">
                  <a:pos x="connsiteX6835" y="connsiteY6835"/>
                </a:cxn>
                <a:cxn ang="0">
                  <a:pos x="connsiteX6836" y="connsiteY6836"/>
                </a:cxn>
                <a:cxn ang="0">
                  <a:pos x="connsiteX6837" y="connsiteY6837"/>
                </a:cxn>
                <a:cxn ang="0">
                  <a:pos x="connsiteX6838" y="connsiteY6838"/>
                </a:cxn>
                <a:cxn ang="0">
                  <a:pos x="connsiteX6839" y="connsiteY6839"/>
                </a:cxn>
                <a:cxn ang="0">
                  <a:pos x="connsiteX6840" y="connsiteY6840"/>
                </a:cxn>
                <a:cxn ang="0">
                  <a:pos x="connsiteX6841" y="connsiteY6841"/>
                </a:cxn>
                <a:cxn ang="0">
                  <a:pos x="connsiteX6842" y="connsiteY6842"/>
                </a:cxn>
                <a:cxn ang="0">
                  <a:pos x="connsiteX6843" y="connsiteY6843"/>
                </a:cxn>
                <a:cxn ang="0">
                  <a:pos x="connsiteX6844" y="connsiteY6844"/>
                </a:cxn>
                <a:cxn ang="0">
                  <a:pos x="connsiteX6845" y="connsiteY6845"/>
                </a:cxn>
                <a:cxn ang="0">
                  <a:pos x="connsiteX6846" y="connsiteY6846"/>
                </a:cxn>
                <a:cxn ang="0">
                  <a:pos x="connsiteX6847" y="connsiteY6847"/>
                </a:cxn>
                <a:cxn ang="0">
                  <a:pos x="connsiteX6848" y="connsiteY6848"/>
                </a:cxn>
                <a:cxn ang="0">
                  <a:pos x="connsiteX6849" y="connsiteY6849"/>
                </a:cxn>
                <a:cxn ang="0">
                  <a:pos x="connsiteX6850" y="connsiteY6850"/>
                </a:cxn>
                <a:cxn ang="0">
                  <a:pos x="connsiteX6851" y="connsiteY6851"/>
                </a:cxn>
                <a:cxn ang="0">
                  <a:pos x="connsiteX6852" y="connsiteY6852"/>
                </a:cxn>
                <a:cxn ang="0">
                  <a:pos x="connsiteX6853" y="connsiteY6853"/>
                </a:cxn>
                <a:cxn ang="0">
                  <a:pos x="connsiteX6854" y="connsiteY6854"/>
                </a:cxn>
                <a:cxn ang="0">
                  <a:pos x="connsiteX6855" y="connsiteY6855"/>
                </a:cxn>
                <a:cxn ang="0">
                  <a:pos x="connsiteX6856" y="connsiteY6856"/>
                </a:cxn>
                <a:cxn ang="0">
                  <a:pos x="connsiteX6857" y="connsiteY6857"/>
                </a:cxn>
                <a:cxn ang="0">
                  <a:pos x="connsiteX6858" y="connsiteY6858"/>
                </a:cxn>
                <a:cxn ang="0">
                  <a:pos x="connsiteX6859" y="connsiteY6859"/>
                </a:cxn>
                <a:cxn ang="0">
                  <a:pos x="connsiteX6860" y="connsiteY6860"/>
                </a:cxn>
                <a:cxn ang="0">
                  <a:pos x="connsiteX6861" y="connsiteY6861"/>
                </a:cxn>
                <a:cxn ang="0">
                  <a:pos x="connsiteX6862" y="connsiteY6862"/>
                </a:cxn>
                <a:cxn ang="0">
                  <a:pos x="connsiteX6863" y="connsiteY6863"/>
                </a:cxn>
                <a:cxn ang="0">
                  <a:pos x="connsiteX6864" y="connsiteY6864"/>
                </a:cxn>
                <a:cxn ang="0">
                  <a:pos x="connsiteX6865" y="connsiteY6865"/>
                </a:cxn>
                <a:cxn ang="0">
                  <a:pos x="connsiteX6866" y="connsiteY6866"/>
                </a:cxn>
                <a:cxn ang="0">
                  <a:pos x="connsiteX6867" y="connsiteY6867"/>
                </a:cxn>
                <a:cxn ang="0">
                  <a:pos x="connsiteX6868" y="connsiteY6868"/>
                </a:cxn>
                <a:cxn ang="0">
                  <a:pos x="connsiteX6869" y="connsiteY6869"/>
                </a:cxn>
                <a:cxn ang="0">
                  <a:pos x="connsiteX6870" y="connsiteY6870"/>
                </a:cxn>
                <a:cxn ang="0">
                  <a:pos x="connsiteX6871" y="connsiteY6871"/>
                </a:cxn>
                <a:cxn ang="0">
                  <a:pos x="connsiteX6872" y="connsiteY6872"/>
                </a:cxn>
                <a:cxn ang="0">
                  <a:pos x="connsiteX6873" y="connsiteY6873"/>
                </a:cxn>
                <a:cxn ang="0">
                  <a:pos x="connsiteX6874" y="connsiteY6874"/>
                </a:cxn>
                <a:cxn ang="0">
                  <a:pos x="connsiteX6875" y="connsiteY6875"/>
                </a:cxn>
                <a:cxn ang="0">
                  <a:pos x="connsiteX6876" y="connsiteY6876"/>
                </a:cxn>
                <a:cxn ang="0">
                  <a:pos x="connsiteX6877" y="connsiteY6877"/>
                </a:cxn>
                <a:cxn ang="0">
                  <a:pos x="connsiteX6878" y="connsiteY6878"/>
                </a:cxn>
                <a:cxn ang="0">
                  <a:pos x="connsiteX6879" y="connsiteY6879"/>
                </a:cxn>
                <a:cxn ang="0">
                  <a:pos x="connsiteX6880" y="connsiteY6880"/>
                </a:cxn>
                <a:cxn ang="0">
                  <a:pos x="connsiteX6881" y="connsiteY6881"/>
                </a:cxn>
                <a:cxn ang="0">
                  <a:pos x="connsiteX6882" y="connsiteY6882"/>
                </a:cxn>
                <a:cxn ang="0">
                  <a:pos x="connsiteX6883" y="connsiteY6883"/>
                </a:cxn>
                <a:cxn ang="0">
                  <a:pos x="connsiteX6884" y="connsiteY6884"/>
                </a:cxn>
                <a:cxn ang="0">
                  <a:pos x="connsiteX6885" y="connsiteY6885"/>
                </a:cxn>
                <a:cxn ang="0">
                  <a:pos x="connsiteX6886" y="connsiteY6886"/>
                </a:cxn>
                <a:cxn ang="0">
                  <a:pos x="connsiteX6887" y="connsiteY6887"/>
                </a:cxn>
                <a:cxn ang="0">
                  <a:pos x="connsiteX6888" y="connsiteY6888"/>
                </a:cxn>
                <a:cxn ang="0">
                  <a:pos x="connsiteX6889" y="connsiteY6889"/>
                </a:cxn>
                <a:cxn ang="0">
                  <a:pos x="connsiteX6890" y="connsiteY6890"/>
                </a:cxn>
                <a:cxn ang="0">
                  <a:pos x="connsiteX6891" y="connsiteY6891"/>
                </a:cxn>
                <a:cxn ang="0">
                  <a:pos x="connsiteX6892" y="connsiteY6892"/>
                </a:cxn>
                <a:cxn ang="0">
                  <a:pos x="connsiteX6893" y="connsiteY6893"/>
                </a:cxn>
                <a:cxn ang="0">
                  <a:pos x="connsiteX6894" y="connsiteY6894"/>
                </a:cxn>
                <a:cxn ang="0">
                  <a:pos x="connsiteX6895" y="connsiteY6895"/>
                </a:cxn>
                <a:cxn ang="0">
                  <a:pos x="connsiteX6896" y="connsiteY6896"/>
                </a:cxn>
                <a:cxn ang="0">
                  <a:pos x="connsiteX6897" y="connsiteY6897"/>
                </a:cxn>
                <a:cxn ang="0">
                  <a:pos x="connsiteX6898" y="connsiteY6898"/>
                </a:cxn>
                <a:cxn ang="0">
                  <a:pos x="connsiteX6899" y="connsiteY6899"/>
                </a:cxn>
                <a:cxn ang="0">
                  <a:pos x="connsiteX6900" y="connsiteY6900"/>
                </a:cxn>
                <a:cxn ang="0">
                  <a:pos x="connsiteX6901" y="connsiteY6901"/>
                </a:cxn>
                <a:cxn ang="0">
                  <a:pos x="connsiteX6902" y="connsiteY6902"/>
                </a:cxn>
                <a:cxn ang="0">
                  <a:pos x="connsiteX6903" y="connsiteY6903"/>
                </a:cxn>
                <a:cxn ang="0">
                  <a:pos x="connsiteX6904" y="connsiteY6904"/>
                </a:cxn>
                <a:cxn ang="0">
                  <a:pos x="connsiteX6905" y="connsiteY6905"/>
                </a:cxn>
                <a:cxn ang="0">
                  <a:pos x="connsiteX6906" y="connsiteY6906"/>
                </a:cxn>
                <a:cxn ang="0">
                  <a:pos x="connsiteX6907" y="connsiteY6907"/>
                </a:cxn>
                <a:cxn ang="0">
                  <a:pos x="connsiteX6908" y="connsiteY6908"/>
                </a:cxn>
                <a:cxn ang="0">
                  <a:pos x="connsiteX6909" y="connsiteY6909"/>
                </a:cxn>
                <a:cxn ang="0">
                  <a:pos x="connsiteX6910" y="connsiteY6910"/>
                </a:cxn>
                <a:cxn ang="0">
                  <a:pos x="connsiteX6911" y="connsiteY6911"/>
                </a:cxn>
                <a:cxn ang="0">
                  <a:pos x="connsiteX6912" y="connsiteY6912"/>
                </a:cxn>
                <a:cxn ang="0">
                  <a:pos x="connsiteX6913" y="connsiteY6913"/>
                </a:cxn>
                <a:cxn ang="0">
                  <a:pos x="connsiteX6914" y="connsiteY6914"/>
                </a:cxn>
                <a:cxn ang="0">
                  <a:pos x="connsiteX6915" y="connsiteY6915"/>
                </a:cxn>
                <a:cxn ang="0">
                  <a:pos x="connsiteX6916" y="connsiteY6916"/>
                </a:cxn>
                <a:cxn ang="0">
                  <a:pos x="connsiteX6917" y="connsiteY6917"/>
                </a:cxn>
                <a:cxn ang="0">
                  <a:pos x="connsiteX6918" y="connsiteY6918"/>
                </a:cxn>
                <a:cxn ang="0">
                  <a:pos x="connsiteX6919" y="connsiteY6919"/>
                </a:cxn>
                <a:cxn ang="0">
                  <a:pos x="connsiteX6920" y="connsiteY6920"/>
                </a:cxn>
                <a:cxn ang="0">
                  <a:pos x="connsiteX6921" y="connsiteY6921"/>
                </a:cxn>
                <a:cxn ang="0">
                  <a:pos x="connsiteX6922" y="connsiteY6922"/>
                </a:cxn>
                <a:cxn ang="0">
                  <a:pos x="connsiteX6923" y="connsiteY6923"/>
                </a:cxn>
                <a:cxn ang="0">
                  <a:pos x="connsiteX6924" y="connsiteY6924"/>
                </a:cxn>
                <a:cxn ang="0">
                  <a:pos x="connsiteX6925" y="connsiteY6925"/>
                </a:cxn>
                <a:cxn ang="0">
                  <a:pos x="connsiteX6926" y="connsiteY6926"/>
                </a:cxn>
                <a:cxn ang="0">
                  <a:pos x="connsiteX6927" y="connsiteY6927"/>
                </a:cxn>
                <a:cxn ang="0">
                  <a:pos x="connsiteX6928" y="connsiteY6928"/>
                </a:cxn>
                <a:cxn ang="0">
                  <a:pos x="connsiteX6929" y="connsiteY6929"/>
                </a:cxn>
                <a:cxn ang="0">
                  <a:pos x="connsiteX6930" y="connsiteY6930"/>
                </a:cxn>
                <a:cxn ang="0">
                  <a:pos x="connsiteX6931" y="connsiteY6931"/>
                </a:cxn>
                <a:cxn ang="0">
                  <a:pos x="connsiteX6932" y="connsiteY6932"/>
                </a:cxn>
                <a:cxn ang="0">
                  <a:pos x="connsiteX6933" y="connsiteY6933"/>
                </a:cxn>
                <a:cxn ang="0">
                  <a:pos x="connsiteX6934" y="connsiteY6934"/>
                </a:cxn>
                <a:cxn ang="0">
                  <a:pos x="connsiteX6935" y="connsiteY6935"/>
                </a:cxn>
                <a:cxn ang="0">
                  <a:pos x="connsiteX6936" y="connsiteY6936"/>
                </a:cxn>
                <a:cxn ang="0">
                  <a:pos x="connsiteX6937" y="connsiteY6937"/>
                </a:cxn>
                <a:cxn ang="0">
                  <a:pos x="connsiteX6938" y="connsiteY6938"/>
                </a:cxn>
                <a:cxn ang="0">
                  <a:pos x="connsiteX6939" y="connsiteY6939"/>
                </a:cxn>
                <a:cxn ang="0">
                  <a:pos x="connsiteX6940" y="connsiteY6940"/>
                </a:cxn>
                <a:cxn ang="0">
                  <a:pos x="connsiteX6941" y="connsiteY6941"/>
                </a:cxn>
                <a:cxn ang="0">
                  <a:pos x="connsiteX6942" y="connsiteY6942"/>
                </a:cxn>
                <a:cxn ang="0">
                  <a:pos x="connsiteX6943" y="connsiteY6943"/>
                </a:cxn>
                <a:cxn ang="0">
                  <a:pos x="connsiteX6944" y="connsiteY6944"/>
                </a:cxn>
                <a:cxn ang="0">
                  <a:pos x="connsiteX6945" y="connsiteY6945"/>
                </a:cxn>
                <a:cxn ang="0">
                  <a:pos x="connsiteX6946" y="connsiteY6946"/>
                </a:cxn>
                <a:cxn ang="0">
                  <a:pos x="connsiteX6947" y="connsiteY6947"/>
                </a:cxn>
                <a:cxn ang="0">
                  <a:pos x="connsiteX6948" y="connsiteY6948"/>
                </a:cxn>
                <a:cxn ang="0">
                  <a:pos x="connsiteX6949" y="connsiteY6949"/>
                </a:cxn>
                <a:cxn ang="0">
                  <a:pos x="connsiteX6950" y="connsiteY6950"/>
                </a:cxn>
                <a:cxn ang="0">
                  <a:pos x="connsiteX6951" y="connsiteY6951"/>
                </a:cxn>
                <a:cxn ang="0">
                  <a:pos x="connsiteX6952" y="connsiteY6952"/>
                </a:cxn>
                <a:cxn ang="0">
                  <a:pos x="connsiteX6953" y="connsiteY6953"/>
                </a:cxn>
                <a:cxn ang="0">
                  <a:pos x="connsiteX6954" y="connsiteY6954"/>
                </a:cxn>
                <a:cxn ang="0">
                  <a:pos x="connsiteX6955" y="connsiteY6955"/>
                </a:cxn>
                <a:cxn ang="0">
                  <a:pos x="connsiteX6956" y="connsiteY6956"/>
                </a:cxn>
                <a:cxn ang="0">
                  <a:pos x="connsiteX6957" y="connsiteY6957"/>
                </a:cxn>
                <a:cxn ang="0">
                  <a:pos x="connsiteX6958" y="connsiteY6958"/>
                </a:cxn>
                <a:cxn ang="0">
                  <a:pos x="connsiteX6959" y="connsiteY6959"/>
                </a:cxn>
                <a:cxn ang="0">
                  <a:pos x="connsiteX6960" y="connsiteY6960"/>
                </a:cxn>
                <a:cxn ang="0">
                  <a:pos x="connsiteX6961" y="connsiteY6961"/>
                </a:cxn>
                <a:cxn ang="0">
                  <a:pos x="connsiteX6962" y="connsiteY6962"/>
                </a:cxn>
                <a:cxn ang="0">
                  <a:pos x="connsiteX6963" y="connsiteY6963"/>
                </a:cxn>
                <a:cxn ang="0">
                  <a:pos x="connsiteX6964" y="connsiteY6964"/>
                </a:cxn>
                <a:cxn ang="0">
                  <a:pos x="connsiteX6965" y="connsiteY6965"/>
                </a:cxn>
                <a:cxn ang="0">
                  <a:pos x="connsiteX6966" y="connsiteY6966"/>
                </a:cxn>
                <a:cxn ang="0">
                  <a:pos x="connsiteX6967" y="connsiteY6967"/>
                </a:cxn>
                <a:cxn ang="0">
                  <a:pos x="connsiteX6968" y="connsiteY6968"/>
                </a:cxn>
                <a:cxn ang="0">
                  <a:pos x="connsiteX6969" y="connsiteY6969"/>
                </a:cxn>
                <a:cxn ang="0">
                  <a:pos x="connsiteX6970" y="connsiteY6970"/>
                </a:cxn>
                <a:cxn ang="0">
                  <a:pos x="connsiteX6971" y="connsiteY6971"/>
                </a:cxn>
                <a:cxn ang="0">
                  <a:pos x="connsiteX6972" y="connsiteY6972"/>
                </a:cxn>
                <a:cxn ang="0">
                  <a:pos x="connsiteX6973" y="connsiteY6973"/>
                </a:cxn>
                <a:cxn ang="0">
                  <a:pos x="connsiteX6974" y="connsiteY6974"/>
                </a:cxn>
                <a:cxn ang="0">
                  <a:pos x="connsiteX6975" y="connsiteY6975"/>
                </a:cxn>
                <a:cxn ang="0">
                  <a:pos x="connsiteX6976" y="connsiteY6976"/>
                </a:cxn>
                <a:cxn ang="0">
                  <a:pos x="connsiteX6977" y="connsiteY6977"/>
                </a:cxn>
                <a:cxn ang="0">
                  <a:pos x="connsiteX6978" y="connsiteY6978"/>
                </a:cxn>
                <a:cxn ang="0">
                  <a:pos x="connsiteX6979" y="connsiteY6979"/>
                </a:cxn>
                <a:cxn ang="0">
                  <a:pos x="connsiteX6980" y="connsiteY6980"/>
                </a:cxn>
                <a:cxn ang="0">
                  <a:pos x="connsiteX6981" y="connsiteY6981"/>
                </a:cxn>
                <a:cxn ang="0">
                  <a:pos x="connsiteX6982" y="connsiteY6982"/>
                </a:cxn>
                <a:cxn ang="0">
                  <a:pos x="connsiteX6983" y="connsiteY6983"/>
                </a:cxn>
                <a:cxn ang="0">
                  <a:pos x="connsiteX6984" y="connsiteY6984"/>
                </a:cxn>
                <a:cxn ang="0">
                  <a:pos x="connsiteX6985" y="connsiteY6985"/>
                </a:cxn>
                <a:cxn ang="0">
                  <a:pos x="connsiteX6986" y="connsiteY6986"/>
                </a:cxn>
                <a:cxn ang="0">
                  <a:pos x="connsiteX6987" y="connsiteY6987"/>
                </a:cxn>
                <a:cxn ang="0">
                  <a:pos x="connsiteX6988" y="connsiteY6988"/>
                </a:cxn>
                <a:cxn ang="0">
                  <a:pos x="connsiteX6989" y="connsiteY6989"/>
                </a:cxn>
                <a:cxn ang="0">
                  <a:pos x="connsiteX6990" y="connsiteY6990"/>
                </a:cxn>
                <a:cxn ang="0">
                  <a:pos x="connsiteX6991" y="connsiteY6991"/>
                </a:cxn>
                <a:cxn ang="0">
                  <a:pos x="connsiteX6992" y="connsiteY6992"/>
                </a:cxn>
                <a:cxn ang="0">
                  <a:pos x="connsiteX6993" y="connsiteY6993"/>
                </a:cxn>
                <a:cxn ang="0">
                  <a:pos x="connsiteX6994" y="connsiteY6994"/>
                </a:cxn>
                <a:cxn ang="0">
                  <a:pos x="connsiteX6995" y="connsiteY6995"/>
                </a:cxn>
                <a:cxn ang="0">
                  <a:pos x="connsiteX6996" y="connsiteY6996"/>
                </a:cxn>
                <a:cxn ang="0">
                  <a:pos x="connsiteX6997" y="connsiteY6997"/>
                </a:cxn>
                <a:cxn ang="0">
                  <a:pos x="connsiteX6998" y="connsiteY6998"/>
                </a:cxn>
                <a:cxn ang="0">
                  <a:pos x="connsiteX6999" y="connsiteY6999"/>
                </a:cxn>
                <a:cxn ang="0">
                  <a:pos x="connsiteX7000" y="connsiteY7000"/>
                </a:cxn>
                <a:cxn ang="0">
                  <a:pos x="connsiteX7001" y="connsiteY7001"/>
                </a:cxn>
                <a:cxn ang="0">
                  <a:pos x="connsiteX7002" y="connsiteY7002"/>
                </a:cxn>
                <a:cxn ang="0">
                  <a:pos x="connsiteX7003" y="connsiteY7003"/>
                </a:cxn>
                <a:cxn ang="0">
                  <a:pos x="connsiteX7004" y="connsiteY7004"/>
                </a:cxn>
                <a:cxn ang="0">
                  <a:pos x="connsiteX7005" y="connsiteY7005"/>
                </a:cxn>
                <a:cxn ang="0">
                  <a:pos x="connsiteX7006" y="connsiteY7006"/>
                </a:cxn>
                <a:cxn ang="0">
                  <a:pos x="connsiteX7007" y="connsiteY7007"/>
                </a:cxn>
                <a:cxn ang="0">
                  <a:pos x="connsiteX7008" y="connsiteY7008"/>
                </a:cxn>
                <a:cxn ang="0">
                  <a:pos x="connsiteX7009" y="connsiteY7009"/>
                </a:cxn>
                <a:cxn ang="0">
                  <a:pos x="connsiteX7010" y="connsiteY7010"/>
                </a:cxn>
                <a:cxn ang="0">
                  <a:pos x="connsiteX7011" y="connsiteY7011"/>
                </a:cxn>
                <a:cxn ang="0">
                  <a:pos x="connsiteX7012" y="connsiteY7012"/>
                </a:cxn>
                <a:cxn ang="0">
                  <a:pos x="connsiteX7013" y="connsiteY7013"/>
                </a:cxn>
                <a:cxn ang="0">
                  <a:pos x="connsiteX7014" y="connsiteY7014"/>
                </a:cxn>
                <a:cxn ang="0">
                  <a:pos x="connsiteX7015" y="connsiteY7015"/>
                </a:cxn>
                <a:cxn ang="0">
                  <a:pos x="connsiteX7016" y="connsiteY7016"/>
                </a:cxn>
                <a:cxn ang="0">
                  <a:pos x="connsiteX7017" y="connsiteY7017"/>
                </a:cxn>
                <a:cxn ang="0">
                  <a:pos x="connsiteX7018" y="connsiteY7018"/>
                </a:cxn>
                <a:cxn ang="0">
                  <a:pos x="connsiteX7019" y="connsiteY7019"/>
                </a:cxn>
                <a:cxn ang="0">
                  <a:pos x="connsiteX7020" y="connsiteY7020"/>
                </a:cxn>
                <a:cxn ang="0">
                  <a:pos x="connsiteX7021" y="connsiteY7021"/>
                </a:cxn>
                <a:cxn ang="0">
                  <a:pos x="connsiteX7022" y="connsiteY7022"/>
                </a:cxn>
                <a:cxn ang="0">
                  <a:pos x="connsiteX7023" y="connsiteY7023"/>
                </a:cxn>
                <a:cxn ang="0">
                  <a:pos x="connsiteX7024" y="connsiteY7024"/>
                </a:cxn>
                <a:cxn ang="0">
                  <a:pos x="connsiteX7025" y="connsiteY7025"/>
                </a:cxn>
                <a:cxn ang="0">
                  <a:pos x="connsiteX7026" y="connsiteY7026"/>
                </a:cxn>
                <a:cxn ang="0">
                  <a:pos x="connsiteX7027" y="connsiteY7027"/>
                </a:cxn>
                <a:cxn ang="0">
                  <a:pos x="connsiteX7028" y="connsiteY7028"/>
                </a:cxn>
                <a:cxn ang="0">
                  <a:pos x="connsiteX7029" y="connsiteY7029"/>
                </a:cxn>
                <a:cxn ang="0">
                  <a:pos x="connsiteX7030" y="connsiteY7030"/>
                </a:cxn>
                <a:cxn ang="0">
                  <a:pos x="connsiteX7031" y="connsiteY7031"/>
                </a:cxn>
                <a:cxn ang="0">
                  <a:pos x="connsiteX7032" y="connsiteY7032"/>
                </a:cxn>
                <a:cxn ang="0">
                  <a:pos x="connsiteX7033" y="connsiteY7033"/>
                </a:cxn>
                <a:cxn ang="0">
                  <a:pos x="connsiteX7034" y="connsiteY7034"/>
                </a:cxn>
                <a:cxn ang="0">
                  <a:pos x="connsiteX7035" y="connsiteY7035"/>
                </a:cxn>
                <a:cxn ang="0">
                  <a:pos x="connsiteX7036" y="connsiteY7036"/>
                </a:cxn>
                <a:cxn ang="0">
                  <a:pos x="connsiteX7037" y="connsiteY7037"/>
                </a:cxn>
                <a:cxn ang="0">
                  <a:pos x="connsiteX7038" y="connsiteY7038"/>
                </a:cxn>
                <a:cxn ang="0">
                  <a:pos x="connsiteX7039" y="connsiteY7039"/>
                </a:cxn>
                <a:cxn ang="0">
                  <a:pos x="connsiteX7040" y="connsiteY7040"/>
                </a:cxn>
                <a:cxn ang="0">
                  <a:pos x="connsiteX7041" y="connsiteY7041"/>
                </a:cxn>
                <a:cxn ang="0">
                  <a:pos x="connsiteX7042" y="connsiteY7042"/>
                </a:cxn>
                <a:cxn ang="0">
                  <a:pos x="connsiteX7043" y="connsiteY7043"/>
                </a:cxn>
                <a:cxn ang="0">
                  <a:pos x="connsiteX7044" y="connsiteY7044"/>
                </a:cxn>
                <a:cxn ang="0">
                  <a:pos x="connsiteX7045" y="connsiteY7045"/>
                </a:cxn>
                <a:cxn ang="0">
                  <a:pos x="connsiteX7046" y="connsiteY7046"/>
                </a:cxn>
                <a:cxn ang="0">
                  <a:pos x="connsiteX7047" y="connsiteY7047"/>
                </a:cxn>
                <a:cxn ang="0">
                  <a:pos x="connsiteX7048" y="connsiteY7048"/>
                </a:cxn>
                <a:cxn ang="0">
                  <a:pos x="connsiteX7049" y="connsiteY7049"/>
                </a:cxn>
                <a:cxn ang="0">
                  <a:pos x="connsiteX7050" y="connsiteY7050"/>
                </a:cxn>
                <a:cxn ang="0">
                  <a:pos x="connsiteX7051" y="connsiteY7051"/>
                </a:cxn>
                <a:cxn ang="0">
                  <a:pos x="connsiteX7052" y="connsiteY7052"/>
                </a:cxn>
                <a:cxn ang="0">
                  <a:pos x="connsiteX7053" y="connsiteY7053"/>
                </a:cxn>
                <a:cxn ang="0">
                  <a:pos x="connsiteX7054" y="connsiteY7054"/>
                </a:cxn>
                <a:cxn ang="0">
                  <a:pos x="connsiteX7055" y="connsiteY7055"/>
                </a:cxn>
                <a:cxn ang="0">
                  <a:pos x="connsiteX7056" y="connsiteY7056"/>
                </a:cxn>
                <a:cxn ang="0">
                  <a:pos x="connsiteX7057" y="connsiteY7057"/>
                </a:cxn>
                <a:cxn ang="0">
                  <a:pos x="connsiteX7058" y="connsiteY7058"/>
                </a:cxn>
                <a:cxn ang="0">
                  <a:pos x="connsiteX7059" y="connsiteY7059"/>
                </a:cxn>
                <a:cxn ang="0">
                  <a:pos x="connsiteX7060" y="connsiteY7060"/>
                </a:cxn>
                <a:cxn ang="0">
                  <a:pos x="connsiteX7061" y="connsiteY7061"/>
                </a:cxn>
                <a:cxn ang="0">
                  <a:pos x="connsiteX7062" y="connsiteY7062"/>
                </a:cxn>
                <a:cxn ang="0">
                  <a:pos x="connsiteX7063" y="connsiteY7063"/>
                </a:cxn>
                <a:cxn ang="0">
                  <a:pos x="connsiteX7064" y="connsiteY7064"/>
                </a:cxn>
                <a:cxn ang="0">
                  <a:pos x="connsiteX7065" y="connsiteY7065"/>
                </a:cxn>
                <a:cxn ang="0">
                  <a:pos x="connsiteX7066" y="connsiteY7066"/>
                </a:cxn>
                <a:cxn ang="0">
                  <a:pos x="connsiteX7067" y="connsiteY7067"/>
                </a:cxn>
                <a:cxn ang="0">
                  <a:pos x="connsiteX7068" y="connsiteY7068"/>
                </a:cxn>
                <a:cxn ang="0">
                  <a:pos x="connsiteX7069" y="connsiteY7069"/>
                </a:cxn>
                <a:cxn ang="0">
                  <a:pos x="connsiteX7070" y="connsiteY7070"/>
                </a:cxn>
                <a:cxn ang="0">
                  <a:pos x="connsiteX7071" y="connsiteY7071"/>
                </a:cxn>
                <a:cxn ang="0">
                  <a:pos x="connsiteX7072" y="connsiteY7072"/>
                </a:cxn>
                <a:cxn ang="0">
                  <a:pos x="connsiteX7073" y="connsiteY7073"/>
                </a:cxn>
                <a:cxn ang="0">
                  <a:pos x="connsiteX7074" y="connsiteY7074"/>
                </a:cxn>
                <a:cxn ang="0">
                  <a:pos x="connsiteX7075" y="connsiteY7075"/>
                </a:cxn>
                <a:cxn ang="0">
                  <a:pos x="connsiteX7076" y="connsiteY7076"/>
                </a:cxn>
                <a:cxn ang="0">
                  <a:pos x="connsiteX7077" y="connsiteY7077"/>
                </a:cxn>
                <a:cxn ang="0">
                  <a:pos x="connsiteX7078" y="connsiteY7078"/>
                </a:cxn>
                <a:cxn ang="0">
                  <a:pos x="connsiteX7079" y="connsiteY7079"/>
                </a:cxn>
                <a:cxn ang="0">
                  <a:pos x="connsiteX7080" y="connsiteY7080"/>
                </a:cxn>
                <a:cxn ang="0">
                  <a:pos x="connsiteX7081" y="connsiteY7081"/>
                </a:cxn>
                <a:cxn ang="0">
                  <a:pos x="connsiteX7082" y="connsiteY7082"/>
                </a:cxn>
                <a:cxn ang="0">
                  <a:pos x="connsiteX7083" y="connsiteY7083"/>
                </a:cxn>
                <a:cxn ang="0">
                  <a:pos x="connsiteX7084" y="connsiteY7084"/>
                </a:cxn>
                <a:cxn ang="0">
                  <a:pos x="connsiteX7085" y="connsiteY7085"/>
                </a:cxn>
                <a:cxn ang="0">
                  <a:pos x="connsiteX7086" y="connsiteY7086"/>
                </a:cxn>
                <a:cxn ang="0">
                  <a:pos x="connsiteX7087" y="connsiteY7087"/>
                </a:cxn>
                <a:cxn ang="0">
                  <a:pos x="connsiteX7088" y="connsiteY7088"/>
                </a:cxn>
                <a:cxn ang="0">
                  <a:pos x="connsiteX7089" y="connsiteY7089"/>
                </a:cxn>
                <a:cxn ang="0">
                  <a:pos x="connsiteX7090" y="connsiteY7090"/>
                </a:cxn>
                <a:cxn ang="0">
                  <a:pos x="connsiteX7091" y="connsiteY7091"/>
                </a:cxn>
                <a:cxn ang="0">
                  <a:pos x="connsiteX7092" y="connsiteY7092"/>
                </a:cxn>
                <a:cxn ang="0">
                  <a:pos x="connsiteX7093" y="connsiteY7093"/>
                </a:cxn>
                <a:cxn ang="0">
                  <a:pos x="connsiteX7094" y="connsiteY7094"/>
                </a:cxn>
                <a:cxn ang="0">
                  <a:pos x="connsiteX7095" y="connsiteY7095"/>
                </a:cxn>
                <a:cxn ang="0">
                  <a:pos x="connsiteX7096" y="connsiteY7096"/>
                </a:cxn>
                <a:cxn ang="0">
                  <a:pos x="connsiteX7097" y="connsiteY7097"/>
                </a:cxn>
                <a:cxn ang="0">
                  <a:pos x="connsiteX7098" y="connsiteY7098"/>
                </a:cxn>
                <a:cxn ang="0">
                  <a:pos x="connsiteX7099" y="connsiteY7099"/>
                </a:cxn>
                <a:cxn ang="0">
                  <a:pos x="connsiteX7100" y="connsiteY7100"/>
                </a:cxn>
                <a:cxn ang="0">
                  <a:pos x="connsiteX7101" y="connsiteY7101"/>
                </a:cxn>
                <a:cxn ang="0">
                  <a:pos x="connsiteX7102" y="connsiteY7102"/>
                </a:cxn>
                <a:cxn ang="0">
                  <a:pos x="connsiteX7103" y="connsiteY7103"/>
                </a:cxn>
                <a:cxn ang="0">
                  <a:pos x="connsiteX7104" y="connsiteY7104"/>
                </a:cxn>
                <a:cxn ang="0">
                  <a:pos x="connsiteX7105" y="connsiteY7105"/>
                </a:cxn>
                <a:cxn ang="0">
                  <a:pos x="connsiteX7106" y="connsiteY7106"/>
                </a:cxn>
                <a:cxn ang="0">
                  <a:pos x="connsiteX7107" y="connsiteY7107"/>
                </a:cxn>
                <a:cxn ang="0">
                  <a:pos x="connsiteX7108" y="connsiteY7108"/>
                </a:cxn>
                <a:cxn ang="0">
                  <a:pos x="connsiteX7109" y="connsiteY7109"/>
                </a:cxn>
                <a:cxn ang="0">
                  <a:pos x="connsiteX7110" y="connsiteY7110"/>
                </a:cxn>
                <a:cxn ang="0">
                  <a:pos x="connsiteX7111" y="connsiteY7111"/>
                </a:cxn>
                <a:cxn ang="0">
                  <a:pos x="connsiteX7112" y="connsiteY7112"/>
                </a:cxn>
                <a:cxn ang="0">
                  <a:pos x="connsiteX7113" y="connsiteY7113"/>
                </a:cxn>
                <a:cxn ang="0">
                  <a:pos x="connsiteX7114" y="connsiteY7114"/>
                </a:cxn>
                <a:cxn ang="0">
                  <a:pos x="connsiteX7115" y="connsiteY7115"/>
                </a:cxn>
                <a:cxn ang="0">
                  <a:pos x="connsiteX7116" y="connsiteY7116"/>
                </a:cxn>
                <a:cxn ang="0">
                  <a:pos x="connsiteX7117" y="connsiteY7117"/>
                </a:cxn>
                <a:cxn ang="0">
                  <a:pos x="connsiteX7118" y="connsiteY7118"/>
                </a:cxn>
                <a:cxn ang="0">
                  <a:pos x="connsiteX7119" y="connsiteY7119"/>
                </a:cxn>
                <a:cxn ang="0">
                  <a:pos x="connsiteX7120" y="connsiteY7120"/>
                </a:cxn>
                <a:cxn ang="0">
                  <a:pos x="connsiteX7121" y="connsiteY7121"/>
                </a:cxn>
                <a:cxn ang="0">
                  <a:pos x="connsiteX7122" y="connsiteY7122"/>
                </a:cxn>
                <a:cxn ang="0">
                  <a:pos x="connsiteX7123" y="connsiteY7123"/>
                </a:cxn>
                <a:cxn ang="0">
                  <a:pos x="connsiteX7124" y="connsiteY7124"/>
                </a:cxn>
                <a:cxn ang="0">
                  <a:pos x="connsiteX7125" y="connsiteY7125"/>
                </a:cxn>
                <a:cxn ang="0">
                  <a:pos x="connsiteX7126" y="connsiteY7126"/>
                </a:cxn>
                <a:cxn ang="0">
                  <a:pos x="connsiteX7127" y="connsiteY7127"/>
                </a:cxn>
                <a:cxn ang="0">
                  <a:pos x="connsiteX7128" y="connsiteY7128"/>
                </a:cxn>
                <a:cxn ang="0">
                  <a:pos x="connsiteX7129" y="connsiteY7129"/>
                </a:cxn>
                <a:cxn ang="0">
                  <a:pos x="connsiteX7130" y="connsiteY7130"/>
                </a:cxn>
                <a:cxn ang="0">
                  <a:pos x="connsiteX7131" y="connsiteY7131"/>
                </a:cxn>
                <a:cxn ang="0">
                  <a:pos x="connsiteX7132" y="connsiteY7132"/>
                </a:cxn>
                <a:cxn ang="0">
                  <a:pos x="connsiteX7133" y="connsiteY7133"/>
                </a:cxn>
                <a:cxn ang="0">
                  <a:pos x="connsiteX7134" y="connsiteY7134"/>
                </a:cxn>
                <a:cxn ang="0">
                  <a:pos x="connsiteX7135" y="connsiteY7135"/>
                </a:cxn>
                <a:cxn ang="0">
                  <a:pos x="connsiteX7136" y="connsiteY7136"/>
                </a:cxn>
                <a:cxn ang="0">
                  <a:pos x="connsiteX7137" y="connsiteY7137"/>
                </a:cxn>
                <a:cxn ang="0">
                  <a:pos x="connsiteX7138" y="connsiteY7138"/>
                </a:cxn>
                <a:cxn ang="0">
                  <a:pos x="connsiteX7139" y="connsiteY7139"/>
                </a:cxn>
                <a:cxn ang="0">
                  <a:pos x="connsiteX7140" y="connsiteY7140"/>
                </a:cxn>
                <a:cxn ang="0">
                  <a:pos x="connsiteX7141" y="connsiteY7141"/>
                </a:cxn>
                <a:cxn ang="0">
                  <a:pos x="connsiteX7142" y="connsiteY7142"/>
                </a:cxn>
                <a:cxn ang="0">
                  <a:pos x="connsiteX7143" y="connsiteY7143"/>
                </a:cxn>
                <a:cxn ang="0">
                  <a:pos x="connsiteX7144" y="connsiteY7144"/>
                </a:cxn>
                <a:cxn ang="0">
                  <a:pos x="connsiteX7145" y="connsiteY7145"/>
                </a:cxn>
                <a:cxn ang="0">
                  <a:pos x="connsiteX7146" y="connsiteY7146"/>
                </a:cxn>
                <a:cxn ang="0">
                  <a:pos x="connsiteX7147" y="connsiteY7147"/>
                </a:cxn>
                <a:cxn ang="0">
                  <a:pos x="connsiteX7148" y="connsiteY7148"/>
                </a:cxn>
                <a:cxn ang="0">
                  <a:pos x="connsiteX7149" y="connsiteY7149"/>
                </a:cxn>
                <a:cxn ang="0">
                  <a:pos x="connsiteX7150" y="connsiteY7150"/>
                </a:cxn>
                <a:cxn ang="0">
                  <a:pos x="connsiteX7151" y="connsiteY7151"/>
                </a:cxn>
                <a:cxn ang="0">
                  <a:pos x="connsiteX7152" y="connsiteY7152"/>
                </a:cxn>
                <a:cxn ang="0">
                  <a:pos x="connsiteX7153" y="connsiteY7153"/>
                </a:cxn>
                <a:cxn ang="0">
                  <a:pos x="connsiteX7154" y="connsiteY7154"/>
                </a:cxn>
                <a:cxn ang="0">
                  <a:pos x="connsiteX7155" y="connsiteY7155"/>
                </a:cxn>
                <a:cxn ang="0">
                  <a:pos x="connsiteX7156" y="connsiteY7156"/>
                </a:cxn>
                <a:cxn ang="0">
                  <a:pos x="connsiteX7157" y="connsiteY7157"/>
                </a:cxn>
                <a:cxn ang="0">
                  <a:pos x="connsiteX7158" y="connsiteY7158"/>
                </a:cxn>
                <a:cxn ang="0">
                  <a:pos x="connsiteX7159" y="connsiteY7159"/>
                </a:cxn>
                <a:cxn ang="0">
                  <a:pos x="connsiteX7160" y="connsiteY7160"/>
                </a:cxn>
                <a:cxn ang="0">
                  <a:pos x="connsiteX7161" y="connsiteY7161"/>
                </a:cxn>
                <a:cxn ang="0">
                  <a:pos x="connsiteX7162" y="connsiteY7162"/>
                </a:cxn>
                <a:cxn ang="0">
                  <a:pos x="connsiteX7163" y="connsiteY7163"/>
                </a:cxn>
                <a:cxn ang="0">
                  <a:pos x="connsiteX7164" y="connsiteY7164"/>
                </a:cxn>
                <a:cxn ang="0">
                  <a:pos x="connsiteX7165" y="connsiteY7165"/>
                </a:cxn>
                <a:cxn ang="0">
                  <a:pos x="connsiteX7166" y="connsiteY7166"/>
                </a:cxn>
                <a:cxn ang="0">
                  <a:pos x="connsiteX7167" y="connsiteY7167"/>
                </a:cxn>
                <a:cxn ang="0">
                  <a:pos x="connsiteX7168" y="connsiteY7168"/>
                </a:cxn>
                <a:cxn ang="0">
                  <a:pos x="connsiteX7169" y="connsiteY7169"/>
                </a:cxn>
                <a:cxn ang="0">
                  <a:pos x="connsiteX7170" y="connsiteY7170"/>
                </a:cxn>
                <a:cxn ang="0">
                  <a:pos x="connsiteX7171" y="connsiteY7171"/>
                </a:cxn>
                <a:cxn ang="0">
                  <a:pos x="connsiteX7172" y="connsiteY7172"/>
                </a:cxn>
                <a:cxn ang="0">
                  <a:pos x="connsiteX7173" y="connsiteY7173"/>
                </a:cxn>
                <a:cxn ang="0">
                  <a:pos x="connsiteX7174" y="connsiteY7174"/>
                </a:cxn>
                <a:cxn ang="0">
                  <a:pos x="connsiteX7175" y="connsiteY7175"/>
                </a:cxn>
                <a:cxn ang="0">
                  <a:pos x="connsiteX7176" y="connsiteY7176"/>
                </a:cxn>
                <a:cxn ang="0">
                  <a:pos x="connsiteX7177" y="connsiteY7177"/>
                </a:cxn>
                <a:cxn ang="0">
                  <a:pos x="connsiteX7178" y="connsiteY7178"/>
                </a:cxn>
                <a:cxn ang="0">
                  <a:pos x="connsiteX7179" y="connsiteY7179"/>
                </a:cxn>
                <a:cxn ang="0">
                  <a:pos x="connsiteX7180" y="connsiteY7180"/>
                </a:cxn>
                <a:cxn ang="0">
                  <a:pos x="connsiteX7181" y="connsiteY7181"/>
                </a:cxn>
                <a:cxn ang="0">
                  <a:pos x="connsiteX7182" y="connsiteY7182"/>
                </a:cxn>
                <a:cxn ang="0">
                  <a:pos x="connsiteX7183" y="connsiteY7183"/>
                </a:cxn>
                <a:cxn ang="0">
                  <a:pos x="connsiteX7184" y="connsiteY7184"/>
                </a:cxn>
                <a:cxn ang="0">
                  <a:pos x="connsiteX7185" y="connsiteY7185"/>
                </a:cxn>
                <a:cxn ang="0">
                  <a:pos x="connsiteX7186" y="connsiteY7186"/>
                </a:cxn>
                <a:cxn ang="0">
                  <a:pos x="connsiteX7187" y="connsiteY7187"/>
                </a:cxn>
                <a:cxn ang="0">
                  <a:pos x="connsiteX7188" y="connsiteY7188"/>
                </a:cxn>
                <a:cxn ang="0">
                  <a:pos x="connsiteX7189" y="connsiteY7189"/>
                </a:cxn>
                <a:cxn ang="0">
                  <a:pos x="connsiteX7190" y="connsiteY7190"/>
                </a:cxn>
                <a:cxn ang="0">
                  <a:pos x="connsiteX7191" y="connsiteY7191"/>
                </a:cxn>
                <a:cxn ang="0">
                  <a:pos x="connsiteX7192" y="connsiteY7192"/>
                </a:cxn>
                <a:cxn ang="0">
                  <a:pos x="connsiteX7193" y="connsiteY7193"/>
                </a:cxn>
                <a:cxn ang="0">
                  <a:pos x="connsiteX7194" y="connsiteY7194"/>
                </a:cxn>
                <a:cxn ang="0">
                  <a:pos x="connsiteX7195" y="connsiteY7195"/>
                </a:cxn>
                <a:cxn ang="0">
                  <a:pos x="connsiteX7196" y="connsiteY7196"/>
                </a:cxn>
                <a:cxn ang="0">
                  <a:pos x="connsiteX7197" y="connsiteY7197"/>
                </a:cxn>
                <a:cxn ang="0">
                  <a:pos x="connsiteX7198" y="connsiteY7198"/>
                </a:cxn>
                <a:cxn ang="0">
                  <a:pos x="connsiteX7199" y="connsiteY7199"/>
                </a:cxn>
                <a:cxn ang="0">
                  <a:pos x="connsiteX7200" y="connsiteY7200"/>
                </a:cxn>
                <a:cxn ang="0">
                  <a:pos x="connsiteX7201" y="connsiteY7201"/>
                </a:cxn>
                <a:cxn ang="0">
                  <a:pos x="connsiteX7202" y="connsiteY7202"/>
                </a:cxn>
                <a:cxn ang="0">
                  <a:pos x="connsiteX7203" y="connsiteY7203"/>
                </a:cxn>
                <a:cxn ang="0">
                  <a:pos x="connsiteX7204" y="connsiteY7204"/>
                </a:cxn>
                <a:cxn ang="0">
                  <a:pos x="connsiteX7205" y="connsiteY7205"/>
                </a:cxn>
                <a:cxn ang="0">
                  <a:pos x="connsiteX7206" y="connsiteY7206"/>
                </a:cxn>
                <a:cxn ang="0">
                  <a:pos x="connsiteX7207" y="connsiteY7207"/>
                </a:cxn>
                <a:cxn ang="0">
                  <a:pos x="connsiteX7208" y="connsiteY7208"/>
                </a:cxn>
                <a:cxn ang="0">
                  <a:pos x="connsiteX7209" y="connsiteY7209"/>
                </a:cxn>
                <a:cxn ang="0">
                  <a:pos x="connsiteX7210" y="connsiteY7210"/>
                </a:cxn>
                <a:cxn ang="0">
                  <a:pos x="connsiteX7211" y="connsiteY7211"/>
                </a:cxn>
                <a:cxn ang="0">
                  <a:pos x="connsiteX7212" y="connsiteY7212"/>
                </a:cxn>
                <a:cxn ang="0">
                  <a:pos x="connsiteX7213" y="connsiteY7213"/>
                </a:cxn>
                <a:cxn ang="0">
                  <a:pos x="connsiteX7214" y="connsiteY7214"/>
                </a:cxn>
                <a:cxn ang="0">
                  <a:pos x="connsiteX7215" y="connsiteY7215"/>
                </a:cxn>
                <a:cxn ang="0">
                  <a:pos x="connsiteX7216" y="connsiteY7216"/>
                </a:cxn>
                <a:cxn ang="0">
                  <a:pos x="connsiteX7217" y="connsiteY7217"/>
                </a:cxn>
                <a:cxn ang="0">
                  <a:pos x="connsiteX7218" y="connsiteY7218"/>
                </a:cxn>
                <a:cxn ang="0">
                  <a:pos x="connsiteX7219" y="connsiteY7219"/>
                </a:cxn>
                <a:cxn ang="0">
                  <a:pos x="connsiteX7220" y="connsiteY7220"/>
                </a:cxn>
                <a:cxn ang="0">
                  <a:pos x="connsiteX7221" y="connsiteY7221"/>
                </a:cxn>
                <a:cxn ang="0">
                  <a:pos x="connsiteX7222" y="connsiteY7222"/>
                </a:cxn>
                <a:cxn ang="0">
                  <a:pos x="connsiteX7223" y="connsiteY7223"/>
                </a:cxn>
                <a:cxn ang="0">
                  <a:pos x="connsiteX7224" y="connsiteY7224"/>
                </a:cxn>
                <a:cxn ang="0">
                  <a:pos x="connsiteX7225" y="connsiteY7225"/>
                </a:cxn>
                <a:cxn ang="0">
                  <a:pos x="connsiteX7226" y="connsiteY7226"/>
                </a:cxn>
                <a:cxn ang="0">
                  <a:pos x="connsiteX7227" y="connsiteY7227"/>
                </a:cxn>
                <a:cxn ang="0">
                  <a:pos x="connsiteX7228" y="connsiteY7228"/>
                </a:cxn>
                <a:cxn ang="0">
                  <a:pos x="connsiteX7229" y="connsiteY7229"/>
                </a:cxn>
                <a:cxn ang="0">
                  <a:pos x="connsiteX7230" y="connsiteY7230"/>
                </a:cxn>
                <a:cxn ang="0">
                  <a:pos x="connsiteX7231" y="connsiteY7231"/>
                </a:cxn>
                <a:cxn ang="0">
                  <a:pos x="connsiteX7232" y="connsiteY7232"/>
                </a:cxn>
                <a:cxn ang="0">
                  <a:pos x="connsiteX7233" y="connsiteY7233"/>
                </a:cxn>
                <a:cxn ang="0">
                  <a:pos x="connsiteX7234" y="connsiteY7234"/>
                </a:cxn>
                <a:cxn ang="0">
                  <a:pos x="connsiteX7235" y="connsiteY7235"/>
                </a:cxn>
                <a:cxn ang="0">
                  <a:pos x="connsiteX7236" y="connsiteY7236"/>
                </a:cxn>
                <a:cxn ang="0">
                  <a:pos x="connsiteX7237" y="connsiteY7237"/>
                </a:cxn>
                <a:cxn ang="0">
                  <a:pos x="connsiteX7238" y="connsiteY7238"/>
                </a:cxn>
                <a:cxn ang="0">
                  <a:pos x="connsiteX7239" y="connsiteY7239"/>
                </a:cxn>
                <a:cxn ang="0">
                  <a:pos x="connsiteX7240" y="connsiteY7240"/>
                </a:cxn>
                <a:cxn ang="0">
                  <a:pos x="connsiteX7241" y="connsiteY7241"/>
                </a:cxn>
                <a:cxn ang="0">
                  <a:pos x="connsiteX7242" y="connsiteY7242"/>
                </a:cxn>
                <a:cxn ang="0">
                  <a:pos x="connsiteX7243" y="connsiteY7243"/>
                </a:cxn>
                <a:cxn ang="0">
                  <a:pos x="connsiteX7244" y="connsiteY7244"/>
                </a:cxn>
                <a:cxn ang="0">
                  <a:pos x="connsiteX7245" y="connsiteY7245"/>
                </a:cxn>
                <a:cxn ang="0">
                  <a:pos x="connsiteX7246" y="connsiteY7246"/>
                </a:cxn>
                <a:cxn ang="0">
                  <a:pos x="connsiteX7247" y="connsiteY7247"/>
                </a:cxn>
                <a:cxn ang="0">
                  <a:pos x="connsiteX7248" y="connsiteY7248"/>
                </a:cxn>
                <a:cxn ang="0">
                  <a:pos x="connsiteX7249" y="connsiteY7249"/>
                </a:cxn>
                <a:cxn ang="0">
                  <a:pos x="connsiteX7250" y="connsiteY7250"/>
                </a:cxn>
                <a:cxn ang="0">
                  <a:pos x="connsiteX7251" y="connsiteY7251"/>
                </a:cxn>
                <a:cxn ang="0">
                  <a:pos x="connsiteX7252" y="connsiteY7252"/>
                </a:cxn>
                <a:cxn ang="0">
                  <a:pos x="connsiteX7253" y="connsiteY7253"/>
                </a:cxn>
                <a:cxn ang="0">
                  <a:pos x="connsiteX7254" y="connsiteY7254"/>
                </a:cxn>
                <a:cxn ang="0">
                  <a:pos x="connsiteX7255" y="connsiteY7255"/>
                </a:cxn>
                <a:cxn ang="0">
                  <a:pos x="connsiteX7256" y="connsiteY7256"/>
                </a:cxn>
                <a:cxn ang="0">
                  <a:pos x="connsiteX7257" y="connsiteY7257"/>
                </a:cxn>
                <a:cxn ang="0">
                  <a:pos x="connsiteX7258" y="connsiteY7258"/>
                </a:cxn>
                <a:cxn ang="0">
                  <a:pos x="connsiteX7259" y="connsiteY7259"/>
                </a:cxn>
                <a:cxn ang="0">
                  <a:pos x="connsiteX7260" y="connsiteY7260"/>
                </a:cxn>
                <a:cxn ang="0">
                  <a:pos x="connsiteX7261" y="connsiteY7261"/>
                </a:cxn>
                <a:cxn ang="0">
                  <a:pos x="connsiteX7262" y="connsiteY7262"/>
                </a:cxn>
                <a:cxn ang="0">
                  <a:pos x="connsiteX7263" y="connsiteY7263"/>
                </a:cxn>
                <a:cxn ang="0">
                  <a:pos x="connsiteX7264" y="connsiteY7264"/>
                </a:cxn>
                <a:cxn ang="0">
                  <a:pos x="connsiteX7265" y="connsiteY7265"/>
                </a:cxn>
                <a:cxn ang="0">
                  <a:pos x="connsiteX7266" y="connsiteY7266"/>
                </a:cxn>
                <a:cxn ang="0">
                  <a:pos x="connsiteX7267" y="connsiteY7267"/>
                </a:cxn>
                <a:cxn ang="0">
                  <a:pos x="connsiteX7268" y="connsiteY7268"/>
                </a:cxn>
                <a:cxn ang="0">
                  <a:pos x="connsiteX7269" y="connsiteY7269"/>
                </a:cxn>
                <a:cxn ang="0">
                  <a:pos x="connsiteX7270" y="connsiteY7270"/>
                </a:cxn>
                <a:cxn ang="0">
                  <a:pos x="connsiteX7271" y="connsiteY7271"/>
                </a:cxn>
                <a:cxn ang="0">
                  <a:pos x="connsiteX7272" y="connsiteY7272"/>
                </a:cxn>
                <a:cxn ang="0">
                  <a:pos x="connsiteX7273" y="connsiteY7273"/>
                </a:cxn>
                <a:cxn ang="0">
                  <a:pos x="connsiteX7274" y="connsiteY7274"/>
                </a:cxn>
                <a:cxn ang="0">
                  <a:pos x="connsiteX7275" y="connsiteY7275"/>
                </a:cxn>
                <a:cxn ang="0">
                  <a:pos x="connsiteX7276" y="connsiteY7276"/>
                </a:cxn>
                <a:cxn ang="0">
                  <a:pos x="connsiteX7277" y="connsiteY7277"/>
                </a:cxn>
                <a:cxn ang="0">
                  <a:pos x="connsiteX7278" y="connsiteY7278"/>
                </a:cxn>
                <a:cxn ang="0">
                  <a:pos x="connsiteX7279" y="connsiteY7279"/>
                </a:cxn>
                <a:cxn ang="0">
                  <a:pos x="connsiteX7280" y="connsiteY7280"/>
                </a:cxn>
                <a:cxn ang="0">
                  <a:pos x="connsiteX7281" y="connsiteY7281"/>
                </a:cxn>
                <a:cxn ang="0">
                  <a:pos x="connsiteX7282" y="connsiteY7282"/>
                </a:cxn>
                <a:cxn ang="0">
                  <a:pos x="connsiteX7283" y="connsiteY7283"/>
                </a:cxn>
                <a:cxn ang="0">
                  <a:pos x="connsiteX7284" y="connsiteY7284"/>
                </a:cxn>
                <a:cxn ang="0">
                  <a:pos x="connsiteX7285" y="connsiteY7285"/>
                </a:cxn>
                <a:cxn ang="0">
                  <a:pos x="connsiteX7286" y="connsiteY7286"/>
                </a:cxn>
                <a:cxn ang="0">
                  <a:pos x="connsiteX7287" y="connsiteY7287"/>
                </a:cxn>
                <a:cxn ang="0">
                  <a:pos x="connsiteX7288" y="connsiteY7288"/>
                </a:cxn>
                <a:cxn ang="0">
                  <a:pos x="connsiteX7289" y="connsiteY7289"/>
                </a:cxn>
                <a:cxn ang="0">
                  <a:pos x="connsiteX7290" y="connsiteY7290"/>
                </a:cxn>
                <a:cxn ang="0">
                  <a:pos x="connsiteX7291" y="connsiteY7291"/>
                </a:cxn>
                <a:cxn ang="0">
                  <a:pos x="connsiteX7292" y="connsiteY7292"/>
                </a:cxn>
                <a:cxn ang="0">
                  <a:pos x="connsiteX7293" y="connsiteY7293"/>
                </a:cxn>
                <a:cxn ang="0">
                  <a:pos x="connsiteX7294" y="connsiteY7294"/>
                </a:cxn>
                <a:cxn ang="0">
                  <a:pos x="connsiteX7295" y="connsiteY7295"/>
                </a:cxn>
                <a:cxn ang="0">
                  <a:pos x="connsiteX7296" y="connsiteY7296"/>
                </a:cxn>
                <a:cxn ang="0">
                  <a:pos x="connsiteX7297" y="connsiteY7297"/>
                </a:cxn>
                <a:cxn ang="0">
                  <a:pos x="connsiteX7298" y="connsiteY7298"/>
                </a:cxn>
                <a:cxn ang="0">
                  <a:pos x="connsiteX7299" y="connsiteY7299"/>
                </a:cxn>
                <a:cxn ang="0">
                  <a:pos x="connsiteX7300" y="connsiteY7300"/>
                </a:cxn>
                <a:cxn ang="0">
                  <a:pos x="connsiteX7301" y="connsiteY7301"/>
                </a:cxn>
                <a:cxn ang="0">
                  <a:pos x="connsiteX7302" y="connsiteY7302"/>
                </a:cxn>
                <a:cxn ang="0">
                  <a:pos x="connsiteX7303" y="connsiteY7303"/>
                </a:cxn>
                <a:cxn ang="0">
                  <a:pos x="connsiteX7304" y="connsiteY7304"/>
                </a:cxn>
                <a:cxn ang="0">
                  <a:pos x="connsiteX7305" y="connsiteY7305"/>
                </a:cxn>
                <a:cxn ang="0">
                  <a:pos x="connsiteX7306" y="connsiteY7306"/>
                </a:cxn>
                <a:cxn ang="0">
                  <a:pos x="connsiteX7307" y="connsiteY7307"/>
                </a:cxn>
                <a:cxn ang="0">
                  <a:pos x="connsiteX7308" y="connsiteY7308"/>
                </a:cxn>
                <a:cxn ang="0">
                  <a:pos x="connsiteX7309" y="connsiteY7309"/>
                </a:cxn>
                <a:cxn ang="0">
                  <a:pos x="connsiteX7310" y="connsiteY7310"/>
                </a:cxn>
                <a:cxn ang="0">
                  <a:pos x="connsiteX7311" y="connsiteY7311"/>
                </a:cxn>
                <a:cxn ang="0">
                  <a:pos x="connsiteX7312" y="connsiteY7312"/>
                </a:cxn>
                <a:cxn ang="0">
                  <a:pos x="connsiteX7313" y="connsiteY7313"/>
                </a:cxn>
                <a:cxn ang="0">
                  <a:pos x="connsiteX7314" y="connsiteY7314"/>
                </a:cxn>
                <a:cxn ang="0">
                  <a:pos x="connsiteX7315" y="connsiteY7315"/>
                </a:cxn>
                <a:cxn ang="0">
                  <a:pos x="connsiteX7316" y="connsiteY7316"/>
                </a:cxn>
                <a:cxn ang="0">
                  <a:pos x="connsiteX7317" y="connsiteY7317"/>
                </a:cxn>
                <a:cxn ang="0">
                  <a:pos x="connsiteX7318" y="connsiteY7318"/>
                </a:cxn>
                <a:cxn ang="0">
                  <a:pos x="connsiteX7319" y="connsiteY7319"/>
                </a:cxn>
                <a:cxn ang="0">
                  <a:pos x="connsiteX7320" y="connsiteY7320"/>
                </a:cxn>
                <a:cxn ang="0">
                  <a:pos x="connsiteX7321" y="connsiteY7321"/>
                </a:cxn>
                <a:cxn ang="0">
                  <a:pos x="connsiteX7322" y="connsiteY7322"/>
                </a:cxn>
                <a:cxn ang="0">
                  <a:pos x="connsiteX7323" y="connsiteY7323"/>
                </a:cxn>
                <a:cxn ang="0">
                  <a:pos x="connsiteX7324" y="connsiteY7324"/>
                </a:cxn>
                <a:cxn ang="0">
                  <a:pos x="connsiteX7325" y="connsiteY7325"/>
                </a:cxn>
                <a:cxn ang="0">
                  <a:pos x="connsiteX7326" y="connsiteY7326"/>
                </a:cxn>
                <a:cxn ang="0">
                  <a:pos x="connsiteX7327" y="connsiteY7327"/>
                </a:cxn>
                <a:cxn ang="0">
                  <a:pos x="connsiteX7328" y="connsiteY7328"/>
                </a:cxn>
                <a:cxn ang="0">
                  <a:pos x="connsiteX7329" y="connsiteY7329"/>
                </a:cxn>
                <a:cxn ang="0">
                  <a:pos x="connsiteX7330" y="connsiteY7330"/>
                </a:cxn>
                <a:cxn ang="0">
                  <a:pos x="connsiteX7331" y="connsiteY7331"/>
                </a:cxn>
                <a:cxn ang="0">
                  <a:pos x="connsiteX7332" y="connsiteY7332"/>
                </a:cxn>
                <a:cxn ang="0">
                  <a:pos x="connsiteX7333" y="connsiteY7333"/>
                </a:cxn>
                <a:cxn ang="0">
                  <a:pos x="connsiteX7334" y="connsiteY7334"/>
                </a:cxn>
                <a:cxn ang="0">
                  <a:pos x="connsiteX7335" y="connsiteY7335"/>
                </a:cxn>
                <a:cxn ang="0">
                  <a:pos x="connsiteX7336" y="connsiteY7336"/>
                </a:cxn>
                <a:cxn ang="0">
                  <a:pos x="connsiteX7337" y="connsiteY7337"/>
                </a:cxn>
                <a:cxn ang="0">
                  <a:pos x="connsiteX7338" y="connsiteY7338"/>
                </a:cxn>
                <a:cxn ang="0">
                  <a:pos x="connsiteX7339" y="connsiteY7339"/>
                </a:cxn>
                <a:cxn ang="0">
                  <a:pos x="connsiteX7340" y="connsiteY7340"/>
                </a:cxn>
                <a:cxn ang="0">
                  <a:pos x="connsiteX7341" y="connsiteY7341"/>
                </a:cxn>
                <a:cxn ang="0">
                  <a:pos x="connsiteX7342" y="connsiteY7342"/>
                </a:cxn>
                <a:cxn ang="0">
                  <a:pos x="connsiteX7343" y="connsiteY7343"/>
                </a:cxn>
                <a:cxn ang="0">
                  <a:pos x="connsiteX7344" y="connsiteY7344"/>
                </a:cxn>
                <a:cxn ang="0">
                  <a:pos x="connsiteX7345" y="connsiteY7345"/>
                </a:cxn>
                <a:cxn ang="0">
                  <a:pos x="connsiteX7346" y="connsiteY7346"/>
                </a:cxn>
                <a:cxn ang="0">
                  <a:pos x="connsiteX7347" y="connsiteY7347"/>
                </a:cxn>
                <a:cxn ang="0">
                  <a:pos x="connsiteX7348" y="connsiteY7348"/>
                </a:cxn>
                <a:cxn ang="0">
                  <a:pos x="connsiteX7349" y="connsiteY7349"/>
                </a:cxn>
                <a:cxn ang="0">
                  <a:pos x="connsiteX7350" y="connsiteY7350"/>
                </a:cxn>
                <a:cxn ang="0">
                  <a:pos x="connsiteX7351" y="connsiteY7351"/>
                </a:cxn>
                <a:cxn ang="0">
                  <a:pos x="connsiteX7352" y="connsiteY7352"/>
                </a:cxn>
                <a:cxn ang="0">
                  <a:pos x="connsiteX7353" y="connsiteY7353"/>
                </a:cxn>
                <a:cxn ang="0">
                  <a:pos x="connsiteX7354" y="connsiteY7354"/>
                </a:cxn>
                <a:cxn ang="0">
                  <a:pos x="connsiteX7355" y="connsiteY7355"/>
                </a:cxn>
                <a:cxn ang="0">
                  <a:pos x="connsiteX7356" y="connsiteY7356"/>
                </a:cxn>
                <a:cxn ang="0">
                  <a:pos x="connsiteX7357" y="connsiteY7357"/>
                </a:cxn>
                <a:cxn ang="0">
                  <a:pos x="connsiteX7358" y="connsiteY7358"/>
                </a:cxn>
                <a:cxn ang="0">
                  <a:pos x="connsiteX7359" y="connsiteY7359"/>
                </a:cxn>
                <a:cxn ang="0">
                  <a:pos x="connsiteX7360" y="connsiteY7360"/>
                </a:cxn>
                <a:cxn ang="0">
                  <a:pos x="connsiteX7361" y="connsiteY7361"/>
                </a:cxn>
                <a:cxn ang="0">
                  <a:pos x="connsiteX7362" y="connsiteY7362"/>
                </a:cxn>
                <a:cxn ang="0">
                  <a:pos x="connsiteX7363" y="connsiteY7363"/>
                </a:cxn>
                <a:cxn ang="0">
                  <a:pos x="connsiteX7364" y="connsiteY7364"/>
                </a:cxn>
                <a:cxn ang="0">
                  <a:pos x="connsiteX7365" y="connsiteY7365"/>
                </a:cxn>
                <a:cxn ang="0">
                  <a:pos x="connsiteX7366" y="connsiteY7366"/>
                </a:cxn>
                <a:cxn ang="0">
                  <a:pos x="connsiteX7367" y="connsiteY7367"/>
                </a:cxn>
                <a:cxn ang="0">
                  <a:pos x="connsiteX7368" y="connsiteY7368"/>
                </a:cxn>
                <a:cxn ang="0">
                  <a:pos x="connsiteX7369" y="connsiteY7369"/>
                </a:cxn>
                <a:cxn ang="0">
                  <a:pos x="connsiteX7370" y="connsiteY7370"/>
                </a:cxn>
                <a:cxn ang="0">
                  <a:pos x="connsiteX7371" y="connsiteY7371"/>
                </a:cxn>
                <a:cxn ang="0">
                  <a:pos x="connsiteX7372" y="connsiteY7372"/>
                </a:cxn>
                <a:cxn ang="0">
                  <a:pos x="connsiteX7373" y="connsiteY7373"/>
                </a:cxn>
                <a:cxn ang="0">
                  <a:pos x="connsiteX7374" y="connsiteY7374"/>
                </a:cxn>
                <a:cxn ang="0">
                  <a:pos x="connsiteX7375" y="connsiteY7375"/>
                </a:cxn>
                <a:cxn ang="0">
                  <a:pos x="connsiteX7376" y="connsiteY7376"/>
                </a:cxn>
                <a:cxn ang="0">
                  <a:pos x="connsiteX7377" y="connsiteY7377"/>
                </a:cxn>
                <a:cxn ang="0">
                  <a:pos x="connsiteX7378" y="connsiteY7378"/>
                </a:cxn>
                <a:cxn ang="0">
                  <a:pos x="connsiteX7379" y="connsiteY7379"/>
                </a:cxn>
                <a:cxn ang="0">
                  <a:pos x="connsiteX7380" y="connsiteY7380"/>
                </a:cxn>
                <a:cxn ang="0">
                  <a:pos x="connsiteX7381" y="connsiteY7381"/>
                </a:cxn>
                <a:cxn ang="0">
                  <a:pos x="connsiteX7382" y="connsiteY7382"/>
                </a:cxn>
                <a:cxn ang="0">
                  <a:pos x="connsiteX7383" y="connsiteY7383"/>
                </a:cxn>
                <a:cxn ang="0">
                  <a:pos x="connsiteX7384" y="connsiteY7384"/>
                </a:cxn>
                <a:cxn ang="0">
                  <a:pos x="connsiteX7385" y="connsiteY7385"/>
                </a:cxn>
                <a:cxn ang="0">
                  <a:pos x="connsiteX7386" y="connsiteY7386"/>
                </a:cxn>
                <a:cxn ang="0">
                  <a:pos x="connsiteX7387" y="connsiteY7387"/>
                </a:cxn>
                <a:cxn ang="0">
                  <a:pos x="connsiteX7388" y="connsiteY7388"/>
                </a:cxn>
                <a:cxn ang="0">
                  <a:pos x="connsiteX7389" y="connsiteY7389"/>
                </a:cxn>
                <a:cxn ang="0">
                  <a:pos x="connsiteX7390" y="connsiteY7390"/>
                </a:cxn>
                <a:cxn ang="0">
                  <a:pos x="connsiteX7391" y="connsiteY7391"/>
                </a:cxn>
                <a:cxn ang="0">
                  <a:pos x="connsiteX7392" y="connsiteY7392"/>
                </a:cxn>
                <a:cxn ang="0">
                  <a:pos x="connsiteX7393" y="connsiteY7393"/>
                </a:cxn>
                <a:cxn ang="0">
                  <a:pos x="connsiteX7394" y="connsiteY7394"/>
                </a:cxn>
                <a:cxn ang="0">
                  <a:pos x="connsiteX7395" y="connsiteY7395"/>
                </a:cxn>
                <a:cxn ang="0">
                  <a:pos x="connsiteX7396" y="connsiteY7396"/>
                </a:cxn>
                <a:cxn ang="0">
                  <a:pos x="connsiteX7397" y="connsiteY7397"/>
                </a:cxn>
                <a:cxn ang="0">
                  <a:pos x="connsiteX7398" y="connsiteY7398"/>
                </a:cxn>
                <a:cxn ang="0">
                  <a:pos x="connsiteX7399" y="connsiteY7399"/>
                </a:cxn>
                <a:cxn ang="0">
                  <a:pos x="connsiteX7400" y="connsiteY7400"/>
                </a:cxn>
                <a:cxn ang="0">
                  <a:pos x="connsiteX7401" y="connsiteY7401"/>
                </a:cxn>
                <a:cxn ang="0">
                  <a:pos x="connsiteX7402" y="connsiteY7402"/>
                </a:cxn>
                <a:cxn ang="0">
                  <a:pos x="connsiteX7403" y="connsiteY7403"/>
                </a:cxn>
                <a:cxn ang="0">
                  <a:pos x="connsiteX7404" y="connsiteY7404"/>
                </a:cxn>
                <a:cxn ang="0">
                  <a:pos x="connsiteX7405" y="connsiteY7405"/>
                </a:cxn>
                <a:cxn ang="0">
                  <a:pos x="connsiteX7406" y="connsiteY7406"/>
                </a:cxn>
                <a:cxn ang="0">
                  <a:pos x="connsiteX7407" y="connsiteY7407"/>
                </a:cxn>
                <a:cxn ang="0">
                  <a:pos x="connsiteX7408" y="connsiteY7408"/>
                </a:cxn>
                <a:cxn ang="0">
                  <a:pos x="connsiteX7409" y="connsiteY7409"/>
                </a:cxn>
                <a:cxn ang="0">
                  <a:pos x="connsiteX7410" y="connsiteY7410"/>
                </a:cxn>
                <a:cxn ang="0">
                  <a:pos x="connsiteX7411" y="connsiteY7411"/>
                </a:cxn>
                <a:cxn ang="0">
                  <a:pos x="connsiteX7412" y="connsiteY7412"/>
                </a:cxn>
                <a:cxn ang="0">
                  <a:pos x="connsiteX7413" y="connsiteY7413"/>
                </a:cxn>
                <a:cxn ang="0">
                  <a:pos x="connsiteX7414" y="connsiteY7414"/>
                </a:cxn>
                <a:cxn ang="0">
                  <a:pos x="connsiteX7415" y="connsiteY7415"/>
                </a:cxn>
                <a:cxn ang="0">
                  <a:pos x="connsiteX7416" y="connsiteY7416"/>
                </a:cxn>
                <a:cxn ang="0">
                  <a:pos x="connsiteX7417" y="connsiteY7417"/>
                </a:cxn>
                <a:cxn ang="0">
                  <a:pos x="connsiteX7418" y="connsiteY7418"/>
                </a:cxn>
                <a:cxn ang="0">
                  <a:pos x="connsiteX7419" y="connsiteY7419"/>
                </a:cxn>
                <a:cxn ang="0">
                  <a:pos x="connsiteX7420" y="connsiteY7420"/>
                </a:cxn>
                <a:cxn ang="0">
                  <a:pos x="connsiteX7421" y="connsiteY7421"/>
                </a:cxn>
                <a:cxn ang="0">
                  <a:pos x="connsiteX7422" y="connsiteY7422"/>
                </a:cxn>
                <a:cxn ang="0">
                  <a:pos x="connsiteX7423" y="connsiteY7423"/>
                </a:cxn>
                <a:cxn ang="0">
                  <a:pos x="connsiteX7424" y="connsiteY7424"/>
                </a:cxn>
                <a:cxn ang="0">
                  <a:pos x="connsiteX7425" y="connsiteY7425"/>
                </a:cxn>
                <a:cxn ang="0">
                  <a:pos x="connsiteX7426" y="connsiteY7426"/>
                </a:cxn>
                <a:cxn ang="0">
                  <a:pos x="connsiteX7427" y="connsiteY7427"/>
                </a:cxn>
                <a:cxn ang="0">
                  <a:pos x="connsiteX7428" y="connsiteY7428"/>
                </a:cxn>
                <a:cxn ang="0">
                  <a:pos x="connsiteX7429" y="connsiteY7429"/>
                </a:cxn>
                <a:cxn ang="0">
                  <a:pos x="connsiteX7430" y="connsiteY7430"/>
                </a:cxn>
                <a:cxn ang="0">
                  <a:pos x="connsiteX7431" y="connsiteY7431"/>
                </a:cxn>
                <a:cxn ang="0">
                  <a:pos x="connsiteX7432" y="connsiteY7432"/>
                </a:cxn>
                <a:cxn ang="0">
                  <a:pos x="connsiteX7433" y="connsiteY7433"/>
                </a:cxn>
                <a:cxn ang="0">
                  <a:pos x="connsiteX7434" y="connsiteY7434"/>
                </a:cxn>
                <a:cxn ang="0">
                  <a:pos x="connsiteX7435" y="connsiteY7435"/>
                </a:cxn>
                <a:cxn ang="0">
                  <a:pos x="connsiteX7436" y="connsiteY7436"/>
                </a:cxn>
                <a:cxn ang="0">
                  <a:pos x="connsiteX7437" y="connsiteY7437"/>
                </a:cxn>
                <a:cxn ang="0">
                  <a:pos x="connsiteX7438" y="connsiteY7438"/>
                </a:cxn>
                <a:cxn ang="0">
                  <a:pos x="connsiteX7439" y="connsiteY7439"/>
                </a:cxn>
                <a:cxn ang="0">
                  <a:pos x="connsiteX7440" y="connsiteY7440"/>
                </a:cxn>
                <a:cxn ang="0">
                  <a:pos x="connsiteX7441" y="connsiteY7441"/>
                </a:cxn>
                <a:cxn ang="0">
                  <a:pos x="connsiteX7442" y="connsiteY7442"/>
                </a:cxn>
                <a:cxn ang="0">
                  <a:pos x="connsiteX7443" y="connsiteY7443"/>
                </a:cxn>
                <a:cxn ang="0">
                  <a:pos x="connsiteX7444" y="connsiteY7444"/>
                </a:cxn>
                <a:cxn ang="0">
                  <a:pos x="connsiteX7445" y="connsiteY7445"/>
                </a:cxn>
                <a:cxn ang="0">
                  <a:pos x="connsiteX7446" y="connsiteY7446"/>
                </a:cxn>
                <a:cxn ang="0">
                  <a:pos x="connsiteX7447" y="connsiteY7447"/>
                </a:cxn>
                <a:cxn ang="0">
                  <a:pos x="connsiteX7448" y="connsiteY7448"/>
                </a:cxn>
                <a:cxn ang="0">
                  <a:pos x="connsiteX7449" y="connsiteY7449"/>
                </a:cxn>
                <a:cxn ang="0">
                  <a:pos x="connsiteX7450" y="connsiteY7450"/>
                </a:cxn>
                <a:cxn ang="0">
                  <a:pos x="connsiteX7451" y="connsiteY7451"/>
                </a:cxn>
                <a:cxn ang="0">
                  <a:pos x="connsiteX7452" y="connsiteY7452"/>
                </a:cxn>
                <a:cxn ang="0">
                  <a:pos x="connsiteX7453" y="connsiteY7453"/>
                </a:cxn>
                <a:cxn ang="0">
                  <a:pos x="connsiteX7454" y="connsiteY7454"/>
                </a:cxn>
                <a:cxn ang="0">
                  <a:pos x="connsiteX7455" y="connsiteY7455"/>
                </a:cxn>
                <a:cxn ang="0">
                  <a:pos x="connsiteX7456" y="connsiteY7456"/>
                </a:cxn>
                <a:cxn ang="0">
                  <a:pos x="connsiteX7457" y="connsiteY7457"/>
                </a:cxn>
                <a:cxn ang="0">
                  <a:pos x="connsiteX7458" y="connsiteY7458"/>
                </a:cxn>
                <a:cxn ang="0">
                  <a:pos x="connsiteX7459" y="connsiteY7459"/>
                </a:cxn>
                <a:cxn ang="0">
                  <a:pos x="connsiteX7460" y="connsiteY7460"/>
                </a:cxn>
                <a:cxn ang="0">
                  <a:pos x="connsiteX7461" y="connsiteY7461"/>
                </a:cxn>
                <a:cxn ang="0">
                  <a:pos x="connsiteX7462" y="connsiteY7462"/>
                </a:cxn>
                <a:cxn ang="0">
                  <a:pos x="connsiteX7463" y="connsiteY7463"/>
                </a:cxn>
                <a:cxn ang="0">
                  <a:pos x="connsiteX7464" y="connsiteY7464"/>
                </a:cxn>
                <a:cxn ang="0">
                  <a:pos x="connsiteX7465" y="connsiteY7465"/>
                </a:cxn>
                <a:cxn ang="0">
                  <a:pos x="connsiteX7466" y="connsiteY7466"/>
                </a:cxn>
                <a:cxn ang="0">
                  <a:pos x="connsiteX7467" y="connsiteY7467"/>
                </a:cxn>
                <a:cxn ang="0">
                  <a:pos x="connsiteX7468" y="connsiteY7468"/>
                </a:cxn>
                <a:cxn ang="0">
                  <a:pos x="connsiteX7469" y="connsiteY7469"/>
                </a:cxn>
                <a:cxn ang="0">
                  <a:pos x="connsiteX7470" y="connsiteY7470"/>
                </a:cxn>
                <a:cxn ang="0">
                  <a:pos x="connsiteX7471" y="connsiteY7471"/>
                </a:cxn>
                <a:cxn ang="0">
                  <a:pos x="connsiteX7472" y="connsiteY7472"/>
                </a:cxn>
                <a:cxn ang="0">
                  <a:pos x="connsiteX7473" y="connsiteY7473"/>
                </a:cxn>
                <a:cxn ang="0">
                  <a:pos x="connsiteX7474" y="connsiteY7474"/>
                </a:cxn>
                <a:cxn ang="0">
                  <a:pos x="connsiteX7475" y="connsiteY7475"/>
                </a:cxn>
                <a:cxn ang="0">
                  <a:pos x="connsiteX7476" y="connsiteY7476"/>
                </a:cxn>
                <a:cxn ang="0">
                  <a:pos x="connsiteX7477" y="connsiteY7477"/>
                </a:cxn>
                <a:cxn ang="0">
                  <a:pos x="connsiteX7478" y="connsiteY7478"/>
                </a:cxn>
                <a:cxn ang="0">
                  <a:pos x="connsiteX7479" y="connsiteY7479"/>
                </a:cxn>
                <a:cxn ang="0">
                  <a:pos x="connsiteX7480" y="connsiteY7480"/>
                </a:cxn>
                <a:cxn ang="0">
                  <a:pos x="connsiteX7481" y="connsiteY7481"/>
                </a:cxn>
                <a:cxn ang="0">
                  <a:pos x="connsiteX7482" y="connsiteY7482"/>
                </a:cxn>
                <a:cxn ang="0">
                  <a:pos x="connsiteX7483" y="connsiteY7483"/>
                </a:cxn>
                <a:cxn ang="0">
                  <a:pos x="connsiteX7484" y="connsiteY7484"/>
                </a:cxn>
                <a:cxn ang="0">
                  <a:pos x="connsiteX7485" y="connsiteY7485"/>
                </a:cxn>
                <a:cxn ang="0">
                  <a:pos x="connsiteX7486" y="connsiteY7486"/>
                </a:cxn>
                <a:cxn ang="0">
                  <a:pos x="connsiteX7487" y="connsiteY7487"/>
                </a:cxn>
                <a:cxn ang="0">
                  <a:pos x="connsiteX7488" y="connsiteY7488"/>
                </a:cxn>
                <a:cxn ang="0">
                  <a:pos x="connsiteX7489" y="connsiteY7489"/>
                </a:cxn>
                <a:cxn ang="0">
                  <a:pos x="connsiteX7490" y="connsiteY7490"/>
                </a:cxn>
                <a:cxn ang="0">
                  <a:pos x="connsiteX7491" y="connsiteY7491"/>
                </a:cxn>
                <a:cxn ang="0">
                  <a:pos x="connsiteX7492" y="connsiteY7492"/>
                </a:cxn>
                <a:cxn ang="0">
                  <a:pos x="connsiteX7493" y="connsiteY7493"/>
                </a:cxn>
                <a:cxn ang="0">
                  <a:pos x="connsiteX7494" y="connsiteY7494"/>
                </a:cxn>
                <a:cxn ang="0">
                  <a:pos x="connsiteX7495" y="connsiteY7495"/>
                </a:cxn>
                <a:cxn ang="0">
                  <a:pos x="connsiteX7496" y="connsiteY7496"/>
                </a:cxn>
                <a:cxn ang="0">
                  <a:pos x="connsiteX7497" y="connsiteY7497"/>
                </a:cxn>
                <a:cxn ang="0">
                  <a:pos x="connsiteX7498" y="connsiteY7498"/>
                </a:cxn>
                <a:cxn ang="0">
                  <a:pos x="connsiteX7499" y="connsiteY7499"/>
                </a:cxn>
                <a:cxn ang="0">
                  <a:pos x="connsiteX7500" y="connsiteY7500"/>
                </a:cxn>
                <a:cxn ang="0">
                  <a:pos x="connsiteX7501" y="connsiteY7501"/>
                </a:cxn>
                <a:cxn ang="0">
                  <a:pos x="connsiteX7502" y="connsiteY7502"/>
                </a:cxn>
                <a:cxn ang="0">
                  <a:pos x="connsiteX7503" y="connsiteY7503"/>
                </a:cxn>
                <a:cxn ang="0">
                  <a:pos x="connsiteX7504" y="connsiteY7504"/>
                </a:cxn>
                <a:cxn ang="0">
                  <a:pos x="connsiteX7505" y="connsiteY7505"/>
                </a:cxn>
                <a:cxn ang="0">
                  <a:pos x="connsiteX7506" y="connsiteY7506"/>
                </a:cxn>
                <a:cxn ang="0">
                  <a:pos x="connsiteX7507" y="connsiteY7507"/>
                </a:cxn>
                <a:cxn ang="0">
                  <a:pos x="connsiteX7508" y="connsiteY7508"/>
                </a:cxn>
                <a:cxn ang="0">
                  <a:pos x="connsiteX7509" y="connsiteY7509"/>
                </a:cxn>
                <a:cxn ang="0">
                  <a:pos x="connsiteX7510" y="connsiteY7510"/>
                </a:cxn>
                <a:cxn ang="0">
                  <a:pos x="connsiteX7511" y="connsiteY7511"/>
                </a:cxn>
                <a:cxn ang="0">
                  <a:pos x="connsiteX7512" y="connsiteY7512"/>
                </a:cxn>
                <a:cxn ang="0">
                  <a:pos x="connsiteX7513" y="connsiteY7513"/>
                </a:cxn>
                <a:cxn ang="0">
                  <a:pos x="connsiteX7514" y="connsiteY7514"/>
                </a:cxn>
                <a:cxn ang="0">
                  <a:pos x="connsiteX7515" y="connsiteY7515"/>
                </a:cxn>
                <a:cxn ang="0">
                  <a:pos x="connsiteX7516" y="connsiteY7516"/>
                </a:cxn>
                <a:cxn ang="0">
                  <a:pos x="connsiteX7517" y="connsiteY7517"/>
                </a:cxn>
                <a:cxn ang="0">
                  <a:pos x="connsiteX7518" y="connsiteY7518"/>
                </a:cxn>
                <a:cxn ang="0">
                  <a:pos x="connsiteX7519" y="connsiteY7519"/>
                </a:cxn>
                <a:cxn ang="0">
                  <a:pos x="connsiteX7520" y="connsiteY7520"/>
                </a:cxn>
                <a:cxn ang="0">
                  <a:pos x="connsiteX7521" y="connsiteY7521"/>
                </a:cxn>
                <a:cxn ang="0">
                  <a:pos x="connsiteX7522" y="connsiteY7522"/>
                </a:cxn>
                <a:cxn ang="0">
                  <a:pos x="connsiteX7523" y="connsiteY7523"/>
                </a:cxn>
                <a:cxn ang="0">
                  <a:pos x="connsiteX7524" y="connsiteY7524"/>
                </a:cxn>
                <a:cxn ang="0">
                  <a:pos x="connsiteX7525" y="connsiteY7525"/>
                </a:cxn>
                <a:cxn ang="0">
                  <a:pos x="connsiteX7526" y="connsiteY7526"/>
                </a:cxn>
                <a:cxn ang="0">
                  <a:pos x="connsiteX7527" y="connsiteY7527"/>
                </a:cxn>
                <a:cxn ang="0">
                  <a:pos x="connsiteX7528" y="connsiteY7528"/>
                </a:cxn>
                <a:cxn ang="0">
                  <a:pos x="connsiteX7529" y="connsiteY7529"/>
                </a:cxn>
                <a:cxn ang="0">
                  <a:pos x="connsiteX7530" y="connsiteY7530"/>
                </a:cxn>
                <a:cxn ang="0">
                  <a:pos x="connsiteX7531" y="connsiteY7531"/>
                </a:cxn>
                <a:cxn ang="0">
                  <a:pos x="connsiteX7532" y="connsiteY7532"/>
                </a:cxn>
                <a:cxn ang="0">
                  <a:pos x="connsiteX7533" y="connsiteY7533"/>
                </a:cxn>
                <a:cxn ang="0">
                  <a:pos x="connsiteX7534" y="connsiteY7534"/>
                </a:cxn>
                <a:cxn ang="0">
                  <a:pos x="connsiteX7535" y="connsiteY7535"/>
                </a:cxn>
                <a:cxn ang="0">
                  <a:pos x="connsiteX7536" y="connsiteY7536"/>
                </a:cxn>
                <a:cxn ang="0">
                  <a:pos x="connsiteX7537" y="connsiteY7537"/>
                </a:cxn>
                <a:cxn ang="0">
                  <a:pos x="connsiteX7538" y="connsiteY7538"/>
                </a:cxn>
                <a:cxn ang="0">
                  <a:pos x="connsiteX7539" y="connsiteY7539"/>
                </a:cxn>
                <a:cxn ang="0">
                  <a:pos x="connsiteX7540" y="connsiteY7540"/>
                </a:cxn>
                <a:cxn ang="0">
                  <a:pos x="connsiteX7541" y="connsiteY7541"/>
                </a:cxn>
                <a:cxn ang="0">
                  <a:pos x="connsiteX7542" y="connsiteY7542"/>
                </a:cxn>
                <a:cxn ang="0">
                  <a:pos x="connsiteX7543" y="connsiteY7543"/>
                </a:cxn>
                <a:cxn ang="0">
                  <a:pos x="connsiteX7544" y="connsiteY7544"/>
                </a:cxn>
                <a:cxn ang="0">
                  <a:pos x="connsiteX7545" y="connsiteY7545"/>
                </a:cxn>
                <a:cxn ang="0">
                  <a:pos x="connsiteX7546" y="connsiteY7546"/>
                </a:cxn>
                <a:cxn ang="0">
                  <a:pos x="connsiteX7547" y="connsiteY7547"/>
                </a:cxn>
                <a:cxn ang="0">
                  <a:pos x="connsiteX7548" y="connsiteY7548"/>
                </a:cxn>
                <a:cxn ang="0">
                  <a:pos x="connsiteX7549" y="connsiteY7549"/>
                </a:cxn>
                <a:cxn ang="0">
                  <a:pos x="connsiteX7550" y="connsiteY7550"/>
                </a:cxn>
                <a:cxn ang="0">
                  <a:pos x="connsiteX7551" y="connsiteY7551"/>
                </a:cxn>
                <a:cxn ang="0">
                  <a:pos x="connsiteX7552" y="connsiteY7552"/>
                </a:cxn>
                <a:cxn ang="0">
                  <a:pos x="connsiteX7553" y="connsiteY7553"/>
                </a:cxn>
                <a:cxn ang="0">
                  <a:pos x="connsiteX7554" y="connsiteY7554"/>
                </a:cxn>
                <a:cxn ang="0">
                  <a:pos x="connsiteX7555" y="connsiteY7555"/>
                </a:cxn>
                <a:cxn ang="0">
                  <a:pos x="connsiteX7556" y="connsiteY7556"/>
                </a:cxn>
                <a:cxn ang="0">
                  <a:pos x="connsiteX7557" y="connsiteY7557"/>
                </a:cxn>
                <a:cxn ang="0">
                  <a:pos x="connsiteX7558" y="connsiteY7558"/>
                </a:cxn>
                <a:cxn ang="0">
                  <a:pos x="connsiteX7559" y="connsiteY7559"/>
                </a:cxn>
                <a:cxn ang="0">
                  <a:pos x="connsiteX7560" y="connsiteY7560"/>
                </a:cxn>
                <a:cxn ang="0">
                  <a:pos x="connsiteX7561" y="connsiteY7561"/>
                </a:cxn>
                <a:cxn ang="0">
                  <a:pos x="connsiteX7562" y="connsiteY7562"/>
                </a:cxn>
                <a:cxn ang="0">
                  <a:pos x="connsiteX7563" y="connsiteY7563"/>
                </a:cxn>
                <a:cxn ang="0">
                  <a:pos x="connsiteX7564" y="connsiteY7564"/>
                </a:cxn>
                <a:cxn ang="0">
                  <a:pos x="connsiteX7565" y="connsiteY7565"/>
                </a:cxn>
                <a:cxn ang="0">
                  <a:pos x="connsiteX7566" y="connsiteY7566"/>
                </a:cxn>
                <a:cxn ang="0">
                  <a:pos x="connsiteX7567" y="connsiteY7567"/>
                </a:cxn>
                <a:cxn ang="0">
                  <a:pos x="connsiteX7568" y="connsiteY7568"/>
                </a:cxn>
                <a:cxn ang="0">
                  <a:pos x="connsiteX7569" y="connsiteY7569"/>
                </a:cxn>
                <a:cxn ang="0">
                  <a:pos x="connsiteX7570" y="connsiteY7570"/>
                </a:cxn>
                <a:cxn ang="0">
                  <a:pos x="connsiteX7571" y="connsiteY7571"/>
                </a:cxn>
                <a:cxn ang="0">
                  <a:pos x="connsiteX7572" y="connsiteY7572"/>
                </a:cxn>
                <a:cxn ang="0">
                  <a:pos x="connsiteX7573" y="connsiteY7573"/>
                </a:cxn>
                <a:cxn ang="0">
                  <a:pos x="connsiteX7574" y="connsiteY7574"/>
                </a:cxn>
                <a:cxn ang="0">
                  <a:pos x="connsiteX7575" y="connsiteY7575"/>
                </a:cxn>
                <a:cxn ang="0">
                  <a:pos x="connsiteX7576" y="connsiteY7576"/>
                </a:cxn>
                <a:cxn ang="0">
                  <a:pos x="connsiteX7577" y="connsiteY7577"/>
                </a:cxn>
                <a:cxn ang="0">
                  <a:pos x="connsiteX7578" y="connsiteY7578"/>
                </a:cxn>
                <a:cxn ang="0">
                  <a:pos x="connsiteX7579" y="connsiteY7579"/>
                </a:cxn>
                <a:cxn ang="0">
                  <a:pos x="connsiteX7580" y="connsiteY7580"/>
                </a:cxn>
                <a:cxn ang="0">
                  <a:pos x="connsiteX7581" y="connsiteY7581"/>
                </a:cxn>
                <a:cxn ang="0">
                  <a:pos x="connsiteX7582" y="connsiteY7582"/>
                </a:cxn>
                <a:cxn ang="0">
                  <a:pos x="connsiteX7583" y="connsiteY7583"/>
                </a:cxn>
                <a:cxn ang="0">
                  <a:pos x="connsiteX7584" y="connsiteY7584"/>
                </a:cxn>
                <a:cxn ang="0">
                  <a:pos x="connsiteX7585" y="connsiteY7585"/>
                </a:cxn>
                <a:cxn ang="0">
                  <a:pos x="connsiteX7586" y="connsiteY7586"/>
                </a:cxn>
                <a:cxn ang="0">
                  <a:pos x="connsiteX7587" y="connsiteY7587"/>
                </a:cxn>
                <a:cxn ang="0">
                  <a:pos x="connsiteX7588" y="connsiteY7588"/>
                </a:cxn>
                <a:cxn ang="0">
                  <a:pos x="connsiteX7589" y="connsiteY7589"/>
                </a:cxn>
                <a:cxn ang="0">
                  <a:pos x="connsiteX7590" y="connsiteY7590"/>
                </a:cxn>
                <a:cxn ang="0">
                  <a:pos x="connsiteX7591" y="connsiteY7591"/>
                </a:cxn>
                <a:cxn ang="0">
                  <a:pos x="connsiteX7592" y="connsiteY7592"/>
                </a:cxn>
                <a:cxn ang="0">
                  <a:pos x="connsiteX7593" y="connsiteY7593"/>
                </a:cxn>
                <a:cxn ang="0">
                  <a:pos x="connsiteX7594" y="connsiteY7594"/>
                </a:cxn>
                <a:cxn ang="0">
                  <a:pos x="connsiteX7595" y="connsiteY7595"/>
                </a:cxn>
                <a:cxn ang="0">
                  <a:pos x="connsiteX7596" y="connsiteY7596"/>
                </a:cxn>
                <a:cxn ang="0">
                  <a:pos x="connsiteX7597" y="connsiteY7597"/>
                </a:cxn>
                <a:cxn ang="0">
                  <a:pos x="connsiteX7598" y="connsiteY7598"/>
                </a:cxn>
                <a:cxn ang="0">
                  <a:pos x="connsiteX7599" y="connsiteY7599"/>
                </a:cxn>
                <a:cxn ang="0">
                  <a:pos x="connsiteX7600" y="connsiteY7600"/>
                </a:cxn>
                <a:cxn ang="0">
                  <a:pos x="connsiteX7601" y="connsiteY7601"/>
                </a:cxn>
                <a:cxn ang="0">
                  <a:pos x="connsiteX7602" y="connsiteY7602"/>
                </a:cxn>
                <a:cxn ang="0">
                  <a:pos x="connsiteX7603" y="connsiteY7603"/>
                </a:cxn>
                <a:cxn ang="0">
                  <a:pos x="connsiteX7604" y="connsiteY7604"/>
                </a:cxn>
                <a:cxn ang="0">
                  <a:pos x="connsiteX7605" y="connsiteY7605"/>
                </a:cxn>
                <a:cxn ang="0">
                  <a:pos x="connsiteX7606" y="connsiteY7606"/>
                </a:cxn>
                <a:cxn ang="0">
                  <a:pos x="connsiteX7607" y="connsiteY7607"/>
                </a:cxn>
                <a:cxn ang="0">
                  <a:pos x="connsiteX7608" y="connsiteY7608"/>
                </a:cxn>
                <a:cxn ang="0">
                  <a:pos x="connsiteX7609" y="connsiteY7609"/>
                </a:cxn>
                <a:cxn ang="0">
                  <a:pos x="connsiteX7610" y="connsiteY7610"/>
                </a:cxn>
                <a:cxn ang="0">
                  <a:pos x="connsiteX7611" y="connsiteY7611"/>
                </a:cxn>
                <a:cxn ang="0">
                  <a:pos x="connsiteX7612" y="connsiteY7612"/>
                </a:cxn>
                <a:cxn ang="0">
                  <a:pos x="connsiteX7613" y="connsiteY7613"/>
                </a:cxn>
                <a:cxn ang="0">
                  <a:pos x="connsiteX7614" y="connsiteY7614"/>
                </a:cxn>
                <a:cxn ang="0">
                  <a:pos x="connsiteX7615" y="connsiteY7615"/>
                </a:cxn>
                <a:cxn ang="0">
                  <a:pos x="connsiteX7616" y="connsiteY7616"/>
                </a:cxn>
                <a:cxn ang="0">
                  <a:pos x="connsiteX7617" y="connsiteY7617"/>
                </a:cxn>
                <a:cxn ang="0">
                  <a:pos x="connsiteX7618" y="connsiteY7618"/>
                </a:cxn>
                <a:cxn ang="0">
                  <a:pos x="connsiteX7619" y="connsiteY7619"/>
                </a:cxn>
                <a:cxn ang="0">
                  <a:pos x="connsiteX7620" y="connsiteY7620"/>
                </a:cxn>
                <a:cxn ang="0">
                  <a:pos x="connsiteX7621" y="connsiteY7621"/>
                </a:cxn>
                <a:cxn ang="0">
                  <a:pos x="connsiteX7622" y="connsiteY7622"/>
                </a:cxn>
                <a:cxn ang="0">
                  <a:pos x="connsiteX7623" y="connsiteY7623"/>
                </a:cxn>
                <a:cxn ang="0">
                  <a:pos x="connsiteX7624" y="connsiteY7624"/>
                </a:cxn>
                <a:cxn ang="0">
                  <a:pos x="connsiteX7625" y="connsiteY7625"/>
                </a:cxn>
                <a:cxn ang="0">
                  <a:pos x="connsiteX7626" y="connsiteY7626"/>
                </a:cxn>
                <a:cxn ang="0">
                  <a:pos x="connsiteX7627" y="connsiteY7627"/>
                </a:cxn>
                <a:cxn ang="0">
                  <a:pos x="connsiteX7628" y="connsiteY7628"/>
                </a:cxn>
                <a:cxn ang="0">
                  <a:pos x="connsiteX7629" y="connsiteY7629"/>
                </a:cxn>
                <a:cxn ang="0">
                  <a:pos x="connsiteX7630" y="connsiteY7630"/>
                </a:cxn>
                <a:cxn ang="0">
                  <a:pos x="connsiteX7631" y="connsiteY7631"/>
                </a:cxn>
                <a:cxn ang="0">
                  <a:pos x="connsiteX7632" y="connsiteY7632"/>
                </a:cxn>
                <a:cxn ang="0">
                  <a:pos x="connsiteX7633" y="connsiteY7633"/>
                </a:cxn>
                <a:cxn ang="0">
                  <a:pos x="connsiteX7634" y="connsiteY7634"/>
                </a:cxn>
                <a:cxn ang="0">
                  <a:pos x="connsiteX7635" y="connsiteY7635"/>
                </a:cxn>
                <a:cxn ang="0">
                  <a:pos x="connsiteX7636" y="connsiteY7636"/>
                </a:cxn>
                <a:cxn ang="0">
                  <a:pos x="connsiteX7637" y="connsiteY7637"/>
                </a:cxn>
                <a:cxn ang="0">
                  <a:pos x="connsiteX7638" y="connsiteY7638"/>
                </a:cxn>
                <a:cxn ang="0">
                  <a:pos x="connsiteX7639" y="connsiteY7639"/>
                </a:cxn>
                <a:cxn ang="0">
                  <a:pos x="connsiteX7640" y="connsiteY7640"/>
                </a:cxn>
                <a:cxn ang="0">
                  <a:pos x="connsiteX7641" y="connsiteY7641"/>
                </a:cxn>
                <a:cxn ang="0">
                  <a:pos x="connsiteX7642" y="connsiteY7642"/>
                </a:cxn>
                <a:cxn ang="0">
                  <a:pos x="connsiteX7643" y="connsiteY7643"/>
                </a:cxn>
                <a:cxn ang="0">
                  <a:pos x="connsiteX7644" y="connsiteY7644"/>
                </a:cxn>
                <a:cxn ang="0">
                  <a:pos x="connsiteX7645" y="connsiteY7645"/>
                </a:cxn>
                <a:cxn ang="0">
                  <a:pos x="connsiteX7646" y="connsiteY7646"/>
                </a:cxn>
                <a:cxn ang="0">
                  <a:pos x="connsiteX7647" y="connsiteY7647"/>
                </a:cxn>
                <a:cxn ang="0">
                  <a:pos x="connsiteX7648" y="connsiteY7648"/>
                </a:cxn>
                <a:cxn ang="0">
                  <a:pos x="connsiteX7649" y="connsiteY7649"/>
                </a:cxn>
                <a:cxn ang="0">
                  <a:pos x="connsiteX7650" y="connsiteY7650"/>
                </a:cxn>
                <a:cxn ang="0">
                  <a:pos x="connsiteX7651" y="connsiteY7651"/>
                </a:cxn>
                <a:cxn ang="0">
                  <a:pos x="connsiteX7652" y="connsiteY7652"/>
                </a:cxn>
                <a:cxn ang="0">
                  <a:pos x="connsiteX7653" y="connsiteY7653"/>
                </a:cxn>
                <a:cxn ang="0">
                  <a:pos x="connsiteX7654" y="connsiteY7654"/>
                </a:cxn>
                <a:cxn ang="0">
                  <a:pos x="connsiteX7655" y="connsiteY7655"/>
                </a:cxn>
                <a:cxn ang="0">
                  <a:pos x="connsiteX7656" y="connsiteY7656"/>
                </a:cxn>
                <a:cxn ang="0">
                  <a:pos x="connsiteX7657" y="connsiteY7657"/>
                </a:cxn>
                <a:cxn ang="0">
                  <a:pos x="connsiteX7658" y="connsiteY7658"/>
                </a:cxn>
                <a:cxn ang="0">
                  <a:pos x="connsiteX7659" y="connsiteY7659"/>
                </a:cxn>
                <a:cxn ang="0">
                  <a:pos x="connsiteX7660" y="connsiteY7660"/>
                </a:cxn>
                <a:cxn ang="0">
                  <a:pos x="connsiteX7661" y="connsiteY7661"/>
                </a:cxn>
                <a:cxn ang="0">
                  <a:pos x="connsiteX7662" y="connsiteY7662"/>
                </a:cxn>
                <a:cxn ang="0">
                  <a:pos x="connsiteX7663" y="connsiteY7663"/>
                </a:cxn>
                <a:cxn ang="0">
                  <a:pos x="connsiteX7664" y="connsiteY7664"/>
                </a:cxn>
                <a:cxn ang="0">
                  <a:pos x="connsiteX7665" y="connsiteY7665"/>
                </a:cxn>
                <a:cxn ang="0">
                  <a:pos x="connsiteX7666" y="connsiteY7666"/>
                </a:cxn>
                <a:cxn ang="0">
                  <a:pos x="connsiteX7667" y="connsiteY7667"/>
                </a:cxn>
                <a:cxn ang="0">
                  <a:pos x="connsiteX7668" y="connsiteY7668"/>
                </a:cxn>
                <a:cxn ang="0">
                  <a:pos x="connsiteX7669" y="connsiteY7669"/>
                </a:cxn>
                <a:cxn ang="0">
                  <a:pos x="connsiteX7670" y="connsiteY7670"/>
                </a:cxn>
                <a:cxn ang="0">
                  <a:pos x="connsiteX7671" y="connsiteY7671"/>
                </a:cxn>
                <a:cxn ang="0">
                  <a:pos x="connsiteX7672" y="connsiteY7672"/>
                </a:cxn>
                <a:cxn ang="0">
                  <a:pos x="connsiteX7673" y="connsiteY7673"/>
                </a:cxn>
                <a:cxn ang="0">
                  <a:pos x="connsiteX7674" y="connsiteY7674"/>
                </a:cxn>
                <a:cxn ang="0">
                  <a:pos x="connsiteX7675" y="connsiteY7675"/>
                </a:cxn>
                <a:cxn ang="0">
                  <a:pos x="connsiteX7676" y="connsiteY7676"/>
                </a:cxn>
                <a:cxn ang="0">
                  <a:pos x="connsiteX7677" y="connsiteY7677"/>
                </a:cxn>
                <a:cxn ang="0">
                  <a:pos x="connsiteX7678" y="connsiteY7678"/>
                </a:cxn>
                <a:cxn ang="0">
                  <a:pos x="connsiteX7679" y="connsiteY7679"/>
                </a:cxn>
                <a:cxn ang="0">
                  <a:pos x="connsiteX7680" y="connsiteY7680"/>
                </a:cxn>
                <a:cxn ang="0">
                  <a:pos x="connsiteX7681" y="connsiteY7681"/>
                </a:cxn>
                <a:cxn ang="0">
                  <a:pos x="connsiteX7682" y="connsiteY7682"/>
                </a:cxn>
                <a:cxn ang="0">
                  <a:pos x="connsiteX7683" y="connsiteY7683"/>
                </a:cxn>
                <a:cxn ang="0">
                  <a:pos x="connsiteX7684" y="connsiteY7684"/>
                </a:cxn>
                <a:cxn ang="0">
                  <a:pos x="connsiteX7685" y="connsiteY7685"/>
                </a:cxn>
                <a:cxn ang="0">
                  <a:pos x="connsiteX7686" y="connsiteY7686"/>
                </a:cxn>
                <a:cxn ang="0">
                  <a:pos x="connsiteX7687" y="connsiteY7687"/>
                </a:cxn>
                <a:cxn ang="0">
                  <a:pos x="connsiteX7688" y="connsiteY7688"/>
                </a:cxn>
                <a:cxn ang="0">
                  <a:pos x="connsiteX7689" y="connsiteY7689"/>
                </a:cxn>
                <a:cxn ang="0">
                  <a:pos x="connsiteX7690" y="connsiteY7690"/>
                </a:cxn>
                <a:cxn ang="0">
                  <a:pos x="connsiteX7691" y="connsiteY7691"/>
                </a:cxn>
                <a:cxn ang="0">
                  <a:pos x="connsiteX7692" y="connsiteY7692"/>
                </a:cxn>
                <a:cxn ang="0">
                  <a:pos x="connsiteX7693" y="connsiteY7693"/>
                </a:cxn>
                <a:cxn ang="0">
                  <a:pos x="connsiteX7694" y="connsiteY7694"/>
                </a:cxn>
                <a:cxn ang="0">
                  <a:pos x="connsiteX7695" y="connsiteY7695"/>
                </a:cxn>
                <a:cxn ang="0">
                  <a:pos x="connsiteX7696" y="connsiteY7696"/>
                </a:cxn>
                <a:cxn ang="0">
                  <a:pos x="connsiteX7697" y="connsiteY7697"/>
                </a:cxn>
                <a:cxn ang="0">
                  <a:pos x="connsiteX7698" y="connsiteY7698"/>
                </a:cxn>
                <a:cxn ang="0">
                  <a:pos x="connsiteX7699" y="connsiteY7699"/>
                </a:cxn>
                <a:cxn ang="0">
                  <a:pos x="connsiteX7700" y="connsiteY7700"/>
                </a:cxn>
                <a:cxn ang="0">
                  <a:pos x="connsiteX7701" y="connsiteY7701"/>
                </a:cxn>
                <a:cxn ang="0">
                  <a:pos x="connsiteX7702" y="connsiteY7702"/>
                </a:cxn>
                <a:cxn ang="0">
                  <a:pos x="connsiteX7703" y="connsiteY7703"/>
                </a:cxn>
                <a:cxn ang="0">
                  <a:pos x="connsiteX7704" y="connsiteY7704"/>
                </a:cxn>
                <a:cxn ang="0">
                  <a:pos x="connsiteX7705" y="connsiteY7705"/>
                </a:cxn>
                <a:cxn ang="0">
                  <a:pos x="connsiteX7706" y="connsiteY7706"/>
                </a:cxn>
                <a:cxn ang="0">
                  <a:pos x="connsiteX7707" y="connsiteY7707"/>
                </a:cxn>
                <a:cxn ang="0">
                  <a:pos x="connsiteX7708" y="connsiteY7708"/>
                </a:cxn>
                <a:cxn ang="0">
                  <a:pos x="connsiteX7709" y="connsiteY7709"/>
                </a:cxn>
                <a:cxn ang="0">
                  <a:pos x="connsiteX7710" y="connsiteY7710"/>
                </a:cxn>
                <a:cxn ang="0">
                  <a:pos x="connsiteX7711" y="connsiteY7711"/>
                </a:cxn>
                <a:cxn ang="0">
                  <a:pos x="connsiteX7712" y="connsiteY7712"/>
                </a:cxn>
                <a:cxn ang="0">
                  <a:pos x="connsiteX7713" y="connsiteY7713"/>
                </a:cxn>
                <a:cxn ang="0">
                  <a:pos x="connsiteX7714" y="connsiteY7714"/>
                </a:cxn>
                <a:cxn ang="0">
                  <a:pos x="connsiteX7715" y="connsiteY7715"/>
                </a:cxn>
                <a:cxn ang="0">
                  <a:pos x="connsiteX7716" y="connsiteY7716"/>
                </a:cxn>
                <a:cxn ang="0">
                  <a:pos x="connsiteX7717" y="connsiteY7717"/>
                </a:cxn>
                <a:cxn ang="0">
                  <a:pos x="connsiteX7718" y="connsiteY7718"/>
                </a:cxn>
                <a:cxn ang="0">
                  <a:pos x="connsiteX7719" y="connsiteY7719"/>
                </a:cxn>
                <a:cxn ang="0">
                  <a:pos x="connsiteX7720" y="connsiteY7720"/>
                </a:cxn>
                <a:cxn ang="0">
                  <a:pos x="connsiteX7721" y="connsiteY7721"/>
                </a:cxn>
                <a:cxn ang="0">
                  <a:pos x="connsiteX7722" y="connsiteY7722"/>
                </a:cxn>
                <a:cxn ang="0">
                  <a:pos x="connsiteX7723" y="connsiteY7723"/>
                </a:cxn>
                <a:cxn ang="0">
                  <a:pos x="connsiteX7724" y="connsiteY7724"/>
                </a:cxn>
                <a:cxn ang="0">
                  <a:pos x="connsiteX7725" y="connsiteY7725"/>
                </a:cxn>
                <a:cxn ang="0">
                  <a:pos x="connsiteX7726" y="connsiteY7726"/>
                </a:cxn>
                <a:cxn ang="0">
                  <a:pos x="connsiteX7727" y="connsiteY7727"/>
                </a:cxn>
                <a:cxn ang="0">
                  <a:pos x="connsiteX7728" y="connsiteY7728"/>
                </a:cxn>
                <a:cxn ang="0">
                  <a:pos x="connsiteX7729" y="connsiteY7729"/>
                </a:cxn>
                <a:cxn ang="0">
                  <a:pos x="connsiteX7730" y="connsiteY7730"/>
                </a:cxn>
                <a:cxn ang="0">
                  <a:pos x="connsiteX7731" y="connsiteY7731"/>
                </a:cxn>
                <a:cxn ang="0">
                  <a:pos x="connsiteX7732" y="connsiteY7732"/>
                </a:cxn>
                <a:cxn ang="0">
                  <a:pos x="connsiteX7733" y="connsiteY7733"/>
                </a:cxn>
                <a:cxn ang="0">
                  <a:pos x="connsiteX7734" y="connsiteY7734"/>
                </a:cxn>
                <a:cxn ang="0">
                  <a:pos x="connsiteX7735" y="connsiteY7735"/>
                </a:cxn>
                <a:cxn ang="0">
                  <a:pos x="connsiteX7736" y="connsiteY7736"/>
                </a:cxn>
                <a:cxn ang="0">
                  <a:pos x="connsiteX7737" y="connsiteY7737"/>
                </a:cxn>
                <a:cxn ang="0">
                  <a:pos x="connsiteX7738" y="connsiteY7738"/>
                </a:cxn>
                <a:cxn ang="0">
                  <a:pos x="connsiteX7739" y="connsiteY7739"/>
                </a:cxn>
                <a:cxn ang="0">
                  <a:pos x="connsiteX7740" y="connsiteY7740"/>
                </a:cxn>
                <a:cxn ang="0">
                  <a:pos x="connsiteX7741" y="connsiteY7741"/>
                </a:cxn>
                <a:cxn ang="0">
                  <a:pos x="connsiteX7742" y="connsiteY7742"/>
                </a:cxn>
                <a:cxn ang="0">
                  <a:pos x="connsiteX7743" y="connsiteY7743"/>
                </a:cxn>
                <a:cxn ang="0">
                  <a:pos x="connsiteX7744" y="connsiteY7744"/>
                </a:cxn>
                <a:cxn ang="0">
                  <a:pos x="connsiteX7745" y="connsiteY7745"/>
                </a:cxn>
                <a:cxn ang="0">
                  <a:pos x="connsiteX7746" y="connsiteY7746"/>
                </a:cxn>
                <a:cxn ang="0">
                  <a:pos x="connsiteX7747" y="connsiteY7747"/>
                </a:cxn>
                <a:cxn ang="0">
                  <a:pos x="connsiteX7748" y="connsiteY7748"/>
                </a:cxn>
                <a:cxn ang="0">
                  <a:pos x="connsiteX7749" y="connsiteY7749"/>
                </a:cxn>
                <a:cxn ang="0">
                  <a:pos x="connsiteX7750" y="connsiteY7750"/>
                </a:cxn>
                <a:cxn ang="0">
                  <a:pos x="connsiteX7751" y="connsiteY7751"/>
                </a:cxn>
                <a:cxn ang="0">
                  <a:pos x="connsiteX7752" y="connsiteY7752"/>
                </a:cxn>
                <a:cxn ang="0">
                  <a:pos x="connsiteX7753" y="connsiteY7753"/>
                </a:cxn>
                <a:cxn ang="0">
                  <a:pos x="connsiteX7754" y="connsiteY7754"/>
                </a:cxn>
                <a:cxn ang="0">
                  <a:pos x="connsiteX7755" y="connsiteY7755"/>
                </a:cxn>
                <a:cxn ang="0">
                  <a:pos x="connsiteX7756" y="connsiteY7756"/>
                </a:cxn>
                <a:cxn ang="0">
                  <a:pos x="connsiteX7757" y="connsiteY7757"/>
                </a:cxn>
                <a:cxn ang="0">
                  <a:pos x="connsiteX7758" y="connsiteY7758"/>
                </a:cxn>
                <a:cxn ang="0">
                  <a:pos x="connsiteX7759" y="connsiteY7759"/>
                </a:cxn>
                <a:cxn ang="0">
                  <a:pos x="connsiteX7760" y="connsiteY7760"/>
                </a:cxn>
                <a:cxn ang="0">
                  <a:pos x="connsiteX7761" y="connsiteY7761"/>
                </a:cxn>
                <a:cxn ang="0">
                  <a:pos x="connsiteX7762" y="connsiteY7762"/>
                </a:cxn>
                <a:cxn ang="0">
                  <a:pos x="connsiteX7763" y="connsiteY7763"/>
                </a:cxn>
                <a:cxn ang="0">
                  <a:pos x="connsiteX7764" y="connsiteY7764"/>
                </a:cxn>
                <a:cxn ang="0">
                  <a:pos x="connsiteX7765" y="connsiteY7765"/>
                </a:cxn>
                <a:cxn ang="0">
                  <a:pos x="connsiteX7766" y="connsiteY7766"/>
                </a:cxn>
                <a:cxn ang="0">
                  <a:pos x="connsiteX7767" y="connsiteY7767"/>
                </a:cxn>
                <a:cxn ang="0">
                  <a:pos x="connsiteX7768" y="connsiteY7768"/>
                </a:cxn>
                <a:cxn ang="0">
                  <a:pos x="connsiteX7769" y="connsiteY7769"/>
                </a:cxn>
                <a:cxn ang="0">
                  <a:pos x="connsiteX7770" y="connsiteY7770"/>
                </a:cxn>
                <a:cxn ang="0">
                  <a:pos x="connsiteX7771" y="connsiteY7771"/>
                </a:cxn>
                <a:cxn ang="0">
                  <a:pos x="connsiteX7772" y="connsiteY7772"/>
                </a:cxn>
                <a:cxn ang="0">
                  <a:pos x="connsiteX7773" y="connsiteY7773"/>
                </a:cxn>
                <a:cxn ang="0">
                  <a:pos x="connsiteX7774" y="connsiteY7774"/>
                </a:cxn>
                <a:cxn ang="0">
                  <a:pos x="connsiteX7775" y="connsiteY7775"/>
                </a:cxn>
                <a:cxn ang="0">
                  <a:pos x="connsiteX7776" y="connsiteY7776"/>
                </a:cxn>
                <a:cxn ang="0">
                  <a:pos x="connsiteX7777" y="connsiteY7777"/>
                </a:cxn>
                <a:cxn ang="0">
                  <a:pos x="connsiteX7778" y="connsiteY7778"/>
                </a:cxn>
                <a:cxn ang="0">
                  <a:pos x="connsiteX7779" y="connsiteY7779"/>
                </a:cxn>
                <a:cxn ang="0">
                  <a:pos x="connsiteX7780" y="connsiteY7780"/>
                </a:cxn>
                <a:cxn ang="0">
                  <a:pos x="connsiteX7781" y="connsiteY7781"/>
                </a:cxn>
                <a:cxn ang="0">
                  <a:pos x="connsiteX7782" y="connsiteY7782"/>
                </a:cxn>
                <a:cxn ang="0">
                  <a:pos x="connsiteX7783" y="connsiteY7783"/>
                </a:cxn>
                <a:cxn ang="0">
                  <a:pos x="connsiteX7784" y="connsiteY7784"/>
                </a:cxn>
                <a:cxn ang="0">
                  <a:pos x="connsiteX7785" y="connsiteY7785"/>
                </a:cxn>
                <a:cxn ang="0">
                  <a:pos x="connsiteX7786" y="connsiteY7786"/>
                </a:cxn>
                <a:cxn ang="0">
                  <a:pos x="connsiteX7787" y="connsiteY7787"/>
                </a:cxn>
                <a:cxn ang="0">
                  <a:pos x="connsiteX7788" y="connsiteY7788"/>
                </a:cxn>
                <a:cxn ang="0">
                  <a:pos x="connsiteX7789" y="connsiteY7789"/>
                </a:cxn>
                <a:cxn ang="0">
                  <a:pos x="connsiteX7790" y="connsiteY7790"/>
                </a:cxn>
                <a:cxn ang="0">
                  <a:pos x="connsiteX7791" y="connsiteY7791"/>
                </a:cxn>
                <a:cxn ang="0">
                  <a:pos x="connsiteX7792" y="connsiteY7792"/>
                </a:cxn>
                <a:cxn ang="0">
                  <a:pos x="connsiteX7793" y="connsiteY7793"/>
                </a:cxn>
                <a:cxn ang="0">
                  <a:pos x="connsiteX7794" y="connsiteY7794"/>
                </a:cxn>
                <a:cxn ang="0">
                  <a:pos x="connsiteX7795" y="connsiteY7795"/>
                </a:cxn>
                <a:cxn ang="0">
                  <a:pos x="connsiteX7796" y="connsiteY7796"/>
                </a:cxn>
                <a:cxn ang="0">
                  <a:pos x="connsiteX7797" y="connsiteY7797"/>
                </a:cxn>
                <a:cxn ang="0">
                  <a:pos x="connsiteX7798" y="connsiteY7798"/>
                </a:cxn>
                <a:cxn ang="0">
                  <a:pos x="connsiteX7799" y="connsiteY7799"/>
                </a:cxn>
                <a:cxn ang="0">
                  <a:pos x="connsiteX7800" y="connsiteY7800"/>
                </a:cxn>
                <a:cxn ang="0">
                  <a:pos x="connsiteX7801" y="connsiteY7801"/>
                </a:cxn>
                <a:cxn ang="0">
                  <a:pos x="connsiteX7802" y="connsiteY7802"/>
                </a:cxn>
                <a:cxn ang="0">
                  <a:pos x="connsiteX7803" y="connsiteY7803"/>
                </a:cxn>
                <a:cxn ang="0">
                  <a:pos x="connsiteX7804" y="connsiteY7804"/>
                </a:cxn>
                <a:cxn ang="0">
                  <a:pos x="connsiteX7805" y="connsiteY7805"/>
                </a:cxn>
                <a:cxn ang="0">
                  <a:pos x="connsiteX7806" y="connsiteY7806"/>
                </a:cxn>
                <a:cxn ang="0">
                  <a:pos x="connsiteX7807" y="connsiteY7807"/>
                </a:cxn>
                <a:cxn ang="0">
                  <a:pos x="connsiteX7808" y="connsiteY7808"/>
                </a:cxn>
                <a:cxn ang="0">
                  <a:pos x="connsiteX7809" y="connsiteY7809"/>
                </a:cxn>
                <a:cxn ang="0">
                  <a:pos x="connsiteX7810" y="connsiteY7810"/>
                </a:cxn>
                <a:cxn ang="0">
                  <a:pos x="connsiteX7811" y="connsiteY7811"/>
                </a:cxn>
                <a:cxn ang="0">
                  <a:pos x="connsiteX7812" y="connsiteY7812"/>
                </a:cxn>
                <a:cxn ang="0">
                  <a:pos x="connsiteX7813" y="connsiteY7813"/>
                </a:cxn>
                <a:cxn ang="0">
                  <a:pos x="connsiteX7814" y="connsiteY7814"/>
                </a:cxn>
                <a:cxn ang="0">
                  <a:pos x="connsiteX7815" y="connsiteY7815"/>
                </a:cxn>
                <a:cxn ang="0">
                  <a:pos x="connsiteX7816" y="connsiteY7816"/>
                </a:cxn>
                <a:cxn ang="0">
                  <a:pos x="connsiteX7817" y="connsiteY7817"/>
                </a:cxn>
                <a:cxn ang="0">
                  <a:pos x="connsiteX7818" y="connsiteY7818"/>
                </a:cxn>
                <a:cxn ang="0">
                  <a:pos x="connsiteX7819" y="connsiteY7819"/>
                </a:cxn>
                <a:cxn ang="0">
                  <a:pos x="connsiteX7820" y="connsiteY7820"/>
                </a:cxn>
                <a:cxn ang="0">
                  <a:pos x="connsiteX7821" y="connsiteY7821"/>
                </a:cxn>
                <a:cxn ang="0">
                  <a:pos x="connsiteX7822" y="connsiteY7822"/>
                </a:cxn>
                <a:cxn ang="0">
                  <a:pos x="connsiteX7823" y="connsiteY7823"/>
                </a:cxn>
                <a:cxn ang="0">
                  <a:pos x="connsiteX7824" y="connsiteY7824"/>
                </a:cxn>
                <a:cxn ang="0">
                  <a:pos x="connsiteX7825" y="connsiteY7825"/>
                </a:cxn>
                <a:cxn ang="0">
                  <a:pos x="connsiteX7826" y="connsiteY7826"/>
                </a:cxn>
                <a:cxn ang="0">
                  <a:pos x="connsiteX7827" y="connsiteY7827"/>
                </a:cxn>
                <a:cxn ang="0">
                  <a:pos x="connsiteX7828" y="connsiteY7828"/>
                </a:cxn>
                <a:cxn ang="0">
                  <a:pos x="connsiteX7829" y="connsiteY7829"/>
                </a:cxn>
                <a:cxn ang="0">
                  <a:pos x="connsiteX7830" y="connsiteY7830"/>
                </a:cxn>
                <a:cxn ang="0">
                  <a:pos x="connsiteX7831" y="connsiteY7831"/>
                </a:cxn>
                <a:cxn ang="0">
                  <a:pos x="connsiteX7832" y="connsiteY7832"/>
                </a:cxn>
                <a:cxn ang="0">
                  <a:pos x="connsiteX7833" y="connsiteY7833"/>
                </a:cxn>
                <a:cxn ang="0">
                  <a:pos x="connsiteX7834" y="connsiteY7834"/>
                </a:cxn>
                <a:cxn ang="0">
                  <a:pos x="connsiteX7835" y="connsiteY7835"/>
                </a:cxn>
                <a:cxn ang="0">
                  <a:pos x="connsiteX7836" y="connsiteY7836"/>
                </a:cxn>
                <a:cxn ang="0">
                  <a:pos x="connsiteX7837" y="connsiteY7837"/>
                </a:cxn>
                <a:cxn ang="0">
                  <a:pos x="connsiteX7838" y="connsiteY7838"/>
                </a:cxn>
                <a:cxn ang="0">
                  <a:pos x="connsiteX7839" y="connsiteY7839"/>
                </a:cxn>
                <a:cxn ang="0">
                  <a:pos x="connsiteX7840" y="connsiteY7840"/>
                </a:cxn>
                <a:cxn ang="0">
                  <a:pos x="connsiteX7841" y="connsiteY7841"/>
                </a:cxn>
                <a:cxn ang="0">
                  <a:pos x="connsiteX7842" y="connsiteY7842"/>
                </a:cxn>
                <a:cxn ang="0">
                  <a:pos x="connsiteX7843" y="connsiteY7843"/>
                </a:cxn>
                <a:cxn ang="0">
                  <a:pos x="connsiteX7844" y="connsiteY7844"/>
                </a:cxn>
                <a:cxn ang="0">
                  <a:pos x="connsiteX7845" y="connsiteY7845"/>
                </a:cxn>
                <a:cxn ang="0">
                  <a:pos x="connsiteX7846" y="connsiteY7846"/>
                </a:cxn>
                <a:cxn ang="0">
                  <a:pos x="connsiteX7847" y="connsiteY7847"/>
                </a:cxn>
                <a:cxn ang="0">
                  <a:pos x="connsiteX7848" y="connsiteY7848"/>
                </a:cxn>
                <a:cxn ang="0">
                  <a:pos x="connsiteX7849" y="connsiteY7849"/>
                </a:cxn>
                <a:cxn ang="0">
                  <a:pos x="connsiteX7850" y="connsiteY7850"/>
                </a:cxn>
                <a:cxn ang="0">
                  <a:pos x="connsiteX7851" y="connsiteY7851"/>
                </a:cxn>
                <a:cxn ang="0">
                  <a:pos x="connsiteX7852" y="connsiteY7852"/>
                </a:cxn>
                <a:cxn ang="0">
                  <a:pos x="connsiteX7853" y="connsiteY7853"/>
                </a:cxn>
                <a:cxn ang="0">
                  <a:pos x="connsiteX7854" y="connsiteY7854"/>
                </a:cxn>
                <a:cxn ang="0">
                  <a:pos x="connsiteX7855" y="connsiteY7855"/>
                </a:cxn>
                <a:cxn ang="0">
                  <a:pos x="connsiteX7856" y="connsiteY7856"/>
                </a:cxn>
                <a:cxn ang="0">
                  <a:pos x="connsiteX7857" y="connsiteY7857"/>
                </a:cxn>
                <a:cxn ang="0">
                  <a:pos x="connsiteX7858" y="connsiteY7858"/>
                </a:cxn>
                <a:cxn ang="0">
                  <a:pos x="connsiteX7859" y="connsiteY7859"/>
                </a:cxn>
                <a:cxn ang="0">
                  <a:pos x="connsiteX7860" y="connsiteY7860"/>
                </a:cxn>
                <a:cxn ang="0">
                  <a:pos x="connsiteX7861" y="connsiteY7861"/>
                </a:cxn>
                <a:cxn ang="0">
                  <a:pos x="connsiteX7862" y="connsiteY7862"/>
                </a:cxn>
                <a:cxn ang="0">
                  <a:pos x="connsiteX7863" y="connsiteY7863"/>
                </a:cxn>
                <a:cxn ang="0">
                  <a:pos x="connsiteX7864" y="connsiteY7864"/>
                </a:cxn>
                <a:cxn ang="0">
                  <a:pos x="connsiteX7865" y="connsiteY7865"/>
                </a:cxn>
                <a:cxn ang="0">
                  <a:pos x="connsiteX7866" y="connsiteY7866"/>
                </a:cxn>
                <a:cxn ang="0">
                  <a:pos x="connsiteX7867" y="connsiteY7867"/>
                </a:cxn>
                <a:cxn ang="0">
                  <a:pos x="connsiteX7868" y="connsiteY7868"/>
                </a:cxn>
                <a:cxn ang="0">
                  <a:pos x="connsiteX7869" y="connsiteY7869"/>
                </a:cxn>
                <a:cxn ang="0">
                  <a:pos x="connsiteX7870" y="connsiteY7870"/>
                </a:cxn>
                <a:cxn ang="0">
                  <a:pos x="connsiteX7871" y="connsiteY7871"/>
                </a:cxn>
                <a:cxn ang="0">
                  <a:pos x="connsiteX7872" y="connsiteY7872"/>
                </a:cxn>
                <a:cxn ang="0">
                  <a:pos x="connsiteX7873" y="connsiteY7873"/>
                </a:cxn>
                <a:cxn ang="0">
                  <a:pos x="connsiteX7874" y="connsiteY7874"/>
                </a:cxn>
                <a:cxn ang="0">
                  <a:pos x="connsiteX7875" y="connsiteY7875"/>
                </a:cxn>
                <a:cxn ang="0">
                  <a:pos x="connsiteX7876" y="connsiteY7876"/>
                </a:cxn>
                <a:cxn ang="0">
                  <a:pos x="connsiteX7877" y="connsiteY7877"/>
                </a:cxn>
                <a:cxn ang="0">
                  <a:pos x="connsiteX7878" y="connsiteY7878"/>
                </a:cxn>
                <a:cxn ang="0">
                  <a:pos x="connsiteX7879" y="connsiteY7879"/>
                </a:cxn>
                <a:cxn ang="0">
                  <a:pos x="connsiteX7880" y="connsiteY7880"/>
                </a:cxn>
                <a:cxn ang="0">
                  <a:pos x="connsiteX7881" y="connsiteY7881"/>
                </a:cxn>
                <a:cxn ang="0">
                  <a:pos x="connsiteX7882" y="connsiteY7882"/>
                </a:cxn>
                <a:cxn ang="0">
                  <a:pos x="connsiteX7883" y="connsiteY7883"/>
                </a:cxn>
                <a:cxn ang="0">
                  <a:pos x="connsiteX7884" y="connsiteY7884"/>
                </a:cxn>
                <a:cxn ang="0">
                  <a:pos x="connsiteX7885" y="connsiteY7885"/>
                </a:cxn>
                <a:cxn ang="0">
                  <a:pos x="connsiteX7886" y="connsiteY7886"/>
                </a:cxn>
                <a:cxn ang="0">
                  <a:pos x="connsiteX7887" y="connsiteY7887"/>
                </a:cxn>
                <a:cxn ang="0">
                  <a:pos x="connsiteX7888" y="connsiteY7888"/>
                </a:cxn>
                <a:cxn ang="0">
                  <a:pos x="connsiteX7889" y="connsiteY7889"/>
                </a:cxn>
                <a:cxn ang="0">
                  <a:pos x="connsiteX7890" y="connsiteY7890"/>
                </a:cxn>
                <a:cxn ang="0">
                  <a:pos x="connsiteX7891" y="connsiteY7891"/>
                </a:cxn>
                <a:cxn ang="0">
                  <a:pos x="connsiteX7892" y="connsiteY7892"/>
                </a:cxn>
                <a:cxn ang="0">
                  <a:pos x="connsiteX7893" y="connsiteY7893"/>
                </a:cxn>
                <a:cxn ang="0">
                  <a:pos x="connsiteX7894" y="connsiteY7894"/>
                </a:cxn>
                <a:cxn ang="0">
                  <a:pos x="connsiteX7895" y="connsiteY7895"/>
                </a:cxn>
                <a:cxn ang="0">
                  <a:pos x="connsiteX7896" y="connsiteY7896"/>
                </a:cxn>
                <a:cxn ang="0">
                  <a:pos x="connsiteX7897" y="connsiteY7897"/>
                </a:cxn>
                <a:cxn ang="0">
                  <a:pos x="connsiteX7898" y="connsiteY7898"/>
                </a:cxn>
                <a:cxn ang="0">
                  <a:pos x="connsiteX7899" y="connsiteY7899"/>
                </a:cxn>
                <a:cxn ang="0">
                  <a:pos x="connsiteX7900" y="connsiteY7900"/>
                </a:cxn>
                <a:cxn ang="0">
                  <a:pos x="connsiteX7901" y="connsiteY7901"/>
                </a:cxn>
                <a:cxn ang="0">
                  <a:pos x="connsiteX7902" y="connsiteY7902"/>
                </a:cxn>
                <a:cxn ang="0">
                  <a:pos x="connsiteX7903" y="connsiteY7903"/>
                </a:cxn>
                <a:cxn ang="0">
                  <a:pos x="connsiteX7904" y="connsiteY7904"/>
                </a:cxn>
                <a:cxn ang="0">
                  <a:pos x="connsiteX7905" y="connsiteY7905"/>
                </a:cxn>
                <a:cxn ang="0">
                  <a:pos x="connsiteX7906" y="connsiteY7906"/>
                </a:cxn>
                <a:cxn ang="0">
                  <a:pos x="connsiteX7907" y="connsiteY7907"/>
                </a:cxn>
                <a:cxn ang="0">
                  <a:pos x="connsiteX7908" y="connsiteY7908"/>
                </a:cxn>
                <a:cxn ang="0">
                  <a:pos x="connsiteX7909" y="connsiteY7909"/>
                </a:cxn>
                <a:cxn ang="0">
                  <a:pos x="connsiteX7910" y="connsiteY7910"/>
                </a:cxn>
                <a:cxn ang="0">
                  <a:pos x="connsiteX7911" y="connsiteY7911"/>
                </a:cxn>
                <a:cxn ang="0">
                  <a:pos x="connsiteX7912" y="connsiteY7912"/>
                </a:cxn>
                <a:cxn ang="0">
                  <a:pos x="connsiteX7913" y="connsiteY7913"/>
                </a:cxn>
                <a:cxn ang="0">
                  <a:pos x="connsiteX7914" y="connsiteY7914"/>
                </a:cxn>
                <a:cxn ang="0">
                  <a:pos x="connsiteX7915" y="connsiteY7915"/>
                </a:cxn>
                <a:cxn ang="0">
                  <a:pos x="connsiteX7916" y="connsiteY7916"/>
                </a:cxn>
                <a:cxn ang="0">
                  <a:pos x="connsiteX7917" y="connsiteY7917"/>
                </a:cxn>
                <a:cxn ang="0">
                  <a:pos x="connsiteX7918" y="connsiteY7918"/>
                </a:cxn>
                <a:cxn ang="0">
                  <a:pos x="connsiteX7919" y="connsiteY7919"/>
                </a:cxn>
                <a:cxn ang="0">
                  <a:pos x="connsiteX7920" y="connsiteY7920"/>
                </a:cxn>
                <a:cxn ang="0">
                  <a:pos x="connsiteX7921" y="connsiteY7921"/>
                </a:cxn>
                <a:cxn ang="0">
                  <a:pos x="connsiteX7922" y="connsiteY7922"/>
                </a:cxn>
                <a:cxn ang="0">
                  <a:pos x="connsiteX7923" y="connsiteY7923"/>
                </a:cxn>
                <a:cxn ang="0">
                  <a:pos x="connsiteX7924" y="connsiteY7924"/>
                </a:cxn>
                <a:cxn ang="0">
                  <a:pos x="connsiteX7925" y="connsiteY7925"/>
                </a:cxn>
                <a:cxn ang="0">
                  <a:pos x="connsiteX7926" y="connsiteY7926"/>
                </a:cxn>
                <a:cxn ang="0">
                  <a:pos x="connsiteX7927" y="connsiteY7927"/>
                </a:cxn>
                <a:cxn ang="0">
                  <a:pos x="connsiteX7928" y="connsiteY7928"/>
                </a:cxn>
                <a:cxn ang="0">
                  <a:pos x="connsiteX7929" y="connsiteY7929"/>
                </a:cxn>
                <a:cxn ang="0">
                  <a:pos x="connsiteX7930" y="connsiteY7930"/>
                </a:cxn>
                <a:cxn ang="0">
                  <a:pos x="connsiteX7931" y="connsiteY7931"/>
                </a:cxn>
                <a:cxn ang="0">
                  <a:pos x="connsiteX7932" y="connsiteY7932"/>
                </a:cxn>
                <a:cxn ang="0">
                  <a:pos x="connsiteX7933" y="connsiteY7933"/>
                </a:cxn>
                <a:cxn ang="0">
                  <a:pos x="connsiteX7934" y="connsiteY7934"/>
                </a:cxn>
                <a:cxn ang="0">
                  <a:pos x="connsiteX7935" y="connsiteY7935"/>
                </a:cxn>
                <a:cxn ang="0">
                  <a:pos x="connsiteX7936" y="connsiteY7936"/>
                </a:cxn>
                <a:cxn ang="0">
                  <a:pos x="connsiteX7937" y="connsiteY7937"/>
                </a:cxn>
                <a:cxn ang="0">
                  <a:pos x="connsiteX7938" y="connsiteY7938"/>
                </a:cxn>
                <a:cxn ang="0">
                  <a:pos x="connsiteX7939" y="connsiteY7939"/>
                </a:cxn>
                <a:cxn ang="0">
                  <a:pos x="connsiteX7940" y="connsiteY7940"/>
                </a:cxn>
                <a:cxn ang="0">
                  <a:pos x="connsiteX7941" y="connsiteY7941"/>
                </a:cxn>
                <a:cxn ang="0">
                  <a:pos x="connsiteX7942" y="connsiteY7942"/>
                </a:cxn>
                <a:cxn ang="0">
                  <a:pos x="connsiteX7943" y="connsiteY7943"/>
                </a:cxn>
                <a:cxn ang="0">
                  <a:pos x="connsiteX7944" y="connsiteY7944"/>
                </a:cxn>
                <a:cxn ang="0">
                  <a:pos x="connsiteX7945" y="connsiteY7945"/>
                </a:cxn>
                <a:cxn ang="0">
                  <a:pos x="connsiteX7946" y="connsiteY7946"/>
                </a:cxn>
                <a:cxn ang="0">
                  <a:pos x="connsiteX7947" y="connsiteY7947"/>
                </a:cxn>
                <a:cxn ang="0">
                  <a:pos x="connsiteX7948" y="connsiteY7948"/>
                </a:cxn>
                <a:cxn ang="0">
                  <a:pos x="connsiteX7949" y="connsiteY7949"/>
                </a:cxn>
                <a:cxn ang="0">
                  <a:pos x="connsiteX7950" y="connsiteY7950"/>
                </a:cxn>
                <a:cxn ang="0">
                  <a:pos x="connsiteX7951" y="connsiteY7951"/>
                </a:cxn>
                <a:cxn ang="0">
                  <a:pos x="connsiteX7952" y="connsiteY7952"/>
                </a:cxn>
                <a:cxn ang="0">
                  <a:pos x="connsiteX7953" y="connsiteY7953"/>
                </a:cxn>
                <a:cxn ang="0">
                  <a:pos x="connsiteX7954" y="connsiteY7954"/>
                </a:cxn>
                <a:cxn ang="0">
                  <a:pos x="connsiteX7955" y="connsiteY7955"/>
                </a:cxn>
                <a:cxn ang="0">
                  <a:pos x="connsiteX7956" y="connsiteY7956"/>
                </a:cxn>
                <a:cxn ang="0">
                  <a:pos x="connsiteX7957" y="connsiteY7957"/>
                </a:cxn>
                <a:cxn ang="0">
                  <a:pos x="connsiteX7958" y="connsiteY7958"/>
                </a:cxn>
                <a:cxn ang="0">
                  <a:pos x="connsiteX7959" y="connsiteY7959"/>
                </a:cxn>
                <a:cxn ang="0">
                  <a:pos x="connsiteX7960" y="connsiteY7960"/>
                </a:cxn>
                <a:cxn ang="0">
                  <a:pos x="connsiteX7961" y="connsiteY7961"/>
                </a:cxn>
                <a:cxn ang="0">
                  <a:pos x="connsiteX7962" y="connsiteY7962"/>
                </a:cxn>
                <a:cxn ang="0">
                  <a:pos x="connsiteX7963" y="connsiteY7963"/>
                </a:cxn>
                <a:cxn ang="0">
                  <a:pos x="connsiteX7964" y="connsiteY7964"/>
                </a:cxn>
                <a:cxn ang="0">
                  <a:pos x="connsiteX7965" y="connsiteY7965"/>
                </a:cxn>
                <a:cxn ang="0">
                  <a:pos x="connsiteX7966" y="connsiteY7966"/>
                </a:cxn>
                <a:cxn ang="0">
                  <a:pos x="connsiteX7967" y="connsiteY7967"/>
                </a:cxn>
                <a:cxn ang="0">
                  <a:pos x="connsiteX7968" y="connsiteY7968"/>
                </a:cxn>
                <a:cxn ang="0">
                  <a:pos x="connsiteX7969" y="connsiteY7969"/>
                </a:cxn>
                <a:cxn ang="0">
                  <a:pos x="connsiteX7970" y="connsiteY7970"/>
                </a:cxn>
                <a:cxn ang="0">
                  <a:pos x="connsiteX7971" y="connsiteY7971"/>
                </a:cxn>
                <a:cxn ang="0">
                  <a:pos x="connsiteX7972" y="connsiteY7972"/>
                </a:cxn>
                <a:cxn ang="0">
                  <a:pos x="connsiteX7973" y="connsiteY7973"/>
                </a:cxn>
                <a:cxn ang="0">
                  <a:pos x="connsiteX7974" y="connsiteY7974"/>
                </a:cxn>
                <a:cxn ang="0">
                  <a:pos x="connsiteX7975" y="connsiteY7975"/>
                </a:cxn>
                <a:cxn ang="0">
                  <a:pos x="connsiteX7976" y="connsiteY7976"/>
                </a:cxn>
                <a:cxn ang="0">
                  <a:pos x="connsiteX7977" y="connsiteY7977"/>
                </a:cxn>
                <a:cxn ang="0">
                  <a:pos x="connsiteX7978" y="connsiteY7978"/>
                </a:cxn>
                <a:cxn ang="0">
                  <a:pos x="connsiteX7979" y="connsiteY7979"/>
                </a:cxn>
                <a:cxn ang="0">
                  <a:pos x="connsiteX7980" y="connsiteY7980"/>
                </a:cxn>
                <a:cxn ang="0">
                  <a:pos x="connsiteX7981" y="connsiteY7981"/>
                </a:cxn>
                <a:cxn ang="0">
                  <a:pos x="connsiteX7982" y="connsiteY7982"/>
                </a:cxn>
                <a:cxn ang="0">
                  <a:pos x="connsiteX7983" y="connsiteY7983"/>
                </a:cxn>
                <a:cxn ang="0">
                  <a:pos x="connsiteX7984" y="connsiteY7984"/>
                </a:cxn>
                <a:cxn ang="0">
                  <a:pos x="connsiteX7985" y="connsiteY7985"/>
                </a:cxn>
                <a:cxn ang="0">
                  <a:pos x="connsiteX7986" y="connsiteY7986"/>
                </a:cxn>
                <a:cxn ang="0">
                  <a:pos x="connsiteX7987" y="connsiteY7987"/>
                </a:cxn>
                <a:cxn ang="0">
                  <a:pos x="connsiteX7988" y="connsiteY7988"/>
                </a:cxn>
                <a:cxn ang="0">
                  <a:pos x="connsiteX7989" y="connsiteY7989"/>
                </a:cxn>
                <a:cxn ang="0">
                  <a:pos x="connsiteX7990" y="connsiteY7990"/>
                </a:cxn>
                <a:cxn ang="0">
                  <a:pos x="connsiteX7991" y="connsiteY7991"/>
                </a:cxn>
                <a:cxn ang="0">
                  <a:pos x="connsiteX7992" y="connsiteY7992"/>
                </a:cxn>
                <a:cxn ang="0">
                  <a:pos x="connsiteX7993" y="connsiteY7993"/>
                </a:cxn>
                <a:cxn ang="0">
                  <a:pos x="connsiteX7994" y="connsiteY7994"/>
                </a:cxn>
                <a:cxn ang="0">
                  <a:pos x="connsiteX7995" y="connsiteY7995"/>
                </a:cxn>
                <a:cxn ang="0">
                  <a:pos x="connsiteX7996" y="connsiteY7996"/>
                </a:cxn>
                <a:cxn ang="0">
                  <a:pos x="connsiteX7997" y="connsiteY7997"/>
                </a:cxn>
                <a:cxn ang="0">
                  <a:pos x="connsiteX7998" y="connsiteY7998"/>
                </a:cxn>
                <a:cxn ang="0">
                  <a:pos x="connsiteX7999" y="connsiteY7999"/>
                </a:cxn>
                <a:cxn ang="0">
                  <a:pos x="connsiteX8000" y="connsiteY8000"/>
                </a:cxn>
                <a:cxn ang="0">
                  <a:pos x="connsiteX8001" y="connsiteY8001"/>
                </a:cxn>
                <a:cxn ang="0">
                  <a:pos x="connsiteX8002" y="connsiteY8002"/>
                </a:cxn>
                <a:cxn ang="0">
                  <a:pos x="connsiteX8003" y="connsiteY8003"/>
                </a:cxn>
                <a:cxn ang="0">
                  <a:pos x="connsiteX8004" y="connsiteY8004"/>
                </a:cxn>
                <a:cxn ang="0">
                  <a:pos x="connsiteX8005" y="connsiteY8005"/>
                </a:cxn>
                <a:cxn ang="0">
                  <a:pos x="connsiteX8006" y="connsiteY8006"/>
                </a:cxn>
                <a:cxn ang="0">
                  <a:pos x="connsiteX8007" y="connsiteY8007"/>
                </a:cxn>
                <a:cxn ang="0">
                  <a:pos x="connsiteX8008" y="connsiteY8008"/>
                </a:cxn>
                <a:cxn ang="0">
                  <a:pos x="connsiteX8009" y="connsiteY8009"/>
                </a:cxn>
                <a:cxn ang="0">
                  <a:pos x="connsiteX8010" y="connsiteY8010"/>
                </a:cxn>
                <a:cxn ang="0">
                  <a:pos x="connsiteX8011" y="connsiteY8011"/>
                </a:cxn>
                <a:cxn ang="0">
                  <a:pos x="connsiteX8012" y="connsiteY8012"/>
                </a:cxn>
                <a:cxn ang="0">
                  <a:pos x="connsiteX8013" y="connsiteY8013"/>
                </a:cxn>
                <a:cxn ang="0">
                  <a:pos x="connsiteX8014" y="connsiteY8014"/>
                </a:cxn>
                <a:cxn ang="0">
                  <a:pos x="connsiteX8015" y="connsiteY8015"/>
                </a:cxn>
                <a:cxn ang="0">
                  <a:pos x="connsiteX8016" y="connsiteY8016"/>
                </a:cxn>
                <a:cxn ang="0">
                  <a:pos x="connsiteX8017" y="connsiteY8017"/>
                </a:cxn>
                <a:cxn ang="0">
                  <a:pos x="connsiteX8018" y="connsiteY8018"/>
                </a:cxn>
                <a:cxn ang="0">
                  <a:pos x="connsiteX8019" y="connsiteY8019"/>
                </a:cxn>
                <a:cxn ang="0">
                  <a:pos x="connsiteX8020" y="connsiteY8020"/>
                </a:cxn>
                <a:cxn ang="0">
                  <a:pos x="connsiteX8021" y="connsiteY8021"/>
                </a:cxn>
                <a:cxn ang="0">
                  <a:pos x="connsiteX8022" y="connsiteY8022"/>
                </a:cxn>
                <a:cxn ang="0">
                  <a:pos x="connsiteX8023" y="connsiteY8023"/>
                </a:cxn>
                <a:cxn ang="0">
                  <a:pos x="connsiteX8024" y="connsiteY8024"/>
                </a:cxn>
                <a:cxn ang="0">
                  <a:pos x="connsiteX8025" y="connsiteY8025"/>
                </a:cxn>
                <a:cxn ang="0">
                  <a:pos x="connsiteX8026" y="connsiteY8026"/>
                </a:cxn>
                <a:cxn ang="0">
                  <a:pos x="connsiteX8027" y="connsiteY8027"/>
                </a:cxn>
                <a:cxn ang="0">
                  <a:pos x="connsiteX8028" y="connsiteY8028"/>
                </a:cxn>
                <a:cxn ang="0">
                  <a:pos x="connsiteX8029" y="connsiteY8029"/>
                </a:cxn>
                <a:cxn ang="0">
                  <a:pos x="connsiteX8030" y="connsiteY8030"/>
                </a:cxn>
                <a:cxn ang="0">
                  <a:pos x="connsiteX8031" y="connsiteY8031"/>
                </a:cxn>
                <a:cxn ang="0">
                  <a:pos x="connsiteX8032" y="connsiteY8032"/>
                </a:cxn>
                <a:cxn ang="0">
                  <a:pos x="connsiteX8033" y="connsiteY8033"/>
                </a:cxn>
                <a:cxn ang="0">
                  <a:pos x="connsiteX8034" y="connsiteY8034"/>
                </a:cxn>
                <a:cxn ang="0">
                  <a:pos x="connsiteX8035" y="connsiteY8035"/>
                </a:cxn>
                <a:cxn ang="0">
                  <a:pos x="connsiteX8036" y="connsiteY8036"/>
                </a:cxn>
                <a:cxn ang="0">
                  <a:pos x="connsiteX8037" y="connsiteY8037"/>
                </a:cxn>
                <a:cxn ang="0">
                  <a:pos x="connsiteX8038" y="connsiteY8038"/>
                </a:cxn>
                <a:cxn ang="0">
                  <a:pos x="connsiteX8039" y="connsiteY8039"/>
                </a:cxn>
                <a:cxn ang="0">
                  <a:pos x="connsiteX8040" y="connsiteY8040"/>
                </a:cxn>
                <a:cxn ang="0">
                  <a:pos x="connsiteX8041" y="connsiteY8041"/>
                </a:cxn>
                <a:cxn ang="0">
                  <a:pos x="connsiteX8042" y="connsiteY8042"/>
                </a:cxn>
                <a:cxn ang="0">
                  <a:pos x="connsiteX8043" y="connsiteY8043"/>
                </a:cxn>
                <a:cxn ang="0">
                  <a:pos x="connsiteX8044" y="connsiteY8044"/>
                </a:cxn>
                <a:cxn ang="0">
                  <a:pos x="connsiteX8045" y="connsiteY8045"/>
                </a:cxn>
                <a:cxn ang="0">
                  <a:pos x="connsiteX8046" y="connsiteY8046"/>
                </a:cxn>
                <a:cxn ang="0">
                  <a:pos x="connsiteX8047" y="connsiteY8047"/>
                </a:cxn>
                <a:cxn ang="0">
                  <a:pos x="connsiteX8048" y="connsiteY8048"/>
                </a:cxn>
                <a:cxn ang="0">
                  <a:pos x="connsiteX8049" y="connsiteY8049"/>
                </a:cxn>
                <a:cxn ang="0">
                  <a:pos x="connsiteX8050" y="connsiteY8050"/>
                </a:cxn>
                <a:cxn ang="0">
                  <a:pos x="connsiteX8051" y="connsiteY8051"/>
                </a:cxn>
                <a:cxn ang="0">
                  <a:pos x="connsiteX8052" y="connsiteY8052"/>
                </a:cxn>
                <a:cxn ang="0">
                  <a:pos x="connsiteX8053" y="connsiteY8053"/>
                </a:cxn>
                <a:cxn ang="0">
                  <a:pos x="connsiteX8054" y="connsiteY8054"/>
                </a:cxn>
                <a:cxn ang="0">
                  <a:pos x="connsiteX8055" y="connsiteY8055"/>
                </a:cxn>
                <a:cxn ang="0">
                  <a:pos x="connsiteX8056" y="connsiteY8056"/>
                </a:cxn>
                <a:cxn ang="0">
                  <a:pos x="connsiteX8057" y="connsiteY8057"/>
                </a:cxn>
                <a:cxn ang="0">
                  <a:pos x="connsiteX8058" y="connsiteY8058"/>
                </a:cxn>
                <a:cxn ang="0">
                  <a:pos x="connsiteX8059" y="connsiteY8059"/>
                </a:cxn>
                <a:cxn ang="0">
                  <a:pos x="connsiteX8060" y="connsiteY8060"/>
                </a:cxn>
                <a:cxn ang="0">
                  <a:pos x="connsiteX8061" y="connsiteY8061"/>
                </a:cxn>
                <a:cxn ang="0">
                  <a:pos x="connsiteX8062" y="connsiteY8062"/>
                </a:cxn>
                <a:cxn ang="0">
                  <a:pos x="connsiteX8063" y="connsiteY8063"/>
                </a:cxn>
                <a:cxn ang="0">
                  <a:pos x="connsiteX8064" y="connsiteY8064"/>
                </a:cxn>
                <a:cxn ang="0">
                  <a:pos x="connsiteX8065" y="connsiteY8065"/>
                </a:cxn>
                <a:cxn ang="0">
                  <a:pos x="connsiteX8066" y="connsiteY8066"/>
                </a:cxn>
                <a:cxn ang="0">
                  <a:pos x="connsiteX8067" y="connsiteY8067"/>
                </a:cxn>
                <a:cxn ang="0">
                  <a:pos x="connsiteX8068" y="connsiteY8068"/>
                </a:cxn>
                <a:cxn ang="0">
                  <a:pos x="connsiteX8069" y="connsiteY8069"/>
                </a:cxn>
                <a:cxn ang="0">
                  <a:pos x="connsiteX8070" y="connsiteY8070"/>
                </a:cxn>
                <a:cxn ang="0">
                  <a:pos x="connsiteX8071" y="connsiteY8071"/>
                </a:cxn>
                <a:cxn ang="0">
                  <a:pos x="connsiteX8072" y="connsiteY8072"/>
                </a:cxn>
                <a:cxn ang="0">
                  <a:pos x="connsiteX8073" y="connsiteY8073"/>
                </a:cxn>
                <a:cxn ang="0">
                  <a:pos x="connsiteX8074" y="connsiteY8074"/>
                </a:cxn>
                <a:cxn ang="0">
                  <a:pos x="connsiteX8075" y="connsiteY8075"/>
                </a:cxn>
                <a:cxn ang="0">
                  <a:pos x="connsiteX8076" y="connsiteY8076"/>
                </a:cxn>
                <a:cxn ang="0">
                  <a:pos x="connsiteX8077" y="connsiteY8077"/>
                </a:cxn>
                <a:cxn ang="0">
                  <a:pos x="connsiteX8078" y="connsiteY8078"/>
                </a:cxn>
                <a:cxn ang="0">
                  <a:pos x="connsiteX8079" y="connsiteY8079"/>
                </a:cxn>
                <a:cxn ang="0">
                  <a:pos x="connsiteX8080" y="connsiteY8080"/>
                </a:cxn>
                <a:cxn ang="0">
                  <a:pos x="connsiteX8081" y="connsiteY8081"/>
                </a:cxn>
                <a:cxn ang="0">
                  <a:pos x="connsiteX8082" y="connsiteY8082"/>
                </a:cxn>
                <a:cxn ang="0">
                  <a:pos x="connsiteX8083" y="connsiteY8083"/>
                </a:cxn>
                <a:cxn ang="0">
                  <a:pos x="connsiteX8084" y="connsiteY8084"/>
                </a:cxn>
                <a:cxn ang="0">
                  <a:pos x="connsiteX8085" y="connsiteY8085"/>
                </a:cxn>
                <a:cxn ang="0">
                  <a:pos x="connsiteX8086" y="connsiteY8086"/>
                </a:cxn>
                <a:cxn ang="0">
                  <a:pos x="connsiteX8087" y="connsiteY8087"/>
                </a:cxn>
                <a:cxn ang="0">
                  <a:pos x="connsiteX8088" y="connsiteY8088"/>
                </a:cxn>
                <a:cxn ang="0">
                  <a:pos x="connsiteX8089" y="connsiteY8089"/>
                </a:cxn>
                <a:cxn ang="0">
                  <a:pos x="connsiteX8090" y="connsiteY8090"/>
                </a:cxn>
                <a:cxn ang="0">
                  <a:pos x="connsiteX8091" y="connsiteY8091"/>
                </a:cxn>
                <a:cxn ang="0">
                  <a:pos x="connsiteX8092" y="connsiteY8092"/>
                </a:cxn>
                <a:cxn ang="0">
                  <a:pos x="connsiteX8093" y="connsiteY8093"/>
                </a:cxn>
                <a:cxn ang="0">
                  <a:pos x="connsiteX8094" y="connsiteY8094"/>
                </a:cxn>
                <a:cxn ang="0">
                  <a:pos x="connsiteX8095" y="connsiteY8095"/>
                </a:cxn>
                <a:cxn ang="0">
                  <a:pos x="connsiteX8096" y="connsiteY8096"/>
                </a:cxn>
                <a:cxn ang="0">
                  <a:pos x="connsiteX8097" y="connsiteY8097"/>
                </a:cxn>
                <a:cxn ang="0">
                  <a:pos x="connsiteX8098" y="connsiteY8098"/>
                </a:cxn>
                <a:cxn ang="0">
                  <a:pos x="connsiteX8099" y="connsiteY8099"/>
                </a:cxn>
                <a:cxn ang="0">
                  <a:pos x="connsiteX8100" y="connsiteY8100"/>
                </a:cxn>
                <a:cxn ang="0">
                  <a:pos x="connsiteX8101" y="connsiteY8101"/>
                </a:cxn>
                <a:cxn ang="0">
                  <a:pos x="connsiteX8102" y="connsiteY8102"/>
                </a:cxn>
                <a:cxn ang="0">
                  <a:pos x="connsiteX8103" y="connsiteY8103"/>
                </a:cxn>
                <a:cxn ang="0">
                  <a:pos x="connsiteX8104" y="connsiteY8104"/>
                </a:cxn>
                <a:cxn ang="0">
                  <a:pos x="connsiteX8105" y="connsiteY8105"/>
                </a:cxn>
                <a:cxn ang="0">
                  <a:pos x="connsiteX8106" y="connsiteY8106"/>
                </a:cxn>
                <a:cxn ang="0">
                  <a:pos x="connsiteX8107" y="connsiteY8107"/>
                </a:cxn>
                <a:cxn ang="0">
                  <a:pos x="connsiteX8108" y="connsiteY8108"/>
                </a:cxn>
                <a:cxn ang="0">
                  <a:pos x="connsiteX8109" y="connsiteY8109"/>
                </a:cxn>
                <a:cxn ang="0">
                  <a:pos x="connsiteX8110" y="connsiteY8110"/>
                </a:cxn>
                <a:cxn ang="0">
                  <a:pos x="connsiteX8111" y="connsiteY8111"/>
                </a:cxn>
                <a:cxn ang="0">
                  <a:pos x="connsiteX8112" y="connsiteY8112"/>
                </a:cxn>
                <a:cxn ang="0">
                  <a:pos x="connsiteX8113" y="connsiteY8113"/>
                </a:cxn>
                <a:cxn ang="0">
                  <a:pos x="connsiteX8114" y="connsiteY8114"/>
                </a:cxn>
                <a:cxn ang="0">
                  <a:pos x="connsiteX8115" y="connsiteY8115"/>
                </a:cxn>
                <a:cxn ang="0">
                  <a:pos x="connsiteX8116" y="connsiteY8116"/>
                </a:cxn>
                <a:cxn ang="0">
                  <a:pos x="connsiteX8117" y="connsiteY8117"/>
                </a:cxn>
                <a:cxn ang="0">
                  <a:pos x="connsiteX8118" y="connsiteY8118"/>
                </a:cxn>
                <a:cxn ang="0">
                  <a:pos x="connsiteX8119" y="connsiteY8119"/>
                </a:cxn>
                <a:cxn ang="0">
                  <a:pos x="connsiteX8120" y="connsiteY8120"/>
                </a:cxn>
                <a:cxn ang="0">
                  <a:pos x="connsiteX8121" y="connsiteY8121"/>
                </a:cxn>
                <a:cxn ang="0">
                  <a:pos x="connsiteX8122" y="connsiteY8122"/>
                </a:cxn>
                <a:cxn ang="0">
                  <a:pos x="connsiteX8123" y="connsiteY8123"/>
                </a:cxn>
                <a:cxn ang="0">
                  <a:pos x="connsiteX8124" y="connsiteY8124"/>
                </a:cxn>
                <a:cxn ang="0">
                  <a:pos x="connsiteX8125" y="connsiteY8125"/>
                </a:cxn>
                <a:cxn ang="0">
                  <a:pos x="connsiteX8126" y="connsiteY8126"/>
                </a:cxn>
                <a:cxn ang="0">
                  <a:pos x="connsiteX8127" y="connsiteY8127"/>
                </a:cxn>
                <a:cxn ang="0">
                  <a:pos x="connsiteX8128" y="connsiteY8128"/>
                </a:cxn>
                <a:cxn ang="0">
                  <a:pos x="connsiteX8129" y="connsiteY8129"/>
                </a:cxn>
                <a:cxn ang="0">
                  <a:pos x="connsiteX8130" y="connsiteY8130"/>
                </a:cxn>
                <a:cxn ang="0">
                  <a:pos x="connsiteX8131" y="connsiteY8131"/>
                </a:cxn>
                <a:cxn ang="0">
                  <a:pos x="connsiteX8132" y="connsiteY8132"/>
                </a:cxn>
                <a:cxn ang="0">
                  <a:pos x="connsiteX8133" y="connsiteY8133"/>
                </a:cxn>
                <a:cxn ang="0">
                  <a:pos x="connsiteX8134" y="connsiteY8134"/>
                </a:cxn>
                <a:cxn ang="0">
                  <a:pos x="connsiteX8135" y="connsiteY8135"/>
                </a:cxn>
                <a:cxn ang="0">
                  <a:pos x="connsiteX8136" y="connsiteY8136"/>
                </a:cxn>
                <a:cxn ang="0">
                  <a:pos x="connsiteX8137" y="connsiteY8137"/>
                </a:cxn>
                <a:cxn ang="0">
                  <a:pos x="connsiteX8138" y="connsiteY8138"/>
                </a:cxn>
                <a:cxn ang="0">
                  <a:pos x="connsiteX8139" y="connsiteY8139"/>
                </a:cxn>
                <a:cxn ang="0">
                  <a:pos x="connsiteX8140" y="connsiteY8140"/>
                </a:cxn>
                <a:cxn ang="0">
                  <a:pos x="connsiteX8141" y="connsiteY8141"/>
                </a:cxn>
                <a:cxn ang="0">
                  <a:pos x="connsiteX8142" y="connsiteY8142"/>
                </a:cxn>
                <a:cxn ang="0">
                  <a:pos x="connsiteX8143" y="connsiteY8143"/>
                </a:cxn>
                <a:cxn ang="0">
                  <a:pos x="connsiteX8144" y="connsiteY8144"/>
                </a:cxn>
                <a:cxn ang="0">
                  <a:pos x="connsiteX8145" y="connsiteY8145"/>
                </a:cxn>
                <a:cxn ang="0">
                  <a:pos x="connsiteX8146" y="connsiteY8146"/>
                </a:cxn>
                <a:cxn ang="0">
                  <a:pos x="connsiteX8147" y="connsiteY8147"/>
                </a:cxn>
                <a:cxn ang="0">
                  <a:pos x="connsiteX8148" y="connsiteY8148"/>
                </a:cxn>
                <a:cxn ang="0">
                  <a:pos x="connsiteX8149" y="connsiteY8149"/>
                </a:cxn>
                <a:cxn ang="0">
                  <a:pos x="connsiteX8150" y="connsiteY8150"/>
                </a:cxn>
                <a:cxn ang="0">
                  <a:pos x="connsiteX8151" y="connsiteY8151"/>
                </a:cxn>
                <a:cxn ang="0">
                  <a:pos x="connsiteX8152" y="connsiteY8152"/>
                </a:cxn>
                <a:cxn ang="0">
                  <a:pos x="connsiteX8153" y="connsiteY8153"/>
                </a:cxn>
                <a:cxn ang="0">
                  <a:pos x="connsiteX8154" y="connsiteY8154"/>
                </a:cxn>
                <a:cxn ang="0">
                  <a:pos x="connsiteX8155" y="connsiteY8155"/>
                </a:cxn>
                <a:cxn ang="0">
                  <a:pos x="connsiteX8156" y="connsiteY8156"/>
                </a:cxn>
                <a:cxn ang="0">
                  <a:pos x="connsiteX8157" y="connsiteY8157"/>
                </a:cxn>
                <a:cxn ang="0">
                  <a:pos x="connsiteX8158" y="connsiteY8158"/>
                </a:cxn>
                <a:cxn ang="0">
                  <a:pos x="connsiteX8159" y="connsiteY8159"/>
                </a:cxn>
                <a:cxn ang="0">
                  <a:pos x="connsiteX8160" y="connsiteY8160"/>
                </a:cxn>
                <a:cxn ang="0">
                  <a:pos x="connsiteX8161" y="connsiteY8161"/>
                </a:cxn>
                <a:cxn ang="0">
                  <a:pos x="connsiteX8162" y="connsiteY8162"/>
                </a:cxn>
                <a:cxn ang="0">
                  <a:pos x="connsiteX8163" y="connsiteY8163"/>
                </a:cxn>
                <a:cxn ang="0">
                  <a:pos x="connsiteX8164" y="connsiteY8164"/>
                </a:cxn>
                <a:cxn ang="0">
                  <a:pos x="connsiteX8165" y="connsiteY8165"/>
                </a:cxn>
                <a:cxn ang="0">
                  <a:pos x="connsiteX8166" y="connsiteY8166"/>
                </a:cxn>
                <a:cxn ang="0">
                  <a:pos x="connsiteX8167" y="connsiteY8167"/>
                </a:cxn>
                <a:cxn ang="0">
                  <a:pos x="connsiteX8168" y="connsiteY8168"/>
                </a:cxn>
                <a:cxn ang="0">
                  <a:pos x="connsiteX8169" y="connsiteY8169"/>
                </a:cxn>
                <a:cxn ang="0">
                  <a:pos x="connsiteX8170" y="connsiteY8170"/>
                </a:cxn>
                <a:cxn ang="0">
                  <a:pos x="connsiteX8171" y="connsiteY8171"/>
                </a:cxn>
                <a:cxn ang="0">
                  <a:pos x="connsiteX8172" y="connsiteY8172"/>
                </a:cxn>
                <a:cxn ang="0">
                  <a:pos x="connsiteX8173" y="connsiteY8173"/>
                </a:cxn>
                <a:cxn ang="0">
                  <a:pos x="connsiteX8174" y="connsiteY8174"/>
                </a:cxn>
                <a:cxn ang="0">
                  <a:pos x="connsiteX8175" y="connsiteY8175"/>
                </a:cxn>
                <a:cxn ang="0">
                  <a:pos x="connsiteX8176" y="connsiteY8176"/>
                </a:cxn>
                <a:cxn ang="0">
                  <a:pos x="connsiteX8177" y="connsiteY8177"/>
                </a:cxn>
                <a:cxn ang="0">
                  <a:pos x="connsiteX8178" y="connsiteY8178"/>
                </a:cxn>
                <a:cxn ang="0">
                  <a:pos x="connsiteX8179" y="connsiteY8179"/>
                </a:cxn>
                <a:cxn ang="0">
                  <a:pos x="connsiteX8180" y="connsiteY8180"/>
                </a:cxn>
                <a:cxn ang="0">
                  <a:pos x="connsiteX8181" y="connsiteY8181"/>
                </a:cxn>
                <a:cxn ang="0">
                  <a:pos x="connsiteX8182" y="connsiteY8182"/>
                </a:cxn>
                <a:cxn ang="0">
                  <a:pos x="connsiteX8183" y="connsiteY8183"/>
                </a:cxn>
                <a:cxn ang="0">
                  <a:pos x="connsiteX8184" y="connsiteY8184"/>
                </a:cxn>
                <a:cxn ang="0">
                  <a:pos x="connsiteX8185" y="connsiteY8185"/>
                </a:cxn>
                <a:cxn ang="0">
                  <a:pos x="connsiteX8186" y="connsiteY8186"/>
                </a:cxn>
                <a:cxn ang="0">
                  <a:pos x="connsiteX8187" y="connsiteY8187"/>
                </a:cxn>
                <a:cxn ang="0">
                  <a:pos x="connsiteX8188" y="connsiteY8188"/>
                </a:cxn>
                <a:cxn ang="0">
                  <a:pos x="connsiteX8189" y="connsiteY8189"/>
                </a:cxn>
                <a:cxn ang="0">
                  <a:pos x="connsiteX8190" y="connsiteY8190"/>
                </a:cxn>
                <a:cxn ang="0">
                  <a:pos x="connsiteX8191" y="connsiteY8191"/>
                </a:cxn>
                <a:cxn ang="0">
                  <a:pos x="connsiteX8192" y="connsiteY8192"/>
                </a:cxn>
                <a:cxn ang="0">
                  <a:pos x="connsiteX8193" y="connsiteY8193"/>
                </a:cxn>
                <a:cxn ang="0">
                  <a:pos x="connsiteX8194" y="connsiteY8194"/>
                </a:cxn>
                <a:cxn ang="0">
                  <a:pos x="connsiteX8195" y="connsiteY8195"/>
                </a:cxn>
                <a:cxn ang="0">
                  <a:pos x="connsiteX8196" y="connsiteY8196"/>
                </a:cxn>
                <a:cxn ang="0">
                  <a:pos x="connsiteX8197" y="connsiteY8197"/>
                </a:cxn>
                <a:cxn ang="0">
                  <a:pos x="connsiteX8198" y="connsiteY8198"/>
                </a:cxn>
                <a:cxn ang="0">
                  <a:pos x="connsiteX8199" y="connsiteY8199"/>
                </a:cxn>
                <a:cxn ang="0">
                  <a:pos x="connsiteX8200" y="connsiteY8200"/>
                </a:cxn>
                <a:cxn ang="0">
                  <a:pos x="connsiteX8201" y="connsiteY8201"/>
                </a:cxn>
                <a:cxn ang="0">
                  <a:pos x="connsiteX8202" y="connsiteY8202"/>
                </a:cxn>
                <a:cxn ang="0">
                  <a:pos x="connsiteX8203" y="connsiteY8203"/>
                </a:cxn>
                <a:cxn ang="0">
                  <a:pos x="connsiteX8204" y="connsiteY8204"/>
                </a:cxn>
                <a:cxn ang="0">
                  <a:pos x="connsiteX8205" y="connsiteY8205"/>
                </a:cxn>
                <a:cxn ang="0">
                  <a:pos x="connsiteX8206" y="connsiteY8206"/>
                </a:cxn>
                <a:cxn ang="0">
                  <a:pos x="connsiteX8207" y="connsiteY8207"/>
                </a:cxn>
                <a:cxn ang="0">
                  <a:pos x="connsiteX8208" y="connsiteY8208"/>
                </a:cxn>
                <a:cxn ang="0">
                  <a:pos x="connsiteX8209" y="connsiteY8209"/>
                </a:cxn>
                <a:cxn ang="0">
                  <a:pos x="connsiteX8210" y="connsiteY8210"/>
                </a:cxn>
                <a:cxn ang="0">
                  <a:pos x="connsiteX8211" y="connsiteY8211"/>
                </a:cxn>
                <a:cxn ang="0">
                  <a:pos x="connsiteX8212" y="connsiteY8212"/>
                </a:cxn>
                <a:cxn ang="0">
                  <a:pos x="connsiteX8213" y="connsiteY8213"/>
                </a:cxn>
                <a:cxn ang="0">
                  <a:pos x="connsiteX8214" y="connsiteY8214"/>
                </a:cxn>
                <a:cxn ang="0">
                  <a:pos x="connsiteX8215" y="connsiteY8215"/>
                </a:cxn>
                <a:cxn ang="0">
                  <a:pos x="connsiteX8216" y="connsiteY8216"/>
                </a:cxn>
                <a:cxn ang="0">
                  <a:pos x="connsiteX8217" y="connsiteY8217"/>
                </a:cxn>
                <a:cxn ang="0">
                  <a:pos x="connsiteX8218" y="connsiteY8218"/>
                </a:cxn>
                <a:cxn ang="0">
                  <a:pos x="connsiteX8219" y="connsiteY8219"/>
                </a:cxn>
                <a:cxn ang="0">
                  <a:pos x="connsiteX8220" y="connsiteY8220"/>
                </a:cxn>
                <a:cxn ang="0">
                  <a:pos x="connsiteX8221" y="connsiteY8221"/>
                </a:cxn>
                <a:cxn ang="0">
                  <a:pos x="connsiteX8222" y="connsiteY8222"/>
                </a:cxn>
                <a:cxn ang="0">
                  <a:pos x="connsiteX8223" y="connsiteY8223"/>
                </a:cxn>
                <a:cxn ang="0">
                  <a:pos x="connsiteX8224" y="connsiteY8224"/>
                </a:cxn>
                <a:cxn ang="0">
                  <a:pos x="connsiteX8225" y="connsiteY8225"/>
                </a:cxn>
                <a:cxn ang="0">
                  <a:pos x="connsiteX8226" y="connsiteY8226"/>
                </a:cxn>
                <a:cxn ang="0">
                  <a:pos x="connsiteX8227" y="connsiteY8227"/>
                </a:cxn>
                <a:cxn ang="0">
                  <a:pos x="connsiteX8228" y="connsiteY8228"/>
                </a:cxn>
                <a:cxn ang="0">
                  <a:pos x="connsiteX8229" y="connsiteY8229"/>
                </a:cxn>
                <a:cxn ang="0">
                  <a:pos x="connsiteX8230" y="connsiteY8230"/>
                </a:cxn>
                <a:cxn ang="0">
                  <a:pos x="connsiteX8231" y="connsiteY8231"/>
                </a:cxn>
                <a:cxn ang="0">
                  <a:pos x="connsiteX8232" y="connsiteY8232"/>
                </a:cxn>
                <a:cxn ang="0">
                  <a:pos x="connsiteX8233" y="connsiteY8233"/>
                </a:cxn>
                <a:cxn ang="0">
                  <a:pos x="connsiteX8234" y="connsiteY8234"/>
                </a:cxn>
                <a:cxn ang="0">
                  <a:pos x="connsiteX8235" y="connsiteY8235"/>
                </a:cxn>
                <a:cxn ang="0">
                  <a:pos x="connsiteX8236" y="connsiteY8236"/>
                </a:cxn>
                <a:cxn ang="0">
                  <a:pos x="connsiteX8237" y="connsiteY8237"/>
                </a:cxn>
                <a:cxn ang="0">
                  <a:pos x="connsiteX8238" y="connsiteY8238"/>
                </a:cxn>
                <a:cxn ang="0">
                  <a:pos x="connsiteX8239" y="connsiteY8239"/>
                </a:cxn>
                <a:cxn ang="0">
                  <a:pos x="connsiteX8240" y="connsiteY8240"/>
                </a:cxn>
                <a:cxn ang="0">
                  <a:pos x="connsiteX8241" y="connsiteY8241"/>
                </a:cxn>
                <a:cxn ang="0">
                  <a:pos x="connsiteX8242" y="connsiteY8242"/>
                </a:cxn>
                <a:cxn ang="0">
                  <a:pos x="connsiteX8243" y="connsiteY8243"/>
                </a:cxn>
                <a:cxn ang="0">
                  <a:pos x="connsiteX8244" y="connsiteY8244"/>
                </a:cxn>
                <a:cxn ang="0">
                  <a:pos x="connsiteX8245" y="connsiteY8245"/>
                </a:cxn>
                <a:cxn ang="0">
                  <a:pos x="connsiteX8246" y="connsiteY8246"/>
                </a:cxn>
                <a:cxn ang="0">
                  <a:pos x="connsiteX8247" y="connsiteY8247"/>
                </a:cxn>
                <a:cxn ang="0">
                  <a:pos x="connsiteX8248" y="connsiteY8248"/>
                </a:cxn>
                <a:cxn ang="0">
                  <a:pos x="connsiteX8249" y="connsiteY8249"/>
                </a:cxn>
                <a:cxn ang="0">
                  <a:pos x="connsiteX8250" y="connsiteY8250"/>
                </a:cxn>
                <a:cxn ang="0">
                  <a:pos x="connsiteX8251" y="connsiteY8251"/>
                </a:cxn>
                <a:cxn ang="0">
                  <a:pos x="connsiteX8252" y="connsiteY8252"/>
                </a:cxn>
                <a:cxn ang="0">
                  <a:pos x="connsiteX8253" y="connsiteY8253"/>
                </a:cxn>
                <a:cxn ang="0">
                  <a:pos x="connsiteX8254" y="connsiteY8254"/>
                </a:cxn>
                <a:cxn ang="0">
                  <a:pos x="connsiteX8255" y="connsiteY8255"/>
                </a:cxn>
                <a:cxn ang="0">
                  <a:pos x="connsiteX8256" y="connsiteY8256"/>
                </a:cxn>
                <a:cxn ang="0">
                  <a:pos x="connsiteX8257" y="connsiteY8257"/>
                </a:cxn>
                <a:cxn ang="0">
                  <a:pos x="connsiteX8258" y="connsiteY8258"/>
                </a:cxn>
                <a:cxn ang="0">
                  <a:pos x="connsiteX8259" y="connsiteY8259"/>
                </a:cxn>
                <a:cxn ang="0">
                  <a:pos x="connsiteX8260" y="connsiteY8260"/>
                </a:cxn>
                <a:cxn ang="0">
                  <a:pos x="connsiteX8261" y="connsiteY8261"/>
                </a:cxn>
                <a:cxn ang="0">
                  <a:pos x="connsiteX8262" y="connsiteY8262"/>
                </a:cxn>
                <a:cxn ang="0">
                  <a:pos x="connsiteX8263" y="connsiteY8263"/>
                </a:cxn>
                <a:cxn ang="0">
                  <a:pos x="connsiteX8264" y="connsiteY8264"/>
                </a:cxn>
                <a:cxn ang="0">
                  <a:pos x="connsiteX8265" y="connsiteY8265"/>
                </a:cxn>
                <a:cxn ang="0">
                  <a:pos x="connsiteX8266" y="connsiteY8266"/>
                </a:cxn>
                <a:cxn ang="0">
                  <a:pos x="connsiteX8267" y="connsiteY8267"/>
                </a:cxn>
                <a:cxn ang="0">
                  <a:pos x="connsiteX8268" y="connsiteY8268"/>
                </a:cxn>
                <a:cxn ang="0">
                  <a:pos x="connsiteX8269" y="connsiteY8269"/>
                </a:cxn>
                <a:cxn ang="0">
                  <a:pos x="connsiteX8270" y="connsiteY8270"/>
                </a:cxn>
                <a:cxn ang="0">
                  <a:pos x="connsiteX8271" y="connsiteY8271"/>
                </a:cxn>
                <a:cxn ang="0">
                  <a:pos x="connsiteX8272" y="connsiteY8272"/>
                </a:cxn>
                <a:cxn ang="0">
                  <a:pos x="connsiteX8273" y="connsiteY8273"/>
                </a:cxn>
                <a:cxn ang="0">
                  <a:pos x="connsiteX8274" y="connsiteY8274"/>
                </a:cxn>
                <a:cxn ang="0">
                  <a:pos x="connsiteX8275" y="connsiteY8275"/>
                </a:cxn>
                <a:cxn ang="0">
                  <a:pos x="connsiteX8276" y="connsiteY8276"/>
                </a:cxn>
                <a:cxn ang="0">
                  <a:pos x="connsiteX8277" y="connsiteY8277"/>
                </a:cxn>
                <a:cxn ang="0">
                  <a:pos x="connsiteX8278" y="connsiteY8278"/>
                </a:cxn>
                <a:cxn ang="0">
                  <a:pos x="connsiteX8279" y="connsiteY8279"/>
                </a:cxn>
                <a:cxn ang="0">
                  <a:pos x="connsiteX8280" y="connsiteY8280"/>
                </a:cxn>
                <a:cxn ang="0">
                  <a:pos x="connsiteX8281" y="connsiteY8281"/>
                </a:cxn>
                <a:cxn ang="0">
                  <a:pos x="connsiteX8282" y="connsiteY8282"/>
                </a:cxn>
                <a:cxn ang="0">
                  <a:pos x="connsiteX8283" y="connsiteY8283"/>
                </a:cxn>
                <a:cxn ang="0">
                  <a:pos x="connsiteX8284" y="connsiteY8284"/>
                </a:cxn>
                <a:cxn ang="0">
                  <a:pos x="connsiteX8285" y="connsiteY8285"/>
                </a:cxn>
                <a:cxn ang="0">
                  <a:pos x="connsiteX8286" y="connsiteY8286"/>
                </a:cxn>
                <a:cxn ang="0">
                  <a:pos x="connsiteX8287" y="connsiteY8287"/>
                </a:cxn>
                <a:cxn ang="0">
                  <a:pos x="connsiteX8288" y="connsiteY8288"/>
                </a:cxn>
                <a:cxn ang="0">
                  <a:pos x="connsiteX8289" y="connsiteY8289"/>
                </a:cxn>
                <a:cxn ang="0">
                  <a:pos x="connsiteX8290" y="connsiteY8290"/>
                </a:cxn>
                <a:cxn ang="0">
                  <a:pos x="connsiteX8291" y="connsiteY8291"/>
                </a:cxn>
                <a:cxn ang="0">
                  <a:pos x="connsiteX8292" y="connsiteY8292"/>
                </a:cxn>
                <a:cxn ang="0">
                  <a:pos x="connsiteX8293" y="connsiteY8293"/>
                </a:cxn>
                <a:cxn ang="0">
                  <a:pos x="connsiteX8294" y="connsiteY8294"/>
                </a:cxn>
                <a:cxn ang="0">
                  <a:pos x="connsiteX8295" y="connsiteY8295"/>
                </a:cxn>
                <a:cxn ang="0">
                  <a:pos x="connsiteX8296" y="connsiteY8296"/>
                </a:cxn>
                <a:cxn ang="0">
                  <a:pos x="connsiteX8297" y="connsiteY8297"/>
                </a:cxn>
                <a:cxn ang="0">
                  <a:pos x="connsiteX8298" y="connsiteY8298"/>
                </a:cxn>
                <a:cxn ang="0">
                  <a:pos x="connsiteX8299" y="connsiteY8299"/>
                </a:cxn>
                <a:cxn ang="0">
                  <a:pos x="connsiteX8300" y="connsiteY8300"/>
                </a:cxn>
                <a:cxn ang="0">
                  <a:pos x="connsiteX8301" y="connsiteY8301"/>
                </a:cxn>
                <a:cxn ang="0">
                  <a:pos x="connsiteX8302" y="connsiteY8302"/>
                </a:cxn>
                <a:cxn ang="0">
                  <a:pos x="connsiteX8303" y="connsiteY8303"/>
                </a:cxn>
                <a:cxn ang="0">
                  <a:pos x="connsiteX8304" y="connsiteY8304"/>
                </a:cxn>
                <a:cxn ang="0">
                  <a:pos x="connsiteX8305" y="connsiteY8305"/>
                </a:cxn>
                <a:cxn ang="0">
                  <a:pos x="connsiteX8306" y="connsiteY8306"/>
                </a:cxn>
                <a:cxn ang="0">
                  <a:pos x="connsiteX8307" y="connsiteY8307"/>
                </a:cxn>
                <a:cxn ang="0">
                  <a:pos x="connsiteX8308" y="connsiteY8308"/>
                </a:cxn>
                <a:cxn ang="0">
                  <a:pos x="connsiteX8309" y="connsiteY8309"/>
                </a:cxn>
                <a:cxn ang="0">
                  <a:pos x="connsiteX8310" y="connsiteY8310"/>
                </a:cxn>
                <a:cxn ang="0">
                  <a:pos x="connsiteX8311" y="connsiteY8311"/>
                </a:cxn>
                <a:cxn ang="0">
                  <a:pos x="connsiteX8312" y="connsiteY8312"/>
                </a:cxn>
                <a:cxn ang="0">
                  <a:pos x="connsiteX8313" y="connsiteY8313"/>
                </a:cxn>
                <a:cxn ang="0">
                  <a:pos x="connsiteX8314" y="connsiteY8314"/>
                </a:cxn>
                <a:cxn ang="0">
                  <a:pos x="connsiteX8315" y="connsiteY8315"/>
                </a:cxn>
                <a:cxn ang="0">
                  <a:pos x="connsiteX8316" y="connsiteY8316"/>
                </a:cxn>
                <a:cxn ang="0">
                  <a:pos x="connsiteX8317" y="connsiteY8317"/>
                </a:cxn>
                <a:cxn ang="0">
                  <a:pos x="connsiteX8318" y="connsiteY8318"/>
                </a:cxn>
                <a:cxn ang="0">
                  <a:pos x="connsiteX8319" y="connsiteY8319"/>
                </a:cxn>
                <a:cxn ang="0">
                  <a:pos x="connsiteX8320" y="connsiteY8320"/>
                </a:cxn>
                <a:cxn ang="0">
                  <a:pos x="connsiteX8321" y="connsiteY8321"/>
                </a:cxn>
                <a:cxn ang="0">
                  <a:pos x="connsiteX8322" y="connsiteY8322"/>
                </a:cxn>
                <a:cxn ang="0">
                  <a:pos x="connsiteX8323" y="connsiteY8323"/>
                </a:cxn>
                <a:cxn ang="0">
                  <a:pos x="connsiteX8324" y="connsiteY8324"/>
                </a:cxn>
                <a:cxn ang="0">
                  <a:pos x="connsiteX8325" y="connsiteY8325"/>
                </a:cxn>
                <a:cxn ang="0">
                  <a:pos x="connsiteX8326" y="connsiteY8326"/>
                </a:cxn>
                <a:cxn ang="0">
                  <a:pos x="connsiteX8327" y="connsiteY8327"/>
                </a:cxn>
                <a:cxn ang="0">
                  <a:pos x="connsiteX8328" y="connsiteY8328"/>
                </a:cxn>
                <a:cxn ang="0">
                  <a:pos x="connsiteX8329" y="connsiteY8329"/>
                </a:cxn>
                <a:cxn ang="0">
                  <a:pos x="connsiteX8330" y="connsiteY8330"/>
                </a:cxn>
                <a:cxn ang="0">
                  <a:pos x="connsiteX8331" y="connsiteY8331"/>
                </a:cxn>
                <a:cxn ang="0">
                  <a:pos x="connsiteX8332" y="connsiteY8332"/>
                </a:cxn>
                <a:cxn ang="0">
                  <a:pos x="connsiteX8333" y="connsiteY8333"/>
                </a:cxn>
                <a:cxn ang="0">
                  <a:pos x="connsiteX8334" y="connsiteY8334"/>
                </a:cxn>
                <a:cxn ang="0">
                  <a:pos x="connsiteX8335" y="connsiteY8335"/>
                </a:cxn>
                <a:cxn ang="0">
                  <a:pos x="connsiteX8336" y="connsiteY8336"/>
                </a:cxn>
                <a:cxn ang="0">
                  <a:pos x="connsiteX8337" y="connsiteY8337"/>
                </a:cxn>
                <a:cxn ang="0">
                  <a:pos x="connsiteX8338" y="connsiteY8338"/>
                </a:cxn>
                <a:cxn ang="0">
                  <a:pos x="connsiteX8339" y="connsiteY8339"/>
                </a:cxn>
                <a:cxn ang="0">
                  <a:pos x="connsiteX8340" y="connsiteY8340"/>
                </a:cxn>
                <a:cxn ang="0">
                  <a:pos x="connsiteX8341" y="connsiteY8341"/>
                </a:cxn>
                <a:cxn ang="0">
                  <a:pos x="connsiteX8342" y="connsiteY8342"/>
                </a:cxn>
                <a:cxn ang="0">
                  <a:pos x="connsiteX8343" y="connsiteY8343"/>
                </a:cxn>
                <a:cxn ang="0">
                  <a:pos x="connsiteX8344" y="connsiteY8344"/>
                </a:cxn>
                <a:cxn ang="0">
                  <a:pos x="connsiteX8345" y="connsiteY8345"/>
                </a:cxn>
                <a:cxn ang="0">
                  <a:pos x="connsiteX8346" y="connsiteY8346"/>
                </a:cxn>
                <a:cxn ang="0">
                  <a:pos x="connsiteX8347" y="connsiteY8347"/>
                </a:cxn>
                <a:cxn ang="0">
                  <a:pos x="connsiteX8348" y="connsiteY8348"/>
                </a:cxn>
                <a:cxn ang="0">
                  <a:pos x="connsiteX8349" y="connsiteY8349"/>
                </a:cxn>
                <a:cxn ang="0">
                  <a:pos x="connsiteX8350" y="connsiteY8350"/>
                </a:cxn>
                <a:cxn ang="0">
                  <a:pos x="connsiteX8351" y="connsiteY8351"/>
                </a:cxn>
                <a:cxn ang="0">
                  <a:pos x="connsiteX8352" y="connsiteY8352"/>
                </a:cxn>
                <a:cxn ang="0">
                  <a:pos x="connsiteX8353" y="connsiteY8353"/>
                </a:cxn>
                <a:cxn ang="0">
                  <a:pos x="connsiteX8354" y="connsiteY8354"/>
                </a:cxn>
                <a:cxn ang="0">
                  <a:pos x="connsiteX8355" y="connsiteY8355"/>
                </a:cxn>
                <a:cxn ang="0">
                  <a:pos x="connsiteX8356" y="connsiteY8356"/>
                </a:cxn>
                <a:cxn ang="0">
                  <a:pos x="connsiteX8357" y="connsiteY8357"/>
                </a:cxn>
                <a:cxn ang="0">
                  <a:pos x="connsiteX8358" y="connsiteY8358"/>
                </a:cxn>
                <a:cxn ang="0">
                  <a:pos x="connsiteX8359" y="connsiteY8359"/>
                </a:cxn>
                <a:cxn ang="0">
                  <a:pos x="connsiteX8360" y="connsiteY8360"/>
                </a:cxn>
                <a:cxn ang="0">
                  <a:pos x="connsiteX8361" y="connsiteY8361"/>
                </a:cxn>
                <a:cxn ang="0">
                  <a:pos x="connsiteX8362" y="connsiteY8362"/>
                </a:cxn>
                <a:cxn ang="0">
                  <a:pos x="connsiteX8363" y="connsiteY8363"/>
                </a:cxn>
                <a:cxn ang="0">
                  <a:pos x="connsiteX8364" y="connsiteY8364"/>
                </a:cxn>
                <a:cxn ang="0">
                  <a:pos x="connsiteX8365" y="connsiteY8365"/>
                </a:cxn>
                <a:cxn ang="0">
                  <a:pos x="connsiteX8366" y="connsiteY8366"/>
                </a:cxn>
                <a:cxn ang="0">
                  <a:pos x="connsiteX8367" y="connsiteY8367"/>
                </a:cxn>
                <a:cxn ang="0">
                  <a:pos x="connsiteX8368" y="connsiteY8368"/>
                </a:cxn>
                <a:cxn ang="0">
                  <a:pos x="connsiteX8369" y="connsiteY8369"/>
                </a:cxn>
                <a:cxn ang="0">
                  <a:pos x="connsiteX8370" y="connsiteY8370"/>
                </a:cxn>
                <a:cxn ang="0">
                  <a:pos x="connsiteX8371" y="connsiteY8371"/>
                </a:cxn>
                <a:cxn ang="0">
                  <a:pos x="connsiteX8372" y="connsiteY8372"/>
                </a:cxn>
                <a:cxn ang="0">
                  <a:pos x="connsiteX8373" y="connsiteY8373"/>
                </a:cxn>
                <a:cxn ang="0">
                  <a:pos x="connsiteX8374" y="connsiteY8374"/>
                </a:cxn>
                <a:cxn ang="0">
                  <a:pos x="connsiteX8375" y="connsiteY8375"/>
                </a:cxn>
                <a:cxn ang="0">
                  <a:pos x="connsiteX8376" y="connsiteY8376"/>
                </a:cxn>
                <a:cxn ang="0">
                  <a:pos x="connsiteX8377" y="connsiteY8377"/>
                </a:cxn>
                <a:cxn ang="0">
                  <a:pos x="connsiteX8378" y="connsiteY8378"/>
                </a:cxn>
                <a:cxn ang="0">
                  <a:pos x="connsiteX8379" y="connsiteY8379"/>
                </a:cxn>
                <a:cxn ang="0">
                  <a:pos x="connsiteX8380" y="connsiteY8380"/>
                </a:cxn>
                <a:cxn ang="0">
                  <a:pos x="connsiteX8381" y="connsiteY8381"/>
                </a:cxn>
                <a:cxn ang="0">
                  <a:pos x="connsiteX8382" y="connsiteY8382"/>
                </a:cxn>
                <a:cxn ang="0">
                  <a:pos x="connsiteX8383" y="connsiteY8383"/>
                </a:cxn>
                <a:cxn ang="0">
                  <a:pos x="connsiteX8384" y="connsiteY8384"/>
                </a:cxn>
                <a:cxn ang="0">
                  <a:pos x="connsiteX8385" y="connsiteY8385"/>
                </a:cxn>
                <a:cxn ang="0">
                  <a:pos x="connsiteX8386" y="connsiteY8386"/>
                </a:cxn>
                <a:cxn ang="0">
                  <a:pos x="connsiteX8387" y="connsiteY8387"/>
                </a:cxn>
                <a:cxn ang="0">
                  <a:pos x="connsiteX8388" y="connsiteY8388"/>
                </a:cxn>
                <a:cxn ang="0">
                  <a:pos x="connsiteX8389" y="connsiteY8389"/>
                </a:cxn>
                <a:cxn ang="0">
                  <a:pos x="connsiteX8390" y="connsiteY8390"/>
                </a:cxn>
                <a:cxn ang="0">
                  <a:pos x="connsiteX8391" y="connsiteY8391"/>
                </a:cxn>
                <a:cxn ang="0">
                  <a:pos x="connsiteX8392" y="connsiteY8392"/>
                </a:cxn>
                <a:cxn ang="0">
                  <a:pos x="connsiteX8393" y="connsiteY8393"/>
                </a:cxn>
                <a:cxn ang="0">
                  <a:pos x="connsiteX8394" y="connsiteY8394"/>
                </a:cxn>
                <a:cxn ang="0">
                  <a:pos x="connsiteX8395" y="connsiteY8395"/>
                </a:cxn>
                <a:cxn ang="0">
                  <a:pos x="connsiteX8396" y="connsiteY8396"/>
                </a:cxn>
                <a:cxn ang="0">
                  <a:pos x="connsiteX8397" y="connsiteY8397"/>
                </a:cxn>
                <a:cxn ang="0">
                  <a:pos x="connsiteX8398" y="connsiteY8398"/>
                </a:cxn>
                <a:cxn ang="0">
                  <a:pos x="connsiteX8399" y="connsiteY8399"/>
                </a:cxn>
                <a:cxn ang="0">
                  <a:pos x="connsiteX8400" y="connsiteY8400"/>
                </a:cxn>
                <a:cxn ang="0">
                  <a:pos x="connsiteX8401" y="connsiteY8401"/>
                </a:cxn>
                <a:cxn ang="0">
                  <a:pos x="connsiteX8402" y="connsiteY8402"/>
                </a:cxn>
                <a:cxn ang="0">
                  <a:pos x="connsiteX8403" y="connsiteY8403"/>
                </a:cxn>
                <a:cxn ang="0">
                  <a:pos x="connsiteX8404" y="connsiteY8404"/>
                </a:cxn>
                <a:cxn ang="0">
                  <a:pos x="connsiteX8405" y="connsiteY8405"/>
                </a:cxn>
                <a:cxn ang="0">
                  <a:pos x="connsiteX8406" y="connsiteY8406"/>
                </a:cxn>
                <a:cxn ang="0">
                  <a:pos x="connsiteX8407" y="connsiteY8407"/>
                </a:cxn>
                <a:cxn ang="0">
                  <a:pos x="connsiteX8408" y="connsiteY8408"/>
                </a:cxn>
                <a:cxn ang="0">
                  <a:pos x="connsiteX8409" y="connsiteY8409"/>
                </a:cxn>
                <a:cxn ang="0">
                  <a:pos x="connsiteX8410" y="connsiteY8410"/>
                </a:cxn>
                <a:cxn ang="0">
                  <a:pos x="connsiteX8411" y="connsiteY8411"/>
                </a:cxn>
                <a:cxn ang="0">
                  <a:pos x="connsiteX8412" y="connsiteY8412"/>
                </a:cxn>
                <a:cxn ang="0">
                  <a:pos x="connsiteX8413" y="connsiteY8413"/>
                </a:cxn>
                <a:cxn ang="0">
                  <a:pos x="connsiteX8414" y="connsiteY8414"/>
                </a:cxn>
                <a:cxn ang="0">
                  <a:pos x="connsiteX8415" y="connsiteY8415"/>
                </a:cxn>
                <a:cxn ang="0">
                  <a:pos x="connsiteX8416" y="connsiteY8416"/>
                </a:cxn>
                <a:cxn ang="0">
                  <a:pos x="connsiteX8417" y="connsiteY8417"/>
                </a:cxn>
                <a:cxn ang="0">
                  <a:pos x="connsiteX8418" y="connsiteY8418"/>
                </a:cxn>
                <a:cxn ang="0">
                  <a:pos x="connsiteX8419" y="connsiteY8419"/>
                </a:cxn>
                <a:cxn ang="0">
                  <a:pos x="connsiteX8420" y="connsiteY8420"/>
                </a:cxn>
                <a:cxn ang="0">
                  <a:pos x="connsiteX8421" y="connsiteY8421"/>
                </a:cxn>
                <a:cxn ang="0">
                  <a:pos x="connsiteX8422" y="connsiteY8422"/>
                </a:cxn>
                <a:cxn ang="0">
                  <a:pos x="connsiteX8423" y="connsiteY8423"/>
                </a:cxn>
                <a:cxn ang="0">
                  <a:pos x="connsiteX8424" y="connsiteY8424"/>
                </a:cxn>
                <a:cxn ang="0">
                  <a:pos x="connsiteX8425" y="connsiteY8425"/>
                </a:cxn>
                <a:cxn ang="0">
                  <a:pos x="connsiteX8426" y="connsiteY8426"/>
                </a:cxn>
                <a:cxn ang="0">
                  <a:pos x="connsiteX8427" y="connsiteY8427"/>
                </a:cxn>
                <a:cxn ang="0">
                  <a:pos x="connsiteX8428" y="connsiteY8428"/>
                </a:cxn>
                <a:cxn ang="0">
                  <a:pos x="connsiteX8429" y="connsiteY8429"/>
                </a:cxn>
                <a:cxn ang="0">
                  <a:pos x="connsiteX8430" y="connsiteY8430"/>
                </a:cxn>
                <a:cxn ang="0">
                  <a:pos x="connsiteX8431" y="connsiteY8431"/>
                </a:cxn>
                <a:cxn ang="0">
                  <a:pos x="connsiteX8432" y="connsiteY8432"/>
                </a:cxn>
                <a:cxn ang="0">
                  <a:pos x="connsiteX8433" y="connsiteY8433"/>
                </a:cxn>
                <a:cxn ang="0">
                  <a:pos x="connsiteX8434" y="connsiteY8434"/>
                </a:cxn>
                <a:cxn ang="0">
                  <a:pos x="connsiteX8435" y="connsiteY8435"/>
                </a:cxn>
                <a:cxn ang="0">
                  <a:pos x="connsiteX8436" y="connsiteY8436"/>
                </a:cxn>
                <a:cxn ang="0">
                  <a:pos x="connsiteX8437" y="connsiteY8437"/>
                </a:cxn>
                <a:cxn ang="0">
                  <a:pos x="connsiteX8438" y="connsiteY8438"/>
                </a:cxn>
                <a:cxn ang="0">
                  <a:pos x="connsiteX8439" y="connsiteY8439"/>
                </a:cxn>
                <a:cxn ang="0">
                  <a:pos x="connsiteX8440" y="connsiteY8440"/>
                </a:cxn>
                <a:cxn ang="0">
                  <a:pos x="connsiteX8441" y="connsiteY8441"/>
                </a:cxn>
                <a:cxn ang="0">
                  <a:pos x="connsiteX8442" y="connsiteY8442"/>
                </a:cxn>
                <a:cxn ang="0">
                  <a:pos x="connsiteX8443" y="connsiteY8443"/>
                </a:cxn>
                <a:cxn ang="0">
                  <a:pos x="connsiteX8444" y="connsiteY8444"/>
                </a:cxn>
                <a:cxn ang="0">
                  <a:pos x="connsiteX8445" y="connsiteY8445"/>
                </a:cxn>
                <a:cxn ang="0">
                  <a:pos x="connsiteX8446" y="connsiteY8446"/>
                </a:cxn>
                <a:cxn ang="0">
                  <a:pos x="connsiteX8447" y="connsiteY8447"/>
                </a:cxn>
                <a:cxn ang="0">
                  <a:pos x="connsiteX8448" y="connsiteY8448"/>
                </a:cxn>
                <a:cxn ang="0">
                  <a:pos x="connsiteX8449" y="connsiteY8449"/>
                </a:cxn>
                <a:cxn ang="0">
                  <a:pos x="connsiteX8450" y="connsiteY8450"/>
                </a:cxn>
                <a:cxn ang="0">
                  <a:pos x="connsiteX8451" y="connsiteY8451"/>
                </a:cxn>
                <a:cxn ang="0">
                  <a:pos x="connsiteX8452" y="connsiteY8452"/>
                </a:cxn>
                <a:cxn ang="0">
                  <a:pos x="connsiteX8453" y="connsiteY8453"/>
                </a:cxn>
                <a:cxn ang="0">
                  <a:pos x="connsiteX8454" y="connsiteY8454"/>
                </a:cxn>
                <a:cxn ang="0">
                  <a:pos x="connsiteX8455" y="connsiteY8455"/>
                </a:cxn>
                <a:cxn ang="0">
                  <a:pos x="connsiteX8456" y="connsiteY8456"/>
                </a:cxn>
                <a:cxn ang="0">
                  <a:pos x="connsiteX8457" y="connsiteY8457"/>
                </a:cxn>
                <a:cxn ang="0">
                  <a:pos x="connsiteX8458" y="connsiteY8458"/>
                </a:cxn>
                <a:cxn ang="0">
                  <a:pos x="connsiteX8459" y="connsiteY8459"/>
                </a:cxn>
                <a:cxn ang="0">
                  <a:pos x="connsiteX8460" y="connsiteY8460"/>
                </a:cxn>
                <a:cxn ang="0">
                  <a:pos x="connsiteX8461" y="connsiteY8461"/>
                </a:cxn>
                <a:cxn ang="0">
                  <a:pos x="connsiteX8462" y="connsiteY8462"/>
                </a:cxn>
                <a:cxn ang="0">
                  <a:pos x="connsiteX8463" y="connsiteY8463"/>
                </a:cxn>
                <a:cxn ang="0">
                  <a:pos x="connsiteX8464" y="connsiteY8464"/>
                </a:cxn>
                <a:cxn ang="0">
                  <a:pos x="connsiteX8465" y="connsiteY8465"/>
                </a:cxn>
                <a:cxn ang="0">
                  <a:pos x="connsiteX8466" y="connsiteY8466"/>
                </a:cxn>
                <a:cxn ang="0">
                  <a:pos x="connsiteX8467" y="connsiteY8467"/>
                </a:cxn>
                <a:cxn ang="0">
                  <a:pos x="connsiteX8468" y="connsiteY8468"/>
                </a:cxn>
                <a:cxn ang="0">
                  <a:pos x="connsiteX8469" y="connsiteY8469"/>
                </a:cxn>
                <a:cxn ang="0">
                  <a:pos x="connsiteX8470" y="connsiteY8470"/>
                </a:cxn>
                <a:cxn ang="0">
                  <a:pos x="connsiteX8471" y="connsiteY8471"/>
                </a:cxn>
                <a:cxn ang="0">
                  <a:pos x="connsiteX8472" y="connsiteY8472"/>
                </a:cxn>
                <a:cxn ang="0">
                  <a:pos x="connsiteX8473" y="connsiteY8473"/>
                </a:cxn>
                <a:cxn ang="0">
                  <a:pos x="connsiteX8474" y="connsiteY8474"/>
                </a:cxn>
                <a:cxn ang="0">
                  <a:pos x="connsiteX8475" y="connsiteY8475"/>
                </a:cxn>
                <a:cxn ang="0">
                  <a:pos x="connsiteX8476" y="connsiteY8476"/>
                </a:cxn>
                <a:cxn ang="0">
                  <a:pos x="connsiteX8477" y="connsiteY8477"/>
                </a:cxn>
                <a:cxn ang="0">
                  <a:pos x="connsiteX8478" y="connsiteY8478"/>
                </a:cxn>
                <a:cxn ang="0">
                  <a:pos x="connsiteX8479" y="connsiteY8479"/>
                </a:cxn>
                <a:cxn ang="0">
                  <a:pos x="connsiteX8480" y="connsiteY8480"/>
                </a:cxn>
                <a:cxn ang="0">
                  <a:pos x="connsiteX8481" y="connsiteY8481"/>
                </a:cxn>
                <a:cxn ang="0">
                  <a:pos x="connsiteX8482" y="connsiteY8482"/>
                </a:cxn>
                <a:cxn ang="0">
                  <a:pos x="connsiteX8483" y="connsiteY8483"/>
                </a:cxn>
                <a:cxn ang="0">
                  <a:pos x="connsiteX8484" y="connsiteY8484"/>
                </a:cxn>
                <a:cxn ang="0">
                  <a:pos x="connsiteX8485" y="connsiteY8485"/>
                </a:cxn>
                <a:cxn ang="0">
                  <a:pos x="connsiteX8486" y="connsiteY8486"/>
                </a:cxn>
                <a:cxn ang="0">
                  <a:pos x="connsiteX8487" y="connsiteY8487"/>
                </a:cxn>
                <a:cxn ang="0">
                  <a:pos x="connsiteX8488" y="connsiteY8488"/>
                </a:cxn>
                <a:cxn ang="0">
                  <a:pos x="connsiteX8489" y="connsiteY8489"/>
                </a:cxn>
                <a:cxn ang="0">
                  <a:pos x="connsiteX8490" y="connsiteY8490"/>
                </a:cxn>
                <a:cxn ang="0">
                  <a:pos x="connsiteX8491" y="connsiteY8491"/>
                </a:cxn>
                <a:cxn ang="0">
                  <a:pos x="connsiteX8492" y="connsiteY8492"/>
                </a:cxn>
                <a:cxn ang="0">
                  <a:pos x="connsiteX8493" y="connsiteY8493"/>
                </a:cxn>
                <a:cxn ang="0">
                  <a:pos x="connsiteX8494" y="connsiteY8494"/>
                </a:cxn>
                <a:cxn ang="0">
                  <a:pos x="connsiteX8495" y="connsiteY8495"/>
                </a:cxn>
                <a:cxn ang="0">
                  <a:pos x="connsiteX8496" y="connsiteY8496"/>
                </a:cxn>
                <a:cxn ang="0">
                  <a:pos x="connsiteX8497" y="connsiteY8497"/>
                </a:cxn>
                <a:cxn ang="0">
                  <a:pos x="connsiteX8498" y="connsiteY8498"/>
                </a:cxn>
                <a:cxn ang="0">
                  <a:pos x="connsiteX8499" y="connsiteY8499"/>
                </a:cxn>
                <a:cxn ang="0">
                  <a:pos x="connsiteX8500" y="connsiteY8500"/>
                </a:cxn>
                <a:cxn ang="0">
                  <a:pos x="connsiteX8501" y="connsiteY8501"/>
                </a:cxn>
                <a:cxn ang="0">
                  <a:pos x="connsiteX8502" y="connsiteY8502"/>
                </a:cxn>
                <a:cxn ang="0">
                  <a:pos x="connsiteX8503" y="connsiteY8503"/>
                </a:cxn>
                <a:cxn ang="0">
                  <a:pos x="connsiteX8504" y="connsiteY8504"/>
                </a:cxn>
                <a:cxn ang="0">
                  <a:pos x="connsiteX8505" y="connsiteY8505"/>
                </a:cxn>
                <a:cxn ang="0">
                  <a:pos x="connsiteX8506" y="connsiteY8506"/>
                </a:cxn>
                <a:cxn ang="0">
                  <a:pos x="connsiteX8507" y="connsiteY8507"/>
                </a:cxn>
                <a:cxn ang="0">
                  <a:pos x="connsiteX8508" y="connsiteY8508"/>
                </a:cxn>
                <a:cxn ang="0">
                  <a:pos x="connsiteX8509" y="connsiteY8509"/>
                </a:cxn>
                <a:cxn ang="0">
                  <a:pos x="connsiteX8510" y="connsiteY8510"/>
                </a:cxn>
                <a:cxn ang="0">
                  <a:pos x="connsiteX8511" y="connsiteY8511"/>
                </a:cxn>
                <a:cxn ang="0">
                  <a:pos x="connsiteX8512" y="connsiteY8512"/>
                </a:cxn>
                <a:cxn ang="0">
                  <a:pos x="connsiteX8513" y="connsiteY8513"/>
                </a:cxn>
                <a:cxn ang="0">
                  <a:pos x="connsiteX8514" y="connsiteY8514"/>
                </a:cxn>
                <a:cxn ang="0">
                  <a:pos x="connsiteX8515" y="connsiteY8515"/>
                </a:cxn>
                <a:cxn ang="0">
                  <a:pos x="connsiteX8516" y="connsiteY8516"/>
                </a:cxn>
                <a:cxn ang="0">
                  <a:pos x="connsiteX8517" y="connsiteY8517"/>
                </a:cxn>
                <a:cxn ang="0">
                  <a:pos x="connsiteX8518" y="connsiteY8518"/>
                </a:cxn>
                <a:cxn ang="0">
                  <a:pos x="connsiteX8519" y="connsiteY8519"/>
                </a:cxn>
                <a:cxn ang="0">
                  <a:pos x="connsiteX8520" y="connsiteY8520"/>
                </a:cxn>
                <a:cxn ang="0">
                  <a:pos x="connsiteX8521" y="connsiteY8521"/>
                </a:cxn>
                <a:cxn ang="0">
                  <a:pos x="connsiteX8522" y="connsiteY8522"/>
                </a:cxn>
                <a:cxn ang="0">
                  <a:pos x="connsiteX8523" y="connsiteY8523"/>
                </a:cxn>
                <a:cxn ang="0">
                  <a:pos x="connsiteX8524" y="connsiteY8524"/>
                </a:cxn>
                <a:cxn ang="0">
                  <a:pos x="connsiteX8525" y="connsiteY8525"/>
                </a:cxn>
                <a:cxn ang="0">
                  <a:pos x="connsiteX8526" y="connsiteY8526"/>
                </a:cxn>
                <a:cxn ang="0">
                  <a:pos x="connsiteX8527" y="connsiteY8527"/>
                </a:cxn>
                <a:cxn ang="0">
                  <a:pos x="connsiteX8528" y="connsiteY8528"/>
                </a:cxn>
                <a:cxn ang="0">
                  <a:pos x="connsiteX8529" y="connsiteY8529"/>
                </a:cxn>
                <a:cxn ang="0">
                  <a:pos x="connsiteX8530" y="connsiteY8530"/>
                </a:cxn>
                <a:cxn ang="0">
                  <a:pos x="connsiteX8531" y="connsiteY8531"/>
                </a:cxn>
                <a:cxn ang="0">
                  <a:pos x="connsiteX8532" y="connsiteY8532"/>
                </a:cxn>
                <a:cxn ang="0">
                  <a:pos x="connsiteX8533" y="connsiteY8533"/>
                </a:cxn>
                <a:cxn ang="0">
                  <a:pos x="connsiteX8534" y="connsiteY8534"/>
                </a:cxn>
                <a:cxn ang="0">
                  <a:pos x="connsiteX8535" y="connsiteY8535"/>
                </a:cxn>
                <a:cxn ang="0">
                  <a:pos x="connsiteX8536" y="connsiteY8536"/>
                </a:cxn>
                <a:cxn ang="0">
                  <a:pos x="connsiteX8537" y="connsiteY8537"/>
                </a:cxn>
                <a:cxn ang="0">
                  <a:pos x="connsiteX8538" y="connsiteY8538"/>
                </a:cxn>
                <a:cxn ang="0">
                  <a:pos x="connsiteX8539" y="connsiteY8539"/>
                </a:cxn>
                <a:cxn ang="0">
                  <a:pos x="connsiteX8540" y="connsiteY8540"/>
                </a:cxn>
                <a:cxn ang="0">
                  <a:pos x="connsiteX8541" y="connsiteY8541"/>
                </a:cxn>
                <a:cxn ang="0">
                  <a:pos x="connsiteX8542" y="connsiteY8542"/>
                </a:cxn>
                <a:cxn ang="0">
                  <a:pos x="connsiteX8543" y="connsiteY8543"/>
                </a:cxn>
                <a:cxn ang="0">
                  <a:pos x="connsiteX8544" y="connsiteY8544"/>
                </a:cxn>
                <a:cxn ang="0">
                  <a:pos x="connsiteX8545" y="connsiteY8545"/>
                </a:cxn>
                <a:cxn ang="0">
                  <a:pos x="connsiteX8546" y="connsiteY8546"/>
                </a:cxn>
                <a:cxn ang="0">
                  <a:pos x="connsiteX8547" y="connsiteY8547"/>
                </a:cxn>
                <a:cxn ang="0">
                  <a:pos x="connsiteX8548" y="connsiteY8548"/>
                </a:cxn>
                <a:cxn ang="0">
                  <a:pos x="connsiteX8549" y="connsiteY8549"/>
                </a:cxn>
                <a:cxn ang="0">
                  <a:pos x="connsiteX8550" y="connsiteY8550"/>
                </a:cxn>
                <a:cxn ang="0">
                  <a:pos x="connsiteX8551" y="connsiteY8551"/>
                </a:cxn>
                <a:cxn ang="0">
                  <a:pos x="connsiteX8552" y="connsiteY8552"/>
                </a:cxn>
                <a:cxn ang="0">
                  <a:pos x="connsiteX8553" y="connsiteY8553"/>
                </a:cxn>
                <a:cxn ang="0">
                  <a:pos x="connsiteX8554" y="connsiteY8554"/>
                </a:cxn>
                <a:cxn ang="0">
                  <a:pos x="connsiteX8555" y="connsiteY8555"/>
                </a:cxn>
                <a:cxn ang="0">
                  <a:pos x="connsiteX8556" y="connsiteY8556"/>
                </a:cxn>
                <a:cxn ang="0">
                  <a:pos x="connsiteX8557" y="connsiteY8557"/>
                </a:cxn>
                <a:cxn ang="0">
                  <a:pos x="connsiteX8558" y="connsiteY8558"/>
                </a:cxn>
                <a:cxn ang="0">
                  <a:pos x="connsiteX8559" y="connsiteY8559"/>
                </a:cxn>
                <a:cxn ang="0">
                  <a:pos x="connsiteX8560" y="connsiteY8560"/>
                </a:cxn>
                <a:cxn ang="0">
                  <a:pos x="connsiteX8561" y="connsiteY8561"/>
                </a:cxn>
                <a:cxn ang="0">
                  <a:pos x="connsiteX8562" y="connsiteY8562"/>
                </a:cxn>
                <a:cxn ang="0">
                  <a:pos x="connsiteX8563" y="connsiteY8563"/>
                </a:cxn>
                <a:cxn ang="0">
                  <a:pos x="connsiteX8564" y="connsiteY8564"/>
                </a:cxn>
                <a:cxn ang="0">
                  <a:pos x="connsiteX8565" y="connsiteY8565"/>
                </a:cxn>
                <a:cxn ang="0">
                  <a:pos x="connsiteX8566" y="connsiteY8566"/>
                </a:cxn>
                <a:cxn ang="0">
                  <a:pos x="connsiteX8567" y="connsiteY8567"/>
                </a:cxn>
                <a:cxn ang="0">
                  <a:pos x="connsiteX8568" y="connsiteY8568"/>
                </a:cxn>
                <a:cxn ang="0">
                  <a:pos x="connsiteX8569" y="connsiteY8569"/>
                </a:cxn>
                <a:cxn ang="0">
                  <a:pos x="connsiteX8570" y="connsiteY8570"/>
                </a:cxn>
                <a:cxn ang="0">
                  <a:pos x="connsiteX8571" y="connsiteY8571"/>
                </a:cxn>
                <a:cxn ang="0">
                  <a:pos x="connsiteX8572" y="connsiteY8572"/>
                </a:cxn>
                <a:cxn ang="0">
                  <a:pos x="connsiteX8573" y="connsiteY8573"/>
                </a:cxn>
                <a:cxn ang="0">
                  <a:pos x="connsiteX8574" y="connsiteY8574"/>
                </a:cxn>
                <a:cxn ang="0">
                  <a:pos x="connsiteX8575" y="connsiteY8575"/>
                </a:cxn>
                <a:cxn ang="0">
                  <a:pos x="connsiteX8576" y="connsiteY8576"/>
                </a:cxn>
                <a:cxn ang="0">
                  <a:pos x="connsiteX8577" y="connsiteY8577"/>
                </a:cxn>
                <a:cxn ang="0">
                  <a:pos x="connsiteX8578" y="connsiteY8578"/>
                </a:cxn>
                <a:cxn ang="0">
                  <a:pos x="connsiteX8579" y="connsiteY8579"/>
                </a:cxn>
                <a:cxn ang="0">
                  <a:pos x="connsiteX8580" y="connsiteY8580"/>
                </a:cxn>
                <a:cxn ang="0">
                  <a:pos x="connsiteX8581" y="connsiteY8581"/>
                </a:cxn>
                <a:cxn ang="0">
                  <a:pos x="connsiteX8582" y="connsiteY8582"/>
                </a:cxn>
                <a:cxn ang="0">
                  <a:pos x="connsiteX8583" y="connsiteY8583"/>
                </a:cxn>
                <a:cxn ang="0">
                  <a:pos x="connsiteX8584" y="connsiteY8584"/>
                </a:cxn>
                <a:cxn ang="0">
                  <a:pos x="connsiteX8585" y="connsiteY8585"/>
                </a:cxn>
                <a:cxn ang="0">
                  <a:pos x="connsiteX8586" y="connsiteY8586"/>
                </a:cxn>
                <a:cxn ang="0">
                  <a:pos x="connsiteX8587" y="connsiteY8587"/>
                </a:cxn>
                <a:cxn ang="0">
                  <a:pos x="connsiteX8588" y="connsiteY8588"/>
                </a:cxn>
                <a:cxn ang="0">
                  <a:pos x="connsiteX8589" y="connsiteY8589"/>
                </a:cxn>
                <a:cxn ang="0">
                  <a:pos x="connsiteX8590" y="connsiteY8590"/>
                </a:cxn>
                <a:cxn ang="0">
                  <a:pos x="connsiteX8591" y="connsiteY8591"/>
                </a:cxn>
                <a:cxn ang="0">
                  <a:pos x="connsiteX8592" y="connsiteY8592"/>
                </a:cxn>
                <a:cxn ang="0">
                  <a:pos x="connsiteX8593" y="connsiteY8593"/>
                </a:cxn>
                <a:cxn ang="0">
                  <a:pos x="connsiteX8594" y="connsiteY8594"/>
                </a:cxn>
                <a:cxn ang="0">
                  <a:pos x="connsiteX8595" y="connsiteY8595"/>
                </a:cxn>
                <a:cxn ang="0">
                  <a:pos x="connsiteX8596" y="connsiteY8596"/>
                </a:cxn>
                <a:cxn ang="0">
                  <a:pos x="connsiteX8597" y="connsiteY8597"/>
                </a:cxn>
                <a:cxn ang="0">
                  <a:pos x="connsiteX8598" y="connsiteY8598"/>
                </a:cxn>
                <a:cxn ang="0">
                  <a:pos x="connsiteX8599" y="connsiteY8599"/>
                </a:cxn>
                <a:cxn ang="0">
                  <a:pos x="connsiteX8600" y="connsiteY8600"/>
                </a:cxn>
                <a:cxn ang="0">
                  <a:pos x="connsiteX8601" y="connsiteY8601"/>
                </a:cxn>
                <a:cxn ang="0">
                  <a:pos x="connsiteX8602" y="connsiteY8602"/>
                </a:cxn>
                <a:cxn ang="0">
                  <a:pos x="connsiteX8603" y="connsiteY8603"/>
                </a:cxn>
                <a:cxn ang="0">
                  <a:pos x="connsiteX8604" y="connsiteY8604"/>
                </a:cxn>
                <a:cxn ang="0">
                  <a:pos x="connsiteX8605" y="connsiteY8605"/>
                </a:cxn>
                <a:cxn ang="0">
                  <a:pos x="connsiteX8606" y="connsiteY8606"/>
                </a:cxn>
                <a:cxn ang="0">
                  <a:pos x="connsiteX8607" y="connsiteY8607"/>
                </a:cxn>
                <a:cxn ang="0">
                  <a:pos x="connsiteX8608" y="connsiteY8608"/>
                </a:cxn>
                <a:cxn ang="0">
                  <a:pos x="connsiteX8609" y="connsiteY8609"/>
                </a:cxn>
                <a:cxn ang="0">
                  <a:pos x="connsiteX8610" y="connsiteY8610"/>
                </a:cxn>
                <a:cxn ang="0">
                  <a:pos x="connsiteX8611" y="connsiteY8611"/>
                </a:cxn>
                <a:cxn ang="0">
                  <a:pos x="connsiteX8612" y="connsiteY8612"/>
                </a:cxn>
                <a:cxn ang="0">
                  <a:pos x="connsiteX8613" y="connsiteY8613"/>
                </a:cxn>
                <a:cxn ang="0">
                  <a:pos x="connsiteX8614" y="connsiteY8614"/>
                </a:cxn>
                <a:cxn ang="0">
                  <a:pos x="connsiteX8615" y="connsiteY8615"/>
                </a:cxn>
                <a:cxn ang="0">
                  <a:pos x="connsiteX8616" y="connsiteY8616"/>
                </a:cxn>
                <a:cxn ang="0">
                  <a:pos x="connsiteX8617" y="connsiteY8617"/>
                </a:cxn>
                <a:cxn ang="0">
                  <a:pos x="connsiteX8618" y="connsiteY8618"/>
                </a:cxn>
                <a:cxn ang="0">
                  <a:pos x="connsiteX8619" y="connsiteY8619"/>
                </a:cxn>
                <a:cxn ang="0">
                  <a:pos x="connsiteX8620" y="connsiteY8620"/>
                </a:cxn>
                <a:cxn ang="0">
                  <a:pos x="connsiteX8621" y="connsiteY8621"/>
                </a:cxn>
                <a:cxn ang="0">
                  <a:pos x="connsiteX8622" y="connsiteY8622"/>
                </a:cxn>
                <a:cxn ang="0">
                  <a:pos x="connsiteX8623" y="connsiteY8623"/>
                </a:cxn>
                <a:cxn ang="0">
                  <a:pos x="connsiteX8624" y="connsiteY8624"/>
                </a:cxn>
                <a:cxn ang="0">
                  <a:pos x="connsiteX8625" y="connsiteY8625"/>
                </a:cxn>
                <a:cxn ang="0">
                  <a:pos x="connsiteX8626" y="connsiteY8626"/>
                </a:cxn>
                <a:cxn ang="0">
                  <a:pos x="connsiteX8627" y="connsiteY8627"/>
                </a:cxn>
                <a:cxn ang="0">
                  <a:pos x="connsiteX8628" y="connsiteY8628"/>
                </a:cxn>
                <a:cxn ang="0">
                  <a:pos x="connsiteX8629" y="connsiteY8629"/>
                </a:cxn>
                <a:cxn ang="0">
                  <a:pos x="connsiteX8630" y="connsiteY8630"/>
                </a:cxn>
                <a:cxn ang="0">
                  <a:pos x="connsiteX8631" y="connsiteY8631"/>
                </a:cxn>
                <a:cxn ang="0">
                  <a:pos x="connsiteX8632" y="connsiteY8632"/>
                </a:cxn>
                <a:cxn ang="0">
                  <a:pos x="connsiteX8633" y="connsiteY8633"/>
                </a:cxn>
                <a:cxn ang="0">
                  <a:pos x="connsiteX8634" y="connsiteY8634"/>
                </a:cxn>
                <a:cxn ang="0">
                  <a:pos x="connsiteX8635" y="connsiteY8635"/>
                </a:cxn>
                <a:cxn ang="0">
                  <a:pos x="connsiteX8636" y="connsiteY8636"/>
                </a:cxn>
                <a:cxn ang="0">
                  <a:pos x="connsiteX8637" y="connsiteY8637"/>
                </a:cxn>
                <a:cxn ang="0">
                  <a:pos x="connsiteX8638" y="connsiteY8638"/>
                </a:cxn>
                <a:cxn ang="0">
                  <a:pos x="connsiteX8639" y="connsiteY8639"/>
                </a:cxn>
                <a:cxn ang="0">
                  <a:pos x="connsiteX8640" y="connsiteY8640"/>
                </a:cxn>
                <a:cxn ang="0">
                  <a:pos x="connsiteX8641" y="connsiteY8641"/>
                </a:cxn>
                <a:cxn ang="0">
                  <a:pos x="connsiteX8642" y="connsiteY8642"/>
                </a:cxn>
                <a:cxn ang="0">
                  <a:pos x="connsiteX8643" y="connsiteY8643"/>
                </a:cxn>
                <a:cxn ang="0">
                  <a:pos x="connsiteX8644" y="connsiteY8644"/>
                </a:cxn>
                <a:cxn ang="0">
                  <a:pos x="connsiteX8645" y="connsiteY8645"/>
                </a:cxn>
                <a:cxn ang="0">
                  <a:pos x="connsiteX8646" y="connsiteY8646"/>
                </a:cxn>
                <a:cxn ang="0">
                  <a:pos x="connsiteX8647" y="connsiteY8647"/>
                </a:cxn>
                <a:cxn ang="0">
                  <a:pos x="connsiteX8648" y="connsiteY8648"/>
                </a:cxn>
                <a:cxn ang="0">
                  <a:pos x="connsiteX8649" y="connsiteY8649"/>
                </a:cxn>
                <a:cxn ang="0">
                  <a:pos x="connsiteX8650" y="connsiteY8650"/>
                </a:cxn>
                <a:cxn ang="0">
                  <a:pos x="connsiteX8651" y="connsiteY8651"/>
                </a:cxn>
                <a:cxn ang="0">
                  <a:pos x="connsiteX8652" y="connsiteY8652"/>
                </a:cxn>
                <a:cxn ang="0">
                  <a:pos x="connsiteX8653" y="connsiteY8653"/>
                </a:cxn>
                <a:cxn ang="0">
                  <a:pos x="connsiteX8654" y="connsiteY8654"/>
                </a:cxn>
                <a:cxn ang="0">
                  <a:pos x="connsiteX8655" y="connsiteY8655"/>
                </a:cxn>
                <a:cxn ang="0">
                  <a:pos x="connsiteX8656" y="connsiteY8656"/>
                </a:cxn>
                <a:cxn ang="0">
                  <a:pos x="connsiteX8657" y="connsiteY8657"/>
                </a:cxn>
                <a:cxn ang="0">
                  <a:pos x="connsiteX8658" y="connsiteY8658"/>
                </a:cxn>
                <a:cxn ang="0">
                  <a:pos x="connsiteX8659" y="connsiteY8659"/>
                </a:cxn>
                <a:cxn ang="0">
                  <a:pos x="connsiteX8660" y="connsiteY8660"/>
                </a:cxn>
                <a:cxn ang="0">
                  <a:pos x="connsiteX8661" y="connsiteY8661"/>
                </a:cxn>
                <a:cxn ang="0">
                  <a:pos x="connsiteX8662" y="connsiteY8662"/>
                </a:cxn>
                <a:cxn ang="0">
                  <a:pos x="connsiteX8663" y="connsiteY8663"/>
                </a:cxn>
                <a:cxn ang="0">
                  <a:pos x="connsiteX8664" y="connsiteY8664"/>
                </a:cxn>
                <a:cxn ang="0">
                  <a:pos x="connsiteX8665" y="connsiteY8665"/>
                </a:cxn>
                <a:cxn ang="0">
                  <a:pos x="connsiteX8666" y="connsiteY8666"/>
                </a:cxn>
                <a:cxn ang="0">
                  <a:pos x="connsiteX8667" y="connsiteY8667"/>
                </a:cxn>
                <a:cxn ang="0">
                  <a:pos x="connsiteX8668" y="connsiteY8668"/>
                </a:cxn>
                <a:cxn ang="0">
                  <a:pos x="connsiteX8669" y="connsiteY8669"/>
                </a:cxn>
                <a:cxn ang="0">
                  <a:pos x="connsiteX8670" y="connsiteY8670"/>
                </a:cxn>
                <a:cxn ang="0">
                  <a:pos x="connsiteX8671" y="connsiteY8671"/>
                </a:cxn>
                <a:cxn ang="0">
                  <a:pos x="connsiteX8672" y="connsiteY8672"/>
                </a:cxn>
                <a:cxn ang="0">
                  <a:pos x="connsiteX8673" y="connsiteY8673"/>
                </a:cxn>
                <a:cxn ang="0">
                  <a:pos x="connsiteX8674" y="connsiteY8674"/>
                </a:cxn>
                <a:cxn ang="0">
                  <a:pos x="connsiteX8675" y="connsiteY8675"/>
                </a:cxn>
                <a:cxn ang="0">
                  <a:pos x="connsiteX8676" y="connsiteY8676"/>
                </a:cxn>
                <a:cxn ang="0">
                  <a:pos x="connsiteX8677" y="connsiteY8677"/>
                </a:cxn>
                <a:cxn ang="0">
                  <a:pos x="connsiteX8678" y="connsiteY8678"/>
                </a:cxn>
                <a:cxn ang="0">
                  <a:pos x="connsiteX8679" y="connsiteY8679"/>
                </a:cxn>
                <a:cxn ang="0">
                  <a:pos x="connsiteX8680" y="connsiteY8680"/>
                </a:cxn>
                <a:cxn ang="0">
                  <a:pos x="connsiteX8681" y="connsiteY8681"/>
                </a:cxn>
                <a:cxn ang="0">
                  <a:pos x="connsiteX8682" y="connsiteY8682"/>
                </a:cxn>
                <a:cxn ang="0">
                  <a:pos x="connsiteX8683" y="connsiteY8683"/>
                </a:cxn>
                <a:cxn ang="0">
                  <a:pos x="connsiteX8684" y="connsiteY8684"/>
                </a:cxn>
                <a:cxn ang="0">
                  <a:pos x="connsiteX8685" y="connsiteY8685"/>
                </a:cxn>
                <a:cxn ang="0">
                  <a:pos x="connsiteX8686" y="connsiteY8686"/>
                </a:cxn>
                <a:cxn ang="0">
                  <a:pos x="connsiteX8687" y="connsiteY8687"/>
                </a:cxn>
                <a:cxn ang="0">
                  <a:pos x="connsiteX8688" y="connsiteY8688"/>
                </a:cxn>
                <a:cxn ang="0">
                  <a:pos x="connsiteX8689" y="connsiteY8689"/>
                </a:cxn>
                <a:cxn ang="0">
                  <a:pos x="connsiteX8690" y="connsiteY8690"/>
                </a:cxn>
                <a:cxn ang="0">
                  <a:pos x="connsiteX8691" y="connsiteY8691"/>
                </a:cxn>
                <a:cxn ang="0">
                  <a:pos x="connsiteX8692" y="connsiteY8692"/>
                </a:cxn>
                <a:cxn ang="0">
                  <a:pos x="connsiteX8693" y="connsiteY8693"/>
                </a:cxn>
                <a:cxn ang="0">
                  <a:pos x="connsiteX8694" y="connsiteY8694"/>
                </a:cxn>
                <a:cxn ang="0">
                  <a:pos x="connsiteX8695" y="connsiteY8695"/>
                </a:cxn>
                <a:cxn ang="0">
                  <a:pos x="connsiteX8696" y="connsiteY8696"/>
                </a:cxn>
                <a:cxn ang="0">
                  <a:pos x="connsiteX8697" y="connsiteY8697"/>
                </a:cxn>
                <a:cxn ang="0">
                  <a:pos x="connsiteX8698" y="connsiteY8698"/>
                </a:cxn>
                <a:cxn ang="0">
                  <a:pos x="connsiteX8699" y="connsiteY8699"/>
                </a:cxn>
                <a:cxn ang="0">
                  <a:pos x="connsiteX8700" y="connsiteY8700"/>
                </a:cxn>
                <a:cxn ang="0">
                  <a:pos x="connsiteX8701" y="connsiteY8701"/>
                </a:cxn>
                <a:cxn ang="0">
                  <a:pos x="connsiteX8702" y="connsiteY8702"/>
                </a:cxn>
                <a:cxn ang="0">
                  <a:pos x="connsiteX8703" y="connsiteY8703"/>
                </a:cxn>
                <a:cxn ang="0">
                  <a:pos x="connsiteX8704" y="connsiteY8704"/>
                </a:cxn>
                <a:cxn ang="0">
                  <a:pos x="connsiteX8705" y="connsiteY8705"/>
                </a:cxn>
                <a:cxn ang="0">
                  <a:pos x="connsiteX8706" y="connsiteY8706"/>
                </a:cxn>
                <a:cxn ang="0">
                  <a:pos x="connsiteX8707" y="connsiteY8707"/>
                </a:cxn>
                <a:cxn ang="0">
                  <a:pos x="connsiteX8708" y="connsiteY8708"/>
                </a:cxn>
                <a:cxn ang="0">
                  <a:pos x="connsiteX8709" y="connsiteY8709"/>
                </a:cxn>
                <a:cxn ang="0">
                  <a:pos x="connsiteX8710" y="connsiteY8710"/>
                </a:cxn>
                <a:cxn ang="0">
                  <a:pos x="connsiteX8711" y="connsiteY8711"/>
                </a:cxn>
                <a:cxn ang="0">
                  <a:pos x="connsiteX8712" y="connsiteY8712"/>
                </a:cxn>
                <a:cxn ang="0">
                  <a:pos x="connsiteX8713" y="connsiteY8713"/>
                </a:cxn>
                <a:cxn ang="0">
                  <a:pos x="connsiteX8714" y="connsiteY8714"/>
                </a:cxn>
                <a:cxn ang="0">
                  <a:pos x="connsiteX8715" y="connsiteY8715"/>
                </a:cxn>
                <a:cxn ang="0">
                  <a:pos x="connsiteX8716" y="connsiteY8716"/>
                </a:cxn>
                <a:cxn ang="0">
                  <a:pos x="connsiteX8717" y="connsiteY8717"/>
                </a:cxn>
                <a:cxn ang="0">
                  <a:pos x="connsiteX8718" y="connsiteY8718"/>
                </a:cxn>
                <a:cxn ang="0">
                  <a:pos x="connsiteX8719" y="connsiteY8719"/>
                </a:cxn>
                <a:cxn ang="0">
                  <a:pos x="connsiteX8720" y="connsiteY8720"/>
                </a:cxn>
                <a:cxn ang="0">
                  <a:pos x="connsiteX8721" y="connsiteY8721"/>
                </a:cxn>
                <a:cxn ang="0">
                  <a:pos x="connsiteX8722" y="connsiteY8722"/>
                </a:cxn>
                <a:cxn ang="0">
                  <a:pos x="connsiteX8723" y="connsiteY8723"/>
                </a:cxn>
                <a:cxn ang="0">
                  <a:pos x="connsiteX8724" y="connsiteY8724"/>
                </a:cxn>
                <a:cxn ang="0">
                  <a:pos x="connsiteX8725" y="connsiteY8725"/>
                </a:cxn>
                <a:cxn ang="0">
                  <a:pos x="connsiteX8726" y="connsiteY8726"/>
                </a:cxn>
                <a:cxn ang="0">
                  <a:pos x="connsiteX8727" y="connsiteY8727"/>
                </a:cxn>
                <a:cxn ang="0">
                  <a:pos x="connsiteX8728" y="connsiteY8728"/>
                </a:cxn>
                <a:cxn ang="0">
                  <a:pos x="connsiteX8729" y="connsiteY8729"/>
                </a:cxn>
                <a:cxn ang="0">
                  <a:pos x="connsiteX8730" y="connsiteY8730"/>
                </a:cxn>
                <a:cxn ang="0">
                  <a:pos x="connsiteX8731" y="connsiteY8731"/>
                </a:cxn>
                <a:cxn ang="0">
                  <a:pos x="connsiteX8732" y="connsiteY8732"/>
                </a:cxn>
                <a:cxn ang="0">
                  <a:pos x="connsiteX8733" y="connsiteY8733"/>
                </a:cxn>
                <a:cxn ang="0">
                  <a:pos x="connsiteX8734" y="connsiteY8734"/>
                </a:cxn>
                <a:cxn ang="0">
                  <a:pos x="connsiteX8735" y="connsiteY8735"/>
                </a:cxn>
                <a:cxn ang="0">
                  <a:pos x="connsiteX8736" y="connsiteY8736"/>
                </a:cxn>
                <a:cxn ang="0">
                  <a:pos x="connsiteX8737" y="connsiteY8737"/>
                </a:cxn>
                <a:cxn ang="0">
                  <a:pos x="connsiteX8738" y="connsiteY8738"/>
                </a:cxn>
                <a:cxn ang="0">
                  <a:pos x="connsiteX8739" y="connsiteY8739"/>
                </a:cxn>
                <a:cxn ang="0">
                  <a:pos x="connsiteX8740" y="connsiteY8740"/>
                </a:cxn>
                <a:cxn ang="0">
                  <a:pos x="connsiteX8741" y="connsiteY8741"/>
                </a:cxn>
                <a:cxn ang="0">
                  <a:pos x="connsiteX8742" y="connsiteY8742"/>
                </a:cxn>
                <a:cxn ang="0">
                  <a:pos x="connsiteX8743" y="connsiteY8743"/>
                </a:cxn>
                <a:cxn ang="0">
                  <a:pos x="connsiteX8744" y="connsiteY8744"/>
                </a:cxn>
                <a:cxn ang="0">
                  <a:pos x="connsiteX8745" y="connsiteY8745"/>
                </a:cxn>
                <a:cxn ang="0">
                  <a:pos x="connsiteX8746" y="connsiteY8746"/>
                </a:cxn>
                <a:cxn ang="0">
                  <a:pos x="connsiteX8747" y="connsiteY8747"/>
                </a:cxn>
                <a:cxn ang="0">
                  <a:pos x="connsiteX8748" y="connsiteY8748"/>
                </a:cxn>
                <a:cxn ang="0">
                  <a:pos x="connsiteX8749" y="connsiteY8749"/>
                </a:cxn>
                <a:cxn ang="0">
                  <a:pos x="connsiteX8750" y="connsiteY8750"/>
                </a:cxn>
                <a:cxn ang="0">
                  <a:pos x="connsiteX8751" y="connsiteY8751"/>
                </a:cxn>
                <a:cxn ang="0">
                  <a:pos x="connsiteX8752" y="connsiteY8752"/>
                </a:cxn>
                <a:cxn ang="0">
                  <a:pos x="connsiteX8753" y="connsiteY8753"/>
                </a:cxn>
                <a:cxn ang="0">
                  <a:pos x="connsiteX8754" y="connsiteY8754"/>
                </a:cxn>
                <a:cxn ang="0">
                  <a:pos x="connsiteX8755" y="connsiteY8755"/>
                </a:cxn>
                <a:cxn ang="0">
                  <a:pos x="connsiteX8756" y="connsiteY8756"/>
                </a:cxn>
                <a:cxn ang="0">
                  <a:pos x="connsiteX8757" y="connsiteY8757"/>
                </a:cxn>
                <a:cxn ang="0">
                  <a:pos x="connsiteX8758" y="connsiteY8758"/>
                </a:cxn>
                <a:cxn ang="0">
                  <a:pos x="connsiteX8759" y="connsiteY8759"/>
                </a:cxn>
                <a:cxn ang="0">
                  <a:pos x="connsiteX8760" y="connsiteY8760"/>
                </a:cxn>
                <a:cxn ang="0">
                  <a:pos x="connsiteX8761" y="connsiteY8761"/>
                </a:cxn>
                <a:cxn ang="0">
                  <a:pos x="connsiteX8762" y="connsiteY8762"/>
                </a:cxn>
                <a:cxn ang="0">
                  <a:pos x="connsiteX8763" y="connsiteY8763"/>
                </a:cxn>
                <a:cxn ang="0">
                  <a:pos x="connsiteX8764" y="connsiteY8764"/>
                </a:cxn>
                <a:cxn ang="0">
                  <a:pos x="connsiteX8765" y="connsiteY8765"/>
                </a:cxn>
                <a:cxn ang="0">
                  <a:pos x="connsiteX8766" y="connsiteY8766"/>
                </a:cxn>
                <a:cxn ang="0">
                  <a:pos x="connsiteX8767" y="connsiteY8767"/>
                </a:cxn>
                <a:cxn ang="0">
                  <a:pos x="connsiteX8768" y="connsiteY8768"/>
                </a:cxn>
                <a:cxn ang="0">
                  <a:pos x="connsiteX8769" y="connsiteY8769"/>
                </a:cxn>
                <a:cxn ang="0">
                  <a:pos x="connsiteX8770" y="connsiteY8770"/>
                </a:cxn>
                <a:cxn ang="0">
                  <a:pos x="connsiteX8771" y="connsiteY8771"/>
                </a:cxn>
                <a:cxn ang="0">
                  <a:pos x="connsiteX8772" y="connsiteY8772"/>
                </a:cxn>
                <a:cxn ang="0">
                  <a:pos x="connsiteX8773" y="connsiteY8773"/>
                </a:cxn>
                <a:cxn ang="0">
                  <a:pos x="connsiteX8774" y="connsiteY8774"/>
                </a:cxn>
                <a:cxn ang="0">
                  <a:pos x="connsiteX8775" y="connsiteY8775"/>
                </a:cxn>
                <a:cxn ang="0">
                  <a:pos x="connsiteX8776" y="connsiteY8776"/>
                </a:cxn>
                <a:cxn ang="0">
                  <a:pos x="connsiteX8777" y="connsiteY8777"/>
                </a:cxn>
                <a:cxn ang="0">
                  <a:pos x="connsiteX8778" y="connsiteY8778"/>
                </a:cxn>
                <a:cxn ang="0">
                  <a:pos x="connsiteX8779" y="connsiteY8779"/>
                </a:cxn>
                <a:cxn ang="0">
                  <a:pos x="connsiteX8780" y="connsiteY8780"/>
                </a:cxn>
                <a:cxn ang="0">
                  <a:pos x="connsiteX8781" y="connsiteY8781"/>
                </a:cxn>
                <a:cxn ang="0">
                  <a:pos x="connsiteX8782" y="connsiteY8782"/>
                </a:cxn>
                <a:cxn ang="0">
                  <a:pos x="connsiteX8783" y="connsiteY8783"/>
                </a:cxn>
                <a:cxn ang="0">
                  <a:pos x="connsiteX8784" y="connsiteY8784"/>
                </a:cxn>
                <a:cxn ang="0">
                  <a:pos x="connsiteX8785" y="connsiteY8785"/>
                </a:cxn>
                <a:cxn ang="0">
                  <a:pos x="connsiteX8786" y="connsiteY8786"/>
                </a:cxn>
                <a:cxn ang="0">
                  <a:pos x="connsiteX8787" y="connsiteY8787"/>
                </a:cxn>
                <a:cxn ang="0">
                  <a:pos x="connsiteX8788" y="connsiteY8788"/>
                </a:cxn>
                <a:cxn ang="0">
                  <a:pos x="connsiteX8789" y="connsiteY8789"/>
                </a:cxn>
                <a:cxn ang="0">
                  <a:pos x="connsiteX8790" y="connsiteY8790"/>
                </a:cxn>
                <a:cxn ang="0">
                  <a:pos x="connsiteX8791" y="connsiteY8791"/>
                </a:cxn>
                <a:cxn ang="0">
                  <a:pos x="connsiteX8792" y="connsiteY8792"/>
                </a:cxn>
                <a:cxn ang="0">
                  <a:pos x="connsiteX8793" y="connsiteY8793"/>
                </a:cxn>
                <a:cxn ang="0">
                  <a:pos x="connsiteX8794" y="connsiteY8794"/>
                </a:cxn>
                <a:cxn ang="0">
                  <a:pos x="connsiteX8795" y="connsiteY8795"/>
                </a:cxn>
                <a:cxn ang="0">
                  <a:pos x="connsiteX8796" y="connsiteY8796"/>
                </a:cxn>
                <a:cxn ang="0">
                  <a:pos x="connsiteX8797" y="connsiteY8797"/>
                </a:cxn>
                <a:cxn ang="0">
                  <a:pos x="connsiteX8798" y="connsiteY8798"/>
                </a:cxn>
                <a:cxn ang="0">
                  <a:pos x="connsiteX8799" y="connsiteY8799"/>
                </a:cxn>
                <a:cxn ang="0">
                  <a:pos x="connsiteX8800" y="connsiteY8800"/>
                </a:cxn>
                <a:cxn ang="0">
                  <a:pos x="connsiteX8801" y="connsiteY8801"/>
                </a:cxn>
                <a:cxn ang="0">
                  <a:pos x="connsiteX8802" y="connsiteY8802"/>
                </a:cxn>
                <a:cxn ang="0">
                  <a:pos x="connsiteX8803" y="connsiteY8803"/>
                </a:cxn>
                <a:cxn ang="0">
                  <a:pos x="connsiteX8804" y="connsiteY8804"/>
                </a:cxn>
                <a:cxn ang="0">
                  <a:pos x="connsiteX8805" y="connsiteY8805"/>
                </a:cxn>
                <a:cxn ang="0">
                  <a:pos x="connsiteX8806" y="connsiteY8806"/>
                </a:cxn>
                <a:cxn ang="0">
                  <a:pos x="connsiteX8807" y="connsiteY8807"/>
                </a:cxn>
                <a:cxn ang="0">
                  <a:pos x="connsiteX8808" y="connsiteY8808"/>
                </a:cxn>
                <a:cxn ang="0">
                  <a:pos x="connsiteX8809" y="connsiteY8809"/>
                </a:cxn>
                <a:cxn ang="0">
                  <a:pos x="connsiteX8810" y="connsiteY8810"/>
                </a:cxn>
                <a:cxn ang="0">
                  <a:pos x="connsiteX8811" y="connsiteY8811"/>
                </a:cxn>
                <a:cxn ang="0">
                  <a:pos x="connsiteX8812" y="connsiteY8812"/>
                </a:cxn>
                <a:cxn ang="0">
                  <a:pos x="connsiteX8813" y="connsiteY8813"/>
                </a:cxn>
                <a:cxn ang="0">
                  <a:pos x="connsiteX8814" y="connsiteY8814"/>
                </a:cxn>
                <a:cxn ang="0">
                  <a:pos x="connsiteX8815" y="connsiteY8815"/>
                </a:cxn>
                <a:cxn ang="0">
                  <a:pos x="connsiteX8816" y="connsiteY8816"/>
                </a:cxn>
                <a:cxn ang="0">
                  <a:pos x="connsiteX8817" y="connsiteY8817"/>
                </a:cxn>
                <a:cxn ang="0">
                  <a:pos x="connsiteX8818" y="connsiteY8818"/>
                </a:cxn>
                <a:cxn ang="0">
                  <a:pos x="connsiteX8819" y="connsiteY8819"/>
                </a:cxn>
                <a:cxn ang="0">
                  <a:pos x="connsiteX8820" y="connsiteY8820"/>
                </a:cxn>
                <a:cxn ang="0">
                  <a:pos x="connsiteX8821" y="connsiteY8821"/>
                </a:cxn>
                <a:cxn ang="0">
                  <a:pos x="connsiteX8822" y="connsiteY8822"/>
                </a:cxn>
                <a:cxn ang="0">
                  <a:pos x="connsiteX8823" y="connsiteY8823"/>
                </a:cxn>
                <a:cxn ang="0">
                  <a:pos x="connsiteX8824" y="connsiteY8824"/>
                </a:cxn>
                <a:cxn ang="0">
                  <a:pos x="connsiteX8825" y="connsiteY8825"/>
                </a:cxn>
                <a:cxn ang="0">
                  <a:pos x="connsiteX8826" y="connsiteY8826"/>
                </a:cxn>
                <a:cxn ang="0">
                  <a:pos x="connsiteX8827" y="connsiteY8827"/>
                </a:cxn>
                <a:cxn ang="0">
                  <a:pos x="connsiteX8828" y="connsiteY8828"/>
                </a:cxn>
                <a:cxn ang="0">
                  <a:pos x="connsiteX8829" y="connsiteY8829"/>
                </a:cxn>
                <a:cxn ang="0">
                  <a:pos x="connsiteX8830" y="connsiteY8830"/>
                </a:cxn>
                <a:cxn ang="0">
                  <a:pos x="connsiteX8831" y="connsiteY8831"/>
                </a:cxn>
                <a:cxn ang="0">
                  <a:pos x="connsiteX8832" y="connsiteY8832"/>
                </a:cxn>
                <a:cxn ang="0">
                  <a:pos x="connsiteX8833" y="connsiteY8833"/>
                </a:cxn>
                <a:cxn ang="0">
                  <a:pos x="connsiteX8834" y="connsiteY8834"/>
                </a:cxn>
                <a:cxn ang="0">
                  <a:pos x="connsiteX8835" y="connsiteY8835"/>
                </a:cxn>
                <a:cxn ang="0">
                  <a:pos x="connsiteX8836" y="connsiteY8836"/>
                </a:cxn>
                <a:cxn ang="0">
                  <a:pos x="connsiteX8837" y="connsiteY8837"/>
                </a:cxn>
                <a:cxn ang="0">
                  <a:pos x="connsiteX8838" y="connsiteY8838"/>
                </a:cxn>
                <a:cxn ang="0">
                  <a:pos x="connsiteX8839" y="connsiteY8839"/>
                </a:cxn>
                <a:cxn ang="0">
                  <a:pos x="connsiteX8840" y="connsiteY8840"/>
                </a:cxn>
                <a:cxn ang="0">
                  <a:pos x="connsiteX8841" y="connsiteY8841"/>
                </a:cxn>
                <a:cxn ang="0">
                  <a:pos x="connsiteX8842" y="connsiteY8842"/>
                </a:cxn>
                <a:cxn ang="0">
                  <a:pos x="connsiteX8843" y="connsiteY8843"/>
                </a:cxn>
                <a:cxn ang="0">
                  <a:pos x="connsiteX8844" y="connsiteY8844"/>
                </a:cxn>
                <a:cxn ang="0">
                  <a:pos x="connsiteX8845" y="connsiteY8845"/>
                </a:cxn>
                <a:cxn ang="0">
                  <a:pos x="connsiteX8846" y="connsiteY8846"/>
                </a:cxn>
                <a:cxn ang="0">
                  <a:pos x="connsiteX8847" y="connsiteY8847"/>
                </a:cxn>
                <a:cxn ang="0">
                  <a:pos x="connsiteX8848" y="connsiteY8848"/>
                </a:cxn>
                <a:cxn ang="0">
                  <a:pos x="connsiteX8849" y="connsiteY8849"/>
                </a:cxn>
                <a:cxn ang="0">
                  <a:pos x="connsiteX8850" y="connsiteY8850"/>
                </a:cxn>
                <a:cxn ang="0">
                  <a:pos x="connsiteX8851" y="connsiteY8851"/>
                </a:cxn>
                <a:cxn ang="0">
                  <a:pos x="connsiteX8852" y="connsiteY8852"/>
                </a:cxn>
                <a:cxn ang="0">
                  <a:pos x="connsiteX8853" y="connsiteY8853"/>
                </a:cxn>
                <a:cxn ang="0">
                  <a:pos x="connsiteX8854" y="connsiteY8854"/>
                </a:cxn>
                <a:cxn ang="0">
                  <a:pos x="connsiteX8855" y="connsiteY8855"/>
                </a:cxn>
                <a:cxn ang="0">
                  <a:pos x="connsiteX8856" y="connsiteY8856"/>
                </a:cxn>
                <a:cxn ang="0">
                  <a:pos x="connsiteX8857" y="connsiteY8857"/>
                </a:cxn>
                <a:cxn ang="0">
                  <a:pos x="connsiteX8858" y="connsiteY8858"/>
                </a:cxn>
                <a:cxn ang="0">
                  <a:pos x="connsiteX8859" y="connsiteY8859"/>
                </a:cxn>
                <a:cxn ang="0">
                  <a:pos x="connsiteX8860" y="connsiteY8860"/>
                </a:cxn>
                <a:cxn ang="0">
                  <a:pos x="connsiteX8861" y="connsiteY8861"/>
                </a:cxn>
                <a:cxn ang="0">
                  <a:pos x="connsiteX8862" y="connsiteY8862"/>
                </a:cxn>
                <a:cxn ang="0">
                  <a:pos x="connsiteX8863" y="connsiteY8863"/>
                </a:cxn>
                <a:cxn ang="0">
                  <a:pos x="connsiteX8864" y="connsiteY8864"/>
                </a:cxn>
                <a:cxn ang="0">
                  <a:pos x="connsiteX8865" y="connsiteY8865"/>
                </a:cxn>
                <a:cxn ang="0">
                  <a:pos x="connsiteX8866" y="connsiteY8866"/>
                </a:cxn>
                <a:cxn ang="0">
                  <a:pos x="connsiteX8867" y="connsiteY8867"/>
                </a:cxn>
                <a:cxn ang="0">
                  <a:pos x="connsiteX8868" y="connsiteY8868"/>
                </a:cxn>
                <a:cxn ang="0">
                  <a:pos x="connsiteX8869" y="connsiteY8869"/>
                </a:cxn>
                <a:cxn ang="0">
                  <a:pos x="connsiteX8870" y="connsiteY8870"/>
                </a:cxn>
                <a:cxn ang="0">
                  <a:pos x="connsiteX8871" y="connsiteY8871"/>
                </a:cxn>
                <a:cxn ang="0">
                  <a:pos x="connsiteX8872" y="connsiteY8872"/>
                </a:cxn>
                <a:cxn ang="0">
                  <a:pos x="connsiteX8873" y="connsiteY8873"/>
                </a:cxn>
                <a:cxn ang="0">
                  <a:pos x="connsiteX8874" y="connsiteY8874"/>
                </a:cxn>
                <a:cxn ang="0">
                  <a:pos x="connsiteX8875" y="connsiteY8875"/>
                </a:cxn>
                <a:cxn ang="0">
                  <a:pos x="connsiteX8876" y="connsiteY8876"/>
                </a:cxn>
                <a:cxn ang="0">
                  <a:pos x="connsiteX8877" y="connsiteY8877"/>
                </a:cxn>
                <a:cxn ang="0">
                  <a:pos x="connsiteX8878" y="connsiteY8878"/>
                </a:cxn>
                <a:cxn ang="0">
                  <a:pos x="connsiteX8879" y="connsiteY8879"/>
                </a:cxn>
                <a:cxn ang="0">
                  <a:pos x="connsiteX8880" y="connsiteY8880"/>
                </a:cxn>
                <a:cxn ang="0">
                  <a:pos x="connsiteX8881" y="connsiteY8881"/>
                </a:cxn>
                <a:cxn ang="0">
                  <a:pos x="connsiteX8882" y="connsiteY8882"/>
                </a:cxn>
                <a:cxn ang="0">
                  <a:pos x="connsiteX8883" y="connsiteY8883"/>
                </a:cxn>
                <a:cxn ang="0">
                  <a:pos x="connsiteX8884" y="connsiteY8884"/>
                </a:cxn>
                <a:cxn ang="0">
                  <a:pos x="connsiteX8885" y="connsiteY8885"/>
                </a:cxn>
                <a:cxn ang="0">
                  <a:pos x="connsiteX8886" y="connsiteY8886"/>
                </a:cxn>
                <a:cxn ang="0">
                  <a:pos x="connsiteX8887" y="connsiteY8887"/>
                </a:cxn>
                <a:cxn ang="0">
                  <a:pos x="connsiteX8888" y="connsiteY8888"/>
                </a:cxn>
                <a:cxn ang="0">
                  <a:pos x="connsiteX8889" y="connsiteY8889"/>
                </a:cxn>
                <a:cxn ang="0">
                  <a:pos x="connsiteX8890" y="connsiteY8890"/>
                </a:cxn>
                <a:cxn ang="0">
                  <a:pos x="connsiteX8891" y="connsiteY8891"/>
                </a:cxn>
                <a:cxn ang="0">
                  <a:pos x="connsiteX8892" y="connsiteY8892"/>
                </a:cxn>
                <a:cxn ang="0">
                  <a:pos x="connsiteX8893" y="connsiteY8893"/>
                </a:cxn>
                <a:cxn ang="0">
                  <a:pos x="connsiteX8894" y="connsiteY8894"/>
                </a:cxn>
                <a:cxn ang="0">
                  <a:pos x="connsiteX8895" y="connsiteY8895"/>
                </a:cxn>
                <a:cxn ang="0">
                  <a:pos x="connsiteX8896" y="connsiteY8896"/>
                </a:cxn>
                <a:cxn ang="0">
                  <a:pos x="connsiteX8897" y="connsiteY8897"/>
                </a:cxn>
                <a:cxn ang="0">
                  <a:pos x="connsiteX8898" y="connsiteY8898"/>
                </a:cxn>
                <a:cxn ang="0">
                  <a:pos x="connsiteX8899" y="connsiteY8899"/>
                </a:cxn>
                <a:cxn ang="0">
                  <a:pos x="connsiteX8900" y="connsiteY8900"/>
                </a:cxn>
                <a:cxn ang="0">
                  <a:pos x="connsiteX8901" y="connsiteY8901"/>
                </a:cxn>
                <a:cxn ang="0">
                  <a:pos x="connsiteX8902" y="connsiteY8902"/>
                </a:cxn>
                <a:cxn ang="0">
                  <a:pos x="connsiteX8903" y="connsiteY8903"/>
                </a:cxn>
                <a:cxn ang="0">
                  <a:pos x="connsiteX8904" y="connsiteY8904"/>
                </a:cxn>
                <a:cxn ang="0">
                  <a:pos x="connsiteX8905" y="connsiteY8905"/>
                </a:cxn>
                <a:cxn ang="0">
                  <a:pos x="connsiteX8906" y="connsiteY8906"/>
                </a:cxn>
                <a:cxn ang="0">
                  <a:pos x="connsiteX8907" y="connsiteY8907"/>
                </a:cxn>
                <a:cxn ang="0">
                  <a:pos x="connsiteX8908" y="connsiteY8908"/>
                </a:cxn>
                <a:cxn ang="0">
                  <a:pos x="connsiteX8909" y="connsiteY8909"/>
                </a:cxn>
                <a:cxn ang="0">
                  <a:pos x="connsiteX8910" y="connsiteY8910"/>
                </a:cxn>
                <a:cxn ang="0">
                  <a:pos x="connsiteX8911" y="connsiteY8911"/>
                </a:cxn>
                <a:cxn ang="0">
                  <a:pos x="connsiteX8912" y="connsiteY8912"/>
                </a:cxn>
                <a:cxn ang="0">
                  <a:pos x="connsiteX8913" y="connsiteY8913"/>
                </a:cxn>
                <a:cxn ang="0">
                  <a:pos x="connsiteX8914" y="connsiteY8914"/>
                </a:cxn>
                <a:cxn ang="0">
                  <a:pos x="connsiteX8915" y="connsiteY8915"/>
                </a:cxn>
                <a:cxn ang="0">
                  <a:pos x="connsiteX8916" y="connsiteY8916"/>
                </a:cxn>
                <a:cxn ang="0">
                  <a:pos x="connsiteX8917" y="connsiteY8917"/>
                </a:cxn>
                <a:cxn ang="0">
                  <a:pos x="connsiteX8918" y="connsiteY8918"/>
                </a:cxn>
                <a:cxn ang="0">
                  <a:pos x="connsiteX8919" y="connsiteY8919"/>
                </a:cxn>
                <a:cxn ang="0">
                  <a:pos x="connsiteX8920" y="connsiteY8920"/>
                </a:cxn>
                <a:cxn ang="0">
                  <a:pos x="connsiteX8921" y="connsiteY8921"/>
                </a:cxn>
                <a:cxn ang="0">
                  <a:pos x="connsiteX8922" y="connsiteY8922"/>
                </a:cxn>
                <a:cxn ang="0">
                  <a:pos x="connsiteX8923" y="connsiteY8923"/>
                </a:cxn>
                <a:cxn ang="0">
                  <a:pos x="connsiteX8924" y="connsiteY8924"/>
                </a:cxn>
                <a:cxn ang="0">
                  <a:pos x="connsiteX8925" y="connsiteY8925"/>
                </a:cxn>
                <a:cxn ang="0">
                  <a:pos x="connsiteX8926" y="connsiteY8926"/>
                </a:cxn>
                <a:cxn ang="0">
                  <a:pos x="connsiteX8927" y="connsiteY8927"/>
                </a:cxn>
                <a:cxn ang="0">
                  <a:pos x="connsiteX8928" y="connsiteY8928"/>
                </a:cxn>
                <a:cxn ang="0">
                  <a:pos x="connsiteX8929" y="connsiteY8929"/>
                </a:cxn>
                <a:cxn ang="0">
                  <a:pos x="connsiteX8930" y="connsiteY8930"/>
                </a:cxn>
                <a:cxn ang="0">
                  <a:pos x="connsiteX8931" y="connsiteY8931"/>
                </a:cxn>
                <a:cxn ang="0">
                  <a:pos x="connsiteX8932" y="connsiteY8932"/>
                </a:cxn>
                <a:cxn ang="0">
                  <a:pos x="connsiteX8933" y="connsiteY8933"/>
                </a:cxn>
                <a:cxn ang="0">
                  <a:pos x="connsiteX8934" y="connsiteY8934"/>
                </a:cxn>
                <a:cxn ang="0">
                  <a:pos x="connsiteX8935" y="connsiteY8935"/>
                </a:cxn>
                <a:cxn ang="0">
                  <a:pos x="connsiteX8936" y="connsiteY8936"/>
                </a:cxn>
                <a:cxn ang="0">
                  <a:pos x="connsiteX8937" y="connsiteY8937"/>
                </a:cxn>
                <a:cxn ang="0">
                  <a:pos x="connsiteX8938" y="connsiteY8938"/>
                </a:cxn>
                <a:cxn ang="0">
                  <a:pos x="connsiteX8939" y="connsiteY8939"/>
                </a:cxn>
                <a:cxn ang="0">
                  <a:pos x="connsiteX8940" y="connsiteY8940"/>
                </a:cxn>
                <a:cxn ang="0">
                  <a:pos x="connsiteX8941" y="connsiteY8941"/>
                </a:cxn>
                <a:cxn ang="0">
                  <a:pos x="connsiteX8942" y="connsiteY8942"/>
                </a:cxn>
                <a:cxn ang="0">
                  <a:pos x="connsiteX8943" y="connsiteY8943"/>
                </a:cxn>
                <a:cxn ang="0">
                  <a:pos x="connsiteX8944" y="connsiteY8944"/>
                </a:cxn>
                <a:cxn ang="0">
                  <a:pos x="connsiteX8945" y="connsiteY8945"/>
                </a:cxn>
                <a:cxn ang="0">
                  <a:pos x="connsiteX8946" y="connsiteY8946"/>
                </a:cxn>
                <a:cxn ang="0">
                  <a:pos x="connsiteX8947" y="connsiteY8947"/>
                </a:cxn>
                <a:cxn ang="0">
                  <a:pos x="connsiteX8948" y="connsiteY8948"/>
                </a:cxn>
                <a:cxn ang="0">
                  <a:pos x="connsiteX8949" y="connsiteY8949"/>
                </a:cxn>
                <a:cxn ang="0">
                  <a:pos x="connsiteX8950" y="connsiteY8950"/>
                </a:cxn>
                <a:cxn ang="0">
                  <a:pos x="connsiteX8951" y="connsiteY8951"/>
                </a:cxn>
                <a:cxn ang="0">
                  <a:pos x="connsiteX8952" y="connsiteY8952"/>
                </a:cxn>
                <a:cxn ang="0">
                  <a:pos x="connsiteX8953" y="connsiteY8953"/>
                </a:cxn>
                <a:cxn ang="0">
                  <a:pos x="connsiteX8954" y="connsiteY8954"/>
                </a:cxn>
                <a:cxn ang="0">
                  <a:pos x="connsiteX8955" y="connsiteY8955"/>
                </a:cxn>
                <a:cxn ang="0">
                  <a:pos x="connsiteX8956" y="connsiteY8956"/>
                </a:cxn>
                <a:cxn ang="0">
                  <a:pos x="connsiteX8957" y="connsiteY8957"/>
                </a:cxn>
                <a:cxn ang="0">
                  <a:pos x="connsiteX8958" y="connsiteY8958"/>
                </a:cxn>
                <a:cxn ang="0">
                  <a:pos x="connsiteX8959" y="connsiteY8959"/>
                </a:cxn>
                <a:cxn ang="0">
                  <a:pos x="connsiteX8960" y="connsiteY8960"/>
                </a:cxn>
                <a:cxn ang="0">
                  <a:pos x="connsiteX8961" y="connsiteY8961"/>
                </a:cxn>
                <a:cxn ang="0">
                  <a:pos x="connsiteX8962" y="connsiteY8962"/>
                </a:cxn>
                <a:cxn ang="0">
                  <a:pos x="connsiteX8963" y="connsiteY8963"/>
                </a:cxn>
                <a:cxn ang="0">
                  <a:pos x="connsiteX8964" y="connsiteY8964"/>
                </a:cxn>
                <a:cxn ang="0">
                  <a:pos x="connsiteX8965" y="connsiteY8965"/>
                </a:cxn>
                <a:cxn ang="0">
                  <a:pos x="connsiteX8966" y="connsiteY8966"/>
                </a:cxn>
                <a:cxn ang="0">
                  <a:pos x="connsiteX8967" y="connsiteY8967"/>
                </a:cxn>
                <a:cxn ang="0">
                  <a:pos x="connsiteX8968" y="connsiteY8968"/>
                </a:cxn>
                <a:cxn ang="0">
                  <a:pos x="connsiteX8969" y="connsiteY8969"/>
                </a:cxn>
                <a:cxn ang="0">
                  <a:pos x="connsiteX8970" y="connsiteY8970"/>
                </a:cxn>
                <a:cxn ang="0">
                  <a:pos x="connsiteX8971" y="connsiteY8971"/>
                </a:cxn>
                <a:cxn ang="0">
                  <a:pos x="connsiteX8972" y="connsiteY8972"/>
                </a:cxn>
                <a:cxn ang="0">
                  <a:pos x="connsiteX8973" y="connsiteY8973"/>
                </a:cxn>
                <a:cxn ang="0">
                  <a:pos x="connsiteX8974" y="connsiteY8974"/>
                </a:cxn>
                <a:cxn ang="0">
                  <a:pos x="connsiteX8975" y="connsiteY8975"/>
                </a:cxn>
                <a:cxn ang="0">
                  <a:pos x="connsiteX8976" y="connsiteY8976"/>
                </a:cxn>
                <a:cxn ang="0">
                  <a:pos x="connsiteX8977" y="connsiteY8977"/>
                </a:cxn>
                <a:cxn ang="0">
                  <a:pos x="connsiteX8978" y="connsiteY8978"/>
                </a:cxn>
                <a:cxn ang="0">
                  <a:pos x="connsiteX8979" y="connsiteY8979"/>
                </a:cxn>
                <a:cxn ang="0">
                  <a:pos x="connsiteX8980" y="connsiteY8980"/>
                </a:cxn>
                <a:cxn ang="0">
                  <a:pos x="connsiteX8981" y="connsiteY8981"/>
                </a:cxn>
                <a:cxn ang="0">
                  <a:pos x="connsiteX8982" y="connsiteY8982"/>
                </a:cxn>
                <a:cxn ang="0">
                  <a:pos x="connsiteX8983" y="connsiteY8983"/>
                </a:cxn>
                <a:cxn ang="0">
                  <a:pos x="connsiteX8984" y="connsiteY8984"/>
                </a:cxn>
                <a:cxn ang="0">
                  <a:pos x="connsiteX8985" y="connsiteY8985"/>
                </a:cxn>
                <a:cxn ang="0">
                  <a:pos x="connsiteX8986" y="connsiteY8986"/>
                </a:cxn>
                <a:cxn ang="0">
                  <a:pos x="connsiteX8987" y="connsiteY8987"/>
                </a:cxn>
                <a:cxn ang="0">
                  <a:pos x="connsiteX8988" y="connsiteY8988"/>
                </a:cxn>
                <a:cxn ang="0">
                  <a:pos x="connsiteX8989" y="connsiteY8989"/>
                </a:cxn>
                <a:cxn ang="0">
                  <a:pos x="connsiteX8990" y="connsiteY8990"/>
                </a:cxn>
                <a:cxn ang="0">
                  <a:pos x="connsiteX8991" y="connsiteY8991"/>
                </a:cxn>
                <a:cxn ang="0">
                  <a:pos x="connsiteX8992" y="connsiteY8992"/>
                </a:cxn>
                <a:cxn ang="0">
                  <a:pos x="connsiteX8993" y="connsiteY8993"/>
                </a:cxn>
                <a:cxn ang="0">
                  <a:pos x="connsiteX8994" y="connsiteY8994"/>
                </a:cxn>
                <a:cxn ang="0">
                  <a:pos x="connsiteX8995" y="connsiteY8995"/>
                </a:cxn>
                <a:cxn ang="0">
                  <a:pos x="connsiteX8996" y="connsiteY8996"/>
                </a:cxn>
                <a:cxn ang="0">
                  <a:pos x="connsiteX8997" y="connsiteY8997"/>
                </a:cxn>
                <a:cxn ang="0">
                  <a:pos x="connsiteX8998" y="connsiteY8998"/>
                </a:cxn>
                <a:cxn ang="0">
                  <a:pos x="connsiteX8999" y="connsiteY8999"/>
                </a:cxn>
                <a:cxn ang="0">
                  <a:pos x="connsiteX9000" y="connsiteY9000"/>
                </a:cxn>
                <a:cxn ang="0">
                  <a:pos x="connsiteX9001" y="connsiteY9001"/>
                </a:cxn>
                <a:cxn ang="0">
                  <a:pos x="connsiteX9002" y="connsiteY9002"/>
                </a:cxn>
                <a:cxn ang="0">
                  <a:pos x="connsiteX9003" y="connsiteY9003"/>
                </a:cxn>
                <a:cxn ang="0">
                  <a:pos x="connsiteX9004" y="connsiteY9004"/>
                </a:cxn>
                <a:cxn ang="0">
                  <a:pos x="connsiteX9005" y="connsiteY9005"/>
                </a:cxn>
                <a:cxn ang="0">
                  <a:pos x="connsiteX9006" y="connsiteY9006"/>
                </a:cxn>
                <a:cxn ang="0">
                  <a:pos x="connsiteX9007" y="connsiteY9007"/>
                </a:cxn>
                <a:cxn ang="0">
                  <a:pos x="connsiteX9008" y="connsiteY9008"/>
                </a:cxn>
                <a:cxn ang="0">
                  <a:pos x="connsiteX9009" y="connsiteY9009"/>
                </a:cxn>
                <a:cxn ang="0">
                  <a:pos x="connsiteX9010" y="connsiteY9010"/>
                </a:cxn>
                <a:cxn ang="0">
                  <a:pos x="connsiteX9011" y="connsiteY9011"/>
                </a:cxn>
                <a:cxn ang="0">
                  <a:pos x="connsiteX9012" y="connsiteY9012"/>
                </a:cxn>
                <a:cxn ang="0">
                  <a:pos x="connsiteX9013" y="connsiteY9013"/>
                </a:cxn>
                <a:cxn ang="0">
                  <a:pos x="connsiteX9014" y="connsiteY9014"/>
                </a:cxn>
                <a:cxn ang="0">
                  <a:pos x="connsiteX9015" y="connsiteY9015"/>
                </a:cxn>
                <a:cxn ang="0">
                  <a:pos x="connsiteX9016" y="connsiteY9016"/>
                </a:cxn>
                <a:cxn ang="0">
                  <a:pos x="connsiteX9017" y="connsiteY9017"/>
                </a:cxn>
                <a:cxn ang="0">
                  <a:pos x="connsiteX9018" y="connsiteY9018"/>
                </a:cxn>
                <a:cxn ang="0">
                  <a:pos x="connsiteX9019" y="connsiteY9019"/>
                </a:cxn>
                <a:cxn ang="0">
                  <a:pos x="connsiteX9020" y="connsiteY9020"/>
                </a:cxn>
                <a:cxn ang="0">
                  <a:pos x="connsiteX9021" y="connsiteY9021"/>
                </a:cxn>
                <a:cxn ang="0">
                  <a:pos x="connsiteX9022" y="connsiteY9022"/>
                </a:cxn>
                <a:cxn ang="0">
                  <a:pos x="connsiteX9023" y="connsiteY9023"/>
                </a:cxn>
                <a:cxn ang="0">
                  <a:pos x="connsiteX9024" y="connsiteY9024"/>
                </a:cxn>
                <a:cxn ang="0">
                  <a:pos x="connsiteX9025" y="connsiteY9025"/>
                </a:cxn>
                <a:cxn ang="0">
                  <a:pos x="connsiteX9026" y="connsiteY9026"/>
                </a:cxn>
                <a:cxn ang="0">
                  <a:pos x="connsiteX9027" y="connsiteY9027"/>
                </a:cxn>
                <a:cxn ang="0">
                  <a:pos x="connsiteX9028" y="connsiteY9028"/>
                </a:cxn>
                <a:cxn ang="0">
                  <a:pos x="connsiteX9029" y="connsiteY9029"/>
                </a:cxn>
                <a:cxn ang="0">
                  <a:pos x="connsiteX9030" y="connsiteY9030"/>
                </a:cxn>
                <a:cxn ang="0">
                  <a:pos x="connsiteX9031" y="connsiteY9031"/>
                </a:cxn>
                <a:cxn ang="0">
                  <a:pos x="connsiteX9032" y="connsiteY9032"/>
                </a:cxn>
                <a:cxn ang="0">
                  <a:pos x="connsiteX9033" y="connsiteY9033"/>
                </a:cxn>
                <a:cxn ang="0">
                  <a:pos x="connsiteX9034" y="connsiteY9034"/>
                </a:cxn>
                <a:cxn ang="0">
                  <a:pos x="connsiteX9035" y="connsiteY9035"/>
                </a:cxn>
                <a:cxn ang="0">
                  <a:pos x="connsiteX9036" y="connsiteY9036"/>
                </a:cxn>
                <a:cxn ang="0">
                  <a:pos x="connsiteX9037" y="connsiteY9037"/>
                </a:cxn>
                <a:cxn ang="0">
                  <a:pos x="connsiteX9038" y="connsiteY9038"/>
                </a:cxn>
                <a:cxn ang="0">
                  <a:pos x="connsiteX9039" y="connsiteY9039"/>
                </a:cxn>
                <a:cxn ang="0">
                  <a:pos x="connsiteX9040" y="connsiteY9040"/>
                </a:cxn>
                <a:cxn ang="0">
                  <a:pos x="connsiteX9041" y="connsiteY9041"/>
                </a:cxn>
                <a:cxn ang="0">
                  <a:pos x="connsiteX9042" y="connsiteY9042"/>
                </a:cxn>
                <a:cxn ang="0">
                  <a:pos x="connsiteX9043" y="connsiteY9043"/>
                </a:cxn>
                <a:cxn ang="0">
                  <a:pos x="connsiteX9044" y="connsiteY9044"/>
                </a:cxn>
                <a:cxn ang="0">
                  <a:pos x="connsiteX9045" y="connsiteY9045"/>
                </a:cxn>
                <a:cxn ang="0">
                  <a:pos x="connsiteX9046" y="connsiteY9046"/>
                </a:cxn>
                <a:cxn ang="0">
                  <a:pos x="connsiteX9047" y="connsiteY9047"/>
                </a:cxn>
                <a:cxn ang="0">
                  <a:pos x="connsiteX9048" y="connsiteY9048"/>
                </a:cxn>
                <a:cxn ang="0">
                  <a:pos x="connsiteX9049" y="connsiteY9049"/>
                </a:cxn>
                <a:cxn ang="0">
                  <a:pos x="connsiteX9050" y="connsiteY9050"/>
                </a:cxn>
                <a:cxn ang="0">
                  <a:pos x="connsiteX9051" y="connsiteY9051"/>
                </a:cxn>
                <a:cxn ang="0">
                  <a:pos x="connsiteX9052" y="connsiteY9052"/>
                </a:cxn>
                <a:cxn ang="0">
                  <a:pos x="connsiteX9053" y="connsiteY9053"/>
                </a:cxn>
                <a:cxn ang="0">
                  <a:pos x="connsiteX9054" y="connsiteY9054"/>
                </a:cxn>
                <a:cxn ang="0">
                  <a:pos x="connsiteX9055" y="connsiteY9055"/>
                </a:cxn>
                <a:cxn ang="0">
                  <a:pos x="connsiteX9056" y="connsiteY9056"/>
                </a:cxn>
                <a:cxn ang="0">
                  <a:pos x="connsiteX9057" y="connsiteY9057"/>
                </a:cxn>
                <a:cxn ang="0">
                  <a:pos x="connsiteX9058" y="connsiteY9058"/>
                </a:cxn>
                <a:cxn ang="0">
                  <a:pos x="connsiteX9059" y="connsiteY9059"/>
                </a:cxn>
                <a:cxn ang="0">
                  <a:pos x="connsiteX9060" y="connsiteY9060"/>
                </a:cxn>
                <a:cxn ang="0">
                  <a:pos x="connsiteX9061" y="connsiteY9061"/>
                </a:cxn>
                <a:cxn ang="0">
                  <a:pos x="connsiteX9062" y="connsiteY9062"/>
                </a:cxn>
                <a:cxn ang="0">
                  <a:pos x="connsiteX9063" y="connsiteY9063"/>
                </a:cxn>
                <a:cxn ang="0">
                  <a:pos x="connsiteX9064" y="connsiteY9064"/>
                </a:cxn>
                <a:cxn ang="0">
                  <a:pos x="connsiteX9065" y="connsiteY9065"/>
                </a:cxn>
                <a:cxn ang="0">
                  <a:pos x="connsiteX9066" y="connsiteY9066"/>
                </a:cxn>
                <a:cxn ang="0">
                  <a:pos x="connsiteX9067" y="connsiteY9067"/>
                </a:cxn>
                <a:cxn ang="0">
                  <a:pos x="connsiteX9068" y="connsiteY9068"/>
                </a:cxn>
                <a:cxn ang="0">
                  <a:pos x="connsiteX9069" y="connsiteY9069"/>
                </a:cxn>
                <a:cxn ang="0">
                  <a:pos x="connsiteX9070" y="connsiteY9070"/>
                </a:cxn>
                <a:cxn ang="0">
                  <a:pos x="connsiteX9071" y="connsiteY9071"/>
                </a:cxn>
                <a:cxn ang="0">
                  <a:pos x="connsiteX9072" y="connsiteY9072"/>
                </a:cxn>
                <a:cxn ang="0">
                  <a:pos x="connsiteX9073" y="connsiteY9073"/>
                </a:cxn>
                <a:cxn ang="0">
                  <a:pos x="connsiteX9074" y="connsiteY9074"/>
                </a:cxn>
                <a:cxn ang="0">
                  <a:pos x="connsiteX9075" y="connsiteY9075"/>
                </a:cxn>
                <a:cxn ang="0">
                  <a:pos x="connsiteX9076" y="connsiteY9076"/>
                </a:cxn>
                <a:cxn ang="0">
                  <a:pos x="connsiteX9077" y="connsiteY9077"/>
                </a:cxn>
                <a:cxn ang="0">
                  <a:pos x="connsiteX9078" y="connsiteY9078"/>
                </a:cxn>
                <a:cxn ang="0">
                  <a:pos x="connsiteX9079" y="connsiteY9079"/>
                </a:cxn>
                <a:cxn ang="0">
                  <a:pos x="connsiteX9080" y="connsiteY9080"/>
                </a:cxn>
                <a:cxn ang="0">
                  <a:pos x="connsiteX9081" y="connsiteY9081"/>
                </a:cxn>
                <a:cxn ang="0">
                  <a:pos x="connsiteX9082" y="connsiteY9082"/>
                </a:cxn>
                <a:cxn ang="0">
                  <a:pos x="connsiteX9083" y="connsiteY9083"/>
                </a:cxn>
                <a:cxn ang="0">
                  <a:pos x="connsiteX9084" y="connsiteY9084"/>
                </a:cxn>
                <a:cxn ang="0">
                  <a:pos x="connsiteX9085" y="connsiteY9085"/>
                </a:cxn>
                <a:cxn ang="0">
                  <a:pos x="connsiteX9086" y="connsiteY9086"/>
                </a:cxn>
                <a:cxn ang="0">
                  <a:pos x="connsiteX9087" y="connsiteY9087"/>
                </a:cxn>
                <a:cxn ang="0">
                  <a:pos x="connsiteX9088" y="connsiteY9088"/>
                </a:cxn>
                <a:cxn ang="0">
                  <a:pos x="connsiteX9089" y="connsiteY9089"/>
                </a:cxn>
                <a:cxn ang="0">
                  <a:pos x="connsiteX9090" y="connsiteY9090"/>
                </a:cxn>
                <a:cxn ang="0">
                  <a:pos x="connsiteX9091" y="connsiteY9091"/>
                </a:cxn>
                <a:cxn ang="0">
                  <a:pos x="connsiteX9092" y="connsiteY9092"/>
                </a:cxn>
                <a:cxn ang="0">
                  <a:pos x="connsiteX9093" y="connsiteY9093"/>
                </a:cxn>
                <a:cxn ang="0">
                  <a:pos x="connsiteX9094" y="connsiteY9094"/>
                </a:cxn>
                <a:cxn ang="0">
                  <a:pos x="connsiteX9095" y="connsiteY9095"/>
                </a:cxn>
                <a:cxn ang="0">
                  <a:pos x="connsiteX9096" y="connsiteY9096"/>
                </a:cxn>
                <a:cxn ang="0">
                  <a:pos x="connsiteX9097" y="connsiteY9097"/>
                </a:cxn>
                <a:cxn ang="0">
                  <a:pos x="connsiteX9098" y="connsiteY9098"/>
                </a:cxn>
                <a:cxn ang="0">
                  <a:pos x="connsiteX9099" y="connsiteY9099"/>
                </a:cxn>
                <a:cxn ang="0">
                  <a:pos x="connsiteX9100" y="connsiteY9100"/>
                </a:cxn>
                <a:cxn ang="0">
                  <a:pos x="connsiteX9101" y="connsiteY9101"/>
                </a:cxn>
                <a:cxn ang="0">
                  <a:pos x="connsiteX9102" y="connsiteY9102"/>
                </a:cxn>
                <a:cxn ang="0">
                  <a:pos x="connsiteX9103" y="connsiteY9103"/>
                </a:cxn>
                <a:cxn ang="0">
                  <a:pos x="connsiteX9104" y="connsiteY9104"/>
                </a:cxn>
                <a:cxn ang="0">
                  <a:pos x="connsiteX9105" y="connsiteY9105"/>
                </a:cxn>
                <a:cxn ang="0">
                  <a:pos x="connsiteX9106" y="connsiteY9106"/>
                </a:cxn>
                <a:cxn ang="0">
                  <a:pos x="connsiteX9107" y="connsiteY9107"/>
                </a:cxn>
                <a:cxn ang="0">
                  <a:pos x="connsiteX9108" y="connsiteY9108"/>
                </a:cxn>
                <a:cxn ang="0">
                  <a:pos x="connsiteX9109" y="connsiteY9109"/>
                </a:cxn>
                <a:cxn ang="0">
                  <a:pos x="connsiteX9110" y="connsiteY9110"/>
                </a:cxn>
                <a:cxn ang="0">
                  <a:pos x="connsiteX9111" y="connsiteY9111"/>
                </a:cxn>
                <a:cxn ang="0">
                  <a:pos x="connsiteX9112" y="connsiteY9112"/>
                </a:cxn>
                <a:cxn ang="0">
                  <a:pos x="connsiteX9113" y="connsiteY9113"/>
                </a:cxn>
                <a:cxn ang="0">
                  <a:pos x="connsiteX9114" y="connsiteY9114"/>
                </a:cxn>
                <a:cxn ang="0">
                  <a:pos x="connsiteX9115" y="connsiteY9115"/>
                </a:cxn>
                <a:cxn ang="0">
                  <a:pos x="connsiteX9116" y="connsiteY9116"/>
                </a:cxn>
                <a:cxn ang="0">
                  <a:pos x="connsiteX9117" y="connsiteY9117"/>
                </a:cxn>
                <a:cxn ang="0">
                  <a:pos x="connsiteX9118" y="connsiteY9118"/>
                </a:cxn>
                <a:cxn ang="0">
                  <a:pos x="connsiteX9119" y="connsiteY9119"/>
                </a:cxn>
                <a:cxn ang="0">
                  <a:pos x="connsiteX9120" y="connsiteY9120"/>
                </a:cxn>
                <a:cxn ang="0">
                  <a:pos x="connsiteX9121" y="connsiteY9121"/>
                </a:cxn>
                <a:cxn ang="0">
                  <a:pos x="connsiteX9122" y="connsiteY9122"/>
                </a:cxn>
                <a:cxn ang="0">
                  <a:pos x="connsiteX9123" y="connsiteY9123"/>
                </a:cxn>
                <a:cxn ang="0">
                  <a:pos x="connsiteX9124" y="connsiteY9124"/>
                </a:cxn>
                <a:cxn ang="0">
                  <a:pos x="connsiteX9125" y="connsiteY9125"/>
                </a:cxn>
                <a:cxn ang="0">
                  <a:pos x="connsiteX9126" y="connsiteY9126"/>
                </a:cxn>
                <a:cxn ang="0">
                  <a:pos x="connsiteX9127" y="connsiteY9127"/>
                </a:cxn>
                <a:cxn ang="0">
                  <a:pos x="connsiteX9128" y="connsiteY9128"/>
                </a:cxn>
                <a:cxn ang="0">
                  <a:pos x="connsiteX9129" y="connsiteY9129"/>
                </a:cxn>
                <a:cxn ang="0">
                  <a:pos x="connsiteX9130" y="connsiteY9130"/>
                </a:cxn>
                <a:cxn ang="0">
                  <a:pos x="connsiteX9131" y="connsiteY9131"/>
                </a:cxn>
                <a:cxn ang="0">
                  <a:pos x="connsiteX9132" y="connsiteY9132"/>
                </a:cxn>
                <a:cxn ang="0">
                  <a:pos x="connsiteX9133" y="connsiteY9133"/>
                </a:cxn>
                <a:cxn ang="0">
                  <a:pos x="connsiteX9134" y="connsiteY9134"/>
                </a:cxn>
                <a:cxn ang="0">
                  <a:pos x="connsiteX9135" y="connsiteY9135"/>
                </a:cxn>
                <a:cxn ang="0">
                  <a:pos x="connsiteX9136" y="connsiteY9136"/>
                </a:cxn>
                <a:cxn ang="0">
                  <a:pos x="connsiteX9137" y="connsiteY9137"/>
                </a:cxn>
                <a:cxn ang="0">
                  <a:pos x="connsiteX9138" y="connsiteY9138"/>
                </a:cxn>
                <a:cxn ang="0">
                  <a:pos x="connsiteX9139" y="connsiteY9139"/>
                </a:cxn>
                <a:cxn ang="0">
                  <a:pos x="connsiteX9140" y="connsiteY9140"/>
                </a:cxn>
                <a:cxn ang="0">
                  <a:pos x="connsiteX9141" y="connsiteY9141"/>
                </a:cxn>
                <a:cxn ang="0">
                  <a:pos x="connsiteX9142" y="connsiteY9142"/>
                </a:cxn>
                <a:cxn ang="0">
                  <a:pos x="connsiteX9143" y="connsiteY9143"/>
                </a:cxn>
                <a:cxn ang="0">
                  <a:pos x="connsiteX9144" y="connsiteY9144"/>
                </a:cxn>
                <a:cxn ang="0">
                  <a:pos x="connsiteX9145" y="connsiteY9145"/>
                </a:cxn>
                <a:cxn ang="0">
                  <a:pos x="connsiteX9146" y="connsiteY9146"/>
                </a:cxn>
                <a:cxn ang="0">
                  <a:pos x="connsiteX9147" y="connsiteY9147"/>
                </a:cxn>
                <a:cxn ang="0">
                  <a:pos x="connsiteX9148" y="connsiteY9148"/>
                </a:cxn>
                <a:cxn ang="0">
                  <a:pos x="connsiteX9149" y="connsiteY9149"/>
                </a:cxn>
                <a:cxn ang="0">
                  <a:pos x="connsiteX9150" y="connsiteY9150"/>
                </a:cxn>
                <a:cxn ang="0">
                  <a:pos x="connsiteX9151" y="connsiteY9151"/>
                </a:cxn>
                <a:cxn ang="0">
                  <a:pos x="connsiteX9152" y="connsiteY9152"/>
                </a:cxn>
                <a:cxn ang="0">
                  <a:pos x="connsiteX9153" y="connsiteY9153"/>
                </a:cxn>
                <a:cxn ang="0">
                  <a:pos x="connsiteX9154" y="connsiteY9154"/>
                </a:cxn>
                <a:cxn ang="0">
                  <a:pos x="connsiteX9155" y="connsiteY9155"/>
                </a:cxn>
                <a:cxn ang="0">
                  <a:pos x="connsiteX9156" y="connsiteY9156"/>
                </a:cxn>
                <a:cxn ang="0">
                  <a:pos x="connsiteX9157" y="connsiteY9157"/>
                </a:cxn>
                <a:cxn ang="0">
                  <a:pos x="connsiteX9158" y="connsiteY9158"/>
                </a:cxn>
                <a:cxn ang="0">
                  <a:pos x="connsiteX9159" y="connsiteY9159"/>
                </a:cxn>
                <a:cxn ang="0">
                  <a:pos x="connsiteX9160" y="connsiteY9160"/>
                </a:cxn>
                <a:cxn ang="0">
                  <a:pos x="connsiteX9161" y="connsiteY9161"/>
                </a:cxn>
                <a:cxn ang="0">
                  <a:pos x="connsiteX9162" y="connsiteY9162"/>
                </a:cxn>
                <a:cxn ang="0">
                  <a:pos x="connsiteX9163" y="connsiteY9163"/>
                </a:cxn>
                <a:cxn ang="0">
                  <a:pos x="connsiteX9164" y="connsiteY9164"/>
                </a:cxn>
                <a:cxn ang="0">
                  <a:pos x="connsiteX9165" y="connsiteY9165"/>
                </a:cxn>
                <a:cxn ang="0">
                  <a:pos x="connsiteX9166" y="connsiteY9166"/>
                </a:cxn>
                <a:cxn ang="0">
                  <a:pos x="connsiteX9167" y="connsiteY9167"/>
                </a:cxn>
                <a:cxn ang="0">
                  <a:pos x="connsiteX9168" y="connsiteY9168"/>
                </a:cxn>
                <a:cxn ang="0">
                  <a:pos x="connsiteX9169" y="connsiteY9169"/>
                </a:cxn>
                <a:cxn ang="0">
                  <a:pos x="connsiteX9170" y="connsiteY9170"/>
                </a:cxn>
                <a:cxn ang="0">
                  <a:pos x="connsiteX9171" y="connsiteY9171"/>
                </a:cxn>
                <a:cxn ang="0">
                  <a:pos x="connsiteX9172" y="connsiteY9172"/>
                </a:cxn>
                <a:cxn ang="0">
                  <a:pos x="connsiteX9173" y="connsiteY9173"/>
                </a:cxn>
                <a:cxn ang="0">
                  <a:pos x="connsiteX9174" y="connsiteY9174"/>
                </a:cxn>
                <a:cxn ang="0">
                  <a:pos x="connsiteX9175" y="connsiteY9175"/>
                </a:cxn>
                <a:cxn ang="0">
                  <a:pos x="connsiteX9176" y="connsiteY9176"/>
                </a:cxn>
                <a:cxn ang="0">
                  <a:pos x="connsiteX9177" y="connsiteY9177"/>
                </a:cxn>
                <a:cxn ang="0">
                  <a:pos x="connsiteX9178" y="connsiteY9178"/>
                </a:cxn>
                <a:cxn ang="0">
                  <a:pos x="connsiteX9179" y="connsiteY9179"/>
                </a:cxn>
                <a:cxn ang="0">
                  <a:pos x="connsiteX9180" y="connsiteY9180"/>
                </a:cxn>
                <a:cxn ang="0">
                  <a:pos x="connsiteX9181" y="connsiteY9181"/>
                </a:cxn>
                <a:cxn ang="0">
                  <a:pos x="connsiteX9182" y="connsiteY9182"/>
                </a:cxn>
                <a:cxn ang="0">
                  <a:pos x="connsiteX9183" y="connsiteY9183"/>
                </a:cxn>
              </a:cxnLst>
              <a:rect l="l" t="t" r="r" b="b"/>
              <a:pathLst>
                <a:path w="9586368" h="6479439">
                  <a:moveTo>
                    <a:pt x="2157895" y="6461491"/>
                  </a:moveTo>
                  <a:lnTo>
                    <a:pt x="2167802" y="6461491"/>
                  </a:lnTo>
                  <a:lnTo>
                    <a:pt x="2171820" y="6465529"/>
                  </a:lnTo>
                  <a:lnTo>
                    <a:pt x="2171820" y="6475400"/>
                  </a:lnTo>
                  <a:lnTo>
                    <a:pt x="2167802" y="6479439"/>
                  </a:lnTo>
                  <a:lnTo>
                    <a:pt x="2157895" y="6479439"/>
                  </a:lnTo>
                  <a:lnTo>
                    <a:pt x="2153871" y="6475400"/>
                  </a:lnTo>
                  <a:lnTo>
                    <a:pt x="2153871" y="6465529"/>
                  </a:lnTo>
                  <a:close/>
                  <a:moveTo>
                    <a:pt x="1918509" y="6461491"/>
                  </a:moveTo>
                  <a:lnTo>
                    <a:pt x="1928419" y="6461491"/>
                  </a:lnTo>
                  <a:lnTo>
                    <a:pt x="1932437" y="6465529"/>
                  </a:lnTo>
                  <a:lnTo>
                    <a:pt x="1932437" y="6475400"/>
                  </a:lnTo>
                  <a:lnTo>
                    <a:pt x="1928419" y="6479439"/>
                  </a:lnTo>
                  <a:lnTo>
                    <a:pt x="1918509" y="6479439"/>
                  </a:lnTo>
                  <a:lnTo>
                    <a:pt x="1914490" y="6475400"/>
                  </a:lnTo>
                  <a:lnTo>
                    <a:pt x="1914490" y="6465529"/>
                  </a:lnTo>
                  <a:close/>
                  <a:moveTo>
                    <a:pt x="1679200" y="6461491"/>
                  </a:moveTo>
                  <a:lnTo>
                    <a:pt x="1689110" y="6461491"/>
                  </a:lnTo>
                  <a:lnTo>
                    <a:pt x="1693128" y="6465529"/>
                  </a:lnTo>
                  <a:lnTo>
                    <a:pt x="1693128" y="6475400"/>
                  </a:lnTo>
                  <a:lnTo>
                    <a:pt x="1689110" y="6479439"/>
                  </a:lnTo>
                  <a:lnTo>
                    <a:pt x="1679200" y="6479439"/>
                  </a:lnTo>
                  <a:lnTo>
                    <a:pt x="1675180" y="6475400"/>
                  </a:lnTo>
                  <a:lnTo>
                    <a:pt x="1675180" y="6465529"/>
                  </a:lnTo>
                  <a:close/>
                  <a:moveTo>
                    <a:pt x="1439885" y="6461491"/>
                  </a:moveTo>
                  <a:lnTo>
                    <a:pt x="1449795" y="6461491"/>
                  </a:lnTo>
                  <a:lnTo>
                    <a:pt x="1453813" y="6465529"/>
                  </a:lnTo>
                  <a:lnTo>
                    <a:pt x="1453813" y="6475400"/>
                  </a:lnTo>
                  <a:lnTo>
                    <a:pt x="1449795" y="6479439"/>
                  </a:lnTo>
                  <a:lnTo>
                    <a:pt x="1439885" y="6479439"/>
                  </a:lnTo>
                  <a:lnTo>
                    <a:pt x="1435865" y="6475400"/>
                  </a:lnTo>
                  <a:lnTo>
                    <a:pt x="1435865" y="6465529"/>
                  </a:lnTo>
                  <a:close/>
                  <a:moveTo>
                    <a:pt x="1200570" y="6461491"/>
                  </a:moveTo>
                  <a:lnTo>
                    <a:pt x="1210480" y="6461491"/>
                  </a:lnTo>
                  <a:lnTo>
                    <a:pt x="1214498" y="6465529"/>
                  </a:lnTo>
                  <a:lnTo>
                    <a:pt x="1214498" y="6475400"/>
                  </a:lnTo>
                  <a:lnTo>
                    <a:pt x="1210480" y="6479439"/>
                  </a:lnTo>
                  <a:lnTo>
                    <a:pt x="1200570" y="6479439"/>
                  </a:lnTo>
                  <a:lnTo>
                    <a:pt x="1196551" y="6475400"/>
                  </a:lnTo>
                  <a:lnTo>
                    <a:pt x="1196551" y="6465529"/>
                  </a:lnTo>
                  <a:close/>
                  <a:moveTo>
                    <a:pt x="961257" y="6461491"/>
                  </a:moveTo>
                  <a:lnTo>
                    <a:pt x="971167" y="6461491"/>
                  </a:lnTo>
                  <a:lnTo>
                    <a:pt x="975186" y="6465529"/>
                  </a:lnTo>
                  <a:lnTo>
                    <a:pt x="975186" y="6475400"/>
                  </a:lnTo>
                  <a:lnTo>
                    <a:pt x="971167" y="6479439"/>
                  </a:lnTo>
                  <a:lnTo>
                    <a:pt x="961257" y="6479439"/>
                  </a:lnTo>
                  <a:lnTo>
                    <a:pt x="957238" y="6475400"/>
                  </a:lnTo>
                  <a:lnTo>
                    <a:pt x="957238" y="6465529"/>
                  </a:lnTo>
                  <a:close/>
                  <a:moveTo>
                    <a:pt x="9572438" y="6461440"/>
                  </a:moveTo>
                  <a:lnTo>
                    <a:pt x="9582349" y="6461440"/>
                  </a:lnTo>
                  <a:lnTo>
                    <a:pt x="9586368" y="6465478"/>
                  </a:lnTo>
                  <a:lnTo>
                    <a:pt x="9586368" y="6475349"/>
                  </a:lnTo>
                  <a:lnTo>
                    <a:pt x="9582349" y="6479388"/>
                  </a:lnTo>
                  <a:lnTo>
                    <a:pt x="9572438" y="6479388"/>
                  </a:lnTo>
                  <a:lnTo>
                    <a:pt x="9568419" y="6475349"/>
                  </a:lnTo>
                  <a:lnTo>
                    <a:pt x="9568419" y="6465478"/>
                  </a:lnTo>
                  <a:close/>
                  <a:moveTo>
                    <a:pt x="9333125" y="6461440"/>
                  </a:moveTo>
                  <a:lnTo>
                    <a:pt x="9343036" y="6461440"/>
                  </a:lnTo>
                  <a:lnTo>
                    <a:pt x="9347055" y="6465478"/>
                  </a:lnTo>
                  <a:lnTo>
                    <a:pt x="9347055" y="6475349"/>
                  </a:lnTo>
                  <a:lnTo>
                    <a:pt x="9343036" y="6479388"/>
                  </a:lnTo>
                  <a:lnTo>
                    <a:pt x="9333125" y="6479388"/>
                  </a:lnTo>
                  <a:lnTo>
                    <a:pt x="9329106" y="6475349"/>
                  </a:lnTo>
                  <a:lnTo>
                    <a:pt x="9329106" y="6465478"/>
                  </a:lnTo>
                  <a:close/>
                  <a:moveTo>
                    <a:pt x="9093811" y="6461440"/>
                  </a:moveTo>
                  <a:lnTo>
                    <a:pt x="9103722" y="6461440"/>
                  </a:lnTo>
                  <a:lnTo>
                    <a:pt x="9107741" y="6465478"/>
                  </a:lnTo>
                  <a:lnTo>
                    <a:pt x="9107741" y="6475349"/>
                  </a:lnTo>
                  <a:lnTo>
                    <a:pt x="9103722" y="6479388"/>
                  </a:lnTo>
                  <a:lnTo>
                    <a:pt x="9093811" y="6479388"/>
                  </a:lnTo>
                  <a:lnTo>
                    <a:pt x="9089792" y="6475349"/>
                  </a:lnTo>
                  <a:lnTo>
                    <a:pt x="9089792" y="6465478"/>
                  </a:lnTo>
                  <a:close/>
                  <a:moveTo>
                    <a:pt x="8854496" y="6461440"/>
                  </a:moveTo>
                  <a:lnTo>
                    <a:pt x="8864407" y="6461440"/>
                  </a:lnTo>
                  <a:lnTo>
                    <a:pt x="8868426" y="6465478"/>
                  </a:lnTo>
                  <a:lnTo>
                    <a:pt x="8868426" y="6475349"/>
                  </a:lnTo>
                  <a:lnTo>
                    <a:pt x="8864407" y="6479388"/>
                  </a:lnTo>
                  <a:lnTo>
                    <a:pt x="8854496" y="6479388"/>
                  </a:lnTo>
                  <a:lnTo>
                    <a:pt x="8850477" y="6475349"/>
                  </a:lnTo>
                  <a:lnTo>
                    <a:pt x="8850477" y="6465478"/>
                  </a:lnTo>
                  <a:close/>
                  <a:moveTo>
                    <a:pt x="8615184" y="6461440"/>
                  </a:moveTo>
                  <a:lnTo>
                    <a:pt x="8625095" y="6461440"/>
                  </a:lnTo>
                  <a:lnTo>
                    <a:pt x="8629114" y="6465478"/>
                  </a:lnTo>
                  <a:lnTo>
                    <a:pt x="8629114" y="6475349"/>
                  </a:lnTo>
                  <a:lnTo>
                    <a:pt x="8625095" y="6479388"/>
                  </a:lnTo>
                  <a:lnTo>
                    <a:pt x="8615184" y="6479388"/>
                  </a:lnTo>
                  <a:lnTo>
                    <a:pt x="8611165" y="6475349"/>
                  </a:lnTo>
                  <a:lnTo>
                    <a:pt x="8611165" y="6465478"/>
                  </a:lnTo>
                  <a:close/>
                  <a:moveTo>
                    <a:pt x="8375869" y="6461440"/>
                  </a:moveTo>
                  <a:lnTo>
                    <a:pt x="8385779" y="6461440"/>
                  </a:lnTo>
                  <a:lnTo>
                    <a:pt x="8389799" y="6465478"/>
                  </a:lnTo>
                  <a:lnTo>
                    <a:pt x="8389799" y="6475349"/>
                  </a:lnTo>
                  <a:lnTo>
                    <a:pt x="8385779" y="6479388"/>
                  </a:lnTo>
                  <a:lnTo>
                    <a:pt x="8375869" y="6479388"/>
                  </a:lnTo>
                  <a:lnTo>
                    <a:pt x="8371850" y="6475349"/>
                  </a:lnTo>
                  <a:lnTo>
                    <a:pt x="8371850" y="6465478"/>
                  </a:lnTo>
                  <a:close/>
                  <a:moveTo>
                    <a:pt x="8136553" y="6461440"/>
                  </a:moveTo>
                  <a:lnTo>
                    <a:pt x="8146464" y="6461440"/>
                  </a:lnTo>
                  <a:lnTo>
                    <a:pt x="8150483" y="6465478"/>
                  </a:lnTo>
                  <a:lnTo>
                    <a:pt x="8150483" y="6475349"/>
                  </a:lnTo>
                  <a:lnTo>
                    <a:pt x="8146464" y="6479388"/>
                  </a:lnTo>
                  <a:lnTo>
                    <a:pt x="8136553" y="6479388"/>
                  </a:lnTo>
                  <a:lnTo>
                    <a:pt x="8132534" y="6475349"/>
                  </a:lnTo>
                  <a:lnTo>
                    <a:pt x="8132534" y="6465478"/>
                  </a:lnTo>
                  <a:close/>
                  <a:moveTo>
                    <a:pt x="7897241" y="6461440"/>
                  </a:moveTo>
                  <a:lnTo>
                    <a:pt x="7907151" y="6461440"/>
                  </a:lnTo>
                  <a:lnTo>
                    <a:pt x="7911170" y="6465478"/>
                  </a:lnTo>
                  <a:lnTo>
                    <a:pt x="7911170" y="6475349"/>
                  </a:lnTo>
                  <a:lnTo>
                    <a:pt x="7907151" y="6479388"/>
                  </a:lnTo>
                  <a:lnTo>
                    <a:pt x="7897241" y="6479388"/>
                  </a:lnTo>
                  <a:lnTo>
                    <a:pt x="7893222" y="6475349"/>
                  </a:lnTo>
                  <a:lnTo>
                    <a:pt x="7893222" y="6465478"/>
                  </a:lnTo>
                  <a:close/>
                  <a:moveTo>
                    <a:pt x="7657926" y="6461440"/>
                  </a:moveTo>
                  <a:lnTo>
                    <a:pt x="7667836" y="6461440"/>
                  </a:lnTo>
                  <a:lnTo>
                    <a:pt x="7671855" y="6465478"/>
                  </a:lnTo>
                  <a:lnTo>
                    <a:pt x="7671855" y="6475349"/>
                  </a:lnTo>
                  <a:lnTo>
                    <a:pt x="7667836" y="6479388"/>
                  </a:lnTo>
                  <a:lnTo>
                    <a:pt x="7657926" y="6479388"/>
                  </a:lnTo>
                  <a:lnTo>
                    <a:pt x="7653906" y="6475349"/>
                  </a:lnTo>
                  <a:lnTo>
                    <a:pt x="7653906" y="6465478"/>
                  </a:lnTo>
                  <a:close/>
                  <a:moveTo>
                    <a:pt x="7418611" y="6461440"/>
                  </a:moveTo>
                  <a:lnTo>
                    <a:pt x="7428521" y="6461440"/>
                  </a:lnTo>
                  <a:lnTo>
                    <a:pt x="7432540" y="6465478"/>
                  </a:lnTo>
                  <a:lnTo>
                    <a:pt x="7432540" y="6475349"/>
                  </a:lnTo>
                  <a:lnTo>
                    <a:pt x="7428521" y="6479388"/>
                  </a:lnTo>
                  <a:lnTo>
                    <a:pt x="7418611" y="6479388"/>
                  </a:lnTo>
                  <a:lnTo>
                    <a:pt x="7414592" y="6475349"/>
                  </a:lnTo>
                  <a:lnTo>
                    <a:pt x="7414592" y="6465478"/>
                  </a:lnTo>
                  <a:close/>
                  <a:moveTo>
                    <a:pt x="7179298" y="6461440"/>
                  </a:moveTo>
                  <a:lnTo>
                    <a:pt x="7189209" y="6461440"/>
                  </a:lnTo>
                  <a:lnTo>
                    <a:pt x="7193228" y="6465478"/>
                  </a:lnTo>
                  <a:lnTo>
                    <a:pt x="7193228" y="6475349"/>
                  </a:lnTo>
                  <a:lnTo>
                    <a:pt x="7189209" y="6479388"/>
                  </a:lnTo>
                  <a:lnTo>
                    <a:pt x="7179298" y="6479388"/>
                  </a:lnTo>
                  <a:lnTo>
                    <a:pt x="7175279" y="6475349"/>
                  </a:lnTo>
                  <a:lnTo>
                    <a:pt x="7175279" y="6465478"/>
                  </a:lnTo>
                  <a:close/>
                  <a:moveTo>
                    <a:pt x="6939983" y="6461440"/>
                  </a:moveTo>
                  <a:lnTo>
                    <a:pt x="6949894" y="6461440"/>
                  </a:lnTo>
                  <a:lnTo>
                    <a:pt x="6953913" y="6465478"/>
                  </a:lnTo>
                  <a:lnTo>
                    <a:pt x="6953913" y="6475349"/>
                  </a:lnTo>
                  <a:lnTo>
                    <a:pt x="6949894" y="6479388"/>
                  </a:lnTo>
                  <a:lnTo>
                    <a:pt x="6939983" y="6479388"/>
                  </a:lnTo>
                  <a:lnTo>
                    <a:pt x="6935964" y="6475349"/>
                  </a:lnTo>
                  <a:lnTo>
                    <a:pt x="6935964" y="6465478"/>
                  </a:lnTo>
                  <a:close/>
                  <a:moveTo>
                    <a:pt x="6700670" y="6461440"/>
                  </a:moveTo>
                  <a:lnTo>
                    <a:pt x="6710581" y="6461440"/>
                  </a:lnTo>
                  <a:lnTo>
                    <a:pt x="6714600" y="6465478"/>
                  </a:lnTo>
                  <a:lnTo>
                    <a:pt x="6714600" y="6475349"/>
                  </a:lnTo>
                  <a:lnTo>
                    <a:pt x="6710581" y="6479388"/>
                  </a:lnTo>
                  <a:lnTo>
                    <a:pt x="6700670" y="6479388"/>
                  </a:lnTo>
                  <a:lnTo>
                    <a:pt x="6696651" y="6475349"/>
                  </a:lnTo>
                  <a:lnTo>
                    <a:pt x="6696651" y="6465478"/>
                  </a:lnTo>
                  <a:close/>
                  <a:moveTo>
                    <a:pt x="6461356" y="6461440"/>
                  </a:moveTo>
                  <a:lnTo>
                    <a:pt x="6471266" y="6461440"/>
                  </a:lnTo>
                  <a:lnTo>
                    <a:pt x="6475285" y="6465478"/>
                  </a:lnTo>
                  <a:lnTo>
                    <a:pt x="6475285" y="6475349"/>
                  </a:lnTo>
                  <a:lnTo>
                    <a:pt x="6471266" y="6479388"/>
                  </a:lnTo>
                  <a:lnTo>
                    <a:pt x="6461356" y="6479388"/>
                  </a:lnTo>
                  <a:lnTo>
                    <a:pt x="6457337" y="6475349"/>
                  </a:lnTo>
                  <a:lnTo>
                    <a:pt x="6457337" y="6465478"/>
                  </a:lnTo>
                  <a:close/>
                  <a:moveTo>
                    <a:pt x="6222042" y="6461440"/>
                  </a:moveTo>
                  <a:lnTo>
                    <a:pt x="6231952" y="6461440"/>
                  </a:lnTo>
                  <a:lnTo>
                    <a:pt x="6235971" y="6465478"/>
                  </a:lnTo>
                  <a:lnTo>
                    <a:pt x="6235971" y="6475349"/>
                  </a:lnTo>
                  <a:lnTo>
                    <a:pt x="6231952" y="6479388"/>
                  </a:lnTo>
                  <a:lnTo>
                    <a:pt x="6222042" y="6479388"/>
                  </a:lnTo>
                  <a:lnTo>
                    <a:pt x="6218023" y="6475349"/>
                  </a:lnTo>
                  <a:lnTo>
                    <a:pt x="6218023" y="6465478"/>
                  </a:lnTo>
                  <a:close/>
                  <a:moveTo>
                    <a:pt x="5982729" y="6461440"/>
                  </a:moveTo>
                  <a:lnTo>
                    <a:pt x="5992639" y="6461440"/>
                  </a:lnTo>
                  <a:lnTo>
                    <a:pt x="5996658" y="6465478"/>
                  </a:lnTo>
                  <a:lnTo>
                    <a:pt x="5996658" y="6475349"/>
                  </a:lnTo>
                  <a:lnTo>
                    <a:pt x="5992639" y="6479388"/>
                  </a:lnTo>
                  <a:lnTo>
                    <a:pt x="5982729" y="6479388"/>
                  </a:lnTo>
                  <a:lnTo>
                    <a:pt x="5978710" y="6475349"/>
                  </a:lnTo>
                  <a:lnTo>
                    <a:pt x="5978710" y="6465478"/>
                  </a:lnTo>
                  <a:close/>
                  <a:moveTo>
                    <a:pt x="5743412" y="6461440"/>
                  </a:moveTo>
                  <a:lnTo>
                    <a:pt x="5753323" y="6461440"/>
                  </a:lnTo>
                  <a:lnTo>
                    <a:pt x="5757342" y="6465478"/>
                  </a:lnTo>
                  <a:lnTo>
                    <a:pt x="5757342" y="6475349"/>
                  </a:lnTo>
                  <a:lnTo>
                    <a:pt x="5753323" y="6479388"/>
                  </a:lnTo>
                  <a:lnTo>
                    <a:pt x="5743412" y="6479388"/>
                  </a:lnTo>
                  <a:lnTo>
                    <a:pt x="5739393" y="6475349"/>
                  </a:lnTo>
                  <a:lnTo>
                    <a:pt x="5739393" y="6465478"/>
                  </a:lnTo>
                  <a:close/>
                  <a:moveTo>
                    <a:pt x="5504099" y="6461440"/>
                  </a:moveTo>
                  <a:lnTo>
                    <a:pt x="5514010" y="6461440"/>
                  </a:lnTo>
                  <a:lnTo>
                    <a:pt x="5518029" y="6465478"/>
                  </a:lnTo>
                  <a:lnTo>
                    <a:pt x="5518029" y="6475349"/>
                  </a:lnTo>
                  <a:lnTo>
                    <a:pt x="5514010" y="6479388"/>
                  </a:lnTo>
                  <a:lnTo>
                    <a:pt x="5504099" y="6479388"/>
                  </a:lnTo>
                  <a:lnTo>
                    <a:pt x="5500080" y="6475349"/>
                  </a:lnTo>
                  <a:lnTo>
                    <a:pt x="5500080" y="6465478"/>
                  </a:lnTo>
                  <a:close/>
                  <a:moveTo>
                    <a:pt x="5264784" y="6461440"/>
                  </a:moveTo>
                  <a:lnTo>
                    <a:pt x="5274694" y="6461440"/>
                  </a:lnTo>
                  <a:lnTo>
                    <a:pt x="5278713" y="6465478"/>
                  </a:lnTo>
                  <a:lnTo>
                    <a:pt x="5278713" y="6475349"/>
                  </a:lnTo>
                  <a:lnTo>
                    <a:pt x="5274694" y="6479388"/>
                  </a:lnTo>
                  <a:lnTo>
                    <a:pt x="5264784" y="6479388"/>
                  </a:lnTo>
                  <a:lnTo>
                    <a:pt x="5260765" y="6475349"/>
                  </a:lnTo>
                  <a:lnTo>
                    <a:pt x="5260765" y="6465478"/>
                  </a:lnTo>
                  <a:close/>
                  <a:moveTo>
                    <a:pt x="5025470" y="6461440"/>
                  </a:moveTo>
                  <a:lnTo>
                    <a:pt x="5035381" y="6461440"/>
                  </a:lnTo>
                  <a:lnTo>
                    <a:pt x="5039400" y="6465478"/>
                  </a:lnTo>
                  <a:lnTo>
                    <a:pt x="5039400" y="6475349"/>
                  </a:lnTo>
                  <a:lnTo>
                    <a:pt x="5035381" y="6479388"/>
                  </a:lnTo>
                  <a:lnTo>
                    <a:pt x="5025470" y="6479388"/>
                  </a:lnTo>
                  <a:lnTo>
                    <a:pt x="5021451" y="6475349"/>
                  </a:lnTo>
                  <a:lnTo>
                    <a:pt x="5021451" y="6465478"/>
                  </a:lnTo>
                  <a:close/>
                  <a:moveTo>
                    <a:pt x="4786241" y="6461440"/>
                  </a:moveTo>
                  <a:lnTo>
                    <a:pt x="4796152" y="6461440"/>
                  </a:lnTo>
                  <a:lnTo>
                    <a:pt x="4800171" y="6465478"/>
                  </a:lnTo>
                  <a:lnTo>
                    <a:pt x="4800171" y="6475349"/>
                  </a:lnTo>
                  <a:lnTo>
                    <a:pt x="4796152" y="6479388"/>
                  </a:lnTo>
                  <a:lnTo>
                    <a:pt x="4786241" y="6479388"/>
                  </a:lnTo>
                  <a:lnTo>
                    <a:pt x="4782224" y="6475349"/>
                  </a:lnTo>
                  <a:lnTo>
                    <a:pt x="4782224" y="6465478"/>
                  </a:lnTo>
                  <a:close/>
                  <a:moveTo>
                    <a:pt x="4546929" y="6461440"/>
                  </a:moveTo>
                  <a:lnTo>
                    <a:pt x="4556840" y="6461440"/>
                  </a:lnTo>
                  <a:lnTo>
                    <a:pt x="4560859" y="6465478"/>
                  </a:lnTo>
                  <a:lnTo>
                    <a:pt x="4560859" y="6475349"/>
                  </a:lnTo>
                  <a:lnTo>
                    <a:pt x="4556840" y="6479388"/>
                  </a:lnTo>
                  <a:lnTo>
                    <a:pt x="4546929" y="6479388"/>
                  </a:lnTo>
                  <a:lnTo>
                    <a:pt x="4542910" y="6475349"/>
                  </a:lnTo>
                  <a:lnTo>
                    <a:pt x="4542910" y="6465478"/>
                  </a:lnTo>
                  <a:close/>
                  <a:moveTo>
                    <a:pt x="4307612" y="6461440"/>
                  </a:moveTo>
                  <a:lnTo>
                    <a:pt x="4317523" y="6461440"/>
                  </a:lnTo>
                  <a:lnTo>
                    <a:pt x="4321543" y="6465478"/>
                  </a:lnTo>
                  <a:lnTo>
                    <a:pt x="4321543" y="6475349"/>
                  </a:lnTo>
                  <a:lnTo>
                    <a:pt x="4317523" y="6479388"/>
                  </a:lnTo>
                  <a:lnTo>
                    <a:pt x="4307612" y="6479388"/>
                  </a:lnTo>
                  <a:lnTo>
                    <a:pt x="4303595" y="6475349"/>
                  </a:lnTo>
                  <a:lnTo>
                    <a:pt x="4303595" y="6465478"/>
                  </a:lnTo>
                  <a:close/>
                  <a:moveTo>
                    <a:pt x="4068297" y="6461440"/>
                  </a:moveTo>
                  <a:lnTo>
                    <a:pt x="4078210" y="6461440"/>
                  </a:lnTo>
                  <a:lnTo>
                    <a:pt x="4082229" y="6465478"/>
                  </a:lnTo>
                  <a:lnTo>
                    <a:pt x="4082229" y="6475349"/>
                  </a:lnTo>
                  <a:lnTo>
                    <a:pt x="4078210" y="6479388"/>
                  </a:lnTo>
                  <a:lnTo>
                    <a:pt x="4068297" y="6479388"/>
                  </a:lnTo>
                  <a:lnTo>
                    <a:pt x="4064278" y="6475349"/>
                  </a:lnTo>
                  <a:lnTo>
                    <a:pt x="4064278" y="6465478"/>
                  </a:lnTo>
                  <a:close/>
                  <a:moveTo>
                    <a:pt x="3828990" y="6461440"/>
                  </a:moveTo>
                  <a:lnTo>
                    <a:pt x="3838899" y="6461440"/>
                  </a:lnTo>
                  <a:lnTo>
                    <a:pt x="3842917" y="6465478"/>
                  </a:lnTo>
                  <a:lnTo>
                    <a:pt x="3842917" y="6475349"/>
                  </a:lnTo>
                  <a:lnTo>
                    <a:pt x="3838899" y="6479388"/>
                  </a:lnTo>
                  <a:lnTo>
                    <a:pt x="3828990" y="6479388"/>
                  </a:lnTo>
                  <a:lnTo>
                    <a:pt x="3824971" y="6475349"/>
                  </a:lnTo>
                  <a:lnTo>
                    <a:pt x="3824971" y="6465478"/>
                  </a:lnTo>
                  <a:close/>
                  <a:moveTo>
                    <a:pt x="3589676" y="6461440"/>
                  </a:moveTo>
                  <a:lnTo>
                    <a:pt x="3599585" y="6461440"/>
                  </a:lnTo>
                  <a:lnTo>
                    <a:pt x="3603604" y="6465478"/>
                  </a:lnTo>
                  <a:lnTo>
                    <a:pt x="3603604" y="6475349"/>
                  </a:lnTo>
                  <a:lnTo>
                    <a:pt x="3599585" y="6479388"/>
                  </a:lnTo>
                  <a:lnTo>
                    <a:pt x="3589676" y="6479388"/>
                  </a:lnTo>
                  <a:lnTo>
                    <a:pt x="3585657" y="6475349"/>
                  </a:lnTo>
                  <a:lnTo>
                    <a:pt x="3585657" y="6465478"/>
                  </a:lnTo>
                  <a:close/>
                  <a:moveTo>
                    <a:pt x="3350359" y="6461440"/>
                  </a:moveTo>
                  <a:lnTo>
                    <a:pt x="3360268" y="6461440"/>
                  </a:lnTo>
                  <a:lnTo>
                    <a:pt x="3364287" y="6465478"/>
                  </a:lnTo>
                  <a:lnTo>
                    <a:pt x="3364287" y="6475349"/>
                  </a:lnTo>
                  <a:lnTo>
                    <a:pt x="3360268" y="6479388"/>
                  </a:lnTo>
                  <a:lnTo>
                    <a:pt x="3350359" y="6479388"/>
                  </a:lnTo>
                  <a:lnTo>
                    <a:pt x="3346340" y="6475349"/>
                  </a:lnTo>
                  <a:lnTo>
                    <a:pt x="3346340" y="6465478"/>
                  </a:lnTo>
                  <a:close/>
                  <a:moveTo>
                    <a:pt x="3111048" y="6461440"/>
                  </a:moveTo>
                  <a:lnTo>
                    <a:pt x="3120959" y="6461440"/>
                  </a:lnTo>
                  <a:lnTo>
                    <a:pt x="3124977" y="6465478"/>
                  </a:lnTo>
                  <a:lnTo>
                    <a:pt x="3124977" y="6475349"/>
                  </a:lnTo>
                  <a:lnTo>
                    <a:pt x="3120959" y="6479388"/>
                  </a:lnTo>
                  <a:lnTo>
                    <a:pt x="3111048" y="6479388"/>
                  </a:lnTo>
                  <a:lnTo>
                    <a:pt x="3107029" y="6475349"/>
                  </a:lnTo>
                  <a:lnTo>
                    <a:pt x="3107029" y="6465478"/>
                  </a:lnTo>
                  <a:close/>
                  <a:moveTo>
                    <a:pt x="2871737" y="6461440"/>
                  </a:moveTo>
                  <a:lnTo>
                    <a:pt x="2881646" y="6461440"/>
                  </a:lnTo>
                  <a:lnTo>
                    <a:pt x="2885666" y="6465478"/>
                  </a:lnTo>
                  <a:lnTo>
                    <a:pt x="2885666" y="6475349"/>
                  </a:lnTo>
                  <a:lnTo>
                    <a:pt x="2881646" y="6479388"/>
                  </a:lnTo>
                  <a:lnTo>
                    <a:pt x="2871737" y="6479388"/>
                  </a:lnTo>
                  <a:lnTo>
                    <a:pt x="2867717" y="6475349"/>
                  </a:lnTo>
                  <a:lnTo>
                    <a:pt x="2867717" y="6465478"/>
                  </a:lnTo>
                  <a:close/>
                  <a:moveTo>
                    <a:pt x="2632423" y="6461440"/>
                  </a:moveTo>
                  <a:lnTo>
                    <a:pt x="2642334" y="6461440"/>
                  </a:lnTo>
                  <a:lnTo>
                    <a:pt x="2646352" y="6465478"/>
                  </a:lnTo>
                  <a:lnTo>
                    <a:pt x="2646352" y="6475349"/>
                  </a:lnTo>
                  <a:lnTo>
                    <a:pt x="2642334" y="6479388"/>
                  </a:lnTo>
                  <a:lnTo>
                    <a:pt x="2632423" y="6479388"/>
                  </a:lnTo>
                  <a:lnTo>
                    <a:pt x="2628404" y="6475349"/>
                  </a:lnTo>
                  <a:lnTo>
                    <a:pt x="2628404" y="6465478"/>
                  </a:lnTo>
                  <a:close/>
                  <a:moveTo>
                    <a:pt x="2393104" y="6461440"/>
                  </a:moveTo>
                  <a:lnTo>
                    <a:pt x="2403015" y="6461440"/>
                  </a:lnTo>
                  <a:lnTo>
                    <a:pt x="2407034" y="6465478"/>
                  </a:lnTo>
                  <a:lnTo>
                    <a:pt x="2407034" y="6475349"/>
                  </a:lnTo>
                  <a:lnTo>
                    <a:pt x="2403015" y="6479388"/>
                  </a:lnTo>
                  <a:lnTo>
                    <a:pt x="2393104" y="6479388"/>
                  </a:lnTo>
                  <a:lnTo>
                    <a:pt x="2389087" y="6475349"/>
                  </a:lnTo>
                  <a:lnTo>
                    <a:pt x="2389087" y="6465478"/>
                  </a:lnTo>
                  <a:close/>
                  <a:moveTo>
                    <a:pt x="721958" y="6461440"/>
                  </a:moveTo>
                  <a:lnTo>
                    <a:pt x="731868" y="6461440"/>
                  </a:lnTo>
                  <a:lnTo>
                    <a:pt x="735887" y="6465478"/>
                  </a:lnTo>
                  <a:lnTo>
                    <a:pt x="735887" y="6475349"/>
                  </a:lnTo>
                  <a:lnTo>
                    <a:pt x="731868" y="6479388"/>
                  </a:lnTo>
                  <a:lnTo>
                    <a:pt x="721958" y="6479388"/>
                  </a:lnTo>
                  <a:lnTo>
                    <a:pt x="717939" y="6475349"/>
                  </a:lnTo>
                  <a:lnTo>
                    <a:pt x="717939" y="6465478"/>
                  </a:lnTo>
                  <a:close/>
                  <a:moveTo>
                    <a:pt x="482646" y="6461440"/>
                  </a:moveTo>
                  <a:lnTo>
                    <a:pt x="492556" y="6461440"/>
                  </a:lnTo>
                  <a:lnTo>
                    <a:pt x="496575" y="6465478"/>
                  </a:lnTo>
                  <a:lnTo>
                    <a:pt x="496575" y="6475349"/>
                  </a:lnTo>
                  <a:lnTo>
                    <a:pt x="492556" y="6479388"/>
                  </a:lnTo>
                  <a:lnTo>
                    <a:pt x="482646" y="6479388"/>
                  </a:lnTo>
                  <a:lnTo>
                    <a:pt x="478627" y="6475349"/>
                  </a:lnTo>
                  <a:lnTo>
                    <a:pt x="478627" y="6465478"/>
                  </a:lnTo>
                  <a:close/>
                  <a:moveTo>
                    <a:pt x="243332" y="6461440"/>
                  </a:moveTo>
                  <a:lnTo>
                    <a:pt x="253242" y="6461440"/>
                  </a:lnTo>
                  <a:lnTo>
                    <a:pt x="257261" y="6465478"/>
                  </a:lnTo>
                  <a:lnTo>
                    <a:pt x="257261" y="6475349"/>
                  </a:lnTo>
                  <a:lnTo>
                    <a:pt x="253242" y="6479388"/>
                  </a:lnTo>
                  <a:lnTo>
                    <a:pt x="243332" y="6479388"/>
                  </a:lnTo>
                  <a:lnTo>
                    <a:pt x="239313" y="6475349"/>
                  </a:lnTo>
                  <a:lnTo>
                    <a:pt x="239313" y="6465478"/>
                  </a:lnTo>
                  <a:close/>
                  <a:moveTo>
                    <a:pt x="4019" y="6461440"/>
                  </a:moveTo>
                  <a:lnTo>
                    <a:pt x="13929" y="6461440"/>
                  </a:lnTo>
                  <a:lnTo>
                    <a:pt x="17949" y="6465478"/>
                  </a:lnTo>
                  <a:lnTo>
                    <a:pt x="17949" y="6475349"/>
                  </a:lnTo>
                  <a:lnTo>
                    <a:pt x="13929" y="6479388"/>
                  </a:lnTo>
                  <a:lnTo>
                    <a:pt x="4019" y="6479388"/>
                  </a:lnTo>
                  <a:lnTo>
                    <a:pt x="0" y="6475349"/>
                  </a:lnTo>
                  <a:lnTo>
                    <a:pt x="0" y="6465478"/>
                  </a:lnTo>
                  <a:close/>
                  <a:moveTo>
                    <a:pt x="9572438" y="6222160"/>
                  </a:moveTo>
                  <a:lnTo>
                    <a:pt x="9582349" y="6222160"/>
                  </a:lnTo>
                  <a:lnTo>
                    <a:pt x="9586368" y="6226198"/>
                  </a:lnTo>
                  <a:lnTo>
                    <a:pt x="9586368" y="6236069"/>
                  </a:lnTo>
                  <a:lnTo>
                    <a:pt x="9582349" y="6240109"/>
                  </a:lnTo>
                  <a:lnTo>
                    <a:pt x="9572438" y="6240109"/>
                  </a:lnTo>
                  <a:lnTo>
                    <a:pt x="9568419" y="6236069"/>
                  </a:lnTo>
                  <a:lnTo>
                    <a:pt x="9568419" y="6226198"/>
                  </a:lnTo>
                  <a:close/>
                  <a:moveTo>
                    <a:pt x="9333125" y="6222160"/>
                  </a:moveTo>
                  <a:lnTo>
                    <a:pt x="9343036" y="6222160"/>
                  </a:lnTo>
                  <a:lnTo>
                    <a:pt x="9347055" y="6226198"/>
                  </a:lnTo>
                  <a:lnTo>
                    <a:pt x="9347055" y="6236069"/>
                  </a:lnTo>
                  <a:lnTo>
                    <a:pt x="9343036" y="6240109"/>
                  </a:lnTo>
                  <a:lnTo>
                    <a:pt x="9333125" y="6240109"/>
                  </a:lnTo>
                  <a:lnTo>
                    <a:pt x="9329106" y="6236069"/>
                  </a:lnTo>
                  <a:lnTo>
                    <a:pt x="9329106" y="6226198"/>
                  </a:lnTo>
                  <a:close/>
                  <a:moveTo>
                    <a:pt x="9093811" y="6222160"/>
                  </a:moveTo>
                  <a:lnTo>
                    <a:pt x="9103722" y="6222160"/>
                  </a:lnTo>
                  <a:lnTo>
                    <a:pt x="9107741" y="6226198"/>
                  </a:lnTo>
                  <a:lnTo>
                    <a:pt x="9107741" y="6236069"/>
                  </a:lnTo>
                  <a:lnTo>
                    <a:pt x="9103722" y="6240109"/>
                  </a:lnTo>
                  <a:lnTo>
                    <a:pt x="9093811" y="6240109"/>
                  </a:lnTo>
                  <a:lnTo>
                    <a:pt x="9089792" y="6236069"/>
                  </a:lnTo>
                  <a:lnTo>
                    <a:pt x="9089792" y="6226198"/>
                  </a:lnTo>
                  <a:close/>
                  <a:moveTo>
                    <a:pt x="8854496" y="6222160"/>
                  </a:moveTo>
                  <a:lnTo>
                    <a:pt x="8864407" y="6222160"/>
                  </a:lnTo>
                  <a:lnTo>
                    <a:pt x="8868426" y="6226198"/>
                  </a:lnTo>
                  <a:lnTo>
                    <a:pt x="8868426" y="6236069"/>
                  </a:lnTo>
                  <a:lnTo>
                    <a:pt x="8864407" y="6240109"/>
                  </a:lnTo>
                  <a:lnTo>
                    <a:pt x="8854496" y="6240109"/>
                  </a:lnTo>
                  <a:lnTo>
                    <a:pt x="8850477" y="6236069"/>
                  </a:lnTo>
                  <a:lnTo>
                    <a:pt x="8850477" y="6226198"/>
                  </a:lnTo>
                  <a:close/>
                  <a:moveTo>
                    <a:pt x="8615184" y="6222160"/>
                  </a:moveTo>
                  <a:lnTo>
                    <a:pt x="8625095" y="6222160"/>
                  </a:lnTo>
                  <a:lnTo>
                    <a:pt x="8629114" y="6226198"/>
                  </a:lnTo>
                  <a:lnTo>
                    <a:pt x="8629114" y="6236069"/>
                  </a:lnTo>
                  <a:lnTo>
                    <a:pt x="8625095" y="6240109"/>
                  </a:lnTo>
                  <a:lnTo>
                    <a:pt x="8615184" y="6240109"/>
                  </a:lnTo>
                  <a:lnTo>
                    <a:pt x="8611165" y="6236069"/>
                  </a:lnTo>
                  <a:lnTo>
                    <a:pt x="8611165" y="6226198"/>
                  </a:lnTo>
                  <a:close/>
                  <a:moveTo>
                    <a:pt x="8375869" y="6222160"/>
                  </a:moveTo>
                  <a:lnTo>
                    <a:pt x="8385779" y="6222160"/>
                  </a:lnTo>
                  <a:lnTo>
                    <a:pt x="8389799" y="6226198"/>
                  </a:lnTo>
                  <a:lnTo>
                    <a:pt x="8389799" y="6236069"/>
                  </a:lnTo>
                  <a:lnTo>
                    <a:pt x="8385779" y="6240109"/>
                  </a:lnTo>
                  <a:lnTo>
                    <a:pt x="8375869" y="6240109"/>
                  </a:lnTo>
                  <a:lnTo>
                    <a:pt x="8371850" y="6236069"/>
                  </a:lnTo>
                  <a:lnTo>
                    <a:pt x="8371850" y="6226198"/>
                  </a:lnTo>
                  <a:close/>
                  <a:moveTo>
                    <a:pt x="8136553" y="6222160"/>
                  </a:moveTo>
                  <a:lnTo>
                    <a:pt x="8146464" y="6222160"/>
                  </a:lnTo>
                  <a:lnTo>
                    <a:pt x="8150483" y="6226198"/>
                  </a:lnTo>
                  <a:lnTo>
                    <a:pt x="8150483" y="6236069"/>
                  </a:lnTo>
                  <a:lnTo>
                    <a:pt x="8146464" y="6240109"/>
                  </a:lnTo>
                  <a:lnTo>
                    <a:pt x="8136553" y="6240109"/>
                  </a:lnTo>
                  <a:lnTo>
                    <a:pt x="8132534" y="6236069"/>
                  </a:lnTo>
                  <a:lnTo>
                    <a:pt x="8132534" y="6226198"/>
                  </a:lnTo>
                  <a:close/>
                  <a:moveTo>
                    <a:pt x="7897241" y="6222160"/>
                  </a:moveTo>
                  <a:lnTo>
                    <a:pt x="7907151" y="6222160"/>
                  </a:lnTo>
                  <a:lnTo>
                    <a:pt x="7911170" y="6226198"/>
                  </a:lnTo>
                  <a:lnTo>
                    <a:pt x="7911170" y="6236069"/>
                  </a:lnTo>
                  <a:lnTo>
                    <a:pt x="7907151" y="6240109"/>
                  </a:lnTo>
                  <a:lnTo>
                    <a:pt x="7897241" y="6240109"/>
                  </a:lnTo>
                  <a:lnTo>
                    <a:pt x="7893222" y="6236069"/>
                  </a:lnTo>
                  <a:lnTo>
                    <a:pt x="7893222" y="6226198"/>
                  </a:lnTo>
                  <a:close/>
                  <a:moveTo>
                    <a:pt x="7657926" y="6222160"/>
                  </a:moveTo>
                  <a:lnTo>
                    <a:pt x="7667836" y="6222160"/>
                  </a:lnTo>
                  <a:lnTo>
                    <a:pt x="7671855" y="6226198"/>
                  </a:lnTo>
                  <a:lnTo>
                    <a:pt x="7671855" y="6236069"/>
                  </a:lnTo>
                  <a:lnTo>
                    <a:pt x="7667836" y="6240109"/>
                  </a:lnTo>
                  <a:lnTo>
                    <a:pt x="7657926" y="6240109"/>
                  </a:lnTo>
                  <a:lnTo>
                    <a:pt x="7653906" y="6236069"/>
                  </a:lnTo>
                  <a:lnTo>
                    <a:pt x="7653906" y="6226198"/>
                  </a:lnTo>
                  <a:close/>
                  <a:moveTo>
                    <a:pt x="7418611" y="6222160"/>
                  </a:moveTo>
                  <a:lnTo>
                    <a:pt x="7428521" y="6222160"/>
                  </a:lnTo>
                  <a:lnTo>
                    <a:pt x="7432540" y="6226198"/>
                  </a:lnTo>
                  <a:lnTo>
                    <a:pt x="7432540" y="6236069"/>
                  </a:lnTo>
                  <a:lnTo>
                    <a:pt x="7428521" y="6240109"/>
                  </a:lnTo>
                  <a:lnTo>
                    <a:pt x="7418611" y="6240109"/>
                  </a:lnTo>
                  <a:lnTo>
                    <a:pt x="7414592" y="6236069"/>
                  </a:lnTo>
                  <a:lnTo>
                    <a:pt x="7414592" y="6226198"/>
                  </a:lnTo>
                  <a:close/>
                  <a:moveTo>
                    <a:pt x="7179298" y="6222160"/>
                  </a:moveTo>
                  <a:lnTo>
                    <a:pt x="7189209" y="6222160"/>
                  </a:lnTo>
                  <a:lnTo>
                    <a:pt x="7193228" y="6226198"/>
                  </a:lnTo>
                  <a:lnTo>
                    <a:pt x="7193228" y="6236069"/>
                  </a:lnTo>
                  <a:lnTo>
                    <a:pt x="7189209" y="6240109"/>
                  </a:lnTo>
                  <a:lnTo>
                    <a:pt x="7179298" y="6240109"/>
                  </a:lnTo>
                  <a:lnTo>
                    <a:pt x="7175279" y="6236069"/>
                  </a:lnTo>
                  <a:lnTo>
                    <a:pt x="7175279" y="6226198"/>
                  </a:lnTo>
                  <a:close/>
                  <a:moveTo>
                    <a:pt x="6939983" y="6222160"/>
                  </a:moveTo>
                  <a:lnTo>
                    <a:pt x="6949894" y="6222160"/>
                  </a:lnTo>
                  <a:lnTo>
                    <a:pt x="6953913" y="6226198"/>
                  </a:lnTo>
                  <a:lnTo>
                    <a:pt x="6953913" y="6236069"/>
                  </a:lnTo>
                  <a:lnTo>
                    <a:pt x="6949894" y="6240109"/>
                  </a:lnTo>
                  <a:lnTo>
                    <a:pt x="6939983" y="6240109"/>
                  </a:lnTo>
                  <a:lnTo>
                    <a:pt x="6935964" y="6236069"/>
                  </a:lnTo>
                  <a:lnTo>
                    <a:pt x="6935964" y="6226198"/>
                  </a:lnTo>
                  <a:close/>
                  <a:moveTo>
                    <a:pt x="6700670" y="6222160"/>
                  </a:moveTo>
                  <a:lnTo>
                    <a:pt x="6710581" y="6222160"/>
                  </a:lnTo>
                  <a:lnTo>
                    <a:pt x="6714600" y="6226198"/>
                  </a:lnTo>
                  <a:lnTo>
                    <a:pt x="6714600" y="6236069"/>
                  </a:lnTo>
                  <a:lnTo>
                    <a:pt x="6710581" y="6240109"/>
                  </a:lnTo>
                  <a:lnTo>
                    <a:pt x="6700670" y="6240109"/>
                  </a:lnTo>
                  <a:lnTo>
                    <a:pt x="6696651" y="6236069"/>
                  </a:lnTo>
                  <a:lnTo>
                    <a:pt x="6696651" y="6226198"/>
                  </a:lnTo>
                  <a:close/>
                  <a:moveTo>
                    <a:pt x="6461356" y="6222160"/>
                  </a:moveTo>
                  <a:lnTo>
                    <a:pt x="6471266" y="6222160"/>
                  </a:lnTo>
                  <a:lnTo>
                    <a:pt x="6475285" y="6226198"/>
                  </a:lnTo>
                  <a:lnTo>
                    <a:pt x="6475285" y="6236069"/>
                  </a:lnTo>
                  <a:lnTo>
                    <a:pt x="6471266" y="6240109"/>
                  </a:lnTo>
                  <a:lnTo>
                    <a:pt x="6461356" y="6240109"/>
                  </a:lnTo>
                  <a:lnTo>
                    <a:pt x="6457337" y="6236069"/>
                  </a:lnTo>
                  <a:lnTo>
                    <a:pt x="6457337" y="6226198"/>
                  </a:lnTo>
                  <a:close/>
                  <a:moveTo>
                    <a:pt x="6222042" y="6222160"/>
                  </a:moveTo>
                  <a:lnTo>
                    <a:pt x="6231952" y="6222160"/>
                  </a:lnTo>
                  <a:lnTo>
                    <a:pt x="6235971" y="6226198"/>
                  </a:lnTo>
                  <a:lnTo>
                    <a:pt x="6235971" y="6236069"/>
                  </a:lnTo>
                  <a:lnTo>
                    <a:pt x="6231952" y="6240109"/>
                  </a:lnTo>
                  <a:lnTo>
                    <a:pt x="6222042" y="6240109"/>
                  </a:lnTo>
                  <a:lnTo>
                    <a:pt x="6218023" y="6236069"/>
                  </a:lnTo>
                  <a:lnTo>
                    <a:pt x="6218023" y="6226198"/>
                  </a:lnTo>
                  <a:close/>
                  <a:moveTo>
                    <a:pt x="5982729" y="6222160"/>
                  </a:moveTo>
                  <a:lnTo>
                    <a:pt x="5992639" y="6222160"/>
                  </a:lnTo>
                  <a:lnTo>
                    <a:pt x="5996658" y="6226198"/>
                  </a:lnTo>
                  <a:lnTo>
                    <a:pt x="5996658" y="6236069"/>
                  </a:lnTo>
                  <a:lnTo>
                    <a:pt x="5992639" y="6240109"/>
                  </a:lnTo>
                  <a:lnTo>
                    <a:pt x="5982729" y="6240109"/>
                  </a:lnTo>
                  <a:lnTo>
                    <a:pt x="5978710" y="6236069"/>
                  </a:lnTo>
                  <a:lnTo>
                    <a:pt x="5978710" y="6226198"/>
                  </a:lnTo>
                  <a:close/>
                  <a:moveTo>
                    <a:pt x="5743412" y="6222160"/>
                  </a:moveTo>
                  <a:lnTo>
                    <a:pt x="5753323" y="6222160"/>
                  </a:lnTo>
                  <a:lnTo>
                    <a:pt x="5757342" y="6226198"/>
                  </a:lnTo>
                  <a:lnTo>
                    <a:pt x="5757342" y="6236069"/>
                  </a:lnTo>
                  <a:lnTo>
                    <a:pt x="5753323" y="6240109"/>
                  </a:lnTo>
                  <a:lnTo>
                    <a:pt x="5743412" y="6240109"/>
                  </a:lnTo>
                  <a:lnTo>
                    <a:pt x="5739393" y="6236069"/>
                  </a:lnTo>
                  <a:lnTo>
                    <a:pt x="5739393" y="6226198"/>
                  </a:lnTo>
                  <a:close/>
                  <a:moveTo>
                    <a:pt x="5504099" y="6222160"/>
                  </a:moveTo>
                  <a:lnTo>
                    <a:pt x="5514010" y="6222160"/>
                  </a:lnTo>
                  <a:lnTo>
                    <a:pt x="5518029" y="6226198"/>
                  </a:lnTo>
                  <a:lnTo>
                    <a:pt x="5518029" y="6236069"/>
                  </a:lnTo>
                  <a:lnTo>
                    <a:pt x="5514010" y="6240109"/>
                  </a:lnTo>
                  <a:lnTo>
                    <a:pt x="5504099" y="6240109"/>
                  </a:lnTo>
                  <a:lnTo>
                    <a:pt x="5500080" y="6236069"/>
                  </a:lnTo>
                  <a:lnTo>
                    <a:pt x="5500080" y="6226198"/>
                  </a:lnTo>
                  <a:close/>
                  <a:moveTo>
                    <a:pt x="5264784" y="6222160"/>
                  </a:moveTo>
                  <a:lnTo>
                    <a:pt x="5274694" y="6222160"/>
                  </a:lnTo>
                  <a:lnTo>
                    <a:pt x="5278713" y="6226198"/>
                  </a:lnTo>
                  <a:lnTo>
                    <a:pt x="5278713" y="6236069"/>
                  </a:lnTo>
                  <a:lnTo>
                    <a:pt x="5274694" y="6240109"/>
                  </a:lnTo>
                  <a:lnTo>
                    <a:pt x="5264784" y="6240109"/>
                  </a:lnTo>
                  <a:lnTo>
                    <a:pt x="5260765" y="6236069"/>
                  </a:lnTo>
                  <a:lnTo>
                    <a:pt x="5260765" y="6226198"/>
                  </a:lnTo>
                  <a:close/>
                  <a:moveTo>
                    <a:pt x="5025470" y="6222160"/>
                  </a:moveTo>
                  <a:lnTo>
                    <a:pt x="5035381" y="6222160"/>
                  </a:lnTo>
                  <a:lnTo>
                    <a:pt x="5039400" y="6226198"/>
                  </a:lnTo>
                  <a:lnTo>
                    <a:pt x="5039400" y="6236069"/>
                  </a:lnTo>
                  <a:lnTo>
                    <a:pt x="5035381" y="6240109"/>
                  </a:lnTo>
                  <a:lnTo>
                    <a:pt x="5025470" y="6240109"/>
                  </a:lnTo>
                  <a:lnTo>
                    <a:pt x="5021451" y="6236069"/>
                  </a:lnTo>
                  <a:lnTo>
                    <a:pt x="5021451" y="6226198"/>
                  </a:lnTo>
                  <a:close/>
                  <a:moveTo>
                    <a:pt x="4786241" y="6222160"/>
                  </a:moveTo>
                  <a:lnTo>
                    <a:pt x="4796152" y="6222160"/>
                  </a:lnTo>
                  <a:lnTo>
                    <a:pt x="4800171" y="6226198"/>
                  </a:lnTo>
                  <a:lnTo>
                    <a:pt x="4800171" y="6236069"/>
                  </a:lnTo>
                  <a:lnTo>
                    <a:pt x="4796152" y="6240109"/>
                  </a:lnTo>
                  <a:lnTo>
                    <a:pt x="4786241" y="6240109"/>
                  </a:lnTo>
                  <a:lnTo>
                    <a:pt x="4782224" y="6236069"/>
                  </a:lnTo>
                  <a:lnTo>
                    <a:pt x="4782224" y="6226198"/>
                  </a:lnTo>
                  <a:close/>
                  <a:moveTo>
                    <a:pt x="4546929" y="6222160"/>
                  </a:moveTo>
                  <a:lnTo>
                    <a:pt x="4556840" y="6222160"/>
                  </a:lnTo>
                  <a:lnTo>
                    <a:pt x="4560859" y="6226198"/>
                  </a:lnTo>
                  <a:lnTo>
                    <a:pt x="4560859" y="6236069"/>
                  </a:lnTo>
                  <a:lnTo>
                    <a:pt x="4556840" y="6240109"/>
                  </a:lnTo>
                  <a:lnTo>
                    <a:pt x="4546929" y="6240109"/>
                  </a:lnTo>
                  <a:lnTo>
                    <a:pt x="4542910" y="6236069"/>
                  </a:lnTo>
                  <a:lnTo>
                    <a:pt x="4542910" y="6226198"/>
                  </a:lnTo>
                  <a:close/>
                  <a:moveTo>
                    <a:pt x="4307612" y="6222160"/>
                  </a:moveTo>
                  <a:lnTo>
                    <a:pt x="4317523" y="6222160"/>
                  </a:lnTo>
                  <a:lnTo>
                    <a:pt x="4321543" y="6226198"/>
                  </a:lnTo>
                  <a:lnTo>
                    <a:pt x="4321543" y="6236069"/>
                  </a:lnTo>
                  <a:lnTo>
                    <a:pt x="4317523" y="6240109"/>
                  </a:lnTo>
                  <a:lnTo>
                    <a:pt x="4307612" y="6240109"/>
                  </a:lnTo>
                  <a:lnTo>
                    <a:pt x="4303595" y="6236069"/>
                  </a:lnTo>
                  <a:lnTo>
                    <a:pt x="4303595" y="6226198"/>
                  </a:lnTo>
                  <a:close/>
                  <a:moveTo>
                    <a:pt x="4068297" y="6222160"/>
                  </a:moveTo>
                  <a:lnTo>
                    <a:pt x="4078210" y="6222160"/>
                  </a:lnTo>
                  <a:lnTo>
                    <a:pt x="4082229" y="6226198"/>
                  </a:lnTo>
                  <a:lnTo>
                    <a:pt x="4082229" y="6236069"/>
                  </a:lnTo>
                  <a:lnTo>
                    <a:pt x="4078210" y="6240109"/>
                  </a:lnTo>
                  <a:lnTo>
                    <a:pt x="4068297" y="6240109"/>
                  </a:lnTo>
                  <a:lnTo>
                    <a:pt x="4064278" y="6236069"/>
                  </a:lnTo>
                  <a:lnTo>
                    <a:pt x="4064278" y="6226198"/>
                  </a:lnTo>
                  <a:close/>
                  <a:moveTo>
                    <a:pt x="3828990" y="6222160"/>
                  </a:moveTo>
                  <a:lnTo>
                    <a:pt x="3838899" y="6222160"/>
                  </a:lnTo>
                  <a:lnTo>
                    <a:pt x="3842917" y="6226198"/>
                  </a:lnTo>
                  <a:lnTo>
                    <a:pt x="3842917" y="6236069"/>
                  </a:lnTo>
                  <a:lnTo>
                    <a:pt x="3838899" y="6240109"/>
                  </a:lnTo>
                  <a:lnTo>
                    <a:pt x="3828990" y="6240109"/>
                  </a:lnTo>
                  <a:lnTo>
                    <a:pt x="3824971" y="6236069"/>
                  </a:lnTo>
                  <a:lnTo>
                    <a:pt x="3824971" y="6226198"/>
                  </a:lnTo>
                  <a:close/>
                  <a:moveTo>
                    <a:pt x="3589676" y="6222160"/>
                  </a:moveTo>
                  <a:lnTo>
                    <a:pt x="3599585" y="6222160"/>
                  </a:lnTo>
                  <a:lnTo>
                    <a:pt x="3603604" y="6226198"/>
                  </a:lnTo>
                  <a:lnTo>
                    <a:pt x="3603604" y="6236069"/>
                  </a:lnTo>
                  <a:lnTo>
                    <a:pt x="3599585" y="6240109"/>
                  </a:lnTo>
                  <a:lnTo>
                    <a:pt x="3589676" y="6240109"/>
                  </a:lnTo>
                  <a:lnTo>
                    <a:pt x="3585657" y="6236069"/>
                  </a:lnTo>
                  <a:lnTo>
                    <a:pt x="3585657" y="6226198"/>
                  </a:lnTo>
                  <a:close/>
                  <a:moveTo>
                    <a:pt x="3350359" y="6222160"/>
                  </a:moveTo>
                  <a:lnTo>
                    <a:pt x="3360268" y="6222160"/>
                  </a:lnTo>
                  <a:lnTo>
                    <a:pt x="3364287" y="6226198"/>
                  </a:lnTo>
                  <a:lnTo>
                    <a:pt x="3364287" y="6236069"/>
                  </a:lnTo>
                  <a:lnTo>
                    <a:pt x="3360268" y="6240109"/>
                  </a:lnTo>
                  <a:lnTo>
                    <a:pt x="3350359" y="6240109"/>
                  </a:lnTo>
                  <a:lnTo>
                    <a:pt x="3346340" y="6236069"/>
                  </a:lnTo>
                  <a:lnTo>
                    <a:pt x="3346340" y="6226198"/>
                  </a:lnTo>
                  <a:close/>
                  <a:moveTo>
                    <a:pt x="3111048" y="6222160"/>
                  </a:moveTo>
                  <a:lnTo>
                    <a:pt x="3120959" y="6222160"/>
                  </a:lnTo>
                  <a:lnTo>
                    <a:pt x="3124977" y="6226198"/>
                  </a:lnTo>
                  <a:lnTo>
                    <a:pt x="3124977" y="6236069"/>
                  </a:lnTo>
                  <a:lnTo>
                    <a:pt x="3120959" y="6240109"/>
                  </a:lnTo>
                  <a:lnTo>
                    <a:pt x="3111048" y="6240109"/>
                  </a:lnTo>
                  <a:lnTo>
                    <a:pt x="3107029" y="6236069"/>
                  </a:lnTo>
                  <a:lnTo>
                    <a:pt x="3107029" y="6226198"/>
                  </a:lnTo>
                  <a:close/>
                  <a:moveTo>
                    <a:pt x="2871737" y="6222160"/>
                  </a:moveTo>
                  <a:lnTo>
                    <a:pt x="2881646" y="6222160"/>
                  </a:lnTo>
                  <a:lnTo>
                    <a:pt x="2885666" y="6226198"/>
                  </a:lnTo>
                  <a:lnTo>
                    <a:pt x="2885666" y="6236069"/>
                  </a:lnTo>
                  <a:lnTo>
                    <a:pt x="2881646" y="6240109"/>
                  </a:lnTo>
                  <a:lnTo>
                    <a:pt x="2871737" y="6240109"/>
                  </a:lnTo>
                  <a:lnTo>
                    <a:pt x="2867717" y="6236069"/>
                  </a:lnTo>
                  <a:lnTo>
                    <a:pt x="2867717" y="6226198"/>
                  </a:lnTo>
                  <a:close/>
                  <a:moveTo>
                    <a:pt x="2632423" y="6222160"/>
                  </a:moveTo>
                  <a:lnTo>
                    <a:pt x="2642334" y="6222160"/>
                  </a:lnTo>
                  <a:lnTo>
                    <a:pt x="2646352" y="6226198"/>
                  </a:lnTo>
                  <a:lnTo>
                    <a:pt x="2646352" y="6236069"/>
                  </a:lnTo>
                  <a:lnTo>
                    <a:pt x="2642334" y="6240109"/>
                  </a:lnTo>
                  <a:lnTo>
                    <a:pt x="2632423" y="6240109"/>
                  </a:lnTo>
                  <a:lnTo>
                    <a:pt x="2628404" y="6236069"/>
                  </a:lnTo>
                  <a:lnTo>
                    <a:pt x="2628404" y="6226198"/>
                  </a:lnTo>
                  <a:close/>
                  <a:moveTo>
                    <a:pt x="2393104" y="6222160"/>
                  </a:moveTo>
                  <a:lnTo>
                    <a:pt x="2403015" y="6222160"/>
                  </a:lnTo>
                  <a:lnTo>
                    <a:pt x="2407034" y="6226198"/>
                  </a:lnTo>
                  <a:lnTo>
                    <a:pt x="2407034" y="6236069"/>
                  </a:lnTo>
                  <a:lnTo>
                    <a:pt x="2403015" y="6240109"/>
                  </a:lnTo>
                  <a:lnTo>
                    <a:pt x="2393104" y="6240109"/>
                  </a:lnTo>
                  <a:lnTo>
                    <a:pt x="2389087" y="6236069"/>
                  </a:lnTo>
                  <a:lnTo>
                    <a:pt x="2389087" y="6226198"/>
                  </a:lnTo>
                  <a:close/>
                  <a:moveTo>
                    <a:pt x="2157818" y="6222160"/>
                  </a:moveTo>
                  <a:lnTo>
                    <a:pt x="2167728" y="6222160"/>
                  </a:lnTo>
                  <a:lnTo>
                    <a:pt x="2171746" y="6226198"/>
                  </a:lnTo>
                  <a:lnTo>
                    <a:pt x="2171746" y="6236069"/>
                  </a:lnTo>
                  <a:lnTo>
                    <a:pt x="2167728" y="6240109"/>
                  </a:lnTo>
                  <a:lnTo>
                    <a:pt x="2157818" y="6240109"/>
                  </a:lnTo>
                  <a:lnTo>
                    <a:pt x="2153799" y="6236069"/>
                  </a:lnTo>
                  <a:lnTo>
                    <a:pt x="2153799" y="6226198"/>
                  </a:lnTo>
                  <a:close/>
                  <a:moveTo>
                    <a:pt x="1918509" y="6222160"/>
                  </a:moveTo>
                  <a:lnTo>
                    <a:pt x="1928419" y="6222160"/>
                  </a:lnTo>
                  <a:lnTo>
                    <a:pt x="1932438" y="6226198"/>
                  </a:lnTo>
                  <a:lnTo>
                    <a:pt x="1932438" y="6236069"/>
                  </a:lnTo>
                  <a:lnTo>
                    <a:pt x="1928419" y="6240109"/>
                  </a:lnTo>
                  <a:lnTo>
                    <a:pt x="1918509" y="6240109"/>
                  </a:lnTo>
                  <a:lnTo>
                    <a:pt x="1914490" y="6236069"/>
                  </a:lnTo>
                  <a:lnTo>
                    <a:pt x="1914490" y="6226198"/>
                  </a:lnTo>
                  <a:close/>
                  <a:moveTo>
                    <a:pt x="1679200" y="6222160"/>
                  </a:moveTo>
                  <a:lnTo>
                    <a:pt x="1689110" y="6222160"/>
                  </a:lnTo>
                  <a:lnTo>
                    <a:pt x="1693129" y="6226198"/>
                  </a:lnTo>
                  <a:lnTo>
                    <a:pt x="1693129" y="6236069"/>
                  </a:lnTo>
                  <a:lnTo>
                    <a:pt x="1689110" y="6240109"/>
                  </a:lnTo>
                  <a:lnTo>
                    <a:pt x="1679200" y="6240109"/>
                  </a:lnTo>
                  <a:lnTo>
                    <a:pt x="1675182" y="6236069"/>
                  </a:lnTo>
                  <a:lnTo>
                    <a:pt x="1675182" y="6226198"/>
                  </a:lnTo>
                  <a:close/>
                  <a:moveTo>
                    <a:pt x="1439885" y="6222160"/>
                  </a:moveTo>
                  <a:lnTo>
                    <a:pt x="1449795" y="6222160"/>
                  </a:lnTo>
                  <a:lnTo>
                    <a:pt x="1453814" y="6226198"/>
                  </a:lnTo>
                  <a:lnTo>
                    <a:pt x="1453814" y="6236069"/>
                  </a:lnTo>
                  <a:lnTo>
                    <a:pt x="1449795" y="6240109"/>
                  </a:lnTo>
                  <a:lnTo>
                    <a:pt x="1439885" y="6240109"/>
                  </a:lnTo>
                  <a:lnTo>
                    <a:pt x="1435866" y="6236069"/>
                  </a:lnTo>
                  <a:lnTo>
                    <a:pt x="1435866" y="6226198"/>
                  </a:lnTo>
                  <a:close/>
                  <a:moveTo>
                    <a:pt x="1200570" y="6222160"/>
                  </a:moveTo>
                  <a:lnTo>
                    <a:pt x="1210481" y="6222160"/>
                  </a:lnTo>
                  <a:lnTo>
                    <a:pt x="1214499" y="6226198"/>
                  </a:lnTo>
                  <a:lnTo>
                    <a:pt x="1214499" y="6236069"/>
                  </a:lnTo>
                  <a:lnTo>
                    <a:pt x="1210481" y="6240109"/>
                  </a:lnTo>
                  <a:lnTo>
                    <a:pt x="1200570" y="6240109"/>
                  </a:lnTo>
                  <a:lnTo>
                    <a:pt x="1196551" y="6236069"/>
                  </a:lnTo>
                  <a:lnTo>
                    <a:pt x="1196551" y="6226198"/>
                  </a:lnTo>
                  <a:close/>
                  <a:moveTo>
                    <a:pt x="961258" y="6222160"/>
                  </a:moveTo>
                  <a:lnTo>
                    <a:pt x="971167" y="6222160"/>
                  </a:lnTo>
                  <a:lnTo>
                    <a:pt x="975186" y="6226198"/>
                  </a:lnTo>
                  <a:lnTo>
                    <a:pt x="975186" y="6236069"/>
                  </a:lnTo>
                  <a:lnTo>
                    <a:pt x="971167" y="6240109"/>
                  </a:lnTo>
                  <a:lnTo>
                    <a:pt x="961258" y="6240109"/>
                  </a:lnTo>
                  <a:lnTo>
                    <a:pt x="957239" y="6236069"/>
                  </a:lnTo>
                  <a:lnTo>
                    <a:pt x="957239" y="6226198"/>
                  </a:lnTo>
                  <a:close/>
                  <a:moveTo>
                    <a:pt x="721959" y="6222160"/>
                  </a:moveTo>
                  <a:lnTo>
                    <a:pt x="731869" y="6222160"/>
                  </a:lnTo>
                  <a:lnTo>
                    <a:pt x="735888" y="6226198"/>
                  </a:lnTo>
                  <a:lnTo>
                    <a:pt x="735888" y="6236069"/>
                  </a:lnTo>
                  <a:lnTo>
                    <a:pt x="731869" y="6240109"/>
                  </a:lnTo>
                  <a:lnTo>
                    <a:pt x="721959" y="6240109"/>
                  </a:lnTo>
                  <a:lnTo>
                    <a:pt x="717940" y="6236069"/>
                  </a:lnTo>
                  <a:lnTo>
                    <a:pt x="717940" y="6226198"/>
                  </a:lnTo>
                  <a:close/>
                  <a:moveTo>
                    <a:pt x="482646" y="6222160"/>
                  </a:moveTo>
                  <a:lnTo>
                    <a:pt x="492557" y="6222160"/>
                  </a:lnTo>
                  <a:lnTo>
                    <a:pt x="496576" y="6226198"/>
                  </a:lnTo>
                  <a:lnTo>
                    <a:pt x="496576" y="6236069"/>
                  </a:lnTo>
                  <a:lnTo>
                    <a:pt x="492557" y="6240109"/>
                  </a:lnTo>
                  <a:lnTo>
                    <a:pt x="482646" y="6240109"/>
                  </a:lnTo>
                  <a:lnTo>
                    <a:pt x="478627" y="6236069"/>
                  </a:lnTo>
                  <a:lnTo>
                    <a:pt x="478627" y="6226198"/>
                  </a:lnTo>
                  <a:close/>
                  <a:moveTo>
                    <a:pt x="243333" y="6222160"/>
                  </a:moveTo>
                  <a:lnTo>
                    <a:pt x="253243" y="6222160"/>
                  </a:lnTo>
                  <a:lnTo>
                    <a:pt x="257263" y="6226198"/>
                  </a:lnTo>
                  <a:lnTo>
                    <a:pt x="257263" y="6236069"/>
                  </a:lnTo>
                  <a:lnTo>
                    <a:pt x="253243" y="6240109"/>
                  </a:lnTo>
                  <a:lnTo>
                    <a:pt x="243333" y="6240109"/>
                  </a:lnTo>
                  <a:lnTo>
                    <a:pt x="239314" y="6236069"/>
                  </a:lnTo>
                  <a:lnTo>
                    <a:pt x="239314" y="6226198"/>
                  </a:lnTo>
                  <a:close/>
                  <a:moveTo>
                    <a:pt x="4020" y="6222160"/>
                  </a:moveTo>
                  <a:lnTo>
                    <a:pt x="13930" y="6222160"/>
                  </a:lnTo>
                  <a:lnTo>
                    <a:pt x="17949" y="6226198"/>
                  </a:lnTo>
                  <a:lnTo>
                    <a:pt x="17949" y="6236069"/>
                  </a:lnTo>
                  <a:lnTo>
                    <a:pt x="13930" y="6240109"/>
                  </a:lnTo>
                  <a:lnTo>
                    <a:pt x="4020" y="6240109"/>
                  </a:lnTo>
                  <a:lnTo>
                    <a:pt x="1" y="6236069"/>
                  </a:lnTo>
                  <a:lnTo>
                    <a:pt x="1" y="6226198"/>
                  </a:lnTo>
                  <a:close/>
                  <a:moveTo>
                    <a:pt x="2157818" y="5982881"/>
                  </a:moveTo>
                  <a:lnTo>
                    <a:pt x="2167728" y="5982881"/>
                  </a:lnTo>
                  <a:lnTo>
                    <a:pt x="2171747" y="5986919"/>
                  </a:lnTo>
                  <a:lnTo>
                    <a:pt x="2171747" y="5996790"/>
                  </a:lnTo>
                  <a:lnTo>
                    <a:pt x="2167728" y="6000829"/>
                  </a:lnTo>
                  <a:lnTo>
                    <a:pt x="2157818" y="6000829"/>
                  </a:lnTo>
                  <a:lnTo>
                    <a:pt x="2153799" y="5996790"/>
                  </a:lnTo>
                  <a:lnTo>
                    <a:pt x="2153799" y="5986919"/>
                  </a:lnTo>
                  <a:close/>
                  <a:moveTo>
                    <a:pt x="1918509" y="5982881"/>
                  </a:moveTo>
                  <a:lnTo>
                    <a:pt x="1928420" y="5982881"/>
                  </a:lnTo>
                  <a:lnTo>
                    <a:pt x="1932438" y="5986919"/>
                  </a:lnTo>
                  <a:lnTo>
                    <a:pt x="1932438" y="5996790"/>
                  </a:lnTo>
                  <a:lnTo>
                    <a:pt x="1928420" y="6000829"/>
                  </a:lnTo>
                  <a:lnTo>
                    <a:pt x="1918509" y="6000829"/>
                  </a:lnTo>
                  <a:lnTo>
                    <a:pt x="1914490" y="5996790"/>
                  </a:lnTo>
                  <a:lnTo>
                    <a:pt x="1914490" y="5986919"/>
                  </a:lnTo>
                  <a:close/>
                  <a:moveTo>
                    <a:pt x="1679201" y="5982881"/>
                  </a:moveTo>
                  <a:lnTo>
                    <a:pt x="1689111" y="5982881"/>
                  </a:lnTo>
                  <a:lnTo>
                    <a:pt x="1693129" y="5986919"/>
                  </a:lnTo>
                  <a:lnTo>
                    <a:pt x="1693129" y="5996790"/>
                  </a:lnTo>
                  <a:lnTo>
                    <a:pt x="1689111" y="6000829"/>
                  </a:lnTo>
                  <a:lnTo>
                    <a:pt x="1679201" y="6000829"/>
                  </a:lnTo>
                  <a:lnTo>
                    <a:pt x="1675182" y="5996790"/>
                  </a:lnTo>
                  <a:lnTo>
                    <a:pt x="1675182" y="5986919"/>
                  </a:lnTo>
                  <a:close/>
                  <a:moveTo>
                    <a:pt x="1439886" y="5982881"/>
                  </a:moveTo>
                  <a:lnTo>
                    <a:pt x="1449796" y="5982881"/>
                  </a:lnTo>
                  <a:lnTo>
                    <a:pt x="1453814" y="5986919"/>
                  </a:lnTo>
                  <a:lnTo>
                    <a:pt x="1453814" y="5996790"/>
                  </a:lnTo>
                  <a:lnTo>
                    <a:pt x="1449796" y="6000829"/>
                  </a:lnTo>
                  <a:lnTo>
                    <a:pt x="1439886" y="6000829"/>
                  </a:lnTo>
                  <a:lnTo>
                    <a:pt x="1435866" y="5996790"/>
                  </a:lnTo>
                  <a:lnTo>
                    <a:pt x="1435866" y="5986919"/>
                  </a:lnTo>
                  <a:close/>
                  <a:moveTo>
                    <a:pt x="1200571" y="5982881"/>
                  </a:moveTo>
                  <a:lnTo>
                    <a:pt x="1210481" y="5982881"/>
                  </a:lnTo>
                  <a:lnTo>
                    <a:pt x="1214500" y="5986919"/>
                  </a:lnTo>
                  <a:lnTo>
                    <a:pt x="1214500" y="5996790"/>
                  </a:lnTo>
                  <a:lnTo>
                    <a:pt x="1210481" y="6000829"/>
                  </a:lnTo>
                  <a:lnTo>
                    <a:pt x="1200571" y="6000829"/>
                  </a:lnTo>
                  <a:lnTo>
                    <a:pt x="1196553" y="5996790"/>
                  </a:lnTo>
                  <a:lnTo>
                    <a:pt x="1196553" y="5986919"/>
                  </a:lnTo>
                  <a:close/>
                  <a:moveTo>
                    <a:pt x="961258" y="5982881"/>
                  </a:moveTo>
                  <a:lnTo>
                    <a:pt x="971168" y="5982881"/>
                  </a:lnTo>
                  <a:lnTo>
                    <a:pt x="975187" y="5986919"/>
                  </a:lnTo>
                  <a:lnTo>
                    <a:pt x="975187" y="5996790"/>
                  </a:lnTo>
                  <a:lnTo>
                    <a:pt x="971168" y="6000829"/>
                  </a:lnTo>
                  <a:lnTo>
                    <a:pt x="961258" y="6000829"/>
                  </a:lnTo>
                  <a:lnTo>
                    <a:pt x="957239" y="5996790"/>
                  </a:lnTo>
                  <a:lnTo>
                    <a:pt x="957239" y="5986919"/>
                  </a:lnTo>
                  <a:close/>
                  <a:moveTo>
                    <a:pt x="9572438" y="5982829"/>
                  </a:moveTo>
                  <a:lnTo>
                    <a:pt x="9582349" y="5982829"/>
                  </a:lnTo>
                  <a:lnTo>
                    <a:pt x="9586368" y="5986868"/>
                  </a:lnTo>
                  <a:lnTo>
                    <a:pt x="9586368" y="5996739"/>
                  </a:lnTo>
                  <a:lnTo>
                    <a:pt x="9582349" y="6000778"/>
                  </a:lnTo>
                  <a:lnTo>
                    <a:pt x="9572438" y="6000778"/>
                  </a:lnTo>
                  <a:lnTo>
                    <a:pt x="9568419" y="5996739"/>
                  </a:lnTo>
                  <a:lnTo>
                    <a:pt x="9568419" y="5986868"/>
                  </a:lnTo>
                  <a:close/>
                  <a:moveTo>
                    <a:pt x="9333125" y="5982829"/>
                  </a:moveTo>
                  <a:lnTo>
                    <a:pt x="9343036" y="5982829"/>
                  </a:lnTo>
                  <a:lnTo>
                    <a:pt x="9347055" y="5986868"/>
                  </a:lnTo>
                  <a:lnTo>
                    <a:pt x="9347055" y="5996739"/>
                  </a:lnTo>
                  <a:lnTo>
                    <a:pt x="9343036" y="6000778"/>
                  </a:lnTo>
                  <a:lnTo>
                    <a:pt x="9333125" y="6000778"/>
                  </a:lnTo>
                  <a:lnTo>
                    <a:pt x="9329106" y="5996739"/>
                  </a:lnTo>
                  <a:lnTo>
                    <a:pt x="9329106" y="5986868"/>
                  </a:lnTo>
                  <a:close/>
                  <a:moveTo>
                    <a:pt x="9093811" y="5982829"/>
                  </a:moveTo>
                  <a:lnTo>
                    <a:pt x="9103722" y="5982829"/>
                  </a:lnTo>
                  <a:lnTo>
                    <a:pt x="9107741" y="5986868"/>
                  </a:lnTo>
                  <a:lnTo>
                    <a:pt x="9107741" y="5996739"/>
                  </a:lnTo>
                  <a:lnTo>
                    <a:pt x="9103722" y="6000778"/>
                  </a:lnTo>
                  <a:lnTo>
                    <a:pt x="9093811" y="6000778"/>
                  </a:lnTo>
                  <a:lnTo>
                    <a:pt x="9089792" y="5996739"/>
                  </a:lnTo>
                  <a:lnTo>
                    <a:pt x="9089792" y="5986868"/>
                  </a:lnTo>
                  <a:close/>
                  <a:moveTo>
                    <a:pt x="8854496" y="5982829"/>
                  </a:moveTo>
                  <a:lnTo>
                    <a:pt x="8864407" y="5982829"/>
                  </a:lnTo>
                  <a:lnTo>
                    <a:pt x="8868426" y="5986868"/>
                  </a:lnTo>
                  <a:lnTo>
                    <a:pt x="8868426" y="5996739"/>
                  </a:lnTo>
                  <a:lnTo>
                    <a:pt x="8864407" y="6000778"/>
                  </a:lnTo>
                  <a:lnTo>
                    <a:pt x="8854496" y="6000778"/>
                  </a:lnTo>
                  <a:lnTo>
                    <a:pt x="8850477" y="5996739"/>
                  </a:lnTo>
                  <a:lnTo>
                    <a:pt x="8850477" y="5986868"/>
                  </a:lnTo>
                  <a:close/>
                  <a:moveTo>
                    <a:pt x="8615184" y="5982829"/>
                  </a:moveTo>
                  <a:lnTo>
                    <a:pt x="8625095" y="5982829"/>
                  </a:lnTo>
                  <a:lnTo>
                    <a:pt x="8629114" y="5986868"/>
                  </a:lnTo>
                  <a:lnTo>
                    <a:pt x="8629114" y="5996739"/>
                  </a:lnTo>
                  <a:lnTo>
                    <a:pt x="8625095" y="6000778"/>
                  </a:lnTo>
                  <a:lnTo>
                    <a:pt x="8615184" y="6000778"/>
                  </a:lnTo>
                  <a:lnTo>
                    <a:pt x="8611165" y="5996739"/>
                  </a:lnTo>
                  <a:lnTo>
                    <a:pt x="8611165" y="5986868"/>
                  </a:lnTo>
                  <a:close/>
                  <a:moveTo>
                    <a:pt x="8375869" y="5982829"/>
                  </a:moveTo>
                  <a:lnTo>
                    <a:pt x="8385779" y="5982829"/>
                  </a:lnTo>
                  <a:lnTo>
                    <a:pt x="8389799" y="5986868"/>
                  </a:lnTo>
                  <a:lnTo>
                    <a:pt x="8389799" y="5996739"/>
                  </a:lnTo>
                  <a:lnTo>
                    <a:pt x="8385779" y="6000778"/>
                  </a:lnTo>
                  <a:lnTo>
                    <a:pt x="8375869" y="6000778"/>
                  </a:lnTo>
                  <a:lnTo>
                    <a:pt x="8371850" y="5996739"/>
                  </a:lnTo>
                  <a:lnTo>
                    <a:pt x="8371850" y="5986868"/>
                  </a:lnTo>
                  <a:close/>
                  <a:moveTo>
                    <a:pt x="8136553" y="5982829"/>
                  </a:moveTo>
                  <a:lnTo>
                    <a:pt x="8146464" y="5982829"/>
                  </a:lnTo>
                  <a:lnTo>
                    <a:pt x="8150483" y="5986868"/>
                  </a:lnTo>
                  <a:lnTo>
                    <a:pt x="8150483" y="5996739"/>
                  </a:lnTo>
                  <a:lnTo>
                    <a:pt x="8146464" y="6000778"/>
                  </a:lnTo>
                  <a:lnTo>
                    <a:pt x="8136553" y="6000778"/>
                  </a:lnTo>
                  <a:lnTo>
                    <a:pt x="8132534" y="5996739"/>
                  </a:lnTo>
                  <a:lnTo>
                    <a:pt x="8132534" y="5986868"/>
                  </a:lnTo>
                  <a:close/>
                  <a:moveTo>
                    <a:pt x="7897241" y="5982829"/>
                  </a:moveTo>
                  <a:lnTo>
                    <a:pt x="7907151" y="5982829"/>
                  </a:lnTo>
                  <a:lnTo>
                    <a:pt x="7911170" y="5986868"/>
                  </a:lnTo>
                  <a:lnTo>
                    <a:pt x="7911170" y="5996739"/>
                  </a:lnTo>
                  <a:lnTo>
                    <a:pt x="7907151" y="6000778"/>
                  </a:lnTo>
                  <a:lnTo>
                    <a:pt x="7897241" y="6000778"/>
                  </a:lnTo>
                  <a:lnTo>
                    <a:pt x="7893222" y="5996739"/>
                  </a:lnTo>
                  <a:lnTo>
                    <a:pt x="7893222" y="5986868"/>
                  </a:lnTo>
                  <a:close/>
                  <a:moveTo>
                    <a:pt x="7657926" y="5982829"/>
                  </a:moveTo>
                  <a:lnTo>
                    <a:pt x="7667836" y="5982829"/>
                  </a:lnTo>
                  <a:lnTo>
                    <a:pt x="7671855" y="5986868"/>
                  </a:lnTo>
                  <a:lnTo>
                    <a:pt x="7671855" y="5996739"/>
                  </a:lnTo>
                  <a:lnTo>
                    <a:pt x="7667836" y="6000778"/>
                  </a:lnTo>
                  <a:lnTo>
                    <a:pt x="7657926" y="6000778"/>
                  </a:lnTo>
                  <a:lnTo>
                    <a:pt x="7653906" y="5996739"/>
                  </a:lnTo>
                  <a:lnTo>
                    <a:pt x="7653906" y="5986868"/>
                  </a:lnTo>
                  <a:close/>
                  <a:moveTo>
                    <a:pt x="7418611" y="5982829"/>
                  </a:moveTo>
                  <a:lnTo>
                    <a:pt x="7428521" y="5982829"/>
                  </a:lnTo>
                  <a:lnTo>
                    <a:pt x="7432540" y="5986868"/>
                  </a:lnTo>
                  <a:lnTo>
                    <a:pt x="7432540" y="5996739"/>
                  </a:lnTo>
                  <a:lnTo>
                    <a:pt x="7428521" y="6000778"/>
                  </a:lnTo>
                  <a:lnTo>
                    <a:pt x="7418611" y="6000778"/>
                  </a:lnTo>
                  <a:lnTo>
                    <a:pt x="7414592" y="5996739"/>
                  </a:lnTo>
                  <a:lnTo>
                    <a:pt x="7414592" y="5986868"/>
                  </a:lnTo>
                  <a:close/>
                  <a:moveTo>
                    <a:pt x="7179298" y="5982829"/>
                  </a:moveTo>
                  <a:lnTo>
                    <a:pt x="7189209" y="5982829"/>
                  </a:lnTo>
                  <a:lnTo>
                    <a:pt x="7193228" y="5986868"/>
                  </a:lnTo>
                  <a:lnTo>
                    <a:pt x="7193228" y="5996739"/>
                  </a:lnTo>
                  <a:lnTo>
                    <a:pt x="7189209" y="6000778"/>
                  </a:lnTo>
                  <a:lnTo>
                    <a:pt x="7179298" y="6000778"/>
                  </a:lnTo>
                  <a:lnTo>
                    <a:pt x="7175279" y="5996739"/>
                  </a:lnTo>
                  <a:lnTo>
                    <a:pt x="7175279" y="5986868"/>
                  </a:lnTo>
                  <a:close/>
                  <a:moveTo>
                    <a:pt x="6939983" y="5982829"/>
                  </a:moveTo>
                  <a:lnTo>
                    <a:pt x="6949894" y="5982829"/>
                  </a:lnTo>
                  <a:lnTo>
                    <a:pt x="6953913" y="5986868"/>
                  </a:lnTo>
                  <a:lnTo>
                    <a:pt x="6953913" y="5996739"/>
                  </a:lnTo>
                  <a:lnTo>
                    <a:pt x="6949894" y="6000778"/>
                  </a:lnTo>
                  <a:lnTo>
                    <a:pt x="6939983" y="6000778"/>
                  </a:lnTo>
                  <a:lnTo>
                    <a:pt x="6935964" y="5996739"/>
                  </a:lnTo>
                  <a:lnTo>
                    <a:pt x="6935964" y="5986868"/>
                  </a:lnTo>
                  <a:close/>
                  <a:moveTo>
                    <a:pt x="6700670" y="5982829"/>
                  </a:moveTo>
                  <a:lnTo>
                    <a:pt x="6710581" y="5982829"/>
                  </a:lnTo>
                  <a:lnTo>
                    <a:pt x="6714600" y="5986868"/>
                  </a:lnTo>
                  <a:lnTo>
                    <a:pt x="6714600" y="5996739"/>
                  </a:lnTo>
                  <a:lnTo>
                    <a:pt x="6710581" y="6000778"/>
                  </a:lnTo>
                  <a:lnTo>
                    <a:pt x="6700670" y="6000778"/>
                  </a:lnTo>
                  <a:lnTo>
                    <a:pt x="6696651" y="5996739"/>
                  </a:lnTo>
                  <a:lnTo>
                    <a:pt x="6696651" y="5986868"/>
                  </a:lnTo>
                  <a:close/>
                  <a:moveTo>
                    <a:pt x="6461356" y="5982829"/>
                  </a:moveTo>
                  <a:lnTo>
                    <a:pt x="6471266" y="5982829"/>
                  </a:lnTo>
                  <a:lnTo>
                    <a:pt x="6475285" y="5986868"/>
                  </a:lnTo>
                  <a:lnTo>
                    <a:pt x="6475285" y="5996739"/>
                  </a:lnTo>
                  <a:lnTo>
                    <a:pt x="6471266" y="6000778"/>
                  </a:lnTo>
                  <a:lnTo>
                    <a:pt x="6461356" y="6000778"/>
                  </a:lnTo>
                  <a:lnTo>
                    <a:pt x="6457337" y="5996739"/>
                  </a:lnTo>
                  <a:lnTo>
                    <a:pt x="6457337" y="5986868"/>
                  </a:lnTo>
                  <a:close/>
                  <a:moveTo>
                    <a:pt x="6222042" y="5982829"/>
                  </a:moveTo>
                  <a:lnTo>
                    <a:pt x="6231952" y="5982829"/>
                  </a:lnTo>
                  <a:lnTo>
                    <a:pt x="6235971" y="5986868"/>
                  </a:lnTo>
                  <a:lnTo>
                    <a:pt x="6235971" y="5996739"/>
                  </a:lnTo>
                  <a:lnTo>
                    <a:pt x="6231952" y="6000778"/>
                  </a:lnTo>
                  <a:lnTo>
                    <a:pt x="6222042" y="6000778"/>
                  </a:lnTo>
                  <a:lnTo>
                    <a:pt x="6218023" y="5996739"/>
                  </a:lnTo>
                  <a:lnTo>
                    <a:pt x="6218023" y="5986868"/>
                  </a:lnTo>
                  <a:close/>
                  <a:moveTo>
                    <a:pt x="5982729" y="5982829"/>
                  </a:moveTo>
                  <a:lnTo>
                    <a:pt x="5992639" y="5982829"/>
                  </a:lnTo>
                  <a:lnTo>
                    <a:pt x="5996658" y="5986868"/>
                  </a:lnTo>
                  <a:lnTo>
                    <a:pt x="5996658" y="5996739"/>
                  </a:lnTo>
                  <a:lnTo>
                    <a:pt x="5992639" y="6000778"/>
                  </a:lnTo>
                  <a:lnTo>
                    <a:pt x="5982729" y="6000778"/>
                  </a:lnTo>
                  <a:lnTo>
                    <a:pt x="5978710" y="5996739"/>
                  </a:lnTo>
                  <a:lnTo>
                    <a:pt x="5978710" y="5986868"/>
                  </a:lnTo>
                  <a:close/>
                  <a:moveTo>
                    <a:pt x="5743412" y="5982829"/>
                  </a:moveTo>
                  <a:lnTo>
                    <a:pt x="5753323" y="5982829"/>
                  </a:lnTo>
                  <a:lnTo>
                    <a:pt x="5757342" y="5986868"/>
                  </a:lnTo>
                  <a:lnTo>
                    <a:pt x="5757342" y="5996739"/>
                  </a:lnTo>
                  <a:lnTo>
                    <a:pt x="5753323" y="6000778"/>
                  </a:lnTo>
                  <a:lnTo>
                    <a:pt x="5743412" y="6000778"/>
                  </a:lnTo>
                  <a:lnTo>
                    <a:pt x="5739393" y="5996739"/>
                  </a:lnTo>
                  <a:lnTo>
                    <a:pt x="5739393" y="5986868"/>
                  </a:lnTo>
                  <a:close/>
                  <a:moveTo>
                    <a:pt x="5504099" y="5982829"/>
                  </a:moveTo>
                  <a:lnTo>
                    <a:pt x="5514010" y="5982829"/>
                  </a:lnTo>
                  <a:lnTo>
                    <a:pt x="5518029" y="5986868"/>
                  </a:lnTo>
                  <a:lnTo>
                    <a:pt x="5518029" y="5996739"/>
                  </a:lnTo>
                  <a:lnTo>
                    <a:pt x="5514010" y="6000778"/>
                  </a:lnTo>
                  <a:lnTo>
                    <a:pt x="5504099" y="6000778"/>
                  </a:lnTo>
                  <a:lnTo>
                    <a:pt x="5500080" y="5996739"/>
                  </a:lnTo>
                  <a:lnTo>
                    <a:pt x="5500080" y="5986868"/>
                  </a:lnTo>
                  <a:close/>
                  <a:moveTo>
                    <a:pt x="5264784" y="5982829"/>
                  </a:moveTo>
                  <a:lnTo>
                    <a:pt x="5274694" y="5982829"/>
                  </a:lnTo>
                  <a:lnTo>
                    <a:pt x="5278713" y="5986868"/>
                  </a:lnTo>
                  <a:lnTo>
                    <a:pt x="5278713" y="5996739"/>
                  </a:lnTo>
                  <a:lnTo>
                    <a:pt x="5274694" y="6000778"/>
                  </a:lnTo>
                  <a:lnTo>
                    <a:pt x="5264784" y="6000778"/>
                  </a:lnTo>
                  <a:lnTo>
                    <a:pt x="5260765" y="5996739"/>
                  </a:lnTo>
                  <a:lnTo>
                    <a:pt x="5260765" y="5986868"/>
                  </a:lnTo>
                  <a:close/>
                  <a:moveTo>
                    <a:pt x="5025470" y="5982829"/>
                  </a:moveTo>
                  <a:lnTo>
                    <a:pt x="5035381" y="5982829"/>
                  </a:lnTo>
                  <a:lnTo>
                    <a:pt x="5039400" y="5986868"/>
                  </a:lnTo>
                  <a:lnTo>
                    <a:pt x="5039400" y="5996739"/>
                  </a:lnTo>
                  <a:lnTo>
                    <a:pt x="5035381" y="6000778"/>
                  </a:lnTo>
                  <a:lnTo>
                    <a:pt x="5025470" y="6000778"/>
                  </a:lnTo>
                  <a:lnTo>
                    <a:pt x="5021451" y="5996739"/>
                  </a:lnTo>
                  <a:lnTo>
                    <a:pt x="5021451" y="5986868"/>
                  </a:lnTo>
                  <a:close/>
                  <a:moveTo>
                    <a:pt x="4786241" y="5982829"/>
                  </a:moveTo>
                  <a:lnTo>
                    <a:pt x="4796152" y="5982829"/>
                  </a:lnTo>
                  <a:lnTo>
                    <a:pt x="4800171" y="5986868"/>
                  </a:lnTo>
                  <a:lnTo>
                    <a:pt x="4800171" y="5996739"/>
                  </a:lnTo>
                  <a:lnTo>
                    <a:pt x="4796152" y="6000778"/>
                  </a:lnTo>
                  <a:lnTo>
                    <a:pt x="4786241" y="6000778"/>
                  </a:lnTo>
                  <a:lnTo>
                    <a:pt x="4782224" y="5996739"/>
                  </a:lnTo>
                  <a:lnTo>
                    <a:pt x="4782224" y="5986868"/>
                  </a:lnTo>
                  <a:close/>
                  <a:moveTo>
                    <a:pt x="4546929" y="5982829"/>
                  </a:moveTo>
                  <a:lnTo>
                    <a:pt x="4556840" y="5982829"/>
                  </a:lnTo>
                  <a:lnTo>
                    <a:pt x="4560859" y="5986868"/>
                  </a:lnTo>
                  <a:lnTo>
                    <a:pt x="4560859" y="5996739"/>
                  </a:lnTo>
                  <a:lnTo>
                    <a:pt x="4556840" y="6000778"/>
                  </a:lnTo>
                  <a:lnTo>
                    <a:pt x="4546929" y="6000778"/>
                  </a:lnTo>
                  <a:lnTo>
                    <a:pt x="4542910" y="5996739"/>
                  </a:lnTo>
                  <a:lnTo>
                    <a:pt x="4542910" y="5986868"/>
                  </a:lnTo>
                  <a:close/>
                  <a:moveTo>
                    <a:pt x="4307612" y="5982829"/>
                  </a:moveTo>
                  <a:lnTo>
                    <a:pt x="4317523" y="5982829"/>
                  </a:lnTo>
                  <a:lnTo>
                    <a:pt x="4321543" y="5986868"/>
                  </a:lnTo>
                  <a:lnTo>
                    <a:pt x="4321543" y="5996739"/>
                  </a:lnTo>
                  <a:lnTo>
                    <a:pt x="4317523" y="6000778"/>
                  </a:lnTo>
                  <a:lnTo>
                    <a:pt x="4307612" y="6000778"/>
                  </a:lnTo>
                  <a:lnTo>
                    <a:pt x="4303595" y="5996739"/>
                  </a:lnTo>
                  <a:lnTo>
                    <a:pt x="4303595" y="5986868"/>
                  </a:lnTo>
                  <a:close/>
                  <a:moveTo>
                    <a:pt x="4068297" y="5982829"/>
                  </a:moveTo>
                  <a:lnTo>
                    <a:pt x="4078210" y="5982829"/>
                  </a:lnTo>
                  <a:lnTo>
                    <a:pt x="4082229" y="5986868"/>
                  </a:lnTo>
                  <a:lnTo>
                    <a:pt x="4082229" y="5996739"/>
                  </a:lnTo>
                  <a:lnTo>
                    <a:pt x="4078210" y="6000778"/>
                  </a:lnTo>
                  <a:lnTo>
                    <a:pt x="4068297" y="6000778"/>
                  </a:lnTo>
                  <a:lnTo>
                    <a:pt x="4064278" y="5996739"/>
                  </a:lnTo>
                  <a:lnTo>
                    <a:pt x="4064278" y="5986868"/>
                  </a:lnTo>
                  <a:close/>
                  <a:moveTo>
                    <a:pt x="3828990" y="5982829"/>
                  </a:moveTo>
                  <a:lnTo>
                    <a:pt x="3838899" y="5982829"/>
                  </a:lnTo>
                  <a:lnTo>
                    <a:pt x="3842917" y="5986868"/>
                  </a:lnTo>
                  <a:lnTo>
                    <a:pt x="3842917" y="5996739"/>
                  </a:lnTo>
                  <a:lnTo>
                    <a:pt x="3838899" y="6000778"/>
                  </a:lnTo>
                  <a:lnTo>
                    <a:pt x="3828990" y="6000778"/>
                  </a:lnTo>
                  <a:lnTo>
                    <a:pt x="3824971" y="5996739"/>
                  </a:lnTo>
                  <a:lnTo>
                    <a:pt x="3824971" y="5986868"/>
                  </a:lnTo>
                  <a:close/>
                  <a:moveTo>
                    <a:pt x="3589676" y="5982829"/>
                  </a:moveTo>
                  <a:lnTo>
                    <a:pt x="3599585" y="5982829"/>
                  </a:lnTo>
                  <a:lnTo>
                    <a:pt x="3603604" y="5986868"/>
                  </a:lnTo>
                  <a:lnTo>
                    <a:pt x="3603604" y="5996739"/>
                  </a:lnTo>
                  <a:lnTo>
                    <a:pt x="3599585" y="6000778"/>
                  </a:lnTo>
                  <a:lnTo>
                    <a:pt x="3589676" y="6000778"/>
                  </a:lnTo>
                  <a:lnTo>
                    <a:pt x="3585657" y="5996739"/>
                  </a:lnTo>
                  <a:lnTo>
                    <a:pt x="3585657" y="5986868"/>
                  </a:lnTo>
                  <a:close/>
                  <a:moveTo>
                    <a:pt x="3350359" y="5982829"/>
                  </a:moveTo>
                  <a:lnTo>
                    <a:pt x="3360268" y="5982829"/>
                  </a:lnTo>
                  <a:lnTo>
                    <a:pt x="3364287" y="5986868"/>
                  </a:lnTo>
                  <a:lnTo>
                    <a:pt x="3364287" y="5996739"/>
                  </a:lnTo>
                  <a:lnTo>
                    <a:pt x="3360268" y="6000778"/>
                  </a:lnTo>
                  <a:lnTo>
                    <a:pt x="3350359" y="6000778"/>
                  </a:lnTo>
                  <a:lnTo>
                    <a:pt x="3346340" y="5996739"/>
                  </a:lnTo>
                  <a:lnTo>
                    <a:pt x="3346340" y="5986868"/>
                  </a:lnTo>
                  <a:close/>
                  <a:moveTo>
                    <a:pt x="3111048" y="5982829"/>
                  </a:moveTo>
                  <a:lnTo>
                    <a:pt x="3120959" y="5982829"/>
                  </a:lnTo>
                  <a:lnTo>
                    <a:pt x="3124977" y="5986868"/>
                  </a:lnTo>
                  <a:lnTo>
                    <a:pt x="3124977" y="5996739"/>
                  </a:lnTo>
                  <a:lnTo>
                    <a:pt x="3120959" y="6000778"/>
                  </a:lnTo>
                  <a:lnTo>
                    <a:pt x="3111048" y="6000778"/>
                  </a:lnTo>
                  <a:lnTo>
                    <a:pt x="3107029" y="5996739"/>
                  </a:lnTo>
                  <a:lnTo>
                    <a:pt x="3107029" y="5986868"/>
                  </a:lnTo>
                  <a:close/>
                  <a:moveTo>
                    <a:pt x="2871737" y="5982829"/>
                  </a:moveTo>
                  <a:lnTo>
                    <a:pt x="2881646" y="5982829"/>
                  </a:lnTo>
                  <a:lnTo>
                    <a:pt x="2885666" y="5986868"/>
                  </a:lnTo>
                  <a:lnTo>
                    <a:pt x="2885666" y="5996739"/>
                  </a:lnTo>
                  <a:lnTo>
                    <a:pt x="2881646" y="6000778"/>
                  </a:lnTo>
                  <a:lnTo>
                    <a:pt x="2871737" y="6000778"/>
                  </a:lnTo>
                  <a:lnTo>
                    <a:pt x="2867717" y="5996739"/>
                  </a:lnTo>
                  <a:lnTo>
                    <a:pt x="2867717" y="5986868"/>
                  </a:lnTo>
                  <a:close/>
                  <a:moveTo>
                    <a:pt x="2632423" y="5982829"/>
                  </a:moveTo>
                  <a:lnTo>
                    <a:pt x="2642334" y="5982829"/>
                  </a:lnTo>
                  <a:lnTo>
                    <a:pt x="2646352" y="5986868"/>
                  </a:lnTo>
                  <a:lnTo>
                    <a:pt x="2646352" y="5996739"/>
                  </a:lnTo>
                  <a:lnTo>
                    <a:pt x="2642334" y="6000778"/>
                  </a:lnTo>
                  <a:lnTo>
                    <a:pt x="2632423" y="6000778"/>
                  </a:lnTo>
                  <a:lnTo>
                    <a:pt x="2628404" y="5996739"/>
                  </a:lnTo>
                  <a:lnTo>
                    <a:pt x="2628404" y="5986868"/>
                  </a:lnTo>
                  <a:close/>
                  <a:moveTo>
                    <a:pt x="2393104" y="5982829"/>
                  </a:moveTo>
                  <a:lnTo>
                    <a:pt x="2403015" y="5982829"/>
                  </a:lnTo>
                  <a:lnTo>
                    <a:pt x="2407034" y="5986868"/>
                  </a:lnTo>
                  <a:lnTo>
                    <a:pt x="2407034" y="5996739"/>
                  </a:lnTo>
                  <a:lnTo>
                    <a:pt x="2403015" y="6000778"/>
                  </a:lnTo>
                  <a:lnTo>
                    <a:pt x="2393104" y="6000778"/>
                  </a:lnTo>
                  <a:lnTo>
                    <a:pt x="2389087" y="5996739"/>
                  </a:lnTo>
                  <a:lnTo>
                    <a:pt x="2389087" y="5986868"/>
                  </a:lnTo>
                  <a:close/>
                  <a:moveTo>
                    <a:pt x="721960" y="5982829"/>
                  </a:moveTo>
                  <a:lnTo>
                    <a:pt x="731869" y="5982829"/>
                  </a:lnTo>
                  <a:lnTo>
                    <a:pt x="735888" y="5986868"/>
                  </a:lnTo>
                  <a:lnTo>
                    <a:pt x="735888" y="5996739"/>
                  </a:lnTo>
                  <a:lnTo>
                    <a:pt x="731869" y="6000778"/>
                  </a:lnTo>
                  <a:lnTo>
                    <a:pt x="721960" y="6000778"/>
                  </a:lnTo>
                  <a:lnTo>
                    <a:pt x="717940" y="5996739"/>
                  </a:lnTo>
                  <a:lnTo>
                    <a:pt x="717940" y="5986868"/>
                  </a:lnTo>
                  <a:close/>
                  <a:moveTo>
                    <a:pt x="482647" y="5982829"/>
                  </a:moveTo>
                  <a:lnTo>
                    <a:pt x="492557" y="5982829"/>
                  </a:lnTo>
                  <a:lnTo>
                    <a:pt x="496576" y="5986868"/>
                  </a:lnTo>
                  <a:lnTo>
                    <a:pt x="496576" y="5996739"/>
                  </a:lnTo>
                  <a:lnTo>
                    <a:pt x="492557" y="6000778"/>
                  </a:lnTo>
                  <a:lnTo>
                    <a:pt x="482647" y="6000778"/>
                  </a:lnTo>
                  <a:lnTo>
                    <a:pt x="478628" y="5996739"/>
                  </a:lnTo>
                  <a:lnTo>
                    <a:pt x="478628" y="5986868"/>
                  </a:lnTo>
                  <a:close/>
                  <a:moveTo>
                    <a:pt x="243334" y="5982829"/>
                  </a:moveTo>
                  <a:lnTo>
                    <a:pt x="253244" y="5982829"/>
                  </a:lnTo>
                  <a:lnTo>
                    <a:pt x="257263" y="5986868"/>
                  </a:lnTo>
                  <a:lnTo>
                    <a:pt x="257263" y="5996739"/>
                  </a:lnTo>
                  <a:lnTo>
                    <a:pt x="253244" y="6000778"/>
                  </a:lnTo>
                  <a:lnTo>
                    <a:pt x="243334" y="6000778"/>
                  </a:lnTo>
                  <a:lnTo>
                    <a:pt x="239315" y="5996739"/>
                  </a:lnTo>
                  <a:lnTo>
                    <a:pt x="239315" y="5986868"/>
                  </a:lnTo>
                  <a:close/>
                  <a:moveTo>
                    <a:pt x="4021" y="5982829"/>
                  </a:moveTo>
                  <a:lnTo>
                    <a:pt x="13931" y="5982829"/>
                  </a:lnTo>
                  <a:lnTo>
                    <a:pt x="17950" y="5986868"/>
                  </a:lnTo>
                  <a:lnTo>
                    <a:pt x="17950" y="5996739"/>
                  </a:lnTo>
                  <a:lnTo>
                    <a:pt x="13931" y="6000778"/>
                  </a:lnTo>
                  <a:lnTo>
                    <a:pt x="4021" y="6000778"/>
                  </a:lnTo>
                  <a:lnTo>
                    <a:pt x="1" y="5996739"/>
                  </a:lnTo>
                  <a:lnTo>
                    <a:pt x="1" y="5986868"/>
                  </a:lnTo>
                  <a:close/>
                  <a:moveTo>
                    <a:pt x="2157818" y="5743551"/>
                  </a:moveTo>
                  <a:lnTo>
                    <a:pt x="2167728" y="5743551"/>
                  </a:lnTo>
                  <a:lnTo>
                    <a:pt x="2171747" y="5747589"/>
                  </a:lnTo>
                  <a:lnTo>
                    <a:pt x="2171747" y="5757460"/>
                  </a:lnTo>
                  <a:lnTo>
                    <a:pt x="2167728" y="5761499"/>
                  </a:lnTo>
                  <a:lnTo>
                    <a:pt x="2157818" y="5761499"/>
                  </a:lnTo>
                  <a:lnTo>
                    <a:pt x="2153799" y="5757460"/>
                  </a:lnTo>
                  <a:lnTo>
                    <a:pt x="2153799" y="5747589"/>
                  </a:lnTo>
                  <a:close/>
                  <a:moveTo>
                    <a:pt x="1918510" y="5743551"/>
                  </a:moveTo>
                  <a:lnTo>
                    <a:pt x="1928420" y="5743551"/>
                  </a:lnTo>
                  <a:lnTo>
                    <a:pt x="1932438" y="5747589"/>
                  </a:lnTo>
                  <a:lnTo>
                    <a:pt x="1932438" y="5757460"/>
                  </a:lnTo>
                  <a:lnTo>
                    <a:pt x="1928420" y="5761499"/>
                  </a:lnTo>
                  <a:lnTo>
                    <a:pt x="1918510" y="5761499"/>
                  </a:lnTo>
                  <a:lnTo>
                    <a:pt x="1914490" y="5757460"/>
                  </a:lnTo>
                  <a:lnTo>
                    <a:pt x="1914490" y="5747589"/>
                  </a:lnTo>
                  <a:close/>
                  <a:moveTo>
                    <a:pt x="1679201" y="5743551"/>
                  </a:moveTo>
                  <a:lnTo>
                    <a:pt x="1689112" y="5743551"/>
                  </a:lnTo>
                  <a:lnTo>
                    <a:pt x="1693131" y="5747589"/>
                  </a:lnTo>
                  <a:lnTo>
                    <a:pt x="1693131" y="5757460"/>
                  </a:lnTo>
                  <a:lnTo>
                    <a:pt x="1689112" y="5761499"/>
                  </a:lnTo>
                  <a:lnTo>
                    <a:pt x="1679201" y="5761499"/>
                  </a:lnTo>
                  <a:lnTo>
                    <a:pt x="1675183" y="5757460"/>
                  </a:lnTo>
                  <a:lnTo>
                    <a:pt x="1675183" y="5747589"/>
                  </a:lnTo>
                  <a:close/>
                  <a:moveTo>
                    <a:pt x="1439886" y="5743551"/>
                  </a:moveTo>
                  <a:lnTo>
                    <a:pt x="1449797" y="5743551"/>
                  </a:lnTo>
                  <a:lnTo>
                    <a:pt x="1453815" y="5747589"/>
                  </a:lnTo>
                  <a:lnTo>
                    <a:pt x="1453815" y="5757460"/>
                  </a:lnTo>
                  <a:lnTo>
                    <a:pt x="1449797" y="5761499"/>
                  </a:lnTo>
                  <a:lnTo>
                    <a:pt x="1439886" y="5761499"/>
                  </a:lnTo>
                  <a:lnTo>
                    <a:pt x="1435868" y="5757460"/>
                  </a:lnTo>
                  <a:lnTo>
                    <a:pt x="1435868" y="5747589"/>
                  </a:lnTo>
                  <a:close/>
                  <a:moveTo>
                    <a:pt x="1200572" y="5743551"/>
                  </a:moveTo>
                  <a:lnTo>
                    <a:pt x="1210482" y="5743551"/>
                  </a:lnTo>
                  <a:lnTo>
                    <a:pt x="1214500" y="5747589"/>
                  </a:lnTo>
                  <a:lnTo>
                    <a:pt x="1214500" y="5757460"/>
                  </a:lnTo>
                  <a:lnTo>
                    <a:pt x="1210482" y="5761499"/>
                  </a:lnTo>
                  <a:lnTo>
                    <a:pt x="1200572" y="5761499"/>
                  </a:lnTo>
                  <a:lnTo>
                    <a:pt x="1196553" y="5757460"/>
                  </a:lnTo>
                  <a:lnTo>
                    <a:pt x="1196553" y="5747589"/>
                  </a:lnTo>
                  <a:close/>
                  <a:moveTo>
                    <a:pt x="961259" y="5743551"/>
                  </a:moveTo>
                  <a:lnTo>
                    <a:pt x="971169" y="5743551"/>
                  </a:lnTo>
                  <a:lnTo>
                    <a:pt x="975188" y="5747589"/>
                  </a:lnTo>
                  <a:lnTo>
                    <a:pt x="975188" y="5757460"/>
                  </a:lnTo>
                  <a:lnTo>
                    <a:pt x="971169" y="5761499"/>
                  </a:lnTo>
                  <a:lnTo>
                    <a:pt x="961259" y="5761499"/>
                  </a:lnTo>
                  <a:lnTo>
                    <a:pt x="957240" y="5757460"/>
                  </a:lnTo>
                  <a:lnTo>
                    <a:pt x="957240" y="5747589"/>
                  </a:lnTo>
                  <a:close/>
                  <a:moveTo>
                    <a:pt x="9572438" y="5743499"/>
                  </a:moveTo>
                  <a:lnTo>
                    <a:pt x="9582349" y="5743499"/>
                  </a:lnTo>
                  <a:lnTo>
                    <a:pt x="9586368" y="5747537"/>
                  </a:lnTo>
                  <a:lnTo>
                    <a:pt x="9586368" y="5757408"/>
                  </a:lnTo>
                  <a:lnTo>
                    <a:pt x="9582349" y="5761447"/>
                  </a:lnTo>
                  <a:lnTo>
                    <a:pt x="9572438" y="5761447"/>
                  </a:lnTo>
                  <a:lnTo>
                    <a:pt x="9568419" y="5757408"/>
                  </a:lnTo>
                  <a:lnTo>
                    <a:pt x="9568419" y="5747537"/>
                  </a:lnTo>
                  <a:close/>
                  <a:moveTo>
                    <a:pt x="9333125" y="5743499"/>
                  </a:moveTo>
                  <a:lnTo>
                    <a:pt x="9343036" y="5743499"/>
                  </a:lnTo>
                  <a:lnTo>
                    <a:pt x="9347055" y="5747537"/>
                  </a:lnTo>
                  <a:lnTo>
                    <a:pt x="9347055" y="5757408"/>
                  </a:lnTo>
                  <a:lnTo>
                    <a:pt x="9343036" y="5761447"/>
                  </a:lnTo>
                  <a:lnTo>
                    <a:pt x="9333125" y="5761447"/>
                  </a:lnTo>
                  <a:lnTo>
                    <a:pt x="9329106" y="5757408"/>
                  </a:lnTo>
                  <a:lnTo>
                    <a:pt x="9329106" y="5747537"/>
                  </a:lnTo>
                  <a:close/>
                  <a:moveTo>
                    <a:pt x="9093811" y="5743499"/>
                  </a:moveTo>
                  <a:lnTo>
                    <a:pt x="9103722" y="5743499"/>
                  </a:lnTo>
                  <a:lnTo>
                    <a:pt x="9107741" y="5747537"/>
                  </a:lnTo>
                  <a:lnTo>
                    <a:pt x="9107741" y="5757408"/>
                  </a:lnTo>
                  <a:lnTo>
                    <a:pt x="9103722" y="5761447"/>
                  </a:lnTo>
                  <a:lnTo>
                    <a:pt x="9093811" y="5761447"/>
                  </a:lnTo>
                  <a:lnTo>
                    <a:pt x="9089792" y="5757408"/>
                  </a:lnTo>
                  <a:lnTo>
                    <a:pt x="9089792" y="5747537"/>
                  </a:lnTo>
                  <a:close/>
                  <a:moveTo>
                    <a:pt x="8854496" y="5743499"/>
                  </a:moveTo>
                  <a:lnTo>
                    <a:pt x="8864407" y="5743499"/>
                  </a:lnTo>
                  <a:lnTo>
                    <a:pt x="8868426" y="5747537"/>
                  </a:lnTo>
                  <a:lnTo>
                    <a:pt x="8868426" y="5757408"/>
                  </a:lnTo>
                  <a:lnTo>
                    <a:pt x="8864407" y="5761447"/>
                  </a:lnTo>
                  <a:lnTo>
                    <a:pt x="8854496" y="5761447"/>
                  </a:lnTo>
                  <a:lnTo>
                    <a:pt x="8850477" y="5757408"/>
                  </a:lnTo>
                  <a:lnTo>
                    <a:pt x="8850477" y="5747537"/>
                  </a:lnTo>
                  <a:close/>
                  <a:moveTo>
                    <a:pt x="8615184" y="5743499"/>
                  </a:moveTo>
                  <a:lnTo>
                    <a:pt x="8625095" y="5743499"/>
                  </a:lnTo>
                  <a:lnTo>
                    <a:pt x="8629114" y="5747537"/>
                  </a:lnTo>
                  <a:lnTo>
                    <a:pt x="8629114" y="5757408"/>
                  </a:lnTo>
                  <a:lnTo>
                    <a:pt x="8625095" y="5761447"/>
                  </a:lnTo>
                  <a:lnTo>
                    <a:pt x="8615184" y="5761447"/>
                  </a:lnTo>
                  <a:lnTo>
                    <a:pt x="8611165" y="5757408"/>
                  </a:lnTo>
                  <a:lnTo>
                    <a:pt x="8611165" y="5747537"/>
                  </a:lnTo>
                  <a:close/>
                  <a:moveTo>
                    <a:pt x="8375869" y="5743499"/>
                  </a:moveTo>
                  <a:lnTo>
                    <a:pt x="8385779" y="5743499"/>
                  </a:lnTo>
                  <a:lnTo>
                    <a:pt x="8389799" y="5747537"/>
                  </a:lnTo>
                  <a:lnTo>
                    <a:pt x="8389799" y="5757408"/>
                  </a:lnTo>
                  <a:lnTo>
                    <a:pt x="8385779" y="5761447"/>
                  </a:lnTo>
                  <a:lnTo>
                    <a:pt x="8375869" y="5761447"/>
                  </a:lnTo>
                  <a:lnTo>
                    <a:pt x="8371850" y="5757408"/>
                  </a:lnTo>
                  <a:lnTo>
                    <a:pt x="8371850" y="5747537"/>
                  </a:lnTo>
                  <a:close/>
                  <a:moveTo>
                    <a:pt x="8136553" y="5743499"/>
                  </a:moveTo>
                  <a:lnTo>
                    <a:pt x="8146464" y="5743499"/>
                  </a:lnTo>
                  <a:lnTo>
                    <a:pt x="8150483" y="5747537"/>
                  </a:lnTo>
                  <a:lnTo>
                    <a:pt x="8150483" y="5757408"/>
                  </a:lnTo>
                  <a:lnTo>
                    <a:pt x="8146464" y="5761447"/>
                  </a:lnTo>
                  <a:lnTo>
                    <a:pt x="8136553" y="5761447"/>
                  </a:lnTo>
                  <a:lnTo>
                    <a:pt x="8132534" y="5757408"/>
                  </a:lnTo>
                  <a:lnTo>
                    <a:pt x="8132534" y="5747537"/>
                  </a:lnTo>
                  <a:close/>
                  <a:moveTo>
                    <a:pt x="7897241" y="5743499"/>
                  </a:moveTo>
                  <a:lnTo>
                    <a:pt x="7907151" y="5743499"/>
                  </a:lnTo>
                  <a:lnTo>
                    <a:pt x="7911170" y="5747537"/>
                  </a:lnTo>
                  <a:lnTo>
                    <a:pt x="7911170" y="5757408"/>
                  </a:lnTo>
                  <a:lnTo>
                    <a:pt x="7907151" y="5761447"/>
                  </a:lnTo>
                  <a:lnTo>
                    <a:pt x="7897241" y="5761447"/>
                  </a:lnTo>
                  <a:lnTo>
                    <a:pt x="7893222" y="5757408"/>
                  </a:lnTo>
                  <a:lnTo>
                    <a:pt x="7893222" y="5747537"/>
                  </a:lnTo>
                  <a:close/>
                  <a:moveTo>
                    <a:pt x="7657926" y="5743499"/>
                  </a:moveTo>
                  <a:lnTo>
                    <a:pt x="7667836" y="5743499"/>
                  </a:lnTo>
                  <a:lnTo>
                    <a:pt x="7671855" y="5747537"/>
                  </a:lnTo>
                  <a:lnTo>
                    <a:pt x="7671855" y="5757408"/>
                  </a:lnTo>
                  <a:lnTo>
                    <a:pt x="7667836" y="5761447"/>
                  </a:lnTo>
                  <a:lnTo>
                    <a:pt x="7657926" y="5761447"/>
                  </a:lnTo>
                  <a:lnTo>
                    <a:pt x="7653906" y="5757408"/>
                  </a:lnTo>
                  <a:lnTo>
                    <a:pt x="7653906" y="5747537"/>
                  </a:lnTo>
                  <a:close/>
                  <a:moveTo>
                    <a:pt x="7418611" y="5743499"/>
                  </a:moveTo>
                  <a:lnTo>
                    <a:pt x="7428521" y="5743499"/>
                  </a:lnTo>
                  <a:lnTo>
                    <a:pt x="7432540" y="5747537"/>
                  </a:lnTo>
                  <a:lnTo>
                    <a:pt x="7432540" y="5757408"/>
                  </a:lnTo>
                  <a:lnTo>
                    <a:pt x="7428521" y="5761447"/>
                  </a:lnTo>
                  <a:lnTo>
                    <a:pt x="7418611" y="5761447"/>
                  </a:lnTo>
                  <a:lnTo>
                    <a:pt x="7414592" y="5757408"/>
                  </a:lnTo>
                  <a:lnTo>
                    <a:pt x="7414592" y="5747537"/>
                  </a:lnTo>
                  <a:close/>
                  <a:moveTo>
                    <a:pt x="7179298" y="5743499"/>
                  </a:moveTo>
                  <a:lnTo>
                    <a:pt x="7189209" y="5743499"/>
                  </a:lnTo>
                  <a:lnTo>
                    <a:pt x="7193228" y="5747537"/>
                  </a:lnTo>
                  <a:lnTo>
                    <a:pt x="7193228" y="5757408"/>
                  </a:lnTo>
                  <a:lnTo>
                    <a:pt x="7189209" y="5761447"/>
                  </a:lnTo>
                  <a:lnTo>
                    <a:pt x="7179298" y="5761447"/>
                  </a:lnTo>
                  <a:lnTo>
                    <a:pt x="7175279" y="5757408"/>
                  </a:lnTo>
                  <a:lnTo>
                    <a:pt x="7175279" y="5747537"/>
                  </a:lnTo>
                  <a:close/>
                  <a:moveTo>
                    <a:pt x="6939983" y="5743499"/>
                  </a:moveTo>
                  <a:lnTo>
                    <a:pt x="6949894" y="5743499"/>
                  </a:lnTo>
                  <a:lnTo>
                    <a:pt x="6953913" y="5747537"/>
                  </a:lnTo>
                  <a:lnTo>
                    <a:pt x="6953913" y="5757408"/>
                  </a:lnTo>
                  <a:lnTo>
                    <a:pt x="6949894" y="5761447"/>
                  </a:lnTo>
                  <a:lnTo>
                    <a:pt x="6939983" y="5761447"/>
                  </a:lnTo>
                  <a:lnTo>
                    <a:pt x="6935964" y="5757408"/>
                  </a:lnTo>
                  <a:lnTo>
                    <a:pt x="6935964" y="5747537"/>
                  </a:lnTo>
                  <a:close/>
                  <a:moveTo>
                    <a:pt x="6700670" y="5743499"/>
                  </a:moveTo>
                  <a:lnTo>
                    <a:pt x="6710581" y="5743499"/>
                  </a:lnTo>
                  <a:lnTo>
                    <a:pt x="6714600" y="5747537"/>
                  </a:lnTo>
                  <a:lnTo>
                    <a:pt x="6714600" y="5757408"/>
                  </a:lnTo>
                  <a:lnTo>
                    <a:pt x="6710581" y="5761447"/>
                  </a:lnTo>
                  <a:lnTo>
                    <a:pt x="6700670" y="5761447"/>
                  </a:lnTo>
                  <a:lnTo>
                    <a:pt x="6696651" y="5757408"/>
                  </a:lnTo>
                  <a:lnTo>
                    <a:pt x="6696651" y="5747537"/>
                  </a:lnTo>
                  <a:close/>
                  <a:moveTo>
                    <a:pt x="6461356" y="5743499"/>
                  </a:moveTo>
                  <a:lnTo>
                    <a:pt x="6471266" y="5743499"/>
                  </a:lnTo>
                  <a:lnTo>
                    <a:pt x="6475285" y="5747537"/>
                  </a:lnTo>
                  <a:lnTo>
                    <a:pt x="6475285" y="5757408"/>
                  </a:lnTo>
                  <a:lnTo>
                    <a:pt x="6471266" y="5761447"/>
                  </a:lnTo>
                  <a:lnTo>
                    <a:pt x="6461356" y="5761447"/>
                  </a:lnTo>
                  <a:lnTo>
                    <a:pt x="6457337" y="5757408"/>
                  </a:lnTo>
                  <a:lnTo>
                    <a:pt x="6457337" y="5747537"/>
                  </a:lnTo>
                  <a:close/>
                  <a:moveTo>
                    <a:pt x="6222042" y="5743499"/>
                  </a:moveTo>
                  <a:lnTo>
                    <a:pt x="6231952" y="5743499"/>
                  </a:lnTo>
                  <a:lnTo>
                    <a:pt x="6235971" y="5747537"/>
                  </a:lnTo>
                  <a:lnTo>
                    <a:pt x="6235971" y="5757408"/>
                  </a:lnTo>
                  <a:lnTo>
                    <a:pt x="6231952" y="5761447"/>
                  </a:lnTo>
                  <a:lnTo>
                    <a:pt x="6222042" y="5761447"/>
                  </a:lnTo>
                  <a:lnTo>
                    <a:pt x="6218023" y="5757408"/>
                  </a:lnTo>
                  <a:lnTo>
                    <a:pt x="6218023" y="5747537"/>
                  </a:lnTo>
                  <a:close/>
                  <a:moveTo>
                    <a:pt x="5982729" y="5743499"/>
                  </a:moveTo>
                  <a:lnTo>
                    <a:pt x="5992639" y="5743499"/>
                  </a:lnTo>
                  <a:lnTo>
                    <a:pt x="5996658" y="5747537"/>
                  </a:lnTo>
                  <a:lnTo>
                    <a:pt x="5996658" y="5757408"/>
                  </a:lnTo>
                  <a:lnTo>
                    <a:pt x="5992639" y="5761447"/>
                  </a:lnTo>
                  <a:lnTo>
                    <a:pt x="5982729" y="5761447"/>
                  </a:lnTo>
                  <a:lnTo>
                    <a:pt x="5978710" y="5757408"/>
                  </a:lnTo>
                  <a:lnTo>
                    <a:pt x="5978710" y="5747537"/>
                  </a:lnTo>
                  <a:close/>
                  <a:moveTo>
                    <a:pt x="5743412" y="5743499"/>
                  </a:moveTo>
                  <a:lnTo>
                    <a:pt x="5753323" y="5743499"/>
                  </a:lnTo>
                  <a:lnTo>
                    <a:pt x="5757342" y="5747537"/>
                  </a:lnTo>
                  <a:lnTo>
                    <a:pt x="5757342" y="5757408"/>
                  </a:lnTo>
                  <a:lnTo>
                    <a:pt x="5753323" y="5761447"/>
                  </a:lnTo>
                  <a:lnTo>
                    <a:pt x="5743412" y="5761447"/>
                  </a:lnTo>
                  <a:lnTo>
                    <a:pt x="5739393" y="5757408"/>
                  </a:lnTo>
                  <a:lnTo>
                    <a:pt x="5739393" y="5747537"/>
                  </a:lnTo>
                  <a:close/>
                  <a:moveTo>
                    <a:pt x="5504099" y="5743499"/>
                  </a:moveTo>
                  <a:lnTo>
                    <a:pt x="5514010" y="5743499"/>
                  </a:lnTo>
                  <a:lnTo>
                    <a:pt x="5518029" y="5747537"/>
                  </a:lnTo>
                  <a:lnTo>
                    <a:pt x="5518029" y="5757408"/>
                  </a:lnTo>
                  <a:lnTo>
                    <a:pt x="5514010" y="5761447"/>
                  </a:lnTo>
                  <a:lnTo>
                    <a:pt x="5504099" y="5761447"/>
                  </a:lnTo>
                  <a:lnTo>
                    <a:pt x="5500080" y="5757408"/>
                  </a:lnTo>
                  <a:lnTo>
                    <a:pt x="5500080" y="5747537"/>
                  </a:lnTo>
                  <a:close/>
                  <a:moveTo>
                    <a:pt x="5264784" y="5743499"/>
                  </a:moveTo>
                  <a:lnTo>
                    <a:pt x="5274694" y="5743499"/>
                  </a:lnTo>
                  <a:lnTo>
                    <a:pt x="5278713" y="5747537"/>
                  </a:lnTo>
                  <a:lnTo>
                    <a:pt x="5278713" y="5757408"/>
                  </a:lnTo>
                  <a:lnTo>
                    <a:pt x="5274694" y="5761447"/>
                  </a:lnTo>
                  <a:lnTo>
                    <a:pt x="5264784" y="5761447"/>
                  </a:lnTo>
                  <a:lnTo>
                    <a:pt x="5260765" y="5757408"/>
                  </a:lnTo>
                  <a:lnTo>
                    <a:pt x="5260765" y="5747537"/>
                  </a:lnTo>
                  <a:close/>
                  <a:moveTo>
                    <a:pt x="5025470" y="5743499"/>
                  </a:moveTo>
                  <a:lnTo>
                    <a:pt x="5035381" y="5743499"/>
                  </a:lnTo>
                  <a:lnTo>
                    <a:pt x="5039400" y="5747537"/>
                  </a:lnTo>
                  <a:lnTo>
                    <a:pt x="5039400" y="5757408"/>
                  </a:lnTo>
                  <a:lnTo>
                    <a:pt x="5035381" y="5761447"/>
                  </a:lnTo>
                  <a:lnTo>
                    <a:pt x="5025470" y="5761447"/>
                  </a:lnTo>
                  <a:lnTo>
                    <a:pt x="5021451" y="5757408"/>
                  </a:lnTo>
                  <a:lnTo>
                    <a:pt x="5021451" y="5747537"/>
                  </a:lnTo>
                  <a:close/>
                  <a:moveTo>
                    <a:pt x="4786241" y="5743499"/>
                  </a:moveTo>
                  <a:lnTo>
                    <a:pt x="4796152" y="5743499"/>
                  </a:lnTo>
                  <a:lnTo>
                    <a:pt x="4800171" y="5747537"/>
                  </a:lnTo>
                  <a:lnTo>
                    <a:pt x="4800171" y="5757408"/>
                  </a:lnTo>
                  <a:lnTo>
                    <a:pt x="4796152" y="5761447"/>
                  </a:lnTo>
                  <a:lnTo>
                    <a:pt x="4786241" y="5761447"/>
                  </a:lnTo>
                  <a:lnTo>
                    <a:pt x="4782224" y="5757408"/>
                  </a:lnTo>
                  <a:lnTo>
                    <a:pt x="4782224" y="5747537"/>
                  </a:lnTo>
                  <a:close/>
                  <a:moveTo>
                    <a:pt x="4546929" y="5743499"/>
                  </a:moveTo>
                  <a:lnTo>
                    <a:pt x="4556840" y="5743499"/>
                  </a:lnTo>
                  <a:lnTo>
                    <a:pt x="4560859" y="5747537"/>
                  </a:lnTo>
                  <a:lnTo>
                    <a:pt x="4560859" y="5757408"/>
                  </a:lnTo>
                  <a:lnTo>
                    <a:pt x="4556840" y="5761447"/>
                  </a:lnTo>
                  <a:lnTo>
                    <a:pt x="4546929" y="5761447"/>
                  </a:lnTo>
                  <a:lnTo>
                    <a:pt x="4542910" y="5757408"/>
                  </a:lnTo>
                  <a:lnTo>
                    <a:pt x="4542910" y="5747537"/>
                  </a:lnTo>
                  <a:close/>
                  <a:moveTo>
                    <a:pt x="4307612" y="5743499"/>
                  </a:moveTo>
                  <a:lnTo>
                    <a:pt x="4317523" y="5743499"/>
                  </a:lnTo>
                  <a:lnTo>
                    <a:pt x="4321543" y="5747537"/>
                  </a:lnTo>
                  <a:lnTo>
                    <a:pt x="4321543" y="5757408"/>
                  </a:lnTo>
                  <a:lnTo>
                    <a:pt x="4317523" y="5761447"/>
                  </a:lnTo>
                  <a:lnTo>
                    <a:pt x="4307612" y="5761447"/>
                  </a:lnTo>
                  <a:lnTo>
                    <a:pt x="4303595" y="5757408"/>
                  </a:lnTo>
                  <a:lnTo>
                    <a:pt x="4303595" y="5747537"/>
                  </a:lnTo>
                  <a:close/>
                  <a:moveTo>
                    <a:pt x="4068297" y="5743499"/>
                  </a:moveTo>
                  <a:lnTo>
                    <a:pt x="4078210" y="5743499"/>
                  </a:lnTo>
                  <a:lnTo>
                    <a:pt x="4082229" y="5747537"/>
                  </a:lnTo>
                  <a:lnTo>
                    <a:pt x="4082229" y="5757408"/>
                  </a:lnTo>
                  <a:lnTo>
                    <a:pt x="4078210" y="5761447"/>
                  </a:lnTo>
                  <a:lnTo>
                    <a:pt x="4068297" y="5761447"/>
                  </a:lnTo>
                  <a:lnTo>
                    <a:pt x="4064278" y="5757408"/>
                  </a:lnTo>
                  <a:lnTo>
                    <a:pt x="4064278" y="5747537"/>
                  </a:lnTo>
                  <a:close/>
                  <a:moveTo>
                    <a:pt x="3828990" y="5743499"/>
                  </a:moveTo>
                  <a:lnTo>
                    <a:pt x="3838899" y="5743499"/>
                  </a:lnTo>
                  <a:lnTo>
                    <a:pt x="3842917" y="5747537"/>
                  </a:lnTo>
                  <a:lnTo>
                    <a:pt x="3842917" y="5757408"/>
                  </a:lnTo>
                  <a:lnTo>
                    <a:pt x="3838899" y="5761447"/>
                  </a:lnTo>
                  <a:lnTo>
                    <a:pt x="3828990" y="5761447"/>
                  </a:lnTo>
                  <a:lnTo>
                    <a:pt x="3824971" y="5757408"/>
                  </a:lnTo>
                  <a:lnTo>
                    <a:pt x="3824971" y="5747537"/>
                  </a:lnTo>
                  <a:close/>
                  <a:moveTo>
                    <a:pt x="3589676" y="5743499"/>
                  </a:moveTo>
                  <a:lnTo>
                    <a:pt x="3599585" y="5743499"/>
                  </a:lnTo>
                  <a:lnTo>
                    <a:pt x="3603604" y="5747537"/>
                  </a:lnTo>
                  <a:lnTo>
                    <a:pt x="3603604" y="5757408"/>
                  </a:lnTo>
                  <a:lnTo>
                    <a:pt x="3599585" y="5761447"/>
                  </a:lnTo>
                  <a:lnTo>
                    <a:pt x="3589676" y="5761447"/>
                  </a:lnTo>
                  <a:lnTo>
                    <a:pt x="3585657" y="5757408"/>
                  </a:lnTo>
                  <a:lnTo>
                    <a:pt x="3585657" y="5747537"/>
                  </a:lnTo>
                  <a:close/>
                  <a:moveTo>
                    <a:pt x="3350359" y="5743499"/>
                  </a:moveTo>
                  <a:lnTo>
                    <a:pt x="3360268" y="5743499"/>
                  </a:lnTo>
                  <a:lnTo>
                    <a:pt x="3364287" y="5747537"/>
                  </a:lnTo>
                  <a:lnTo>
                    <a:pt x="3364287" y="5757408"/>
                  </a:lnTo>
                  <a:lnTo>
                    <a:pt x="3360268" y="5761447"/>
                  </a:lnTo>
                  <a:lnTo>
                    <a:pt x="3350359" y="5761447"/>
                  </a:lnTo>
                  <a:lnTo>
                    <a:pt x="3346340" y="5757408"/>
                  </a:lnTo>
                  <a:lnTo>
                    <a:pt x="3346340" y="5747537"/>
                  </a:lnTo>
                  <a:close/>
                  <a:moveTo>
                    <a:pt x="3111048" y="5743499"/>
                  </a:moveTo>
                  <a:lnTo>
                    <a:pt x="3120959" y="5743499"/>
                  </a:lnTo>
                  <a:lnTo>
                    <a:pt x="3124977" y="5747537"/>
                  </a:lnTo>
                  <a:lnTo>
                    <a:pt x="3124977" y="5757408"/>
                  </a:lnTo>
                  <a:lnTo>
                    <a:pt x="3120959" y="5761447"/>
                  </a:lnTo>
                  <a:lnTo>
                    <a:pt x="3111048" y="5761447"/>
                  </a:lnTo>
                  <a:lnTo>
                    <a:pt x="3107029" y="5757408"/>
                  </a:lnTo>
                  <a:lnTo>
                    <a:pt x="3107029" y="5747537"/>
                  </a:lnTo>
                  <a:close/>
                  <a:moveTo>
                    <a:pt x="2871737" y="5743499"/>
                  </a:moveTo>
                  <a:lnTo>
                    <a:pt x="2881646" y="5743499"/>
                  </a:lnTo>
                  <a:lnTo>
                    <a:pt x="2885666" y="5747537"/>
                  </a:lnTo>
                  <a:lnTo>
                    <a:pt x="2885666" y="5757408"/>
                  </a:lnTo>
                  <a:lnTo>
                    <a:pt x="2881646" y="5761447"/>
                  </a:lnTo>
                  <a:lnTo>
                    <a:pt x="2871737" y="5761447"/>
                  </a:lnTo>
                  <a:lnTo>
                    <a:pt x="2867717" y="5757408"/>
                  </a:lnTo>
                  <a:lnTo>
                    <a:pt x="2867717" y="5747537"/>
                  </a:lnTo>
                  <a:close/>
                  <a:moveTo>
                    <a:pt x="2632423" y="5743499"/>
                  </a:moveTo>
                  <a:lnTo>
                    <a:pt x="2642334" y="5743499"/>
                  </a:lnTo>
                  <a:lnTo>
                    <a:pt x="2646352" y="5747537"/>
                  </a:lnTo>
                  <a:lnTo>
                    <a:pt x="2646352" y="5757408"/>
                  </a:lnTo>
                  <a:lnTo>
                    <a:pt x="2642334" y="5761447"/>
                  </a:lnTo>
                  <a:lnTo>
                    <a:pt x="2632423" y="5761447"/>
                  </a:lnTo>
                  <a:lnTo>
                    <a:pt x="2628404" y="5757408"/>
                  </a:lnTo>
                  <a:lnTo>
                    <a:pt x="2628404" y="5747537"/>
                  </a:lnTo>
                  <a:close/>
                  <a:moveTo>
                    <a:pt x="2393104" y="5743499"/>
                  </a:moveTo>
                  <a:lnTo>
                    <a:pt x="2403015" y="5743499"/>
                  </a:lnTo>
                  <a:lnTo>
                    <a:pt x="2407034" y="5747537"/>
                  </a:lnTo>
                  <a:lnTo>
                    <a:pt x="2407034" y="5757408"/>
                  </a:lnTo>
                  <a:lnTo>
                    <a:pt x="2403015" y="5761447"/>
                  </a:lnTo>
                  <a:lnTo>
                    <a:pt x="2393104" y="5761447"/>
                  </a:lnTo>
                  <a:lnTo>
                    <a:pt x="2389087" y="5757408"/>
                  </a:lnTo>
                  <a:lnTo>
                    <a:pt x="2389087" y="5747537"/>
                  </a:lnTo>
                  <a:close/>
                  <a:moveTo>
                    <a:pt x="721960" y="5743499"/>
                  </a:moveTo>
                  <a:lnTo>
                    <a:pt x="731871" y="5743499"/>
                  </a:lnTo>
                  <a:lnTo>
                    <a:pt x="735889" y="5747537"/>
                  </a:lnTo>
                  <a:lnTo>
                    <a:pt x="735889" y="5757408"/>
                  </a:lnTo>
                  <a:lnTo>
                    <a:pt x="731871" y="5761447"/>
                  </a:lnTo>
                  <a:lnTo>
                    <a:pt x="721960" y="5761447"/>
                  </a:lnTo>
                  <a:lnTo>
                    <a:pt x="717941" y="5757408"/>
                  </a:lnTo>
                  <a:lnTo>
                    <a:pt x="717941" y="5747537"/>
                  </a:lnTo>
                  <a:close/>
                  <a:moveTo>
                    <a:pt x="482648" y="5743499"/>
                  </a:moveTo>
                  <a:lnTo>
                    <a:pt x="492558" y="5743499"/>
                  </a:lnTo>
                  <a:lnTo>
                    <a:pt x="496578" y="5747537"/>
                  </a:lnTo>
                  <a:lnTo>
                    <a:pt x="496578" y="5757408"/>
                  </a:lnTo>
                  <a:lnTo>
                    <a:pt x="492558" y="5761447"/>
                  </a:lnTo>
                  <a:lnTo>
                    <a:pt x="482648" y="5761447"/>
                  </a:lnTo>
                  <a:lnTo>
                    <a:pt x="478629" y="5757408"/>
                  </a:lnTo>
                  <a:lnTo>
                    <a:pt x="478629" y="5747537"/>
                  </a:lnTo>
                  <a:close/>
                  <a:moveTo>
                    <a:pt x="243334" y="5743499"/>
                  </a:moveTo>
                  <a:lnTo>
                    <a:pt x="253245" y="5743499"/>
                  </a:lnTo>
                  <a:lnTo>
                    <a:pt x="257264" y="5747537"/>
                  </a:lnTo>
                  <a:lnTo>
                    <a:pt x="257264" y="5757408"/>
                  </a:lnTo>
                  <a:lnTo>
                    <a:pt x="253245" y="5761447"/>
                  </a:lnTo>
                  <a:lnTo>
                    <a:pt x="243334" y="5761447"/>
                  </a:lnTo>
                  <a:lnTo>
                    <a:pt x="239315" y="5757408"/>
                  </a:lnTo>
                  <a:lnTo>
                    <a:pt x="239315" y="5747537"/>
                  </a:lnTo>
                  <a:close/>
                  <a:moveTo>
                    <a:pt x="4021" y="5743499"/>
                  </a:moveTo>
                  <a:lnTo>
                    <a:pt x="13932" y="5743499"/>
                  </a:lnTo>
                  <a:lnTo>
                    <a:pt x="17950" y="5747537"/>
                  </a:lnTo>
                  <a:lnTo>
                    <a:pt x="17950" y="5757408"/>
                  </a:lnTo>
                  <a:lnTo>
                    <a:pt x="13932" y="5761447"/>
                  </a:lnTo>
                  <a:lnTo>
                    <a:pt x="4021" y="5761447"/>
                  </a:lnTo>
                  <a:lnTo>
                    <a:pt x="2" y="5757408"/>
                  </a:lnTo>
                  <a:lnTo>
                    <a:pt x="2" y="5747537"/>
                  </a:lnTo>
                  <a:close/>
                  <a:moveTo>
                    <a:pt x="9572438" y="5504220"/>
                  </a:moveTo>
                  <a:lnTo>
                    <a:pt x="9582349" y="5504220"/>
                  </a:lnTo>
                  <a:lnTo>
                    <a:pt x="9586368" y="5508258"/>
                  </a:lnTo>
                  <a:lnTo>
                    <a:pt x="9586368" y="5518129"/>
                  </a:lnTo>
                  <a:lnTo>
                    <a:pt x="9582349" y="5522168"/>
                  </a:lnTo>
                  <a:lnTo>
                    <a:pt x="9572438" y="5522168"/>
                  </a:lnTo>
                  <a:lnTo>
                    <a:pt x="9568419" y="5518129"/>
                  </a:lnTo>
                  <a:lnTo>
                    <a:pt x="9568419" y="5508258"/>
                  </a:lnTo>
                  <a:close/>
                  <a:moveTo>
                    <a:pt x="9333125" y="5504220"/>
                  </a:moveTo>
                  <a:lnTo>
                    <a:pt x="9343036" y="5504220"/>
                  </a:lnTo>
                  <a:lnTo>
                    <a:pt x="9347055" y="5508258"/>
                  </a:lnTo>
                  <a:lnTo>
                    <a:pt x="9347055" y="5518129"/>
                  </a:lnTo>
                  <a:lnTo>
                    <a:pt x="9343036" y="5522168"/>
                  </a:lnTo>
                  <a:lnTo>
                    <a:pt x="9333125" y="5522168"/>
                  </a:lnTo>
                  <a:lnTo>
                    <a:pt x="9329106" y="5518129"/>
                  </a:lnTo>
                  <a:lnTo>
                    <a:pt x="9329106" y="5508258"/>
                  </a:lnTo>
                  <a:close/>
                  <a:moveTo>
                    <a:pt x="9093811" y="5504220"/>
                  </a:moveTo>
                  <a:lnTo>
                    <a:pt x="9103722" y="5504220"/>
                  </a:lnTo>
                  <a:lnTo>
                    <a:pt x="9107741" y="5508258"/>
                  </a:lnTo>
                  <a:lnTo>
                    <a:pt x="9107741" y="5518129"/>
                  </a:lnTo>
                  <a:lnTo>
                    <a:pt x="9103722" y="5522168"/>
                  </a:lnTo>
                  <a:lnTo>
                    <a:pt x="9093811" y="5522168"/>
                  </a:lnTo>
                  <a:lnTo>
                    <a:pt x="9089792" y="5518129"/>
                  </a:lnTo>
                  <a:lnTo>
                    <a:pt x="9089792" y="5508258"/>
                  </a:lnTo>
                  <a:close/>
                  <a:moveTo>
                    <a:pt x="8854496" y="5504220"/>
                  </a:moveTo>
                  <a:lnTo>
                    <a:pt x="8864407" y="5504220"/>
                  </a:lnTo>
                  <a:lnTo>
                    <a:pt x="8868426" y="5508258"/>
                  </a:lnTo>
                  <a:lnTo>
                    <a:pt x="8868426" y="5518129"/>
                  </a:lnTo>
                  <a:lnTo>
                    <a:pt x="8864407" y="5522168"/>
                  </a:lnTo>
                  <a:lnTo>
                    <a:pt x="8854496" y="5522168"/>
                  </a:lnTo>
                  <a:lnTo>
                    <a:pt x="8850477" y="5518129"/>
                  </a:lnTo>
                  <a:lnTo>
                    <a:pt x="8850477" y="5508258"/>
                  </a:lnTo>
                  <a:close/>
                  <a:moveTo>
                    <a:pt x="8615184" y="5504220"/>
                  </a:moveTo>
                  <a:lnTo>
                    <a:pt x="8625095" y="5504220"/>
                  </a:lnTo>
                  <a:lnTo>
                    <a:pt x="8629114" y="5508258"/>
                  </a:lnTo>
                  <a:lnTo>
                    <a:pt x="8629114" y="5518129"/>
                  </a:lnTo>
                  <a:lnTo>
                    <a:pt x="8625095" y="5522168"/>
                  </a:lnTo>
                  <a:lnTo>
                    <a:pt x="8615184" y="5522168"/>
                  </a:lnTo>
                  <a:lnTo>
                    <a:pt x="8611165" y="5518129"/>
                  </a:lnTo>
                  <a:lnTo>
                    <a:pt x="8611165" y="5508258"/>
                  </a:lnTo>
                  <a:close/>
                  <a:moveTo>
                    <a:pt x="8375869" y="5504220"/>
                  </a:moveTo>
                  <a:lnTo>
                    <a:pt x="8385779" y="5504220"/>
                  </a:lnTo>
                  <a:lnTo>
                    <a:pt x="8389799" y="5508258"/>
                  </a:lnTo>
                  <a:lnTo>
                    <a:pt x="8389799" y="5518129"/>
                  </a:lnTo>
                  <a:lnTo>
                    <a:pt x="8385779" y="5522168"/>
                  </a:lnTo>
                  <a:lnTo>
                    <a:pt x="8375869" y="5522168"/>
                  </a:lnTo>
                  <a:lnTo>
                    <a:pt x="8371850" y="5518129"/>
                  </a:lnTo>
                  <a:lnTo>
                    <a:pt x="8371850" y="5508258"/>
                  </a:lnTo>
                  <a:close/>
                  <a:moveTo>
                    <a:pt x="8136553" y="5504220"/>
                  </a:moveTo>
                  <a:lnTo>
                    <a:pt x="8146464" y="5504220"/>
                  </a:lnTo>
                  <a:lnTo>
                    <a:pt x="8150483" y="5508258"/>
                  </a:lnTo>
                  <a:lnTo>
                    <a:pt x="8150483" y="5518129"/>
                  </a:lnTo>
                  <a:lnTo>
                    <a:pt x="8146464" y="5522168"/>
                  </a:lnTo>
                  <a:lnTo>
                    <a:pt x="8136553" y="5522168"/>
                  </a:lnTo>
                  <a:lnTo>
                    <a:pt x="8132534" y="5518129"/>
                  </a:lnTo>
                  <a:lnTo>
                    <a:pt x="8132534" y="5508258"/>
                  </a:lnTo>
                  <a:close/>
                  <a:moveTo>
                    <a:pt x="7897241" y="5504220"/>
                  </a:moveTo>
                  <a:lnTo>
                    <a:pt x="7907151" y="5504220"/>
                  </a:lnTo>
                  <a:lnTo>
                    <a:pt x="7911170" y="5508258"/>
                  </a:lnTo>
                  <a:lnTo>
                    <a:pt x="7911170" y="5518129"/>
                  </a:lnTo>
                  <a:lnTo>
                    <a:pt x="7907151" y="5522168"/>
                  </a:lnTo>
                  <a:lnTo>
                    <a:pt x="7897241" y="5522168"/>
                  </a:lnTo>
                  <a:lnTo>
                    <a:pt x="7893222" y="5518129"/>
                  </a:lnTo>
                  <a:lnTo>
                    <a:pt x="7893222" y="5508258"/>
                  </a:lnTo>
                  <a:close/>
                  <a:moveTo>
                    <a:pt x="7657926" y="5504220"/>
                  </a:moveTo>
                  <a:lnTo>
                    <a:pt x="7667836" y="5504220"/>
                  </a:lnTo>
                  <a:lnTo>
                    <a:pt x="7671855" y="5508258"/>
                  </a:lnTo>
                  <a:lnTo>
                    <a:pt x="7671855" y="5518129"/>
                  </a:lnTo>
                  <a:lnTo>
                    <a:pt x="7667836" y="5522168"/>
                  </a:lnTo>
                  <a:lnTo>
                    <a:pt x="7657926" y="5522168"/>
                  </a:lnTo>
                  <a:lnTo>
                    <a:pt x="7653906" y="5518129"/>
                  </a:lnTo>
                  <a:lnTo>
                    <a:pt x="7653906" y="5508258"/>
                  </a:lnTo>
                  <a:close/>
                  <a:moveTo>
                    <a:pt x="7418611" y="5504220"/>
                  </a:moveTo>
                  <a:lnTo>
                    <a:pt x="7428521" y="5504220"/>
                  </a:lnTo>
                  <a:lnTo>
                    <a:pt x="7432540" y="5508258"/>
                  </a:lnTo>
                  <a:lnTo>
                    <a:pt x="7432540" y="5518129"/>
                  </a:lnTo>
                  <a:lnTo>
                    <a:pt x="7428521" y="5522168"/>
                  </a:lnTo>
                  <a:lnTo>
                    <a:pt x="7418611" y="5522168"/>
                  </a:lnTo>
                  <a:lnTo>
                    <a:pt x="7414592" y="5518129"/>
                  </a:lnTo>
                  <a:lnTo>
                    <a:pt x="7414592" y="5508258"/>
                  </a:lnTo>
                  <a:close/>
                  <a:moveTo>
                    <a:pt x="7179298" y="5504220"/>
                  </a:moveTo>
                  <a:lnTo>
                    <a:pt x="7189209" y="5504220"/>
                  </a:lnTo>
                  <a:lnTo>
                    <a:pt x="7193228" y="5508258"/>
                  </a:lnTo>
                  <a:lnTo>
                    <a:pt x="7193228" y="5518129"/>
                  </a:lnTo>
                  <a:lnTo>
                    <a:pt x="7189209" y="5522168"/>
                  </a:lnTo>
                  <a:lnTo>
                    <a:pt x="7179298" y="5522168"/>
                  </a:lnTo>
                  <a:lnTo>
                    <a:pt x="7175279" y="5518129"/>
                  </a:lnTo>
                  <a:lnTo>
                    <a:pt x="7175279" y="5508258"/>
                  </a:lnTo>
                  <a:close/>
                  <a:moveTo>
                    <a:pt x="6939983" y="5504220"/>
                  </a:moveTo>
                  <a:lnTo>
                    <a:pt x="6949894" y="5504220"/>
                  </a:lnTo>
                  <a:lnTo>
                    <a:pt x="6953913" y="5508258"/>
                  </a:lnTo>
                  <a:lnTo>
                    <a:pt x="6953913" y="5518129"/>
                  </a:lnTo>
                  <a:lnTo>
                    <a:pt x="6949894" y="5522168"/>
                  </a:lnTo>
                  <a:lnTo>
                    <a:pt x="6939983" y="5522168"/>
                  </a:lnTo>
                  <a:lnTo>
                    <a:pt x="6935964" y="5518129"/>
                  </a:lnTo>
                  <a:lnTo>
                    <a:pt x="6935964" y="5508258"/>
                  </a:lnTo>
                  <a:close/>
                  <a:moveTo>
                    <a:pt x="6700670" y="5504220"/>
                  </a:moveTo>
                  <a:lnTo>
                    <a:pt x="6710581" y="5504220"/>
                  </a:lnTo>
                  <a:lnTo>
                    <a:pt x="6714600" y="5508258"/>
                  </a:lnTo>
                  <a:lnTo>
                    <a:pt x="6714600" y="5518129"/>
                  </a:lnTo>
                  <a:lnTo>
                    <a:pt x="6710581" y="5522168"/>
                  </a:lnTo>
                  <a:lnTo>
                    <a:pt x="6700670" y="5522168"/>
                  </a:lnTo>
                  <a:lnTo>
                    <a:pt x="6696651" y="5518129"/>
                  </a:lnTo>
                  <a:lnTo>
                    <a:pt x="6696651" y="5508258"/>
                  </a:lnTo>
                  <a:close/>
                  <a:moveTo>
                    <a:pt x="6461356" y="5504220"/>
                  </a:moveTo>
                  <a:lnTo>
                    <a:pt x="6471266" y="5504220"/>
                  </a:lnTo>
                  <a:lnTo>
                    <a:pt x="6475285" y="5508258"/>
                  </a:lnTo>
                  <a:lnTo>
                    <a:pt x="6475285" y="5518129"/>
                  </a:lnTo>
                  <a:lnTo>
                    <a:pt x="6471266" y="5522168"/>
                  </a:lnTo>
                  <a:lnTo>
                    <a:pt x="6461356" y="5522168"/>
                  </a:lnTo>
                  <a:lnTo>
                    <a:pt x="6457337" y="5518129"/>
                  </a:lnTo>
                  <a:lnTo>
                    <a:pt x="6457337" y="5508258"/>
                  </a:lnTo>
                  <a:close/>
                  <a:moveTo>
                    <a:pt x="6222042" y="5504220"/>
                  </a:moveTo>
                  <a:lnTo>
                    <a:pt x="6231952" y="5504220"/>
                  </a:lnTo>
                  <a:lnTo>
                    <a:pt x="6235971" y="5508258"/>
                  </a:lnTo>
                  <a:lnTo>
                    <a:pt x="6235971" y="5518129"/>
                  </a:lnTo>
                  <a:lnTo>
                    <a:pt x="6231952" y="5522168"/>
                  </a:lnTo>
                  <a:lnTo>
                    <a:pt x="6222042" y="5522168"/>
                  </a:lnTo>
                  <a:lnTo>
                    <a:pt x="6218023" y="5518129"/>
                  </a:lnTo>
                  <a:lnTo>
                    <a:pt x="6218023" y="5508258"/>
                  </a:lnTo>
                  <a:close/>
                  <a:moveTo>
                    <a:pt x="5982729" y="5504220"/>
                  </a:moveTo>
                  <a:lnTo>
                    <a:pt x="5992639" y="5504220"/>
                  </a:lnTo>
                  <a:lnTo>
                    <a:pt x="5996658" y="5508258"/>
                  </a:lnTo>
                  <a:lnTo>
                    <a:pt x="5996658" y="5518129"/>
                  </a:lnTo>
                  <a:lnTo>
                    <a:pt x="5992639" y="5522168"/>
                  </a:lnTo>
                  <a:lnTo>
                    <a:pt x="5982729" y="5522168"/>
                  </a:lnTo>
                  <a:lnTo>
                    <a:pt x="5978710" y="5518129"/>
                  </a:lnTo>
                  <a:lnTo>
                    <a:pt x="5978710" y="5508258"/>
                  </a:lnTo>
                  <a:close/>
                  <a:moveTo>
                    <a:pt x="5743412" y="5504220"/>
                  </a:moveTo>
                  <a:lnTo>
                    <a:pt x="5753323" y="5504220"/>
                  </a:lnTo>
                  <a:lnTo>
                    <a:pt x="5757342" y="5508258"/>
                  </a:lnTo>
                  <a:lnTo>
                    <a:pt x="5757342" y="5518129"/>
                  </a:lnTo>
                  <a:lnTo>
                    <a:pt x="5753323" y="5522168"/>
                  </a:lnTo>
                  <a:lnTo>
                    <a:pt x="5743412" y="5522168"/>
                  </a:lnTo>
                  <a:lnTo>
                    <a:pt x="5739393" y="5518129"/>
                  </a:lnTo>
                  <a:lnTo>
                    <a:pt x="5739393" y="5508258"/>
                  </a:lnTo>
                  <a:close/>
                  <a:moveTo>
                    <a:pt x="5504099" y="5504220"/>
                  </a:moveTo>
                  <a:lnTo>
                    <a:pt x="5514010" y="5504220"/>
                  </a:lnTo>
                  <a:lnTo>
                    <a:pt x="5518029" y="5508258"/>
                  </a:lnTo>
                  <a:lnTo>
                    <a:pt x="5518029" y="5518129"/>
                  </a:lnTo>
                  <a:lnTo>
                    <a:pt x="5514010" y="5522168"/>
                  </a:lnTo>
                  <a:lnTo>
                    <a:pt x="5504099" y="5522168"/>
                  </a:lnTo>
                  <a:lnTo>
                    <a:pt x="5500080" y="5518129"/>
                  </a:lnTo>
                  <a:lnTo>
                    <a:pt x="5500080" y="5508258"/>
                  </a:lnTo>
                  <a:close/>
                  <a:moveTo>
                    <a:pt x="5264784" y="5504220"/>
                  </a:moveTo>
                  <a:lnTo>
                    <a:pt x="5274694" y="5504220"/>
                  </a:lnTo>
                  <a:lnTo>
                    <a:pt x="5278713" y="5508258"/>
                  </a:lnTo>
                  <a:lnTo>
                    <a:pt x="5278713" y="5518129"/>
                  </a:lnTo>
                  <a:lnTo>
                    <a:pt x="5274694" y="5522168"/>
                  </a:lnTo>
                  <a:lnTo>
                    <a:pt x="5264784" y="5522168"/>
                  </a:lnTo>
                  <a:lnTo>
                    <a:pt x="5260765" y="5518129"/>
                  </a:lnTo>
                  <a:lnTo>
                    <a:pt x="5260765" y="5508258"/>
                  </a:lnTo>
                  <a:close/>
                  <a:moveTo>
                    <a:pt x="5025470" y="5504220"/>
                  </a:moveTo>
                  <a:lnTo>
                    <a:pt x="5035381" y="5504220"/>
                  </a:lnTo>
                  <a:lnTo>
                    <a:pt x="5039400" y="5508258"/>
                  </a:lnTo>
                  <a:lnTo>
                    <a:pt x="5039400" y="5518129"/>
                  </a:lnTo>
                  <a:lnTo>
                    <a:pt x="5035381" y="5522168"/>
                  </a:lnTo>
                  <a:lnTo>
                    <a:pt x="5025470" y="5522168"/>
                  </a:lnTo>
                  <a:lnTo>
                    <a:pt x="5021451" y="5518129"/>
                  </a:lnTo>
                  <a:lnTo>
                    <a:pt x="5021451" y="5508258"/>
                  </a:lnTo>
                  <a:close/>
                  <a:moveTo>
                    <a:pt x="4786241" y="5504220"/>
                  </a:moveTo>
                  <a:lnTo>
                    <a:pt x="4796152" y="5504220"/>
                  </a:lnTo>
                  <a:lnTo>
                    <a:pt x="4800171" y="5508258"/>
                  </a:lnTo>
                  <a:lnTo>
                    <a:pt x="4800171" y="5518129"/>
                  </a:lnTo>
                  <a:lnTo>
                    <a:pt x="4796152" y="5522168"/>
                  </a:lnTo>
                  <a:lnTo>
                    <a:pt x="4786241" y="5522168"/>
                  </a:lnTo>
                  <a:lnTo>
                    <a:pt x="4782224" y="5518129"/>
                  </a:lnTo>
                  <a:lnTo>
                    <a:pt x="4782224" y="5508258"/>
                  </a:lnTo>
                  <a:close/>
                  <a:moveTo>
                    <a:pt x="4546929" y="5504220"/>
                  </a:moveTo>
                  <a:lnTo>
                    <a:pt x="4556840" y="5504220"/>
                  </a:lnTo>
                  <a:lnTo>
                    <a:pt x="4560859" y="5508258"/>
                  </a:lnTo>
                  <a:lnTo>
                    <a:pt x="4560859" y="5518129"/>
                  </a:lnTo>
                  <a:lnTo>
                    <a:pt x="4556840" y="5522168"/>
                  </a:lnTo>
                  <a:lnTo>
                    <a:pt x="4546929" y="5522168"/>
                  </a:lnTo>
                  <a:lnTo>
                    <a:pt x="4542910" y="5518129"/>
                  </a:lnTo>
                  <a:lnTo>
                    <a:pt x="4542910" y="5508258"/>
                  </a:lnTo>
                  <a:close/>
                  <a:moveTo>
                    <a:pt x="4307612" y="5504220"/>
                  </a:moveTo>
                  <a:lnTo>
                    <a:pt x="4317523" y="5504220"/>
                  </a:lnTo>
                  <a:lnTo>
                    <a:pt x="4321543" y="5508258"/>
                  </a:lnTo>
                  <a:lnTo>
                    <a:pt x="4321543" y="5518129"/>
                  </a:lnTo>
                  <a:lnTo>
                    <a:pt x="4317523" y="5522168"/>
                  </a:lnTo>
                  <a:lnTo>
                    <a:pt x="4307612" y="5522168"/>
                  </a:lnTo>
                  <a:lnTo>
                    <a:pt x="4303595" y="5518129"/>
                  </a:lnTo>
                  <a:lnTo>
                    <a:pt x="4303595" y="5508258"/>
                  </a:lnTo>
                  <a:close/>
                  <a:moveTo>
                    <a:pt x="4068297" y="5504220"/>
                  </a:moveTo>
                  <a:lnTo>
                    <a:pt x="4078210" y="5504220"/>
                  </a:lnTo>
                  <a:lnTo>
                    <a:pt x="4082229" y="5508258"/>
                  </a:lnTo>
                  <a:lnTo>
                    <a:pt x="4082229" y="5518129"/>
                  </a:lnTo>
                  <a:lnTo>
                    <a:pt x="4078210" y="5522168"/>
                  </a:lnTo>
                  <a:lnTo>
                    <a:pt x="4068297" y="5522168"/>
                  </a:lnTo>
                  <a:lnTo>
                    <a:pt x="4064278" y="5518129"/>
                  </a:lnTo>
                  <a:lnTo>
                    <a:pt x="4064278" y="5508258"/>
                  </a:lnTo>
                  <a:close/>
                  <a:moveTo>
                    <a:pt x="3828990" y="5504220"/>
                  </a:moveTo>
                  <a:lnTo>
                    <a:pt x="3838899" y="5504220"/>
                  </a:lnTo>
                  <a:lnTo>
                    <a:pt x="3842917" y="5508258"/>
                  </a:lnTo>
                  <a:lnTo>
                    <a:pt x="3842917" y="5518129"/>
                  </a:lnTo>
                  <a:lnTo>
                    <a:pt x="3838899" y="5522168"/>
                  </a:lnTo>
                  <a:lnTo>
                    <a:pt x="3828990" y="5522168"/>
                  </a:lnTo>
                  <a:lnTo>
                    <a:pt x="3824971" y="5518129"/>
                  </a:lnTo>
                  <a:lnTo>
                    <a:pt x="3824971" y="5508258"/>
                  </a:lnTo>
                  <a:close/>
                  <a:moveTo>
                    <a:pt x="3589676" y="5504220"/>
                  </a:moveTo>
                  <a:lnTo>
                    <a:pt x="3599585" y="5504220"/>
                  </a:lnTo>
                  <a:lnTo>
                    <a:pt x="3603604" y="5508258"/>
                  </a:lnTo>
                  <a:lnTo>
                    <a:pt x="3603604" y="5518129"/>
                  </a:lnTo>
                  <a:lnTo>
                    <a:pt x="3599585" y="5522168"/>
                  </a:lnTo>
                  <a:lnTo>
                    <a:pt x="3589676" y="5522168"/>
                  </a:lnTo>
                  <a:lnTo>
                    <a:pt x="3585657" y="5518129"/>
                  </a:lnTo>
                  <a:lnTo>
                    <a:pt x="3585657" y="5508258"/>
                  </a:lnTo>
                  <a:close/>
                  <a:moveTo>
                    <a:pt x="3350359" y="5504220"/>
                  </a:moveTo>
                  <a:lnTo>
                    <a:pt x="3360268" y="5504220"/>
                  </a:lnTo>
                  <a:lnTo>
                    <a:pt x="3364287" y="5508258"/>
                  </a:lnTo>
                  <a:lnTo>
                    <a:pt x="3364287" y="5518129"/>
                  </a:lnTo>
                  <a:lnTo>
                    <a:pt x="3360268" y="5522168"/>
                  </a:lnTo>
                  <a:lnTo>
                    <a:pt x="3350359" y="5522168"/>
                  </a:lnTo>
                  <a:lnTo>
                    <a:pt x="3346340" y="5518129"/>
                  </a:lnTo>
                  <a:lnTo>
                    <a:pt x="3346340" y="5508258"/>
                  </a:lnTo>
                  <a:close/>
                  <a:moveTo>
                    <a:pt x="3111048" y="5504220"/>
                  </a:moveTo>
                  <a:lnTo>
                    <a:pt x="3120959" y="5504220"/>
                  </a:lnTo>
                  <a:lnTo>
                    <a:pt x="3124977" y="5508258"/>
                  </a:lnTo>
                  <a:lnTo>
                    <a:pt x="3124977" y="5518129"/>
                  </a:lnTo>
                  <a:lnTo>
                    <a:pt x="3120959" y="5522168"/>
                  </a:lnTo>
                  <a:lnTo>
                    <a:pt x="3111048" y="5522168"/>
                  </a:lnTo>
                  <a:lnTo>
                    <a:pt x="3107029" y="5518129"/>
                  </a:lnTo>
                  <a:lnTo>
                    <a:pt x="3107029" y="5508258"/>
                  </a:lnTo>
                  <a:close/>
                  <a:moveTo>
                    <a:pt x="2871737" y="5504220"/>
                  </a:moveTo>
                  <a:lnTo>
                    <a:pt x="2881646" y="5504220"/>
                  </a:lnTo>
                  <a:lnTo>
                    <a:pt x="2885666" y="5508258"/>
                  </a:lnTo>
                  <a:lnTo>
                    <a:pt x="2885666" y="5518129"/>
                  </a:lnTo>
                  <a:lnTo>
                    <a:pt x="2881646" y="5522168"/>
                  </a:lnTo>
                  <a:lnTo>
                    <a:pt x="2871737" y="5522168"/>
                  </a:lnTo>
                  <a:lnTo>
                    <a:pt x="2867717" y="5518129"/>
                  </a:lnTo>
                  <a:lnTo>
                    <a:pt x="2867717" y="5508258"/>
                  </a:lnTo>
                  <a:close/>
                  <a:moveTo>
                    <a:pt x="2632423" y="5504220"/>
                  </a:moveTo>
                  <a:lnTo>
                    <a:pt x="2642334" y="5504220"/>
                  </a:lnTo>
                  <a:lnTo>
                    <a:pt x="2646352" y="5508258"/>
                  </a:lnTo>
                  <a:lnTo>
                    <a:pt x="2646352" y="5518129"/>
                  </a:lnTo>
                  <a:lnTo>
                    <a:pt x="2642334" y="5522168"/>
                  </a:lnTo>
                  <a:lnTo>
                    <a:pt x="2632423" y="5522168"/>
                  </a:lnTo>
                  <a:lnTo>
                    <a:pt x="2628404" y="5518129"/>
                  </a:lnTo>
                  <a:lnTo>
                    <a:pt x="2628404" y="5508258"/>
                  </a:lnTo>
                  <a:close/>
                  <a:moveTo>
                    <a:pt x="2393104" y="5504220"/>
                  </a:moveTo>
                  <a:lnTo>
                    <a:pt x="2403015" y="5504220"/>
                  </a:lnTo>
                  <a:lnTo>
                    <a:pt x="2407034" y="5508258"/>
                  </a:lnTo>
                  <a:lnTo>
                    <a:pt x="2407034" y="5518129"/>
                  </a:lnTo>
                  <a:lnTo>
                    <a:pt x="2403015" y="5522168"/>
                  </a:lnTo>
                  <a:lnTo>
                    <a:pt x="2393104" y="5522168"/>
                  </a:lnTo>
                  <a:lnTo>
                    <a:pt x="2389087" y="5518129"/>
                  </a:lnTo>
                  <a:lnTo>
                    <a:pt x="2389087" y="5508258"/>
                  </a:lnTo>
                  <a:close/>
                  <a:moveTo>
                    <a:pt x="2157818" y="5504220"/>
                  </a:moveTo>
                  <a:lnTo>
                    <a:pt x="2167728" y="5504220"/>
                  </a:lnTo>
                  <a:lnTo>
                    <a:pt x="2171748" y="5508258"/>
                  </a:lnTo>
                  <a:lnTo>
                    <a:pt x="2171748" y="5518129"/>
                  </a:lnTo>
                  <a:lnTo>
                    <a:pt x="2167728" y="5522168"/>
                  </a:lnTo>
                  <a:lnTo>
                    <a:pt x="2157818" y="5522168"/>
                  </a:lnTo>
                  <a:lnTo>
                    <a:pt x="2153799" y="5518129"/>
                  </a:lnTo>
                  <a:lnTo>
                    <a:pt x="2153799" y="5508258"/>
                  </a:lnTo>
                  <a:close/>
                  <a:moveTo>
                    <a:pt x="1918510" y="5504220"/>
                  </a:moveTo>
                  <a:lnTo>
                    <a:pt x="1928420" y="5504220"/>
                  </a:lnTo>
                  <a:lnTo>
                    <a:pt x="1932438" y="5508258"/>
                  </a:lnTo>
                  <a:lnTo>
                    <a:pt x="1932438" y="5518129"/>
                  </a:lnTo>
                  <a:lnTo>
                    <a:pt x="1928420" y="5522168"/>
                  </a:lnTo>
                  <a:lnTo>
                    <a:pt x="1918510" y="5522168"/>
                  </a:lnTo>
                  <a:lnTo>
                    <a:pt x="1914490" y="5518129"/>
                  </a:lnTo>
                  <a:lnTo>
                    <a:pt x="1914490" y="5508258"/>
                  </a:lnTo>
                  <a:close/>
                  <a:moveTo>
                    <a:pt x="1679202" y="5504220"/>
                  </a:moveTo>
                  <a:lnTo>
                    <a:pt x="1689112" y="5504220"/>
                  </a:lnTo>
                  <a:lnTo>
                    <a:pt x="1693132" y="5508258"/>
                  </a:lnTo>
                  <a:lnTo>
                    <a:pt x="1693132" y="5518129"/>
                  </a:lnTo>
                  <a:lnTo>
                    <a:pt x="1689112" y="5522168"/>
                  </a:lnTo>
                  <a:lnTo>
                    <a:pt x="1679202" y="5522168"/>
                  </a:lnTo>
                  <a:lnTo>
                    <a:pt x="1675184" y="5518129"/>
                  </a:lnTo>
                  <a:lnTo>
                    <a:pt x="1675184" y="5508258"/>
                  </a:lnTo>
                  <a:close/>
                  <a:moveTo>
                    <a:pt x="1439887" y="5504220"/>
                  </a:moveTo>
                  <a:lnTo>
                    <a:pt x="1449797" y="5504220"/>
                  </a:lnTo>
                  <a:lnTo>
                    <a:pt x="1453815" y="5508258"/>
                  </a:lnTo>
                  <a:lnTo>
                    <a:pt x="1453815" y="5518129"/>
                  </a:lnTo>
                  <a:lnTo>
                    <a:pt x="1449797" y="5522168"/>
                  </a:lnTo>
                  <a:lnTo>
                    <a:pt x="1439887" y="5522168"/>
                  </a:lnTo>
                  <a:lnTo>
                    <a:pt x="1435869" y="5518129"/>
                  </a:lnTo>
                  <a:lnTo>
                    <a:pt x="1435869" y="5508258"/>
                  </a:lnTo>
                  <a:close/>
                  <a:moveTo>
                    <a:pt x="1200572" y="5504220"/>
                  </a:moveTo>
                  <a:lnTo>
                    <a:pt x="1210483" y="5504220"/>
                  </a:lnTo>
                  <a:lnTo>
                    <a:pt x="1214501" y="5508258"/>
                  </a:lnTo>
                  <a:lnTo>
                    <a:pt x="1214501" y="5518129"/>
                  </a:lnTo>
                  <a:lnTo>
                    <a:pt x="1210483" y="5522168"/>
                  </a:lnTo>
                  <a:lnTo>
                    <a:pt x="1200572" y="5522168"/>
                  </a:lnTo>
                  <a:lnTo>
                    <a:pt x="1196554" y="5518129"/>
                  </a:lnTo>
                  <a:lnTo>
                    <a:pt x="1196554" y="5508258"/>
                  </a:lnTo>
                  <a:close/>
                  <a:moveTo>
                    <a:pt x="961260" y="5504220"/>
                  </a:moveTo>
                  <a:lnTo>
                    <a:pt x="971169" y="5504220"/>
                  </a:lnTo>
                  <a:lnTo>
                    <a:pt x="975189" y="5508258"/>
                  </a:lnTo>
                  <a:lnTo>
                    <a:pt x="975189" y="5518129"/>
                  </a:lnTo>
                  <a:lnTo>
                    <a:pt x="971169" y="5522168"/>
                  </a:lnTo>
                  <a:lnTo>
                    <a:pt x="961260" y="5522168"/>
                  </a:lnTo>
                  <a:lnTo>
                    <a:pt x="957241" y="5518129"/>
                  </a:lnTo>
                  <a:lnTo>
                    <a:pt x="957241" y="5508258"/>
                  </a:lnTo>
                  <a:close/>
                  <a:moveTo>
                    <a:pt x="721961" y="5504220"/>
                  </a:moveTo>
                  <a:lnTo>
                    <a:pt x="731871" y="5504220"/>
                  </a:lnTo>
                  <a:lnTo>
                    <a:pt x="735890" y="5508258"/>
                  </a:lnTo>
                  <a:lnTo>
                    <a:pt x="735890" y="5518129"/>
                  </a:lnTo>
                  <a:lnTo>
                    <a:pt x="731871" y="5522168"/>
                  </a:lnTo>
                  <a:lnTo>
                    <a:pt x="721961" y="5522168"/>
                  </a:lnTo>
                  <a:lnTo>
                    <a:pt x="717942" y="5518129"/>
                  </a:lnTo>
                  <a:lnTo>
                    <a:pt x="717942" y="5508258"/>
                  </a:lnTo>
                  <a:close/>
                  <a:moveTo>
                    <a:pt x="482649" y="5504220"/>
                  </a:moveTo>
                  <a:lnTo>
                    <a:pt x="492559" y="5504220"/>
                  </a:lnTo>
                  <a:lnTo>
                    <a:pt x="496578" y="5508258"/>
                  </a:lnTo>
                  <a:lnTo>
                    <a:pt x="496578" y="5518129"/>
                  </a:lnTo>
                  <a:lnTo>
                    <a:pt x="492559" y="5522168"/>
                  </a:lnTo>
                  <a:lnTo>
                    <a:pt x="482649" y="5522168"/>
                  </a:lnTo>
                  <a:lnTo>
                    <a:pt x="478630" y="5518129"/>
                  </a:lnTo>
                  <a:lnTo>
                    <a:pt x="478630" y="5508258"/>
                  </a:lnTo>
                  <a:close/>
                  <a:moveTo>
                    <a:pt x="243335" y="5504220"/>
                  </a:moveTo>
                  <a:lnTo>
                    <a:pt x="253245" y="5504220"/>
                  </a:lnTo>
                  <a:lnTo>
                    <a:pt x="257264" y="5508258"/>
                  </a:lnTo>
                  <a:lnTo>
                    <a:pt x="257264" y="5518129"/>
                  </a:lnTo>
                  <a:lnTo>
                    <a:pt x="253245" y="5522168"/>
                  </a:lnTo>
                  <a:lnTo>
                    <a:pt x="243335" y="5522168"/>
                  </a:lnTo>
                  <a:lnTo>
                    <a:pt x="239316" y="5518129"/>
                  </a:lnTo>
                  <a:lnTo>
                    <a:pt x="239316" y="5508258"/>
                  </a:lnTo>
                  <a:close/>
                  <a:moveTo>
                    <a:pt x="4022" y="5504220"/>
                  </a:moveTo>
                  <a:lnTo>
                    <a:pt x="13932" y="5504220"/>
                  </a:lnTo>
                  <a:lnTo>
                    <a:pt x="17951" y="5508258"/>
                  </a:lnTo>
                  <a:lnTo>
                    <a:pt x="17951" y="5518129"/>
                  </a:lnTo>
                  <a:lnTo>
                    <a:pt x="13932" y="5522168"/>
                  </a:lnTo>
                  <a:lnTo>
                    <a:pt x="4022" y="5522168"/>
                  </a:lnTo>
                  <a:lnTo>
                    <a:pt x="3" y="5518129"/>
                  </a:lnTo>
                  <a:lnTo>
                    <a:pt x="3" y="5508258"/>
                  </a:lnTo>
                  <a:close/>
                  <a:moveTo>
                    <a:pt x="2157818" y="5264940"/>
                  </a:moveTo>
                  <a:lnTo>
                    <a:pt x="2167729" y="5264940"/>
                  </a:lnTo>
                  <a:lnTo>
                    <a:pt x="2171748" y="5268978"/>
                  </a:lnTo>
                  <a:lnTo>
                    <a:pt x="2171748" y="5278849"/>
                  </a:lnTo>
                  <a:lnTo>
                    <a:pt x="2167729" y="5282888"/>
                  </a:lnTo>
                  <a:lnTo>
                    <a:pt x="2157818" y="5282888"/>
                  </a:lnTo>
                  <a:lnTo>
                    <a:pt x="2153799" y="5278849"/>
                  </a:lnTo>
                  <a:lnTo>
                    <a:pt x="2153799" y="5268978"/>
                  </a:lnTo>
                  <a:close/>
                  <a:moveTo>
                    <a:pt x="1918510" y="5264940"/>
                  </a:moveTo>
                  <a:lnTo>
                    <a:pt x="1928420" y="5264940"/>
                  </a:lnTo>
                  <a:lnTo>
                    <a:pt x="1932438" y="5268978"/>
                  </a:lnTo>
                  <a:lnTo>
                    <a:pt x="1932438" y="5278849"/>
                  </a:lnTo>
                  <a:lnTo>
                    <a:pt x="1928420" y="5282888"/>
                  </a:lnTo>
                  <a:lnTo>
                    <a:pt x="1918510" y="5282888"/>
                  </a:lnTo>
                  <a:lnTo>
                    <a:pt x="1914492" y="5278849"/>
                  </a:lnTo>
                  <a:lnTo>
                    <a:pt x="1914492" y="5268978"/>
                  </a:lnTo>
                  <a:close/>
                  <a:moveTo>
                    <a:pt x="1679204" y="5264940"/>
                  </a:moveTo>
                  <a:lnTo>
                    <a:pt x="1689113" y="5264940"/>
                  </a:lnTo>
                  <a:lnTo>
                    <a:pt x="1693132" y="5268978"/>
                  </a:lnTo>
                  <a:lnTo>
                    <a:pt x="1693132" y="5278849"/>
                  </a:lnTo>
                  <a:lnTo>
                    <a:pt x="1689113" y="5282888"/>
                  </a:lnTo>
                  <a:lnTo>
                    <a:pt x="1679204" y="5282888"/>
                  </a:lnTo>
                  <a:lnTo>
                    <a:pt x="1675184" y="5278849"/>
                  </a:lnTo>
                  <a:lnTo>
                    <a:pt x="1675184" y="5268978"/>
                  </a:lnTo>
                  <a:close/>
                  <a:moveTo>
                    <a:pt x="1439889" y="5264940"/>
                  </a:moveTo>
                  <a:lnTo>
                    <a:pt x="1449798" y="5264940"/>
                  </a:lnTo>
                  <a:lnTo>
                    <a:pt x="1453817" y="5268978"/>
                  </a:lnTo>
                  <a:lnTo>
                    <a:pt x="1453817" y="5278849"/>
                  </a:lnTo>
                  <a:lnTo>
                    <a:pt x="1449798" y="5282888"/>
                  </a:lnTo>
                  <a:lnTo>
                    <a:pt x="1439889" y="5282888"/>
                  </a:lnTo>
                  <a:lnTo>
                    <a:pt x="1435869" y="5278849"/>
                  </a:lnTo>
                  <a:lnTo>
                    <a:pt x="1435869" y="5268978"/>
                  </a:lnTo>
                  <a:close/>
                  <a:moveTo>
                    <a:pt x="1200573" y="5264940"/>
                  </a:moveTo>
                  <a:lnTo>
                    <a:pt x="1210483" y="5264940"/>
                  </a:lnTo>
                  <a:lnTo>
                    <a:pt x="1214502" y="5268978"/>
                  </a:lnTo>
                  <a:lnTo>
                    <a:pt x="1214502" y="5278849"/>
                  </a:lnTo>
                  <a:lnTo>
                    <a:pt x="1210483" y="5282888"/>
                  </a:lnTo>
                  <a:lnTo>
                    <a:pt x="1200573" y="5282888"/>
                  </a:lnTo>
                  <a:lnTo>
                    <a:pt x="1196554" y="5278849"/>
                  </a:lnTo>
                  <a:lnTo>
                    <a:pt x="1196554" y="5268978"/>
                  </a:lnTo>
                  <a:close/>
                  <a:moveTo>
                    <a:pt x="961260" y="5264940"/>
                  </a:moveTo>
                  <a:lnTo>
                    <a:pt x="971171" y="5264940"/>
                  </a:lnTo>
                  <a:lnTo>
                    <a:pt x="975189" y="5268978"/>
                  </a:lnTo>
                  <a:lnTo>
                    <a:pt x="975189" y="5278849"/>
                  </a:lnTo>
                  <a:lnTo>
                    <a:pt x="971171" y="5282888"/>
                  </a:lnTo>
                  <a:lnTo>
                    <a:pt x="961260" y="5282888"/>
                  </a:lnTo>
                  <a:lnTo>
                    <a:pt x="957241" y="5278849"/>
                  </a:lnTo>
                  <a:lnTo>
                    <a:pt x="957241" y="5268978"/>
                  </a:lnTo>
                  <a:close/>
                  <a:moveTo>
                    <a:pt x="9572438" y="5264889"/>
                  </a:moveTo>
                  <a:lnTo>
                    <a:pt x="9582349" y="5264889"/>
                  </a:lnTo>
                  <a:lnTo>
                    <a:pt x="9586368" y="5268928"/>
                  </a:lnTo>
                  <a:lnTo>
                    <a:pt x="9586368" y="5278799"/>
                  </a:lnTo>
                  <a:lnTo>
                    <a:pt x="9582349" y="5282838"/>
                  </a:lnTo>
                  <a:lnTo>
                    <a:pt x="9572438" y="5282838"/>
                  </a:lnTo>
                  <a:lnTo>
                    <a:pt x="9568419" y="5278799"/>
                  </a:lnTo>
                  <a:lnTo>
                    <a:pt x="9568419" y="5268928"/>
                  </a:lnTo>
                  <a:close/>
                  <a:moveTo>
                    <a:pt x="9333125" y="5264889"/>
                  </a:moveTo>
                  <a:lnTo>
                    <a:pt x="9343036" y="5264889"/>
                  </a:lnTo>
                  <a:lnTo>
                    <a:pt x="9347055" y="5268928"/>
                  </a:lnTo>
                  <a:lnTo>
                    <a:pt x="9347055" y="5278799"/>
                  </a:lnTo>
                  <a:lnTo>
                    <a:pt x="9343036" y="5282838"/>
                  </a:lnTo>
                  <a:lnTo>
                    <a:pt x="9333125" y="5282838"/>
                  </a:lnTo>
                  <a:lnTo>
                    <a:pt x="9329106" y="5278799"/>
                  </a:lnTo>
                  <a:lnTo>
                    <a:pt x="9329106" y="5268928"/>
                  </a:lnTo>
                  <a:close/>
                  <a:moveTo>
                    <a:pt x="9093811" y="5264889"/>
                  </a:moveTo>
                  <a:lnTo>
                    <a:pt x="9103722" y="5264889"/>
                  </a:lnTo>
                  <a:lnTo>
                    <a:pt x="9107741" y="5268928"/>
                  </a:lnTo>
                  <a:lnTo>
                    <a:pt x="9107741" y="5278799"/>
                  </a:lnTo>
                  <a:lnTo>
                    <a:pt x="9103722" y="5282838"/>
                  </a:lnTo>
                  <a:lnTo>
                    <a:pt x="9093811" y="5282838"/>
                  </a:lnTo>
                  <a:lnTo>
                    <a:pt x="9089792" y="5278799"/>
                  </a:lnTo>
                  <a:lnTo>
                    <a:pt x="9089792" y="5268928"/>
                  </a:lnTo>
                  <a:close/>
                  <a:moveTo>
                    <a:pt x="8854496" y="5264889"/>
                  </a:moveTo>
                  <a:lnTo>
                    <a:pt x="8864407" y="5264889"/>
                  </a:lnTo>
                  <a:lnTo>
                    <a:pt x="8868426" y="5268928"/>
                  </a:lnTo>
                  <a:lnTo>
                    <a:pt x="8868426" y="5278799"/>
                  </a:lnTo>
                  <a:lnTo>
                    <a:pt x="8864407" y="5282838"/>
                  </a:lnTo>
                  <a:lnTo>
                    <a:pt x="8854496" y="5282838"/>
                  </a:lnTo>
                  <a:lnTo>
                    <a:pt x="8850477" y="5278799"/>
                  </a:lnTo>
                  <a:lnTo>
                    <a:pt x="8850477" y="5268928"/>
                  </a:lnTo>
                  <a:close/>
                  <a:moveTo>
                    <a:pt x="8615184" y="5264889"/>
                  </a:moveTo>
                  <a:lnTo>
                    <a:pt x="8625095" y="5264889"/>
                  </a:lnTo>
                  <a:lnTo>
                    <a:pt x="8629114" y="5268928"/>
                  </a:lnTo>
                  <a:lnTo>
                    <a:pt x="8629114" y="5278799"/>
                  </a:lnTo>
                  <a:lnTo>
                    <a:pt x="8625095" y="5282838"/>
                  </a:lnTo>
                  <a:lnTo>
                    <a:pt x="8615184" y="5282838"/>
                  </a:lnTo>
                  <a:lnTo>
                    <a:pt x="8611165" y="5278799"/>
                  </a:lnTo>
                  <a:lnTo>
                    <a:pt x="8611165" y="5268928"/>
                  </a:lnTo>
                  <a:close/>
                  <a:moveTo>
                    <a:pt x="8375869" y="5264889"/>
                  </a:moveTo>
                  <a:lnTo>
                    <a:pt x="8385779" y="5264889"/>
                  </a:lnTo>
                  <a:lnTo>
                    <a:pt x="8389799" y="5268928"/>
                  </a:lnTo>
                  <a:lnTo>
                    <a:pt x="8389799" y="5278799"/>
                  </a:lnTo>
                  <a:lnTo>
                    <a:pt x="8385779" y="5282838"/>
                  </a:lnTo>
                  <a:lnTo>
                    <a:pt x="8375869" y="5282838"/>
                  </a:lnTo>
                  <a:lnTo>
                    <a:pt x="8371850" y="5278799"/>
                  </a:lnTo>
                  <a:lnTo>
                    <a:pt x="8371850" y="5268928"/>
                  </a:lnTo>
                  <a:close/>
                  <a:moveTo>
                    <a:pt x="8136553" y="5264889"/>
                  </a:moveTo>
                  <a:lnTo>
                    <a:pt x="8146464" y="5264889"/>
                  </a:lnTo>
                  <a:lnTo>
                    <a:pt x="8150483" y="5268928"/>
                  </a:lnTo>
                  <a:lnTo>
                    <a:pt x="8150483" y="5278799"/>
                  </a:lnTo>
                  <a:lnTo>
                    <a:pt x="8146464" y="5282838"/>
                  </a:lnTo>
                  <a:lnTo>
                    <a:pt x="8136553" y="5282838"/>
                  </a:lnTo>
                  <a:lnTo>
                    <a:pt x="8132534" y="5278799"/>
                  </a:lnTo>
                  <a:lnTo>
                    <a:pt x="8132534" y="5268928"/>
                  </a:lnTo>
                  <a:close/>
                  <a:moveTo>
                    <a:pt x="7897241" y="5264889"/>
                  </a:moveTo>
                  <a:lnTo>
                    <a:pt x="7907151" y="5264889"/>
                  </a:lnTo>
                  <a:lnTo>
                    <a:pt x="7911170" y="5268928"/>
                  </a:lnTo>
                  <a:lnTo>
                    <a:pt x="7911170" y="5278799"/>
                  </a:lnTo>
                  <a:lnTo>
                    <a:pt x="7907151" y="5282838"/>
                  </a:lnTo>
                  <a:lnTo>
                    <a:pt x="7897241" y="5282838"/>
                  </a:lnTo>
                  <a:lnTo>
                    <a:pt x="7893222" y="5278799"/>
                  </a:lnTo>
                  <a:lnTo>
                    <a:pt x="7893222" y="5268928"/>
                  </a:lnTo>
                  <a:close/>
                  <a:moveTo>
                    <a:pt x="7657926" y="5264889"/>
                  </a:moveTo>
                  <a:lnTo>
                    <a:pt x="7667836" y="5264889"/>
                  </a:lnTo>
                  <a:lnTo>
                    <a:pt x="7671855" y="5268928"/>
                  </a:lnTo>
                  <a:lnTo>
                    <a:pt x="7671855" y="5278799"/>
                  </a:lnTo>
                  <a:lnTo>
                    <a:pt x="7667836" y="5282838"/>
                  </a:lnTo>
                  <a:lnTo>
                    <a:pt x="7657926" y="5282838"/>
                  </a:lnTo>
                  <a:lnTo>
                    <a:pt x="7653906" y="5278799"/>
                  </a:lnTo>
                  <a:lnTo>
                    <a:pt x="7653906" y="5268928"/>
                  </a:lnTo>
                  <a:close/>
                  <a:moveTo>
                    <a:pt x="7418611" y="5264889"/>
                  </a:moveTo>
                  <a:lnTo>
                    <a:pt x="7428521" y="5264889"/>
                  </a:lnTo>
                  <a:lnTo>
                    <a:pt x="7432540" y="5268928"/>
                  </a:lnTo>
                  <a:lnTo>
                    <a:pt x="7432540" y="5278799"/>
                  </a:lnTo>
                  <a:lnTo>
                    <a:pt x="7428521" y="5282838"/>
                  </a:lnTo>
                  <a:lnTo>
                    <a:pt x="7418611" y="5282838"/>
                  </a:lnTo>
                  <a:lnTo>
                    <a:pt x="7414592" y="5278799"/>
                  </a:lnTo>
                  <a:lnTo>
                    <a:pt x="7414592" y="5268928"/>
                  </a:lnTo>
                  <a:close/>
                  <a:moveTo>
                    <a:pt x="7179298" y="5264889"/>
                  </a:moveTo>
                  <a:lnTo>
                    <a:pt x="7189209" y="5264889"/>
                  </a:lnTo>
                  <a:lnTo>
                    <a:pt x="7193228" y="5268928"/>
                  </a:lnTo>
                  <a:lnTo>
                    <a:pt x="7193228" y="5278799"/>
                  </a:lnTo>
                  <a:lnTo>
                    <a:pt x="7189209" y="5282838"/>
                  </a:lnTo>
                  <a:lnTo>
                    <a:pt x="7179298" y="5282838"/>
                  </a:lnTo>
                  <a:lnTo>
                    <a:pt x="7175279" y="5278799"/>
                  </a:lnTo>
                  <a:lnTo>
                    <a:pt x="7175279" y="5268928"/>
                  </a:lnTo>
                  <a:close/>
                  <a:moveTo>
                    <a:pt x="6939983" y="5264889"/>
                  </a:moveTo>
                  <a:lnTo>
                    <a:pt x="6949894" y="5264889"/>
                  </a:lnTo>
                  <a:lnTo>
                    <a:pt x="6953913" y="5268928"/>
                  </a:lnTo>
                  <a:lnTo>
                    <a:pt x="6953913" y="5278799"/>
                  </a:lnTo>
                  <a:lnTo>
                    <a:pt x="6949894" y="5282838"/>
                  </a:lnTo>
                  <a:lnTo>
                    <a:pt x="6939983" y="5282838"/>
                  </a:lnTo>
                  <a:lnTo>
                    <a:pt x="6935964" y="5278799"/>
                  </a:lnTo>
                  <a:lnTo>
                    <a:pt x="6935964" y="5268928"/>
                  </a:lnTo>
                  <a:close/>
                  <a:moveTo>
                    <a:pt x="6700670" y="5264889"/>
                  </a:moveTo>
                  <a:lnTo>
                    <a:pt x="6710581" y="5264889"/>
                  </a:lnTo>
                  <a:lnTo>
                    <a:pt x="6714600" y="5268928"/>
                  </a:lnTo>
                  <a:lnTo>
                    <a:pt x="6714600" y="5278799"/>
                  </a:lnTo>
                  <a:lnTo>
                    <a:pt x="6710581" y="5282838"/>
                  </a:lnTo>
                  <a:lnTo>
                    <a:pt x="6700670" y="5282838"/>
                  </a:lnTo>
                  <a:lnTo>
                    <a:pt x="6696651" y="5278799"/>
                  </a:lnTo>
                  <a:lnTo>
                    <a:pt x="6696651" y="5268928"/>
                  </a:lnTo>
                  <a:close/>
                  <a:moveTo>
                    <a:pt x="6461356" y="5264889"/>
                  </a:moveTo>
                  <a:lnTo>
                    <a:pt x="6471266" y="5264889"/>
                  </a:lnTo>
                  <a:lnTo>
                    <a:pt x="6475285" y="5268928"/>
                  </a:lnTo>
                  <a:lnTo>
                    <a:pt x="6475285" y="5278799"/>
                  </a:lnTo>
                  <a:lnTo>
                    <a:pt x="6471266" y="5282838"/>
                  </a:lnTo>
                  <a:lnTo>
                    <a:pt x="6461356" y="5282838"/>
                  </a:lnTo>
                  <a:lnTo>
                    <a:pt x="6457337" y="5278799"/>
                  </a:lnTo>
                  <a:lnTo>
                    <a:pt x="6457337" y="5268928"/>
                  </a:lnTo>
                  <a:close/>
                  <a:moveTo>
                    <a:pt x="6222042" y="5264889"/>
                  </a:moveTo>
                  <a:lnTo>
                    <a:pt x="6231952" y="5264889"/>
                  </a:lnTo>
                  <a:lnTo>
                    <a:pt x="6235971" y="5268928"/>
                  </a:lnTo>
                  <a:lnTo>
                    <a:pt x="6235971" y="5278799"/>
                  </a:lnTo>
                  <a:lnTo>
                    <a:pt x="6231952" y="5282838"/>
                  </a:lnTo>
                  <a:lnTo>
                    <a:pt x="6222042" y="5282838"/>
                  </a:lnTo>
                  <a:lnTo>
                    <a:pt x="6218023" y="5278799"/>
                  </a:lnTo>
                  <a:lnTo>
                    <a:pt x="6218023" y="5268928"/>
                  </a:lnTo>
                  <a:close/>
                  <a:moveTo>
                    <a:pt x="5982729" y="5264889"/>
                  </a:moveTo>
                  <a:lnTo>
                    <a:pt x="5992639" y="5264889"/>
                  </a:lnTo>
                  <a:lnTo>
                    <a:pt x="5996658" y="5268928"/>
                  </a:lnTo>
                  <a:lnTo>
                    <a:pt x="5996658" y="5278799"/>
                  </a:lnTo>
                  <a:lnTo>
                    <a:pt x="5992639" y="5282838"/>
                  </a:lnTo>
                  <a:lnTo>
                    <a:pt x="5982729" y="5282838"/>
                  </a:lnTo>
                  <a:lnTo>
                    <a:pt x="5978710" y="5278799"/>
                  </a:lnTo>
                  <a:lnTo>
                    <a:pt x="5978710" y="5268928"/>
                  </a:lnTo>
                  <a:close/>
                  <a:moveTo>
                    <a:pt x="5743412" y="5264889"/>
                  </a:moveTo>
                  <a:lnTo>
                    <a:pt x="5753323" y="5264889"/>
                  </a:lnTo>
                  <a:lnTo>
                    <a:pt x="5757342" y="5268928"/>
                  </a:lnTo>
                  <a:lnTo>
                    <a:pt x="5757342" y="5278799"/>
                  </a:lnTo>
                  <a:lnTo>
                    <a:pt x="5753323" y="5282838"/>
                  </a:lnTo>
                  <a:lnTo>
                    <a:pt x="5743412" y="5282838"/>
                  </a:lnTo>
                  <a:lnTo>
                    <a:pt x="5739393" y="5278799"/>
                  </a:lnTo>
                  <a:lnTo>
                    <a:pt x="5739393" y="5268928"/>
                  </a:lnTo>
                  <a:close/>
                  <a:moveTo>
                    <a:pt x="5504099" y="5264889"/>
                  </a:moveTo>
                  <a:lnTo>
                    <a:pt x="5514010" y="5264889"/>
                  </a:lnTo>
                  <a:lnTo>
                    <a:pt x="5518029" y="5268928"/>
                  </a:lnTo>
                  <a:lnTo>
                    <a:pt x="5518029" y="5278799"/>
                  </a:lnTo>
                  <a:lnTo>
                    <a:pt x="5514010" y="5282838"/>
                  </a:lnTo>
                  <a:lnTo>
                    <a:pt x="5504099" y="5282838"/>
                  </a:lnTo>
                  <a:lnTo>
                    <a:pt x="5500080" y="5278799"/>
                  </a:lnTo>
                  <a:lnTo>
                    <a:pt x="5500080" y="5268928"/>
                  </a:lnTo>
                  <a:close/>
                  <a:moveTo>
                    <a:pt x="5264784" y="5264889"/>
                  </a:moveTo>
                  <a:lnTo>
                    <a:pt x="5274694" y="5264889"/>
                  </a:lnTo>
                  <a:lnTo>
                    <a:pt x="5278713" y="5268928"/>
                  </a:lnTo>
                  <a:lnTo>
                    <a:pt x="5278713" y="5278799"/>
                  </a:lnTo>
                  <a:lnTo>
                    <a:pt x="5274694" y="5282838"/>
                  </a:lnTo>
                  <a:lnTo>
                    <a:pt x="5264784" y="5282838"/>
                  </a:lnTo>
                  <a:lnTo>
                    <a:pt x="5260765" y="5278799"/>
                  </a:lnTo>
                  <a:lnTo>
                    <a:pt x="5260765" y="5268928"/>
                  </a:lnTo>
                  <a:close/>
                  <a:moveTo>
                    <a:pt x="5025470" y="5264889"/>
                  </a:moveTo>
                  <a:lnTo>
                    <a:pt x="5035381" y="5264889"/>
                  </a:lnTo>
                  <a:lnTo>
                    <a:pt x="5039400" y="5268928"/>
                  </a:lnTo>
                  <a:lnTo>
                    <a:pt x="5039400" y="5278799"/>
                  </a:lnTo>
                  <a:lnTo>
                    <a:pt x="5035381" y="5282838"/>
                  </a:lnTo>
                  <a:lnTo>
                    <a:pt x="5025470" y="5282838"/>
                  </a:lnTo>
                  <a:lnTo>
                    <a:pt x="5021451" y="5278799"/>
                  </a:lnTo>
                  <a:lnTo>
                    <a:pt x="5021451" y="5268928"/>
                  </a:lnTo>
                  <a:close/>
                  <a:moveTo>
                    <a:pt x="4786241" y="5264889"/>
                  </a:moveTo>
                  <a:lnTo>
                    <a:pt x="4796152" y="5264889"/>
                  </a:lnTo>
                  <a:lnTo>
                    <a:pt x="4800171" y="5268928"/>
                  </a:lnTo>
                  <a:lnTo>
                    <a:pt x="4800171" y="5278799"/>
                  </a:lnTo>
                  <a:lnTo>
                    <a:pt x="4796152" y="5282838"/>
                  </a:lnTo>
                  <a:lnTo>
                    <a:pt x="4786241" y="5282838"/>
                  </a:lnTo>
                  <a:lnTo>
                    <a:pt x="4782224" y="5278799"/>
                  </a:lnTo>
                  <a:lnTo>
                    <a:pt x="4782224" y="5268928"/>
                  </a:lnTo>
                  <a:close/>
                  <a:moveTo>
                    <a:pt x="4546929" y="5264889"/>
                  </a:moveTo>
                  <a:lnTo>
                    <a:pt x="4556840" y="5264889"/>
                  </a:lnTo>
                  <a:lnTo>
                    <a:pt x="4560859" y="5268928"/>
                  </a:lnTo>
                  <a:lnTo>
                    <a:pt x="4560859" y="5278799"/>
                  </a:lnTo>
                  <a:lnTo>
                    <a:pt x="4556840" y="5282838"/>
                  </a:lnTo>
                  <a:lnTo>
                    <a:pt x="4546929" y="5282838"/>
                  </a:lnTo>
                  <a:lnTo>
                    <a:pt x="4542910" y="5278799"/>
                  </a:lnTo>
                  <a:lnTo>
                    <a:pt x="4542910" y="5268928"/>
                  </a:lnTo>
                  <a:close/>
                  <a:moveTo>
                    <a:pt x="4307612" y="5264889"/>
                  </a:moveTo>
                  <a:lnTo>
                    <a:pt x="4317523" y="5264889"/>
                  </a:lnTo>
                  <a:lnTo>
                    <a:pt x="4321543" y="5268928"/>
                  </a:lnTo>
                  <a:lnTo>
                    <a:pt x="4321543" y="5278799"/>
                  </a:lnTo>
                  <a:lnTo>
                    <a:pt x="4317523" y="5282838"/>
                  </a:lnTo>
                  <a:lnTo>
                    <a:pt x="4307612" y="5282838"/>
                  </a:lnTo>
                  <a:lnTo>
                    <a:pt x="4303595" y="5278799"/>
                  </a:lnTo>
                  <a:lnTo>
                    <a:pt x="4303595" y="5268928"/>
                  </a:lnTo>
                  <a:close/>
                  <a:moveTo>
                    <a:pt x="4068297" y="5264889"/>
                  </a:moveTo>
                  <a:lnTo>
                    <a:pt x="4078210" y="5264889"/>
                  </a:lnTo>
                  <a:lnTo>
                    <a:pt x="4082229" y="5268928"/>
                  </a:lnTo>
                  <a:lnTo>
                    <a:pt x="4082229" y="5278799"/>
                  </a:lnTo>
                  <a:lnTo>
                    <a:pt x="4078210" y="5282838"/>
                  </a:lnTo>
                  <a:lnTo>
                    <a:pt x="4068297" y="5282838"/>
                  </a:lnTo>
                  <a:lnTo>
                    <a:pt x="4064278" y="5278799"/>
                  </a:lnTo>
                  <a:lnTo>
                    <a:pt x="4064278" y="5268928"/>
                  </a:lnTo>
                  <a:close/>
                  <a:moveTo>
                    <a:pt x="3828990" y="5264889"/>
                  </a:moveTo>
                  <a:lnTo>
                    <a:pt x="3838899" y="5264889"/>
                  </a:lnTo>
                  <a:lnTo>
                    <a:pt x="3842917" y="5268928"/>
                  </a:lnTo>
                  <a:lnTo>
                    <a:pt x="3842917" y="5278799"/>
                  </a:lnTo>
                  <a:lnTo>
                    <a:pt x="3838899" y="5282838"/>
                  </a:lnTo>
                  <a:lnTo>
                    <a:pt x="3828990" y="5282838"/>
                  </a:lnTo>
                  <a:lnTo>
                    <a:pt x="3824971" y="5278799"/>
                  </a:lnTo>
                  <a:lnTo>
                    <a:pt x="3824971" y="5268928"/>
                  </a:lnTo>
                  <a:close/>
                  <a:moveTo>
                    <a:pt x="3589676" y="5264889"/>
                  </a:moveTo>
                  <a:lnTo>
                    <a:pt x="3599585" y="5264889"/>
                  </a:lnTo>
                  <a:lnTo>
                    <a:pt x="3603604" y="5268928"/>
                  </a:lnTo>
                  <a:lnTo>
                    <a:pt x="3603604" y="5278799"/>
                  </a:lnTo>
                  <a:lnTo>
                    <a:pt x="3599585" y="5282838"/>
                  </a:lnTo>
                  <a:lnTo>
                    <a:pt x="3589676" y="5282838"/>
                  </a:lnTo>
                  <a:lnTo>
                    <a:pt x="3585657" y="5278799"/>
                  </a:lnTo>
                  <a:lnTo>
                    <a:pt x="3585657" y="5268928"/>
                  </a:lnTo>
                  <a:close/>
                  <a:moveTo>
                    <a:pt x="3350359" y="5264889"/>
                  </a:moveTo>
                  <a:lnTo>
                    <a:pt x="3360268" y="5264889"/>
                  </a:lnTo>
                  <a:lnTo>
                    <a:pt x="3364287" y="5268928"/>
                  </a:lnTo>
                  <a:lnTo>
                    <a:pt x="3364287" y="5278799"/>
                  </a:lnTo>
                  <a:lnTo>
                    <a:pt x="3360268" y="5282838"/>
                  </a:lnTo>
                  <a:lnTo>
                    <a:pt x="3350359" y="5282838"/>
                  </a:lnTo>
                  <a:lnTo>
                    <a:pt x="3346340" y="5278799"/>
                  </a:lnTo>
                  <a:lnTo>
                    <a:pt x="3346340" y="5268928"/>
                  </a:lnTo>
                  <a:close/>
                  <a:moveTo>
                    <a:pt x="3111048" y="5264889"/>
                  </a:moveTo>
                  <a:lnTo>
                    <a:pt x="3120959" y="5264889"/>
                  </a:lnTo>
                  <a:lnTo>
                    <a:pt x="3124977" y="5268928"/>
                  </a:lnTo>
                  <a:lnTo>
                    <a:pt x="3124977" y="5278799"/>
                  </a:lnTo>
                  <a:lnTo>
                    <a:pt x="3120959" y="5282838"/>
                  </a:lnTo>
                  <a:lnTo>
                    <a:pt x="3111048" y="5282838"/>
                  </a:lnTo>
                  <a:lnTo>
                    <a:pt x="3107029" y="5278799"/>
                  </a:lnTo>
                  <a:lnTo>
                    <a:pt x="3107029" y="5268928"/>
                  </a:lnTo>
                  <a:close/>
                  <a:moveTo>
                    <a:pt x="2871737" y="5264889"/>
                  </a:moveTo>
                  <a:lnTo>
                    <a:pt x="2881646" y="5264889"/>
                  </a:lnTo>
                  <a:lnTo>
                    <a:pt x="2885666" y="5268928"/>
                  </a:lnTo>
                  <a:lnTo>
                    <a:pt x="2885666" y="5278799"/>
                  </a:lnTo>
                  <a:lnTo>
                    <a:pt x="2881646" y="5282838"/>
                  </a:lnTo>
                  <a:lnTo>
                    <a:pt x="2871737" y="5282838"/>
                  </a:lnTo>
                  <a:lnTo>
                    <a:pt x="2867717" y="5278799"/>
                  </a:lnTo>
                  <a:lnTo>
                    <a:pt x="2867717" y="5268928"/>
                  </a:lnTo>
                  <a:close/>
                  <a:moveTo>
                    <a:pt x="2632423" y="5264889"/>
                  </a:moveTo>
                  <a:lnTo>
                    <a:pt x="2642334" y="5264889"/>
                  </a:lnTo>
                  <a:lnTo>
                    <a:pt x="2646352" y="5268928"/>
                  </a:lnTo>
                  <a:lnTo>
                    <a:pt x="2646352" y="5278799"/>
                  </a:lnTo>
                  <a:lnTo>
                    <a:pt x="2642334" y="5282838"/>
                  </a:lnTo>
                  <a:lnTo>
                    <a:pt x="2632423" y="5282838"/>
                  </a:lnTo>
                  <a:lnTo>
                    <a:pt x="2628404" y="5278799"/>
                  </a:lnTo>
                  <a:lnTo>
                    <a:pt x="2628404" y="5268928"/>
                  </a:lnTo>
                  <a:close/>
                  <a:moveTo>
                    <a:pt x="2393104" y="5264889"/>
                  </a:moveTo>
                  <a:lnTo>
                    <a:pt x="2403015" y="5264889"/>
                  </a:lnTo>
                  <a:lnTo>
                    <a:pt x="2407034" y="5268928"/>
                  </a:lnTo>
                  <a:lnTo>
                    <a:pt x="2407034" y="5278799"/>
                  </a:lnTo>
                  <a:lnTo>
                    <a:pt x="2403015" y="5282838"/>
                  </a:lnTo>
                  <a:lnTo>
                    <a:pt x="2393104" y="5282838"/>
                  </a:lnTo>
                  <a:lnTo>
                    <a:pt x="2389087" y="5278799"/>
                  </a:lnTo>
                  <a:lnTo>
                    <a:pt x="2389087" y="5268928"/>
                  </a:lnTo>
                  <a:close/>
                  <a:moveTo>
                    <a:pt x="721961" y="5264889"/>
                  </a:moveTo>
                  <a:lnTo>
                    <a:pt x="731872" y="5264889"/>
                  </a:lnTo>
                  <a:lnTo>
                    <a:pt x="735891" y="5268928"/>
                  </a:lnTo>
                  <a:lnTo>
                    <a:pt x="735891" y="5278799"/>
                  </a:lnTo>
                  <a:lnTo>
                    <a:pt x="731872" y="5282838"/>
                  </a:lnTo>
                  <a:lnTo>
                    <a:pt x="721961" y="5282838"/>
                  </a:lnTo>
                  <a:lnTo>
                    <a:pt x="717943" y="5278799"/>
                  </a:lnTo>
                  <a:lnTo>
                    <a:pt x="717943" y="5268928"/>
                  </a:lnTo>
                  <a:close/>
                  <a:moveTo>
                    <a:pt x="482649" y="5264889"/>
                  </a:moveTo>
                  <a:lnTo>
                    <a:pt x="492560" y="5264889"/>
                  </a:lnTo>
                  <a:lnTo>
                    <a:pt x="496579" y="5268928"/>
                  </a:lnTo>
                  <a:lnTo>
                    <a:pt x="496579" y="5278799"/>
                  </a:lnTo>
                  <a:lnTo>
                    <a:pt x="492560" y="5282838"/>
                  </a:lnTo>
                  <a:lnTo>
                    <a:pt x="482649" y="5282838"/>
                  </a:lnTo>
                  <a:lnTo>
                    <a:pt x="478630" y="5278799"/>
                  </a:lnTo>
                  <a:lnTo>
                    <a:pt x="478630" y="5268928"/>
                  </a:lnTo>
                  <a:close/>
                  <a:moveTo>
                    <a:pt x="243336" y="5264889"/>
                  </a:moveTo>
                  <a:lnTo>
                    <a:pt x="253246" y="5264889"/>
                  </a:lnTo>
                  <a:lnTo>
                    <a:pt x="257265" y="5268928"/>
                  </a:lnTo>
                  <a:lnTo>
                    <a:pt x="257265" y="5278799"/>
                  </a:lnTo>
                  <a:lnTo>
                    <a:pt x="253246" y="5282838"/>
                  </a:lnTo>
                  <a:lnTo>
                    <a:pt x="243336" y="5282838"/>
                  </a:lnTo>
                  <a:lnTo>
                    <a:pt x="239317" y="5278799"/>
                  </a:lnTo>
                  <a:lnTo>
                    <a:pt x="239317" y="5268928"/>
                  </a:lnTo>
                  <a:close/>
                  <a:moveTo>
                    <a:pt x="4022" y="5264889"/>
                  </a:moveTo>
                  <a:lnTo>
                    <a:pt x="13933" y="5264889"/>
                  </a:lnTo>
                  <a:lnTo>
                    <a:pt x="17952" y="5268928"/>
                  </a:lnTo>
                  <a:lnTo>
                    <a:pt x="17952" y="5278799"/>
                  </a:lnTo>
                  <a:lnTo>
                    <a:pt x="13933" y="5282838"/>
                  </a:lnTo>
                  <a:lnTo>
                    <a:pt x="4022" y="5282838"/>
                  </a:lnTo>
                  <a:lnTo>
                    <a:pt x="3" y="5278799"/>
                  </a:lnTo>
                  <a:lnTo>
                    <a:pt x="3" y="5268928"/>
                  </a:lnTo>
                  <a:close/>
                  <a:moveTo>
                    <a:pt x="2157819" y="5025610"/>
                  </a:moveTo>
                  <a:lnTo>
                    <a:pt x="2167729" y="5025610"/>
                  </a:lnTo>
                  <a:lnTo>
                    <a:pt x="2171748" y="5029648"/>
                  </a:lnTo>
                  <a:lnTo>
                    <a:pt x="2171748" y="5039519"/>
                  </a:lnTo>
                  <a:lnTo>
                    <a:pt x="2167729" y="5043558"/>
                  </a:lnTo>
                  <a:lnTo>
                    <a:pt x="2157819" y="5043558"/>
                  </a:lnTo>
                  <a:lnTo>
                    <a:pt x="2153800" y="5039519"/>
                  </a:lnTo>
                  <a:lnTo>
                    <a:pt x="2153800" y="5029648"/>
                  </a:lnTo>
                  <a:close/>
                  <a:moveTo>
                    <a:pt x="1918510" y="5025610"/>
                  </a:moveTo>
                  <a:lnTo>
                    <a:pt x="1928420" y="5025610"/>
                  </a:lnTo>
                  <a:lnTo>
                    <a:pt x="1932440" y="5029648"/>
                  </a:lnTo>
                  <a:lnTo>
                    <a:pt x="1932440" y="5039519"/>
                  </a:lnTo>
                  <a:lnTo>
                    <a:pt x="1928420" y="5043558"/>
                  </a:lnTo>
                  <a:lnTo>
                    <a:pt x="1918510" y="5043558"/>
                  </a:lnTo>
                  <a:lnTo>
                    <a:pt x="1914492" y="5039519"/>
                  </a:lnTo>
                  <a:lnTo>
                    <a:pt x="1914492" y="5029648"/>
                  </a:lnTo>
                  <a:close/>
                  <a:moveTo>
                    <a:pt x="1679204" y="5025610"/>
                  </a:moveTo>
                  <a:lnTo>
                    <a:pt x="1689115" y="5025610"/>
                  </a:lnTo>
                  <a:lnTo>
                    <a:pt x="1693133" y="5029648"/>
                  </a:lnTo>
                  <a:lnTo>
                    <a:pt x="1693133" y="5039519"/>
                  </a:lnTo>
                  <a:lnTo>
                    <a:pt x="1689115" y="5043558"/>
                  </a:lnTo>
                  <a:lnTo>
                    <a:pt x="1679204" y="5043558"/>
                  </a:lnTo>
                  <a:lnTo>
                    <a:pt x="1675185" y="5039519"/>
                  </a:lnTo>
                  <a:lnTo>
                    <a:pt x="1675185" y="5029648"/>
                  </a:lnTo>
                  <a:close/>
                  <a:moveTo>
                    <a:pt x="1439889" y="5025610"/>
                  </a:moveTo>
                  <a:lnTo>
                    <a:pt x="1449798" y="5025610"/>
                  </a:lnTo>
                  <a:lnTo>
                    <a:pt x="1453818" y="5029648"/>
                  </a:lnTo>
                  <a:lnTo>
                    <a:pt x="1453818" y="5039519"/>
                  </a:lnTo>
                  <a:lnTo>
                    <a:pt x="1449798" y="5043558"/>
                  </a:lnTo>
                  <a:lnTo>
                    <a:pt x="1439889" y="5043558"/>
                  </a:lnTo>
                  <a:lnTo>
                    <a:pt x="1435870" y="5039519"/>
                  </a:lnTo>
                  <a:lnTo>
                    <a:pt x="1435870" y="5029648"/>
                  </a:lnTo>
                  <a:close/>
                  <a:moveTo>
                    <a:pt x="1200573" y="5025610"/>
                  </a:moveTo>
                  <a:lnTo>
                    <a:pt x="1210484" y="5025610"/>
                  </a:lnTo>
                  <a:lnTo>
                    <a:pt x="1214502" y="5029648"/>
                  </a:lnTo>
                  <a:lnTo>
                    <a:pt x="1214502" y="5039519"/>
                  </a:lnTo>
                  <a:lnTo>
                    <a:pt x="1210484" y="5043558"/>
                  </a:lnTo>
                  <a:lnTo>
                    <a:pt x="1200573" y="5043558"/>
                  </a:lnTo>
                  <a:lnTo>
                    <a:pt x="1196555" y="5039519"/>
                  </a:lnTo>
                  <a:lnTo>
                    <a:pt x="1196555" y="5029648"/>
                  </a:lnTo>
                  <a:close/>
                  <a:moveTo>
                    <a:pt x="961261" y="5025610"/>
                  </a:moveTo>
                  <a:lnTo>
                    <a:pt x="971171" y="5025610"/>
                  </a:lnTo>
                  <a:lnTo>
                    <a:pt x="975190" y="5029648"/>
                  </a:lnTo>
                  <a:lnTo>
                    <a:pt x="975190" y="5039519"/>
                  </a:lnTo>
                  <a:lnTo>
                    <a:pt x="971171" y="5043558"/>
                  </a:lnTo>
                  <a:lnTo>
                    <a:pt x="961261" y="5043558"/>
                  </a:lnTo>
                  <a:lnTo>
                    <a:pt x="957242" y="5039519"/>
                  </a:lnTo>
                  <a:lnTo>
                    <a:pt x="957242" y="5029648"/>
                  </a:lnTo>
                  <a:close/>
                  <a:moveTo>
                    <a:pt x="9572438" y="5025558"/>
                  </a:moveTo>
                  <a:lnTo>
                    <a:pt x="9582349" y="5025558"/>
                  </a:lnTo>
                  <a:lnTo>
                    <a:pt x="9586368" y="5029597"/>
                  </a:lnTo>
                  <a:lnTo>
                    <a:pt x="9586368" y="5039468"/>
                  </a:lnTo>
                  <a:lnTo>
                    <a:pt x="9582349" y="5043507"/>
                  </a:lnTo>
                  <a:lnTo>
                    <a:pt x="9572438" y="5043507"/>
                  </a:lnTo>
                  <a:lnTo>
                    <a:pt x="9568419" y="5039468"/>
                  </a:lnTo>
                  <a:lnTo>
                    <a:pt x="9568419" y="5029597"/>
                  </a:lnTo>
                  <a:close/>
                  <a:moveTo>
                    <a:pt x="9333125" y="5025558"/>
                  </a:moveTo>
                  <a:lnTo>
                    <a:pt x="9343036" y="5025558"/>
                  </a:lnTo>
                  <a:lnTo>
                    <a:pt x="9347055" y="5029597"/>
                  </a:lnTo>
                  <a:lnTo>
                    <a:pt x="9347055" y="5039468"/>
                  </a:lnTo>
                  <a:lnTo>
                    <a:pt x="9343036" y="5043507"/>
                  </a:lnTo>
                  <a:lnTo>
                    <a:pt x="9333125" y="5043507"/>
                  </a:lnTo>
                  <a:lnTo>
                    <a:pt x="9329106" y="5039468"/>
                  </a:lnTo>
                  <a:lnTo>
                    <a:pt x="9329106" y="5029597"/>
                  </a:lnTo>
                  <a:close/>
                  <a:moveTo>
                    <a:pt x="9093811" y="5025558"/>
                  </a:moveTo>
                  <a:lnTo>
                    <a:pt x="9103722" y="5025558"/>
                  </a:lnTo>
                  <a:lnTo>
                    <a:pt x="9107741" y="5029597"/>
                  </a:lnTo>
                  <a:lnTo>
                    <a:pt x="9107741" y="5039468"/>
                  </a:lnTo>
                  <a:lnTo>
                    <a:pt x="9103722" y="5043507"/>
                  </a:lnTo>
                  <a:lnTo>
                    <a:pt x="9093811" y="5043507"/>
                  </a:lnTo>
                  <a:lnTo>
                    <a:pt x="9089792" y="5039468"/>
                  </a:lnTo>
                  <a:lnTo>
                    <a:pt x="9089792" y="5029597"/>
                  </a:lnTo>
                  <a:close/>
                  <a:moveTo>
                    <a:pt x="8854496" y="5025558"/>
                  </a:moveTo>
                  <a:lnTo>
                    <a:pt x="8864407" y="5025558"/>
                  </a:lnTo>
                  <a:lnTo>
                    <a:pt x="8868426" y="5029597"/>
                  </a:lnTo>
                  <a:lnTo>
                    <a:pt x="8868426" y="5039468"/>
                  </a:lnTo>
                  <a:lnTo>
                    <a:pt x="8864407" y="5043507"/>
                  </a:lnTo>
                  <a:lnTo>
                    <a:pt x="8854496" y="5043507"/>
                  </a:lnTo>
                  <a:lnTo>
                    <a:pt x="8850477" y="5039468"/>
                  </a:lnTo>
                  <a:lnTo>
                    <a:pt x="8850477" y="5029597"/>
                  </a:lnTo>
                  <a:close/>
                  <a:moveTo>
                    <a:pt x="8615184" y="5025558"/>
                  </a:moveTo>
                  <a:lnTo>
                    <a:pt x="8625095" y="5025558"/>
                  </a:lnTo>
                  <a:lnTo>
                    <a:pt x="8629114" y="5029597"/>
                  </a:lnTo>
                  <a:lnTo>
                    <a:pt x="8629114" y="5039468"/>
                  </a:lnTo>
                  <a:lnTo>
                    <a:pt x="8625095" y="5043507"/>
                  </a:lnTo>
                  <a:lnTo>
                    <a:pt x="8615184" y="5043507"/>
                  </a:lnTo>
                  <a:lnTo>
                    <a:pt x="8611165" y="5039468"/>
                  </a:lnTo>
                  <a:lnTo>
                    <a:pt x="8611165" y="5029597"/>
                  </a:lnTo>
                  <a:close/>
                  <a:moveTo>
                    <a:pt x="8375869" y="5025558"/>
                  </a:moveTo>
                  <a:lnTo>
                    <a:pt x="8385779" y="5025558"/>
                  </a:lnTo>
                  <a:lnTo>
                    <a:pt x="8389799" y="5029597"/>
                  </a:lnTo>
                  <a:lnTo>
                    <a:pt x="8389799" y="5039468"/>
                  </a:lnTo>
                  <a:lnTo>
                    <a:pt x="8385779" y="5043507"/>
                  </a:lnTo>
                  <a:lnTo>
                    <a:pt x="8375869" y="5043507"/>
                  </a:lnTo>
                  <a:lnTo>
                    <a:pt x="8371850" y="5039468"/>
                  </a:lnTo>
                  <a:lnTo>
                    <a:pt x="8371850" y="5029597"/>
                  </a:lnTo>
                  <a:close/>
                  <a:moveTo>
                    <a:pt x="8136553" y="5025558"/>
                  </a:moveTo>
                  <a:lnTo>
                    <a:pt x="8146464" y="5025558"/>
                  </a:lnTo>
                  <a:lnTo>
                    <a:pt x="8150483" y="5029597"/>
                  </a:lnTo>
                  <a:lnTo>
                    <a:pt x="8150483" y="5039468"/>
                  </a:lnTo>
                  <a:lnTo>
                    <a:pt x="8146464" y="5043507"/>
                  </a:lnTo>
                  <a:lnTo>
                    <a:pt x="8136553" y="5043507"/>
                  </a:lnTo>
                  <a:lnTo>
                    <a:pt x="8132534" y="5039468"/>
                  </a:lnTo>
                  <a:lnTo>
                    <a:pt x="8132534" y="5029597"/>
                  </a:lnTo>
                  <a:close/>
                  <a:moveTo>
                    <a:pt x="7897241" y="5025558"/>
                  </a:moveTo>
                  <a:lnTo>
                    <a:pt x="7907151" y="5025558"/>
                  </a:lnTo>
                  <a:lnTo>
                    <a:pt x="7911170" y="5029597"/>
                  </a:lnTo>
                  <a:lnTo>
                    <a:pt x="7911170" y="5039468"/>
                  </a:lnTo>
                  <a:lnTo>
                    <a:pt x="7907151" y="5043507"/>
                  </a:lnTo>
                  <a:lnTo>
                    <a:pt x="7897241" y="5043507"/>
                  </a:lnTo>
                  <a:lnTo>
                    <a:pt x="7893222" y="5039468"/>
                  </a:lnTo>
                  <a:lnTo>
                    <a:pt x="7893222" y="5029597"/>
                  </a:lnTo>
                  <a:close/>
                  <a:moveTo>
                    <a:pt x="7657926" y="5025558"/>
                  </a:moveTo>
                  <a:lnTo>
                    <a:pt x="7667836" y="5025558"/>
                  </a:lnTo>
                  <a:lnTo>
                    <a:pt x="7671855" y="5029597"/>
                  </a:lnTo>
                  <a:lnTo>
                    <a:pt x="7671855" y="5039468"/>
                  </a:lnTo>
                  <a:lnTo>
                    <a:pt x="7667836" y="5043507"/>
                  </a:lnTo>
                  <a:lnTo>
                    <a:pt x="7657926" y="5043507"/>
                  </a:lnTo>
                  <a:lnTo>
                    <a:pt x="7653906" y="5039468"/>
                  </a:lnTo>
                  <a:lnTo>
                    <a:pt x="7653906" y="5029597"/>
                  </a:lnTo>
                  <a:close/>
                  <a:moveTo>
                    <a:pt x="7418611" y="5025558"/>
                  </a:moveTo>
                  <a:lnTo>
                    <a:pt x="7428521" y="5025558"/>
                  </a:lnTo>
                  <a:lnTo>
                    <a:pt x="7432540" y="5029597"/>
                  </a:lnTo>
                  <a:lnTo>
                    <a:pt x="7432540" y="5039468"/>
                  </a:lnTo>
                  <a:lnTo>
                    <a:pt x="7428521" y="5043507"/>
                  </a:lnTo>
                  <a:lnTo>
                    <a:pt x="7418611" y="5043507"/>
                  </a:lnTo>
                  <a:lnTo>
                    <a:pt x="7414592" y="5039468"/>
                  </a:lnTo>
                  <a:lnTo>
                    <a:pt x="7414592" y="5029597"/>
                  </a:lnTo>
                  <a:close/>
                  <a:moveTo>
                    <a:pt x="7179298" y="5025558"/>
                  </a:moveTo>
                  <a:lnTo>
                    <a:pt x="7189209" y="5025558"/>
                  </a:lnTo>
                  <a:lnTo>
                    <a:pt x="7193228" y="5029597"/>
                  </a:lnTo>
                  <a:lnTo>
                    <a:pt x="7193228" y="5039468"/>
                  </a:lnTo>
                  <a:lnTo>
                    <a:pt x="7189209" y="5043507"/>
                  </a:lnTo>
                  <a:lnTo>
                    <a:pt x="7179298" y="5043507"/>
                  </a:lnTo>
                  <a:lnTo>
                    <a:pt x="7175279" y="5039468"/>
                  </a:lnTo>
                  <a:lnTo>
                    <a:pt x="7175279" y="5029597"/>
                  </a:lnTo>
                  <a:close/>
                  <a:moveTo>
                    <a:pt x="6939983" y="5025558"/>
                  </a:moveTo>
                  <a:lnTo>
                    <a:pt x="6949894" y="5025558"/>
                  </a:lnTo>
                  <a:lnTo>
                    <a:pt x="6953913" y="5029597"/>
                  </a:lnTo>
                  <a:lnTo>
                    <a:pt x="6953913" y="5039468"/>
                  </a:lnTo>
                  <a:lnTo>
                    <a:pt x="6949894" y="5043507"/>
                  </a:lnTo>
                  <a:lnTo>
                    <a:pt x="6939983" y="5043507"/>
                  </a:lnTo>
                  <a:lnTo>
                    <a:pt x="6935964" y="5039468"/>
                  </a:lnTo>
                  <a:lnTo>
                    <a:pt x="6935964" y="5029597"/>
                  </a:lnTo>
                  <a:close/>
                  <a:moveTo>
                    <a:pt x="6700670" y="5025558"/>
                  </a:moveTo>
                  <a:lnTo>
                    <a:pt x="6710581" y="5025558"/>
                  </a:lnTo>
                  <a:lnTo>
                    <a:pt x="6714600" y="5029597"/>
                  </a:lnTo>
                  <a:lnTo>
                    <a:pt x="6714600" y="5039468"/>
                  </a:lnTo>
                  <a:lnTo>
                    <a:pt x="6710581" y="5043507"/>
                  </a:lnTo>
                  <a:lnTo>
                    <a:pt x="6700670" y="5043507"/>
                  </a:lnTo>
                  <a:lnTo>
                    <a:pt x="6696651" y="5039468"/>
                  </a:lnTo>
                  <a:lnTo>
                    <a:pt x="6696651" y="5029597"/>
                  </a:lnTo>
                  <a:close/>
                  <a:moveTo>
                    <a:pt x="6461356" y="5025558"/>
                  </a:moveTo>
                  <a:lnTo>
                    <a:pt x="6471266" y="5025558"/>
                  </a:lnTo>
                  <a:lnTo>
                    <a:pt x="6475285" y="5029597"/>
                  </a:lnTo>
                  <a:lnTo>
                    <a:pt x="6475285" y="5039468"/>
                  </a:lnTo>
                  <a:lnTo>
                    <a:pt x="6471266" y="5043507"/>
                  </a:lnTo>
                  <a:lnTo>
                    <a:pt x="6461356" y="5043507"/>
                  </a:lnTo>
                  <a:lnTo>
                    <a:pt x="6457337" y="5039468"/>
                  </a:lnTo>
                  <a:lnTo>
                    <a:pt x="6457337" y="5029597"/>
                  </a:lnTo>
                  <a:close/>
                  <a:moveTo>
                    <a:pt x="6222042" y="5025558"/>
                  </a:moveTo>
                  <a:lnTo>
                    <a:pt x="6231952" y="5025558"/>
                  </a:lnTo>
                  <a:lnTo>
                    <a:pt x="6235971" y="5029597"/>
                  </a:lnTo>
                  <a:lnTo>
                    <a:pt x="6235971" y="5039468"/>
                  </a:lnTo>
                  <a:lnTo>
                    <a:pt x="6231952" y="5043507"/>
                  </a:lnTo>
                  <a:lnTo>
                    <a:pt x="6222042" y="5043507"/>
                  </a:lnTo>
                  <a:lnTo>
                    <a:pt x="6218023" y="5039468"/>
                  </a:lnTo>
                  <a:lnTo>
                    <a:pt x="6218023" y="5029597"/>
                  </a:lnTo>
                  <a:close/>
                  <a:moveTo>
                    <a:pt x="5982729" y="5025558"/>
                  </a:moveTo>
                  <a:lnTo>
                    <a:pt x="5992639" y="5025558"/>
                  </a:lnTo>
                  <a:lnTo>
                    <a:pt x="5996658" y="5029597"/>
                  </a:lnTo>
                  <a:lnTo>
                    <a:pt x="5996658" y="5039468"/>
                  </a:lnTo>
                  <a:lnTo>
                    <a:pt x="5992639" y="5043507"/>
                  </a:lnTo>
                  <a:lnTo>
                    <a:pt x="5982729" y="5043507"/>
                  </a:lnTo>
                  <a:lnTo>
                    <a:pt x="5978710" y="5039468"/>
                  </a:lnTo>
                  <a:lnTo>
                    <a:pt x="5978710" y="5029597"/>
                  </a:lnTo>
                  <a:close/>
                  <a:moveTo>
                    <a:pt x="5743412" y="5025558"/>
                  </a:moveTo>
                  <a:lnTo>
                    <a:pt x="5753323" y="5025558"/>
                  </a:lnTo>
                  <a:lnTo>
                    <a:pt x="5757342" y="5029597"/>
                  </a:lnTo>
                  <a:lnTo>
                    <a:pt x="5757342" y="5039468"/>
                  </a:lnTo>
                  <a:lnTo>
                    <a:pt x="5753323" y="5043507"/>
                  </a:lnTo>
                  <a:lnTo>
                    <a:pt x="5743412" y="5043507"/>
                  </a:lnTo>
                  <a:lnTo>
                    <a:pt x="5739393" y="5039468"/>
                  </a:lnTo>
                  <a:lnTo>
                    <a:pt x="5739393" y="5029597"/>
                  </a:lnTo>
                  <a:close/>
                  <a:moveTo>
                    <a:pt x="5504099" y="5025558"/>
                  </a:moveTo>
                  <a:lnTo>
                    <a:pt x="5514010" y="5025558"/>
                  </a:lnTo>
                  <a:lnTo>
                    <a:pt x="5518029" y="5029597"/>
                  </a:lnTo>
                  <a:lnTo>
                    <a:pt x="5518029" y="5039468"/>
                  </a:lnTo>
                  <a:lnTo>
                    <a:pt x="5514010" y="5043507"/>
                  </a:lnTo>
                  <a:lnTo>
                    <a:pt x="5504099" y="5043507"/>
                  </a:lnTo>
                  <a:lnTo>
                    <a:pt x="5500080" y="5039468"/>
                  </a:lnTo>
                  <a:lnTo>
                    <a:pt x="5500080" y="5029597"/>
                  </a:lnTo>
                  <a:close/>
                  <a:moveTo>
                    <a:pt x="5264784" y="5025558"/>
                  </a:moveTo>
                  <a:lnTo>
                    <a:pt x="5274694" y="5025558"/>
                  </a:lnTo>
                  <a:lnTo>
                    <a:pt x="5278713" y="5029597"/>
                  </a:lnTo>
                  <a:lnTo>
                    <a:pt x="5278713" y="5039468"/>
                  </a:lnTo>
                  <a:lnTo>
                    <a:pt x="5274694" y="5043507"/>
                  </a:lnTo>
                  <a:lnTo>
                    <a:pt x="5264784" y="5043507"/>
                  </a:lnTo>
                  <a:lnTo>
                    <a:pt x="5260765" y="5039468"/>
                  </a:lnTo>
                  <a:lnTo>
                    <a:pt x="5260765" y="5029597"/>
                  </a:lnTo>
                  <a:close/>
                  <a:moveTo>
                    <a:pt x="5025470" y="5025558"/>
                  </a:moveTo>
                  <a:lnTo>
                    <a:pt x="5035381" y="5025558"/>
                  </a:lnTo>
                  <a:lnTo>
                    <a:pt x="5039400" y="5029597"/>
                  </a:lnTo>
                  <a:lnTo>
                    <a:pt x="5039400" y="5039468"/>
                  </a:lnTo>
                  <a:lnTo>
                    <a:pt x="5035381" y="5043507"/>
                  </a:lnTo>
                  <a:lnTo>
                    <a:pt x="5025470" y="5043507"/>
                  </a:lnTo>
                  <a:lnTo>
                    <a:pt x="5021451" y="5039468"/>
                  </a:lnTo>
                  <a:lnTo>
                    <a:pt x="5021451" y="5029597"/>
                  </a:lnTo>
                  <a:close/>
                  <a:moveTo>
                    <a:pt x="4786241" y="5025558"/>
                  </a:moveTo>
                  <a:lnTo>
                    <a:pt x="4796152" y="5025558"/>
                  </a:lnTo>
                  <a:lnTo>
                    <a:pt x="4800171" y="5029597"/>
                  </a:lnTo>
                  <a:lnTo>
                    <a:pt x="4800171" y="5039468"/>
                  </a:lnTo>
                  <a:lnTo>
                    <a:pt x="4796152" y="5043507"/>
                  </a:lnTo>
                  <a:lnTo>
                    <a:pt x="4786241" y="5043507"/>
                  </a:lnTo>
                  <a:lnTo>
                    <a:pt x="4782224" y="5039468"/>
                  </a:lnTo>
                  <a:lnTo>
                    <a:pt x="4782224" y="5029597"/>
                  </a:lnTo>
                  <a:close/>
                  <a:moveTo>
                    <a:pt x="4546929" y="5025558"/>
                  </a:moveTo>
                  <a:lnTo>
                    <a:pt x="4556840" y="5025558"/>
                  </a:lnTo>
                  <a:lnTo>
                    <a:pt x="4560859" y="5029597"/>
                  </a:lnTo>
                  <a:lnTo>
                    <a:pt x="4560859" y="5039468"/>
                  </a:lnTo>
                  <a:lnTo>
                    <a:pt x="4556840" y="5043507"/>
                  </a:lnTo>
                  <a:lnTo>
                    <a:pt x="4546929" y="5043507"/>
                  </a:lnTo>
                  <a:lnTo>
                    <a:pt x="4542910" y="5039468"/>
                  </a:lnTo>
                  <a:lnTo>
                    <a:pt x="4542910" y="5029597"/>
                  </a:lnTo>
                  <a:close/>
                  <a:moveTo>
                    <a:pt x="4307612" y="5025558"/>
                  </a:moveTo>
                  <a:lnTo>
                    <a:pt x="4317523" y="5025558"/>
                  </a:lnTo>
                  <a:lnTo>
                    <a:pt x="4321543" y="5029597"/>
                  </a:lnTo>
                  <a:lnTo>
                    <a:pt x="4321543" y="5039468"/>
                  </a:lnTo>
                  <a:lnTo>
                    <a:pt x="4317523" y="5043507"/>
                  </a:lnTo>
                  <a:lnTo>
                    <a:pt x="4307612" y="5043507"/>
                  </a:lnTo>
                  <a:lnTo>
                    <a:pt x="4303595" y="5039468"/>
                  </a:lnTo>
                  <a:lnTo>
                    <a:pt x="4303595" y="5029597"/>
                  </a:lnTo>
                  <a:close/>
                  <a:moveTo>
                    <a:pt x="4068297" y="5025558"/>
                  </a:moveTo>
                  <a:lnTo>
                    <a:pt x="4078210" y="5025558"/>
                  </a:lnTo>
                  <a:lnTo>
                    <a:pt x="4082229" y="5029597"/>
                  </a:lnTo>
                  <a:lnTo>
                    <a:pt x="4082229" y="5039468"/>
                  </a:lnTo>
                  <a:lnTo>
                    <a:pt x="4078210" y="5043507"/>
                  </a:lnTo>
                  <a:lnTo>
                    <a:pt x="4068297" y="5043507"/>
                  </a:lnTo>
                  <a:lnTo>
                    <a:pt x="4064278" y="5039468"/>
                  </a:lnTo>
                  <a:lnTo>
                    <a:pt x="4064278" y="5029597"/>
                  </a:lnTo>
                  <a:close/>
                  <a:moveTo>
                    <a:pt x="3828990" y="5025558"/>
                  </a:moveTo>
                  <a:lnTo>
                    <a:pt x="3838899" y="5025558"/>
                  </a:lnTo>
                  <a:lnTo>
                    <a:pt x="3842917" y="5029597"/>
                  </a:lnTo>
                  <a:lnTo>
                    <a:pt x="3842917" y="5039468"/>
                  </a:lnTo>
                  <a:lnTo>
                    <a:pt x="3838899" y="5043507"/>
                  </a:lnTo>
                  <a:lnTo>
                    <a:pt x="3828990" y="5043507"/>
                  </a:lnTo>
                  <a:lnTo>
                    <a:pt x="3824971" y="5039468"/>
                  </a:lnTo>
                  <a:lnTo>
                    <a:pt x="3824971" y="5029597"/>
                  </a:lnTo>
                  <a:close/>
                  <a:moveTo>
                    <a:pt x="3589676" y="5025558"/>
                  </a:moveTo>
                  <a:lnTo>
                    <a:pt x="3599585" y="5025558"/>
                  </a:lnTo>
                  <a:lnTo>
                    <a:pt x="3603604" y="5029597"/>
                  </a:lnTo>
                  <a:lnTo>
                    <a:pt x="3603604" y="5039468"/>
                  </a:lnTo>
                  <a:lnTo>
                    <a:pt x="3599585" y="5043507"/>
                  </a:lnTo>
                  <a:lnTo>
                    <a:pt x="3589676" y="5043507"/>
                  </a:lnTo>
                  <a:lnTo>
                    <a:pt x="3585657" y="5039468"/>
                  </a:lnTo>
                  <a:lnTo>
                    <a:pt x="3585657" y="5029597"/>
                  </a:lnTo>
                  <a:close/>
                  <a:moveTo>
                    <a:pt x="3350359" y="5025558"/>
                  </a:moveTo>
                  <a:lnTo>
                    <a:pt x="3360268" y="5025558"/>
                  </a:lnTo>
                  <a:lnTo>
                    <a:pt x="3364287" y="5029597"/>
                  </a:lnTo>
                  <a:lnTo>
                    <a:pt x="3364287" y="5039468"/>
                  </a:lnTo>
                  <a:lnTo>
                    <a:pt x="3360268" y="5043507"/>
                  </a:lnTo>
                  <a:lnTo>
                    <a:pt x="3350359" y="5043507"/>
                  </a:lnTo>
                  <a:lnTo>
                    <a:pt x="3346340" y="5039468"/>
                  </a:lnTo>
                  <a:lnTo>
                    <a:pt x="3346340" y="5029597"/>
                  </a:lnTo>
                  <a:close/>
                  <a:moveTo>
                    <a:pt x="3111048" y="5025558"/>
                  </a:moveTo>
                  <a:lnTo>
                    <a:pt x="3120959" y="5025558"/>
                  </a:lnTo>
                  <a:lnTo>
                    <a:pt x="3124977" y="5029597"/>
                  </a:lnTo>
                  <a:lnTo>
                    <a:pt x="3124977" y="5039468"/>
                  </a:lnTo>
                  <a:lnTo>
                    <a:pt x="3120959" y="5043507"/>
                  </a:lnTo>
                  <a:lnTo>
                    <a:pt x="3111048" y="5043507"/>
                  </a:lnTo>
                  <a:lnTo>
                    <a:pt x="3107029" y="5039468"/>
                  </a:lnTo>
                  <a:lnTo>
                    <a:pt x="3107029" y="5029597"/>
                  </a:lnTo>
                  <a:close/>
                  <a:moveTo>
                    <a:pt x="2871737" y="5025558"/>
                  </a:moveTo>
                  <a:lnTo>
                    <a:pt x="2881646" y="5025558"/>
                  </a:lnTo>
                  <a:lnTo>
                    <a:pt x="2885666" y="5029597"/>
                  </a:lnTo>
                  <a:lnTo>
                    <a:pt x="2885666" y="5039468"/>
                  </a:lnTo>
                  <a:lnTo>
                    <a:pt x="2881646" y="5043507"/>
                  </a:lnTo>
                  <a:lnTo>
                    <a:pt x="2871737" y="5043507"/>
                  </a:lnTo>
                  <a:lnTo>
                    <a:pt x="2867717" y="5039468"/>
                  </a:lnTo>
                  <a:lnTo>
                    <a:pt x="2867717" y="5029597"/>
                  </a:lnTo>
                  <a:close/>
                  <a:moveTo>
                    <a:pt x="2632423" y="5025558"/>
                  </a:moveTo>
                  <a:lnTo>
                    <a:pt x="2642334" y="5025558"/>
                  </a:lnTo>
                  <a:lnTo>
                    <a:pt x="2646352" y="5029597"/>
                  </a:lnTo>
                  <a:lnTo>
                    <a:pt x="2646352" y="5039468"/>
                  </a:lnTo>
                  <a:lnTo>
                    <a:pt x="2642334" y="5043507"/>
                  </a:lnTo>
                  <a:lnTo>
                    <a:pt x="2632423" y="5043507"/>
                  </a:lnTo>
                  <a:lnTo>
                    <a:pt x="2628404" y="5039468"/>
                  </a:lnTo>
                  <a:lnTo>
                    <a:pt x="2628404" y="5029597"/>
                  </a:lnTo>
                  <a:close/>
                  <a:moveTo>
                    <a:pt x="2393104" y="5025558"/>
                  </a:moveTo>
                  <a:lnTo>
                    <a:pt x="2403015" y="5025558"/>
                  </a:lnTo>
                  <a:lnTo>
                    <a:pt x="2407034" y="5029597"/>
                  </a:lnTo>
                  <a:lnTo>
                    <a:pt x="2407034" y="5039468"/>
                  </a:lnTo>
                  <a:lnTo>
                    <a:pt x="2403015" y="5043507"/>
                  </a:lnTo>
                  <a:lnTo>
                    <a:pt x="2393104" y="5043507"/>
                  </a:lnTo>
                  <a:lnTo>
                    <a:pt x="2389087" y="5039468"/>
                  </a:lnTo>
                  <a:lnTo>
                    <a:pt x="2389087" y="5029597"/>
                  </a:lnTo>
                  <a:close/>
                  <a:moveTo>
                    <a:pt x="721962" y="5025558"/>
                  </a:moveTo>
                  <a:lnTo>
                    <a:pt x="731872" y="5025558"/>
                  </a:lnTo>
                  <a:lnTo>
                    <a:pt x="735891" y="5029597"/>
                  </a:lnTo>
                  <a:lnTo>
                    <a:pt x="735891" y="5039468"/>
                  </a:lnTo>
                  <a:lnTo>
                    <a:pt x="731872" y="5043507"/>
                  </a:lnTo>
                  <a:lnTo>
                    <a:pt x="721962" y="5043507"/>
                  </a:lnTo>
                  <a:lnTo>
                    <a:pt x="717944" y="5039468"/>
                  </a:lnTo>
                  <a:lnTo>
                    <a:pt x="717944" y="5029597"/>
                  </a:lnTo>
                  <a:close/>
                  <a:moveTo>
                    <a:pt x="482650" y="5025558"/>
                  </a:moveTo>
                  <a:lnTo>
                    <a:pt x="492560" y="5025558"/>
                  </a:lnTo>
                  <a:lnTo>
                    <a:pt x="496580" y="5029597"/>
                  </a:lnTo>
                  <a:lnTo>
                    <a:pt x="496580" y="5039468"/>
                  </a:lnTo>
                  <a:lnTo>
                    <a:pt x="492560" y="5043507"/>
                  </a:lnTo>
                  <a:lnTo>
                    <a:pt x="482650" y="5043507"/>
                  </a:lnTo>
                  <a:lnTo>
                    <a:pt x="478631" y="5039468"/>
                  </a:lnTo>
                  <a:lnTo>
                    <a:pt x="478631" y="5029597"/>
                  </a:lnTo>
                  <a:close/>
                  <a:moveTo>
                    <a:pt x="243336" y="5025558"/>
                  </a:moveTo>
                  <a:lnTo>
                    <a:pt x="253247" y="5025558"/>
                  </a:lnTo>
                  <a:lnTo>
                    <a:pt x="257266" y="5029597"/>
                  </a:lnTo>
                  <a:lnTo>
                    <a:pt x="257266" y="5039468"/>
                  </a:lnTo>
                  <a:lnTo>
                    <a:pt x="253247" y="5043507"/>
                  </a:lnTo>
                  <a:lnTo>
                    <a:pt x="243336" y="5043507"/>
                  </a:lnTo>
                  <a:lnTo>
                    <a:pt x="239317" y="5039468"/>
                  </a:lnTo>
                  <a:lnTo>
                    <a:pt x="239317" y="5029597"/>
                  </a:lnTo>
                  <a:close/>
                  <a:moveTo>
                    <a:pt x="4024" y="5025558"/>
                  </a:moveTo>
                  <a:lnTo>
                    <a:pt x="13933" y="5025558"/>
                  </a:lnTo>
                  <a:lnTo>
                    <a:pt x="17952" y="5029597"/>
                  </a:lnTo>
                  <a:lnTo>
                    <a:pt x="17952" y="5039468"/>
                  </a:lnTo>
                  <a:lnTo>
                    <a:pt x="13933" y="5043507"/>
                  </a:lnTo>
                  <a:lnTo>
                    <a:pt x="4024" y="5043507"/>
                  </a:lnTo>
                  <a:lnTo>
                    <a:pt x="4" y="5039468"/>
                  </a:lnTo>
                  <a:lnTo>
                    <a:pt x="4" y="5029597"/>
                  </a:lnTo>
                  <a:close/>
                  <a:moveTo>
                    <a:pt x="9572438" y="4786279"/>
                  </a:moveTo>
                  <a:lnTo>
                    <a:pt x="9582349" y="4786279"/>
                  </a:lnTo>
                  <a:lnTo>
                    <a:pt x="9586368" y="4790317"/>
                  </a:lnTo>
                  <a:lnTo>
                    <a:pt x="9586368" y="4800188"/>
                  </a:lnTo>
                  <a:lnTo>
                    <a:pt x="9582349" y="4804227"/>
                  </a:lnTo>
                  <a:lnTo>
                    <a:pt x="9572438" y="4804227"/>
                  </a:lnTo>
                  <a:lnTo>
                    <a:pt x="9568419" y="4800188"/>
                  </a:lnTo>
                  <a:lnTo>
                    <a:pt x="9568419" y="4790317"/>
                  </a:lnTo>
                  <a:close/>
                  <a:moveTo>
                    <a:pt x="9333125" y="4786279"/>
                  </a:moveTo>
                  <a:lnTo>
                    <a:pt x="9343036" y="4786279"/>
                  </a:lnTo>
                  <a:lnTo>
                    <a:pt x="9347055" y="4790317"/>
                  </a:lnTo>
                  <a:lnTo>
                    <a:pt x="9347055" y="4800188"/>
                  </a:lnTo>
                  <a:lnTo>
                    <a:pt x="9343036" y="4804227"/>
                  </a:lnTo>
                  <a:lnTo>
                    <a:pt x="9333125" y="4804227"/>
                  </a:lnTo>
                  <a:lnTo>
                    <a:pt x="9329106" y="4800188"/>
                  </a:lnTo>
                  <a:lnTo>
                    <a:pt x="9329106" y="4790317"/>
                  </a:lnTo>
                  <a:close/>
                  <a:moveTo>
                    <a:pt x="9093811" y="4786279"/>
                  </a:moveTo>
                  <a:lnTo>
                    <a:pt x="9103722" y="4786279"/>
                  </a:lnTo>
                  <a:lnTo>
                    <a:pt x="9107741" y="4790317"/>
                  </a:lnTo>
                  <a:lnTo>
                    <a:pt x="9107741" y="4800188"/>
                  </a:lnTo>
                  <a:lnTo>
                    <a:pt x="9103722" y="4804227"/>
                  </a:lnTo>
                  <a:lnTo>
                    <a:pt x="9093811" y="4804227"/>
                  </a:lnTo>
                  <a:lnTo>
                    <a:pt x="9089792" y="4800188"/>
                  </a:lnTo>
                  <a:lnTo>
                    <a:pt x="9089792" y="4790317"/>
                  </a:lnTo>
                  <a:close/>
                  <a:moveTo>
                    <a:pt x="8854496" y="4786279"/>
                  </a:moveTo>
                  <a:lnTo>
                    <a:pt x="8864407" y="4786279"/>
                  </a:lnTo>
                  <a:lnTo>
                    <a:pt x="8868426" y="4790317"/>
                  </a:lnTo>
                  <a:lnTo>
                    <a:pt x="8868426" y="4800188"/>
                  </a:lnTo>
                  <a:lnTo>
                    <a:pt x="8864407" y="4804227"/>
                  </a:lnTo>
                  <a:lnTo>
                    <a:pt x="8854496" y="4804227"/>
                  </a:lnTo>
                  <a:lnTo>
                    <a:pt x="8850477" y="4800188"/>
                  </a:lnTo>
                  <a:lnTo>
                    <a:pt x="8850477" y="4790317"/>
                  </a:lnTo>
                  <a:close/>
                  <a:moveTo>
                    <a:pt x="8615184" y="4786279"/>
                  </a:moveTo>
                  <a:lnTo>
                    <a:pt x="8625095" y="4786279"/>
                  </a:lnTo>
                  <a:lnTo>
                    <a:pt x="8629114" y="4790317"/>
                  </a:lnTo>
                  <a:lnTo>
                    <a:pt x="8629114" y="4800188"/>
                  </a:lnTo>
                  <a:lnTo>
                    <a:pt x="8625095" y="4804227"/>
                  </a:lnTo>
                  <a:lnTo>
                    <a:pt x="8615184" y="4804227"/>
                  </a:lnTo>
                  <a:lnTo>
                    <a:pt x="8611165" y="4800188"/>
                  </a:lnTo>
                  <a:lnTo>
                    <a:pt x="8611165" y="4790317"/>
                  </a:lnTo>
                  <a:close/>
                  <a:moveTo>
                    <a:pt x="8375869" y="4786279"/>
                  </a:moveTo>
                  <a:lnTo>
                    <a:pt x="8385779" y="4786279"/>
                  </a:lnTo>
                  <a:lnTo>
                    <a:pt x="8389799" y="4790317"/>
                  </a:lnTo>
                  <a:lnTo>
                    <a:pt x="8389799" y="4800188"/>
                  </a:lnTo>
                  <a:lnTo>
                    <a:pt x="8385779" y="4804227"/>
                  </a:lnTo>
                  <a:lnTo>
                    <a:pt x="8375869" y="4804227"/>
                  </a:lnTo>
                  <a:lnTo>
                    <a:pt x="8371850" y="4800188"/>
                  </a:lnTo>
                  <a:lnTo>
                    <a:pt x="8371850" y="4790317"/>
                  </a:lnTo>
                  <a:close/>
                  <a:moveTo>
                    <a:pt x="8136553" y="4786279"/>
                  </a:moveTo>
                  <a:lnTo>
                    <a:pt x="8146464" y="4786279"/>
                  </a:lnTo>
                  <a:lnTo>
                    <a:pt x="8150483" y="4790317"/>
                  </a:lnTo>
                  <a:lnTo>
                    <a:pt x="8150483" y="4800188"/>
                  </a:lnTo>
                  <a:lnTo>
                    <a:pt x="8146464" y="4804227"/>
                  </a:lnTo>
                  <a:lnTo>
                    <a:pt x="8136553" y="4804227"/>
                  </a:lnTo>
                  <a:lnTo>
                    <a:pt x="8132534" y="4800188"/>
                  </a:lnTo>
                  <a:lnTo>
                    <a:pt x="8132534" y="4790317"/>
                  </a:lnTo>
                  <a:close/>
                  <a:moveTo>
                    <a:pt x="7897241" y="4786279"/>
                  </a:moveTo>
                  <a:lnTo>
                    <a:pt x="7907151" y="4786279"/>
                  </a:lnTo>
                  <a:lnTo>
                    <a:pt x="7911170" y="4790317"/>
                  </a:lnTo>
                  <a:lnTo>
                    <a:pt x="7911170" y="4800188"/>
                  </a:lnTo>
                  <a:lnTo>
                    <a:pt x="7907151" y="4804227"/>
                  </a:lnTo>
                  <a:lnTo>
                    <a:pt x="7897241" y="4804227"/>
                  </a:lnTo>
                  <a:lnTo>
                    <a:pt x="7893222" y="4800188"/>
                  </a:lnTo>
                  <a:lnTo>
                    <a:pt x="7893222" y="4790317"/>
                  </a:lnTo>
                  <a:close/>
                  <a:moveTo>
                    <a:pt x="7657926" y="4786279"/>
                  </a:moveTo>
                  <a:lnTo>
                    <a:pt x="7667836" y="4786279"/>
                  </a:lnTo>
                  <a:lnTo>
                    <a:pt x="7671855" y="4790317"/>
                  </a:lnTo>
                  <a:lnTo>
                    <a:pt x="7671855" y="4800188"/>
                  </a:lnTo>
                  <a:lnTo>
                    <a:pt x="7667836" y="4804227"/>
                  </a:lnTo>
                  <a:lnTo>
                    <a:pt x="7657926" y="4804227"/>
                  </a:lnTo>
                  <a:lnTo>
                    <a:pt x="7653906" y="4800188"/>
                  </a:lnTo>
                  <a:lnTo>
                    <a:pt x="7653906" y="4790317"/>
                  </a:lnTo>
                  <a:close/>
                  <a:moveTo>
                    <a:pt x="7418611" y="4786279"/>
                  </a:moveTo>
                  <a:lnTo>
                    <a:pt x="7428521" y="4786279"/>
                  </a:lnTo>
                  <a:lnTo>
                    <a:pt x="7432540" y="4790317"/>
                  </a:lnTo>
                  <a:lnTo>
                    <a:pt x="7432540" y="4800188"/>
                  </a:lnTo>
                  <a:lnTo>
                    <a:pt x="7428521" y="4804227"/>
                  </a:lnTo>
                  <a:lnTo>
                    <a:pt x="7418611" y="4804227"/>
                  </a:lnTo>
                  <a:lnTo>
                    <a:pt x="7414592" y="4800188"/>
                  </a:lnTo>
                  <a:lnTo>
                    <a:pt x="7414592" y="4790317"/>
                  </a:lnTo>
                  <a:close/>
                  <a:moveTo>
                    <a:pt x="7179298" y="4786279"/>
                  </a:moveTo>
                  <a:lnTo>
                    <a:pt x="7189209" y="4786279"/>
                  </a:lnTo>
                  <a:lnTo>
                    <a:pt x="7193228" y="4790317"/>
                  </a:lnTo>
                  <a:lnTo>
                    <a:pt x="7193228" y="4800188"/>
                  </a:lnTo>
                  <a:lnTo>
                    <a:pt x="7189209" y="4804227"/>
                  </a:lnTo>
                  <a:lnTo>
                    <a:pt x="7179298" y="4804227"/>
                  </a:lnTo>
                  <a:lnTo>
                    <a:pt x="7175279" y="4800188"/>
                  </a:lnTo>
                  <a:lnTo>
                    <a:pt x="7175279" y="4790317"/>
                  </a:lnTo>
                  <a:close/>
                  <a:moveTo>
                    <a:pt x="6939983" y="4786279"/>
                  </a:moveTo>
                  <a:lnTo>
                    <a:pt x="6949894" y="4786279"/>
                  </a:lnTo>
                  <a:lnTo>
                    <a:pt x="6953913" y="4790317"/>
                  </a:lnTo>
                  <a:lnTo>
                    <a:pt x="6953913" y="4800188"/>
                  </a:lnTo>
                  <a:lnTo>
                    <a:pt x="6949894" y="4804227"/>
                  </a:lnTo>
                  <a:lnTo>
                    <a:pt x="6939983" y="4804227"/>
                  </a:lnTo>
                  <a:lnTo>
                    <a:pt x="6935964" y="4800188"/>
                  </a:lnTo>
                  <a:lnTo>
                    <a:pt x="6935964" y="4790317"/>
                  </a:lnTo>
                  <a:close/>
                  <a:moveTo>
                    <a:pt x="6700670" y="4786279"/>
                  </a:moveTo>
                  <a:lnTo>
                    <a:pt x="6710581" y="4786279"/>
                  </a:lnTo>
                  <a:lnTo>
                    <a:pt x="6714600" y="4790317"/>
                  </a:lnTo>
                  <a:lnTo>
                    <a:pt x="6714600" y="4800188"/>
                  </a:lnTo>
                  <a:lnTo>
                    <a:pt x="6710581" y="4804227"/>
                  </a:lnTo>
                  <a:lnTo>
                    <a:pt x="6700670" y="4804227"/>
                  </a:lnTo>
                  <a:lnTo>
                    <a:pt x="6696651" y="4800188"/>
                  </a:lnTo>
                  <a:lnTo>
                    <a:pt x="6696651" y="4790317"/>
                  </a:lnTo>
                  <a:close/>
                  <a:moveTo>
                    <a:pt x="6461356" y="4786279"/>
                  </a:moveTo>
                  <a:lnTo>
                    <a:pt x="6471266" y="4786279"/>
                  </a:lnTo>
                  <a:lnTo>
                    <a:pt x="6475285" y="4790317"/>
                  </a:lnTo>
                  <a:lnTo>
                    <a:pt x="6475285" y="4800188"/>
                  </a:lnTo>
                  <a:lnTo>
                    <a:pt x="6471266" y="4804227"/>
                  </a:lnTo>
                  <a:lnTo>
                    <a:pt x="6461356" y="4804227"/>
                  </a:lnTo>
                  <a:lnTo>
                    <a:pt x="6457337" y="4800188"/>
                  </a:lnTo>
                  <a:lnTo>
                    <a:pt x="6457337" y="4790317"/>
                  </a:lnTo>
                  <a:close/>
                  <a:moveTo>
                    <a:pt x="6222042" y="4786279"/>
                  </a:moveTo>
                  <a:lnTo>
                    <a:pt x="6231952" y="4786279"/>
                  </a:lnTo>
                  <a:lnTo>
                    <a:pt x="6235971" y="4790317"/>
                  </a:lnTo>
                  <a:lnTo>
                    <a:pt x="6235971" y="4800188"/>
                  </a:lnTo>
                  <a:lnTo>
                    <a:pt x="6231952" y="4804227"/>
                  </a:lnTo>
                  <a:lnTo>
                    <a:pt x="6222042" y="4804227"/>
                  </a:lnTo>
                  <a:lnTo>
                    <a:pt x="6218023" y="4800188"/>
                  </a:lnTo>
                  <a:lnTo>
                    <a:pt x="6218023" y="4790317"/>
                  </a:lnTo>
                  <a:close/>
                  <a:moveTo>
                    <a:pt x="5982729" y="4786279"/>
                  </a:moveTo>
                  <a:lnTo>
                    <a:pt x="5992639" y="4786279"/>
                  </a:lnTo>
                  <a:lnTo>
                    <a:pt x="5996658" y="4790317"/>
                  </a:lnTo>
                  <a:lnTo>
                    <a:pt x="5996658" y="4800188"/>
                  </a:lnTo>
                  <a:lnTo>
                    <a:pt x="5992639" y="4804227"/>
                  </a:lnTo>
                  <a:lnTo>
                    <a:pt x="5982729" y="4804227"/>
                  </a:lnTo>
                  <a:lnTo>
                    <a:pt x="5978710" y="4800188"/>
                  </a:lnTo>
                  <a:lnTo>
                    <a:pt x="5978710" y="4790317"/>
                  </a:lnTo>
                  <a:close/>
                  <a:moveTo>
                    <a:pt x="5743412" y="4786279"/>
                  </a:moveTo>
                  <a:lnTo>
                    <a:pt x="5753323" y="4786279"/>
                  </a:lnTo>
                  <a:lnTo>
                    <a:pt x="5757342" y="4790317"/>
                  </a:lnTo>
                  <a:lnTo>
                    <a:pt x="5757342" y="4800188"/>
                  </a:lnTo>
                  <a:lnTo>
                    <a:pt x="5753323" y="4804227"/>
                  </a:lnTo>
                  <a:lnTo>
                    <a:pt x="5743412" y="4804227"/>
                  </a:lnTo>
                  <a:lnTo>
                    <a:pt x="5739393" y="4800188"/>
                  </a:lnTo>
                  <a:lnTo>
                    <a:pt x="5739393" y="4790317"/>
                  </a:lnTo>
                  <a:close/>
                  <a:moveTo>
                    <a:pt x="5504099" y="4786279"/>
                  </a:moveTo>
                  <a:lnTo>
                    <a:pt x="5514010" y="4786279"/>
                  </a:lnTo>
                  <a:lnTo>
                    <a:pt x="5518029" y="4790317"/>
                  </a:lnTo>
                  <a:lnTo>
                    <a:pt x="5518029" y="4800188"/>
                  </a:lnTo>
                  <a:lnTo>
                    <a:pt x="5514010" y="4804227"/>
                  </a:lnTo>
                  <a:lnTo>
                    <a:pt x="5504099" y="4804227"/>
                  </a:lnTo>
                  <a:lnTo>
                    <a:pt x="5500080" y="4800188"/>
                  </a:lnTo>
                  <a:lnTo>
                    <a:pt x="5500080" y="4790317"/>
                  </a:lnTo>
                  <a:close/>
                  <a:moveTo>
                    <a:pt x="5264784" y="4786279"/>
                  </a:moveTo>
                  <a:lnTo>
                    <a:pt x="5274694" y="4786279"/>
                  </a:lnTo>
                  <a:lnTo>
                    <a:pt x="5278713" y="4790317"/>
                  </a:lnTo>
                  <a:lnTo>
                    <a:pt x="5278713" y="4800188"/>
                  </a:lnTo>
                  <a:lnTo>
                    <a:pt x="5274694" y="4804227"/>
                  </a:lnTo>
                  <a:lnTo>
                    <a:pt x="5264784" y="4804227"/>
                  </a:lnTo>
                  <a:lnTo>
                    <a:pt x="5260765" y="4800188"/>
                  </a:lnTo>
                  <a:lnTo>
                    <a:pt x="5260765" y="4790317"/>
                  </a:lnTo>
                  <a:close/>
                  <a:moveTo>
                    <a:pt x="5025470" y="4786279"/>
                  </a:moveTo>
                  <a:lnTo>
                    <a:pt x="5035381" y="4786279"/>
                  </a:lnTo>
                  <a:lnTo>
                    <a:pt x="5039400" y="4790317"/>
                  </a:lnTo>
                  <a:lnTo>
                    <a:pt x="5039400" y="4800188"/>
                  </a:lnTo>
                  <a:lnTo>
                    <a:pt x="5035381" y="4804227"/>
                  </a:lnTo>
                  <a:lnTo>
                    <a:pt x="5025470" y="4804227"/>
                  </a:lnTo>
                  <a:lnTo>
                    <a:pt x="5021451" y="4800188"/>
                  </a:lnTo>
                  <a:lnTo>
                    <a:pt x="5021451" y="4790317"/>
                  </a:lnTo>
                  <a:close/>
                  <a:moveTo>
                    <a:pt x="4786241" y="4786279"/>
                  </a:moveTo>
                  <a:lnTo>
                    <a:pt x="4796152" y="4786279"/>
                  </a:lnTo>
                  <a:lnTo>
                    <a:pt x="4800171" y="4790317"/>
                  </a:lnTo>
                  <a:lnTo>
                    <a:pt x="4800171" y="4800188"/>
                  </a:lnTo>
                  <a:lnTo>
                    <a:pt x="4796152" y="4804227"/>
                  </a:lnTo>
                  <a:lnTo>
                    <a:pt x="4786241" y="4804227"/>
                  </a:lnTo>
                  <a:lnTo>
                    <a:pt x="4782224" y="4800188"/>
                  </a:lnTo>
                  <a:lnTo>
                    <a:pt x="4782224" y="4790317"/>
                  </a:lnTo>
                  <a:close/>
                  <a:moveTo>
                    <a:pt x="4546929" y="4786279"/>
                  </a:moveTo>
                  <a:lnTo>
                    <a:pt x="4556840" y="4786279"/>
                  </a:lnTo>
                  <a:lnTo>
                    <a:pt x="4560859" y="4790317"/>
                  </a:lnTo>
                  <a:lnTo>
                    <a:pt x="4560859" y="4800188"/>
                  </a:lnTo>
                  <a:lnTo>
                    <a:pt x="4556840" y="4804227"/>
                  </a:lnTo>
                  <a:lnTo>
                    <a:pt x="4546929" y="4804227"/>
                  </a:lnTo>
                  <a:lnTo>
                    <a:pt x="4542910" y="4800188"/>
                  </a:lnTo>
                  <a:lnTo>
                    <a:pt x="4542910" y="4790317"/>
                  </a:lnTo>
                  <a:close/>
                  <a:moveTo>
                    <a:pt x="4307612" y="4786279"/>
                  </a:moveTo>
                  <a:lnTo>
                    <a:pt x="4317523" y="4786279"/>
                  </a:lnTo>
                  <a:lnTo>
                    <a:pt x="4321543" y="4790317"/>
                  </a:lnTo>
                  <a:lnTo>
                    <a:pt x="4321543" y="4800188"/>
                  </a:lnTo>
                  <a:lnTo>
                    <a:pt x="4317523" y="4804227"/>
                  </a:lnTo>
                  <a:lnTo>
                    <a:pt x="4307612" y="4804227"/>
                  </a:lnTo>
                  <a:lnTo>
                    <a:pt x="4303595" y="4800188"/>
                  </a:lnTo>
                  <a:lnTo>
                    <a:pt x="4303595" y="4790317"/>
                  </a:lnTo>
                  <a:close/>
                  <a:moveTo>
                    <a:pt x="4068297" y="4786279"/>
                  </a:moveTo>
                  <a:lnTo>
                    <a:pt x="4078210" y="4786279"/>
                  </a:lnTo>
                  <a:lnTo>
                    <a:pt x="4082229" y="4790317"/>
                  </a:lnTo>
                  <a:lnTo>
                    <a:pt x="4082229" y="4800188"/>
                  </a:lnTo>
                  <a:lnTo>
                    <a:pt x="4078210" y="4804227"/>
                  </a:lnTo>
                  <a:lnTo>
                    <a:pt x="4068297" y="4804227"/>
                  </a:lnTo>
                  <a:lnTo>
                    <a:pt x="4064278" y="4800188"/>
                  </a:lnTo>
                  <a:lnTo>
                    <a:pt x="4064278" y="4790317"/>
                  </a:lnTo>
                  <a:close/>
                  <a:moveTo>
                    <a:pt x="3828990" y="4786279"/>
                  </a:moveTo>
                  <a:lnTo>
                    <a:pt x="3838899" y="4786279"/>
                  </a:lnTo>
                  <a:lnTo>
                    <a:pt x="3842917" y="4790317"/>
                  </a:lnTo>
                  <a:lnTo>
                    <a:pt x="3842917" y="4800188"/>
                  </a:lnTo>
                  <a:lnTo>
                    <a:pt x="3838899" y="4804227"/>
                  </a:lnTo>
                  <a:lnTo>
                    <a:pt x="3828990" y="4804227"/>
                  </a:lnTo>
                  <a:lnTo>
                    <a:pt x="3824971" y="4800188"/>
                  </a:lnTo>
                  <a:lnTo>
                    <a:pt x="3824971" y="4790317"/>
                  </a:lnTo>
                  <a:close/>
                  <a:moveTo>
                    <a:pt x="3589676" y="4786279"/>
                  </a:moveTo>
                  <a:lnTo>
                    <a:pt x="3599585" y="4786279"/>
                  </a:lnTo>
                  <a:lnTo>
                    <a:pt x="3603604" y="4790317"/>
                  </a:lnTo>
                  <a:lnTo>
                    <a:pt x="3603604" y="4800188"/>
                  </a:lnTo>
                  <a:lnTo>
                    <a:pt x="3599585" y="4804227"/>
                  </a:lnTo>
                  <a:lnTo>
                    <a:pt x="3589676" y="4804227"/>
                  </a:lnTo>
                  <a:lnTo>
                    <a:pt x="3585657" y="4800188"/>
                  </a:lnTo>
                  <a:lnTo>
                    <a:pt x="3585657" y="4790317"/>
                  </a:lnTo>
                  <a:close/>
                  <a:moveTo>
                    <a:pt x="3350359" y="4786279"/>
                  </a:moveTo>
                  <a:lnTo>
                    <a:pt x="3360268" y="4786279"/>
                  </a:lnTo>
                  <a:lnTo>
                    <a:pt x="3364287" y="4790317"/>
                  </a:lnTo>
                  <a:lnTo>
                    <a:pt x="3364287" y="4800188"/>
                  </a:lnTo>
                  <a:lnTo>
                    <a:pt x="3360268" y="4804227"/>
                  </a:lnTo>
                  <a:lnTo>
                    <a:pt x="3350359" y="4804227"/>
                  </a:lnTo>
                  <a:lnTo>
                    <a:pt x="3346340" y="4800188"/>
                  </a:lnTo>
                  <a:lnTo>
                    <a:pt x="3346340" y="4790317"/>
                  </a:lnTo>
                  <a:close/>
                  <a:moveTo>
                    <a:pt x="3111048" y="4786279"/>
                  </a:moveTo>
                  <a:lnTo>
                    <a:pt x="3120959" y="4786279"/>
                  </a:lnTo>
                  <a:lnTo>
                    <a:pt x="3124977" y="4790317"/>
                  </a:lnTo>
                  <a:lnTo>
                    <a:pt x="3124977" y="4800188"/>
                  </a:lnTo>
                  <a:lnTo>
                    <a:pt x="3120959" y="4804227"/>
                  </a:lnTo>
                  <a:lnTo>
                    <a:pt x="3111048" y="4804227"/>
                  </a:lnTo>
                  <a:lnTo>
                    <a:pt x="3107029" y="4800188"/>
                  </a:lnTo>
                  <a:lnTo>
                    <a:pt x="3107029" y="4790317"/>
                  </a:lnTo>
                  <a:close/>
                  <a:moveTo>
                    <a:pt x="2871737" y="4786279"/>
                  </a:moveTo>
                  <a:lnTo>
                    <a:pt x="2881646" y="4786279"/>
                  </a:lnTo>
                  <a:lnTo>
                    <a:pt x="2885666" y="4790317"/>
                  </a:lnTo>
                  <a:lnTo>
                    <a:pt x="2885666" y="4800188"/>
                  </a:lnTo>
                  <a:lnTo>
                    <a:pt x="2881646" y="4804227"/>
                  </a:lnTo>
                  <a:lnTo>
                    <a:pt x="2871737" y="4804227"/>
                  </a:lnTo>
                  <a:lnTo>
                    <a:pt x="2867717" y="4800188"/>
                  </a:lnTo>
                  <a:lnTo>
                    <a:pt x="2867717" y="4790317"/>
                  </a:lnTo>
                  <a:close/>
                  <a:moveTo>
                    <a:pt x="2632423" y="4786279"/>
                  </a:moveTo>
                  <a:lnTo>
                    <a:pt x="2642334" y="4786279"/>
                  </a:lnTo>
                  <a:lnTo>
                    <a:pt x="2646352" y="4790317"/>
                  </a:lnTo>
                  <a:lnTo>
                    <a:pt x="2646352" y="4800188"/>
                  </a:lnTo>
                  <a:lnTo>
                    <a:pt x="2642334" y="4804227"/>
                  </a:lnTo>
                  <a:lnTo>
                    <a:pt x="2632423" y="4804227"/>
                  </a:lnTo>
                  <a:lnTo>
                    <a:pt x="2628404" y="4800188"/>
                  </a:lnTo>
                  <a:lnTo>
                    <a:pt x="2628404" y="4790317"/>
                  </a:lnTo>
                  <a:close/>
                  <a:moveTo>
                    <a:pt x="2393104" y="4786279"/>
                  </a:moveTo>
                  <a:lnTo>
                    <a:pt x="2403015" y="4786279"/>
                  </a:lnTo>
                  <a:lnTo>
                    <a:pt x="2407034" y="4790317"/>
                  </a:lnTo>
                  <a:lnTo>
                    <a:pt x="2407034" y="4800188"/>
                  </a:lnTo>
                  <a:lnTo>
                    <a:pt x="2403015" y="4804227"/>
                  </a:lnTo>
                  <a:lnTo>
                    <a:pt x="2393104" y="4804227"/>
                  </a:lnTo>
                  <a:lnTo>
                    <a:pt x="2389087" y="4800188"/>
                  </a:lnTo>
                  <a:lnTo>
                    <a:pt x="2389087" y="4790317"/>
                  </a:lnTo>
                  <a:close/>
                  <a:moveTo>
                    <a:pt x="2157819" y="4786279"/>
                  </a:moveTo>
                  <a:lnTo>
                    <a:pt x="2167729" y="4786279"/>
                  </a:lnTo>
                  <a:lnTo>
                    <a:pt x="2171748" y="4790317"/>
                  </a:lnTo>
                  <a:lnTo>
                    <a:pt x="2171748" y="4800188"/>
                  </a:lnTo>
                  <a:lnTo>
                    <a:pt x="2167729" y="4804227"/>
                  </a:lnTo>
                  <a:lnTo>
                    <a:pt x="2157819" y="4804227"/>
                  </a:lnTo>
                  <a:lnTo>
                    <a:pt x="2153800" y="4800188"/>
                  </a:lnTo>
                  <a:lnTo>
                    <a:pt x="2153800" y="4790317"/>
                  </a:lnTo>
                  <a:close/>
                  <a:moveTo>
                    <a:pt x="1918510" y="4786279"/>
                  </a:moveTo>
                  <a:lnTo>
                    <a:pt x="1928420" y="4786279"/>
                  </a:lnTo>
                  <a:lnTo>
                    <a:pt x="1932440" y="4790317"/>
                  </a:lnTo>
                  <a:lnTo>
                    <a:pt x="1932440" y="4800188"/>
                  </a:lnTo>
                  <a:lnTo>
                    <a:pt x="1928420" y="4804227"/>
                  </a:lnTo>
                  <a:lnTo>
                    <a:pt x="1918510" y="4804227"/>
                  </a:lnTo>
                  <a:lnTo>
                    <a:pt x="1914492" y="4800188"/>
                  </a:lnTo>
                  <a:lnTo>
                    <a:pt x="1914492" y="4790317"/>
                  </a:lnTo>
                  <a:close/>
                  <a:moveTo>
                    <a:pt x="1679205" y="4786279"/>
                  </a:moveTo>
                  <a:lnTo>
                    <a:pt x="1689115" y="4786279"/>
                  </a:lnTo>
                  <a:lnTo>
                    <a:pt x="1693134" y="4790317"/>
                  </a:lnTo>
                  <a:lnTo>
                    <a:pt x="1693134" y="4800188"/>
                  </a:lnTo>
                  <a:lnTo>
                    <a:pt x="1689115" y="4804227"/>
                  </a:lnTo>
                  <a:lnTo>
                    <a:pt x="1679205" y="4804227"/>
                  </a:lnTo>
                  <a:lnTo>
                    <a:pt x="1675187" y="4800188"/>
                  </a:lnTo>
                  <a:lnTo>
                    <a:pt x="1675187" y="4790317"/>
                  </a:lnTo>
                  <a:close/>
                  <a:moveTo>
                    <a:pt x="1439890" y="4786279"/>
                  </a:moveTo>
                  <a:lnTo>
                    <a:pt x="1449800" y="4786279"/>
                  </a:lnTo>
                  <a:lnTo>
                    <a:pt x="1453818" y="4790317"/>
                  </a:lnTo>
                  <a:lnTo>
                    <a:pt x="1453818" y="4800188"/>
                  </a:lnTo>
                  <a:lnTo>
                    <a:pt x="1449800" y="4804227"/>
                  </a:lnTo>
                  <a:lnTo>
                    <a:pt x="1439890" y="4804227"/>
                  </a:lnTo>
                  <a:lnTo>
                    <a:pt x="1435870" y="4800188"/>
                  </a:lnTo>
                  <a:lnTo>
                    <a:pt x="1435870" y="4790317"/>
                  </a:lnTo>
                  <a:close/>
                  <a:moveTo>
                    <a:pt x="1200574" y="4786279"/>
                  </a:moveTo>
                  <a:lnTo>
                    <a:pt x="1210484" y="4786279"/>
                  </a:lnTo>
                  <a:lnTo>
                    <a:pt x="1214503" y="4790317"/>
                  </a:lnTo>
                  <a:lnTo>
                    <a:pt x="1214503" y="4800188"/>
                  </a:lnTo>
                  <a:lnTo>
                    <a:pt x="1210484" y="4804227"/>
                  </a:lnTo>
                  <a:lnTo>
                    <a:pt x="1200574" y="4804227"/>
                  </a:lnTo>
                  <a:lnTo>
                    <a:pt x="1196555" y="4800188"/>
                  </a:lnTo>
                  <a:lnTo>
                    <a:pt x="1196555" y="4790317"/>
                  </a:lnTo>
                  <a:close/>
                  <a:moveTo>
                    <a:pt x="961262" y="4786279"/>
                  </a:moveTo>
                  <a:lnTo>
                    <a:pt x="971172" y="4786279"/>
                  </a:lnTo>
                  <a:lnTo>
                    <a:pt x="975190" y="4790317"/>
                  </a:lnTo>
                  <a:lnTo>
                    <a:pt x="975190" y="4800188"/>
                  </a:lnTo>
                  <a:lnTo>
                    <a:pt x="971172" y="4804227"/>
                  </a:lnTo>
                  <a:lnTo>
                    <a:pt x="961262" y="4804227"/>
                  </a:lnTo>
                  <a:lnTo>
                    <a:pt x="957242" y="4800188"/>
                  </a:lnTo>
                  <a:lnTo>
                    <a:pt x="957242" y="4790317"/>
                  </a:lnTo>
                  <a:close/>
                  <a:moveTo>
                    <a:pt x="721963" y="4786279"/>
                  </a:moveTo>
                  <a:lnTo>
                    <a:pt x="731873" y="4786279"/>
                  </a:lnTo>
                  <a:lnTo>
                    <a:pt x="735892" y="4790317"/>
                  </a:lnTo>
                  <a:lnTo>
                    <a:pt x="735892" y="4800188"/>
                  </a:lnTo>
                  <a:lnTo>
                    <a:pt x="731873" y="4804227"/>
                  </a:lnTo>
                  <a:lnTo>
                    <a:pt x="721963" y="4804227"/>
                  </a:lnTo>
                  <a:lnTo>
                    <a:pt x="717944" y="4800188"/>
                  </a:lnTo>
                  <a:lnTo>
                    <a:pt x="717944" y="4790317"/>
                  </a:lnTo>
                  <a:close/>
                  <a:moveTo>
                    <a:pt x="482651" y="4786279"/>
                  </a:moveTo>
                  <a:lnTo>
                    <a:pt x="492561" y="4786279"/>
                  </a:lnTo>
                  <a:lnTo>
                    <a:pt x="496580" y="4790317"/>
                  </a:lnTo>
                  <a:lnTo>
                    <a:pt x="496580" y="4800188"/>
                  </a:lnTo>
                  <a:lnTo>
                    <a:pt x="492561" y="4804227"/>
                  </a:lnTo>
                  <a:lnTo>
                    <a:pt x="482651" y="4804227"/>
                  </a:lnTo>
                  <a:lnTo>
                    <a:pt x="478632" y="4800188"/>
                  </a:lnTo>
                  <a:lnTo>
                    <a:pt x="478632" y="4790317"/>
                  </a:lnTo>
                  <a:close/>
                  <a:moveTo>
                    <a:pt x="243338" y="4786279"/>
                  </a:moveTo>
                  <a:lnTo>
                    <a:pt x="253247" y="4786279"/>
                  </a:lnTo>
                  <a:lnTo>
                    <a:pt x="257266" y="4790317"/>
                  </a:lnTo>
                  <a:lnTo>
                    <a:pt x="257266" y="4800188"/>
                  </a:lnTo>
                  <a:lnTo>
                    <a:pt x="253247" y="4804227"/>
                  </a:lnTo>
                  <a:lnTo>
                    <a:pt x="243338" y="4804227"/>
                  </a:lnTo>
                  <a:lnTo>
                    <a:pt x="239318" y="4800188"/>
                  </a:lnTo>
                  <a:lnTo>
                    <a:pt x="239318" y="4790317"/>
                  </a:lnTo>
                  <a:close/>
                  <a:moveTo>
                    <a:pt x="4024" y="4786279"/>
                  </a:moveTo>
                  <a:lnTo>
                    <a:pt x="13934" y="4786279"/>
                  </a:lnTo>
                  <a:lnTo>
                    <a:pt x="17954" y="4790317"/>
                  </a:lnTo>
                  <a:lnTo>
                    <a:pt x="17954" y="4800188"/>
                  </a:lnTo>
                  <a:lnTo>
                    <a:pt x="13934" y="4804227"/>
                  </a:lnTo>
                  <a:lnTo>
                    <a:pt x="4024" y="4804227"/>
                  </a:lnTo>
                  <a:lnTo>
                    <a:pt x="5" y="4800188"/>
                  </a:lnTo>
                  <a:lnTo>
                    <a:pt x="5" y="4790317"/>
                  </a:lnTo>
                  <a:close/>
                  <a:moveTo>
                    <a:pt x="2157819" y="4546999"/>
                  </a:moveTo>
                  <a:lnTo>
                    <a:pt x="2167729" y="4546999"/>
                  </a:lnTo>
                  <a:lnTo>
                    <a:pt x="2171748" y="4551038"/>
                  </a:lnTo>
                  <a:lnTo>
                    <a:pt x="2171748" y="4560909"/>
                  </a:lnTo>
                  <a:lnTo>
                    <a:pt x="2167729" y="4564948"/>
                  </a:lnTo>
                  <a:lnTo>
                    <a:pt x="2157819" y="4564948"/>
                  </a:lnTo>
                  <a:lnTo>
                    <a:pt x="2153801" y="4560909"/>
                  </a:lnTo>
                  <a:lnTo>
                    <a:pt x="2153801" y="4551038"/>
                  </a:lnTo>
                  <a:close/>
                  <a:moveTo>
                    <a:pt x="1918510" y="4546999"/>
                  </a:moveTo>
                  <a:lnTo>
                    <a:pt x="1928421" y="4546999"/>
                  </a:lnTo>
                  <a:lnTo>
                    <a:pt x="1932440" y="4551038"/>
                  </a:lnTo>
                  <a:lnTo>
                    <a:pt x="1932440" y="4560909"/>
                  </a:lnTo>
                  <a:lnTo>
                    <a:pt x="1928421" y="4564948"/>
                  </a:lnTo>
                  <a:lnTo>
                    <a:pt x="1918510" y="4564948"/>
                  </a:lnTo>
                  <a:lnTo>
                    <a:pt x="1914492" y="4560909"/>
                  </a:lnTo>
                  <a:lnTo>
                    <a:pt x="1914492" y="4551038"/>
                  </a:lnTo>
                  <a:close/>
                  <a:moveTo>
                    <a:pt x="1679206" y="4546999"/>
                  </a:moveTo>
                  <a:lnTo>
                    <a:pt x="1689116" y="4546999"/>
                  </a:lnTo>
                  <a:lnTo>
                    <a:pt x="1693134" y="4551038"/>
                  </a:lnTo>
                  <a:lnTo>
                    <a:pt x="1693134" y="4560909"/>
                  </a:lnTo>
                  <a:lnTo>
                    <a:pt x="1689116" y="4564948"/>
                  </a:lnTo>
                  <a:lnTo>
                    <a:pt x="1679206" y="4564948"/>
                  </a:lnTo>
                  <a:lnTo>
                    <a:pt x="1675187" y="4560909"/>
                  </a:lnTo>
                  <a:lnTo>
                    <a:pt x="1675187" y="4551038"/>
                  </a:lnTo>
                  <a:close/>
                  <a:moveTo>
                    <a:pt x="1439890" y="4546999"/>
                  </a:moveTo>
                  <a:lnTo>
                    <a:pt x="1449800" y="4546999"/>
                  </a:lnTo>
                  <a:lnTo>
                    <a:pt x="1453819" y="4551038"/>
                  </a:lnTo>
                  <a:lnTo>
                    <a:pt x="1453819" y="4560909"/>
                  </a:lnTo>
                  <a:lnTo>
                    <a:pt x="1449800" y="4564948"/>
                  </a:lnTo>
                  <a:lnTo>
                    <a:pt x="1439890" y="4564948"/>
                  </a:lnTo>
                  <a:lnTo>
                    <a:pt x="1435871" y="4560909"/>
                  </a:lnTo>
                  <a:lnTo>
                    <a:pt x="1435871" y="4551038"/>
                  </a:lnTo>
                  <a:close/>
                  <a:moveTo>
                    <a:pt x="1200575" y="4546999"/>
                  </a:moveTo>
                  <a:lnTo>
                    <a:pt x="1210485" y="4546999"/>
                  </a:lnTo>
                  <a:lnTo>
                    <a:pt x="1214504" y="4551038"/>
                  </a:lnTo>
                  <a:lnTo>
                    <a:pt x="1214504" y="4560909"/>
                  </a:lnTo>
                  <a:lnTo>
                    <a:pt x="1210485" y="4564948"/>
                  </a:lnTo>
                  <a:lnTo>
                    <a:pt x="1200575" y="4564948"/>
                  </a:lnTo>
                  <a:lnTo>
                    <a:pt x="1196556" y="4560909"/>
                  </a:lnTo>
                  <a:lnTo>
                    <a:pt x="1196556" y="4551038"/>
                  </a:lnTo>
                  <a:close/>
                  <a:moveTo>
                    <a:pt x="961262" y="4546999"/>
                  </a:moveTo>
                  <a:lnTo>
                    <a:pt x="971172" y="4546999"/>
                  </a:lnTo>
                  <a:lnTo>
                    <a:pt x="975191" y="4551038"/>
                  </a:lnTo>
                  <a:lnTo>
                    <a:pt x="975191" y="4560909"/>
                  </a:lnTo>
                  <a:lnTo>
                    <a:pt x="971172" y="4564948"/>
                  </a:lnTo>
                  <a:lnTo>
                    <a:pt x="961262" y="4564948"/>
                  </a:lnTo>
                  <a:lnTo>
                    <a:pt x="957243" y="4560909"/>
                  </a:lnTo>
                  <a:lnTo>
                    <a:pt x="957243" y="4551038"/>
                  </a:lnTo>
                  <a:close/>
                  <a:moveTo>
                    <a:pt x="9572438" y="4546948"/>
                  </a:moveTo>
                  <a:lnTo>
                    <a:pt x="9582349" y="4546948"/>
                  </a:lnTo>
                  <a:lnTo>
                    <a:pt x="9586368" y="4550987"/>
                  </a:lnTo>
                  <a:lnTo>
                    <a:pt x="9586368" y="4560858"/>
                  </a:lnTo>
                  <a:lnTo>
                    <a:pt x="9582349" y="4564897"/>
                  </a:lnTo>
                  <a:lnTo>
                    <a:pt x="9572438" y="4564897"/>
                  </a:lnTo>
                  <a:lnTo>
                    <a:pt x="9568419" y="4560858"/>
                  </a:lnTo>
                  <a:lnTo>
                    <a:pt x="9568419" y="4550987"/>
                  </a:lnTo>
                  <a:close/>
                  <a:moveTo>
                    <a:pt x="9333125" y="4546948"/>
                  </a:moveTo>
                  <a:lnTo>
                    <a:pt x="9343036" y="4546948"/>
                  </a:lnTo>
                  <a:lnTo>
                    <a:pt x="9347055" y="4550987"/>
                  </a:lnTo>
                  <a:lnTo>
                    <a:pt x="9347055" y="4560858"/>
                  </a:lnTo>
                  <a:lnTo>
                    <a:pt x="9343036" y="4564897"/>
                  </a:lnTo>
                  <a:lnTo>
                    <a:pt x="9333125" y="4564897"/>
                  </a:lnTo>
                  <a:lnTo>
                    <a:pt x="9329106" y="4560858"/>
                  </a:lnTo>
                  <a:lnTo>
                    <a:pt x="9329106" y="4550987"/>
                  </a:lnTo>
                  <a:close/>
                  <a:moveTo>
                    <a:pt x="9093811" y="4546948"/>
                  </a:moveTo>
                  <a:lnTo>
                    <a:pt x="9103722" y="4546948"/>
                  </a:lnTo>
                  <a:lnTo>
                    <a:pt x="9107741" y="4550987"/>
                  </a:lnTo>
                  <a:lnTo>
                    <a:pt x="9107741" y="4560858"/>
                  </a:lnTo>
                  <a:lnTo>
                    <a:pt x="9103722" y="4564897"/>
                  </a:lnTo>
                  <a:lnTo>
                    <a:pt x="9093811" y="4564897"/>
                  </a:lnTo>
                  <a:lnTo>
                    <a:pt x="9089792" y="4560858"/>
                  </a:lnTo>
                  <a:lnTo>
                    <a:pt x="9089792" y="4550987"/>
                  </a:lnTo>
                  <a:close/>
                  <a:moveTo>
                    <a:pt x="8854496" y="4546948"/>
                  </a:moveTo>
                  <a:lnTo>
                    <a:pt x="8864407" y="4546948"/>
                  </a:lnTo>
                  <a:lnTo>
                    <a:pt x="8868426" y="4550987"/>
                  </a:lnTo>
                  <a:lnTo>
                    <a:pt x="8868426" y="4560858"/>
                  </a:lnTo>
                  <a:lnTo>
                    <a:pt x="8864407" y="4564897"/>
                  </a:lnTo>
                  <a:lnTo>
                    <a:pt x="8854496" y="4564897"/>
                  </a:lnTo>
                  <a:lnTo>
                    <a:pt x="8850477" y="4560858"/>
                  </a:lnTo>
                  <a:lnTo>
                    <a:pt x="8850477" y="4550987"/>
                  </a:lnTo>
                  <a:close/>
                  <a:moveTo>
                    <a:pt x="8615184" y="4546948"/>
                  </a:moveTo>
                  <a:lnTo>
                    <a:pt x="8625095" y="4546948"/>
                  </a:lnTo>
                  <a:lnTo>
                    <a:pt x="8629114" y="4550987"/>
                  </a:lnTo>
                  <a:lnTo>
                    <a:pt x="8629114" y="4560858"/>
                  </a:lnTo>
                  <a:lnTo>
                    <a:pt x="8625095" y="4564897"/>
                  </a:lnTo>
                  <a:lnTo>
                    <a:pt x="8615184" y="4564897"/>
                  </a:lnTo>
                  <a:lnTo>
                    <a:pt x="8611165" y="4560858"/>
                  </a:lnTo>
                  <a:lnTo>
                    <a:pt x="8611165" y="4550987"/>
                  </a:lnTo>
                  <a:close/>
                  <a:moveTo>
                    <a:pt x="8375869" y="4546948"/>
                  </a:moveTo>
                  <a:lnTo>
                    <a:pt x="8385779" y="4546948"/>
                  </a:lnTo>
                  <a:lnTo>
                    <a:pt x="8389799" y="4550987"/>
                  </a:lnTo>
                  <a:lnTo>
                    <a:pt x="8389799" y="4560858"/>
                  </a:lnTo>
                  <a:lnTo>
                    <a:pt x="8385779" y="4564897"/>
                  </a:lnTo>
                  <a:lnTo>
                    <a:pt x="8375869" y="4564897"/>
                  </a:lnTo>
                  <a:lnTo>
                    <a:pt x="8371850" y="4560858"/>
                  </a:lnTo>
                  <a:lnTo>
                    <a:pt x="8371850" y="4550987"/>
                  </a:lnTo>
                  <a:close/>
                  <a:moveTo>
                    <a:pt x="8136553" y="4546948"/>
                  </a:moveTo>
                  <a:lnTo>
                    <a:pt x="8146464" y="4546948"/>
                  </a:lnTo>
                  <a:lnTo>
                    <a:pt x="8150483" y="4550987"/>
                  </a:lnTo>
                  <a:lnTo>
                    <a:pt x="8150483" y="4560858"/>
                  </a:lnTo>
                  <a:lnTo>
                    <a:pt x="8146464" y="4564897"/>
                  </a:lnTo>
                  <a:lnTo>
                    <a:pt x="8136553" y="4564897"/>
                  </a:lnTo>
                  <a:lnTo>
                    <a:pt x="8132534" y="4560858"/>
                  </a:lnTo>
                  <a:lnTo>
                    <a:pt x="8132534" y="4550987"/>
                  </a:lnTo>
                  <a:close/>
                  <a:moveTo>
                    <a:pt x="7897241" y="4546948"/>
                  </a:moveTo>
                  <a:lnTo>
                    <a:pt x="7907151" y="4546948"/>
                  </a:lnTo>
                  <a:lnTo>
                    <a:pt x="7911170" y="4550987"/>
                  </a:lnTo>
                  <a:lnTo>
                    <a:pt x="7911170" y="4560858"/>
                  </a:lnTo>
                  <a:lnTo>
                    <a:pt x="7907151" y="4564897"/>
                  </a:lnTo>
                  <a:lnTo>
                    <a:pt x="7897241" y="4564897"/>
                  </a:lnTo>
                  <a:lnTo>
                    <a:pt x="7893222" y="4560858"/>
                  </a:lnTo>
                  <a:lnTo>
                    <a:pt x="7893222" y="4550987"/>
                  </a:lnTo>
                  <a:close/>
                  <a:moveTo>
                    <a:pt x="7657926" y="4546948"/>
                  </a:moveTo>
                  <a:lnTo>
                    <a:pt x="7667836" y="4546948"/>
                  </a:lnTo>
                  <a:lnTo>
                    <a:pt x="7671855" y="4550987"/>
                  </a:lnTo>
                  <a:lnTo>
                    <a:pt x="7671855" y="4560858"/>
                  </a:lnTo>
                  <a:lnTo>
                    <a:pt x="7667836" y="4564897"/>
                  </a:lnTo>
                  <a:lnTo>
                    <a:pt x="7657926" y="4564897"/>
                  </a:lnTo>
                  <a:lnTo>
                    <a:pt x="7653906" y="4560858"/>
                  </a:lnTo>
                  <a:lnTo>
                    <a:pt x="7653906" y="4550987"/>
                  </a:lnTo>
                  <a:close/>
                  <a:moveTo>
                    <a:pt x="7418611" y="4546948"/>
                  </a:moveTo>
                  <a:lnTo>
                    <a:pt x="7428521" y="4546948"/>
                  </a:lnTo>
                  <a:lnTo>
                    <a:pt x="7432540" y="4550987"/>
                  </a:lnTo>
                  <a:lnTo>
                    <a:pt x="7432540" y="4560858"/>
                  </a:lnTo>
                  <a:lnTo>
                    <a:pt x="7428521" y="4564897"/>
                  </a:lnTo>
                  <a:lnTo>
                    <a:pt x="7418611" y="4564897"/>
                  </a:lnTo>
                  <a:lnTo>
                    <a:pt x="7414592" y="4560858"/>
                  </a:lnTo>
                  <a:lnTo>
                    <a:pt x="7414592" y="4550987"/>
                  </a:lnTo>
                  <a:close/>
                  <a:moveTo>
                    <a:pt x="7179298" y="4546948"/>
                  </a:moveTo>
                  <a:lnTo>
                    <a:pt x="7189209" y="4546948"/>
                  </a:lnTo>
                  <a:lnTo>
                    <a:pt x="7193228" y="4550987"/>
                  </a:lnTo>
                  <a:lnTo>
                    <a:pt x="7193228" y="4560858"/>
                  </a:lnTo>
                  <a:lnTo>
                    <a:pt x="7189209" y="4564897"/>
                  </a:lnTo>
                  <a:lnTo>
                    <a:pt x="7179298" y="4564897"/>
                  </a:lnTo>
                  <a:lnTo>
                    <a:pt x="7175279" y="4560858"/>
                  </a:lnTo>
                  <a:lnTo>
                    <a:pt x="7175279" y="4550987"/>
                  </a:lnTo>
                  <a:close/>
                  <a:moveTo>
                    <a:pt x="6939983" y="4546948"/>
                  </a:moveTo>
                  <a:lnTo>
                    <a:pt x="6949894" y="4546948"/>
                  </a:lnTo>
                  <a:lnTo>
                    <a:pt x="6953913" y="4550987"/>
                  </a:lnTo>
                  <a:lnTo>
                    <a:pt x="6953913" y="4560858"/>
                  </a:lnTo>
                  <a:lnTo>
                    <a:pt x="6949894" y="4564897"/>
                  </a:lnTo>
                  <a:lnTo>
                    <a:pt x="6939983" y="4564897"/>
                  </a:lnTo>
                  <a:lnTo>
                    <a:pt x="6935964" y="4560858"/>
                  </a:lnTo>
                  <a:lnTo>
                    <a:pt x="6935964" y="4550987"/>
                  </a:lnTo>
                  <a:close/>
                  <a:moveTo>
                    <a:pt x="6700670" y="4546948"/>
                  </a:moveTo>
                  <a:lnTo>
                    <a:pt x="6710581" y="4546948"/>
                  </a:lnTo>
                  <a:lnTo>
                    <a:pt x="6714600" y="4550987"/>
                  </a:lnTo>
                  <a:lnTo>
                    <a:pt x="6714600" y="4560858"/>
                  </a:lnTo>
                  <a:lnTo>
                    <a:pt x="6710581" y="4564897"/>
                  </a:lnTo>
                  <a:lnTo>
                    <a:pt x="6700670" y="4564897"/>
                  </a:lnTo>
                  <a:lnTo>
                    <a:pt x="6696651" y="4560858"/>
                  </a:lnTo>
                  <a:lnTo>
                    <a:pt x="6696651" y="4550987"/>
                  </a:lnTo>
                  <a:close/>
                  <a:moveTo>
                    <a:pt x="6461356" y="4546948"/>
                  </a:moveTo>
                  <a:lnTo>
                    <a:pt x="6471266" y="4546948"/>
                  </a:lnTo>
                  <a:lnTo>
                    <a:pt x="6475285" y="4550987"/>
                  </a:lnTo>
                  <a:lnTo>
                    <a:pt x="6475285" y="4560858"/>
                  </a:lnTo>
                  <a:lnTo>
                    <a:pt x="6471266" y="4564897"/>
                  </a:lnTo>
                  <a:lnTo>
                    <a:pt x="6461356" y="4564897"/>
                  </a:lnTo>
                  <a:lnTo>
                    <a:pt x="6457337" y="4560858"/>
                  </a:lnTo>
                  <a:lnTo>
                    <a:pt x="6457337" y="4550987"/>
                  </a:lnTo>
                  <a:close/>
                  <a:moveTo>
                    <a:pt x="6222042" y="4546948"/>
                  </a:moveTo>
                  <a:lnTo>
                    <a:pt x="6231952" y="4546948"/>
                  </a:lnTo>
                  <a:lnTo>
                    <a:pt x="6235971" y="4550987"/>
                  </a:lnTo>
                  <a:lnTo>
                    <a:pt x="6235971" y="4560858"/>
                  </a:lnTo>
                  <a:lnTo>
                    <a:pt x="6231952" y="4564897"/>
                  </a:lnTo>
                  <a:lnTo>
                    <a:pt x="6222042" y="4564897"/>
                  </a:lnTo>
                  <a:lnTo>
                    <a:pt x="6218023" y="4560858"/>
                  </a:lnTo>
                  <a:lnTo>
                    <a:pt x="6218023" y="4550987"/>
                  </a:lnTo>
                  <a:close/>
                  <a:moveTo>
                    <a:pt x="5982729" y="4546948"/>
                  </a:moveTo>
                  <a:lnTo>
                    <a:pt x="5992639" y="4546948"/>
                  </a:lnTo>
                  <a:lnTo>
                    <a:pt x="5996658" y="4550987"/>
                  </a:lnTo>
                  <a:lnTo>
                    <a:pt x="5996658" y="4560858"/>
                  </a:lnTo>
                  <a:lnTo>
                    <a:pt x="5992639" y="4564897"/>
                  </a:lnTo>
                  <a:lnTo>
                    <a:pt x="5982729" y="4564897"/>
                  </a:lnTo>
                  <a:lnTo>
                    <a:pt x="5978710" y="4560858"/>
                  </a:lnTo>
                  <a:lnTo>
                    <a:pt x="5978710" y="4550987"/>
                  </a:lnTo>
                  <a:close/>
                  <a:moveTo>
                    <a:pt x="5743412" y="4546948"/>
                  </a:moveTo>
                  <a:lnTo>
                    <a:pt x="5753323" y="4546948"/>
                  </a:lnTo>
                  <a:lnTo>
                    <a:pt x="5757342" y="4550987"/>
                  </a:lnTo>
                  <a:lnTo>
                    <a:pt x="5757342" y="4560858"/>
                  </a:lnTo>
                  <a:lnTo>
                    <a:pt x="5753323" y="4564897"/>
                  </a:lnTo>
                  <a:lnTo>
                    <a:pt x="5743412" y="4564897"/>
                  </a:lnTo>
                  <a:lnTo>
                    <a:pt x="5739393" y="4560858"/>
                  </a:lnTo>
                  <a:lnTo>
                    <a:pt x="5739393" y="4550987"/>
                  </a:lnTo>
                  <a:close/>
                  <a:moveTo>
                    <a:pt x="5504099" y="4546948"/>
                  </a:moveTo>
                  <a:lnTo>
                    <a:pt x="5514010" y="4546948"/>
                  </a:lnTo>
                  <a:lnTo>
                    <a:pt x="5518029" y="4550987"/>
                  </a:lnTo>
                  <a:lnTo>
                    <a:pt x="5518029" y="4560858"/>
                  </a:lnTo>
                  <a:lnTo>
                    <a:pt x="5514010" y="4564897"/>
                  </a:lnTo>
                  <a:lnTo>
                    <a:pt x="5504099" y="4564897"/>
                  </a:lnTo>
                  <a:lnTo>
                    <a:pt x="5500080" y="4560858"/>
                  </a:lnTo>
                  <a:lnTo>
                    <a:pt x="5500080" y="4550987"/>
                  </a:lnTo>
                  <a:close/>
                  <a:moveTo>
                    <a:pt x="5264784" y="4546948"/>
                  </a:moveTo>
                  <a:lnTo>
                    <a:pt x="5274694" y="4546948"/>
                  </a:lnTo>
                  <a:lnTo>
                    <a:pt x="5278713" y="4550987"/>
                  </a:lnTo>
                  <a:lnTo>
                    <a:pt x="5278713" y="4560858"/>
                  </a:lnTo>
                  <a:lnTo>
                    <a:pt x="5274694" y="4564897"/>
                  </a:lnTo>
                  <a:lnTo>
                    <a:pt x="5264784" y="4564897"/>
                  </a:lnTo>
                  <a:lnTo>
                    <a:pt x="5260765" y="4560858"/>
                  </a:lnTo>
                  <a:lnTo>
                    <a:pt x="5260765" y="4550987"/>
                  </a:lnTo>
                  <a:close/>
                  <a:moveTo>
                    <a:pt x="5025470" y="4546948"/>
                  </a:moveTo>
                  <a:lnTo>
                    <a:pt x="5035381" y="4546948"/>
                  </a:lnTo>
                  <a:lnTo>
                    <a:pt x="5039400" y="4550987"/>
                  </a:lnTo>
                  <a:lnTo>
                    <a:pt x="5039400" y="4560858"/>
                  </a:lnTo>
                  <a:lnTo>
                    <a:pt x="5035381" y="4564897"/>
                  </a:lnTo>
                  <a:lnTo>
                    <a:pt x="5025470" y="4564897"/>
                  </a:lnTo>
                  <a:lnTo>
                    <a:pt x="5021451" y="4560858"/>
                  </a:lnTo>
                  <a:lnTo>
                    <a:pt x="5021451" y="4550987"/>
                  </a:lnTo>
                  <a:close/>
                  <a:moveTo>
                    <a:pt x="4786241" y="4546948"/>
                  </a:moveTo>
                  <a:lnTo>
                    <a:pt x="4796152" y="4546948"/>
                  </a:lnTo>
                  <a:lnTo>
                    <a:pt x="4800171" y="4550987"/>
                  </a:lnTo>
                  <a:lnTo>
                    <a:pt x="4800171" y="4560858"/>
                  </a:lnTo>
                  <a:lnTo>
                    <a:pt x="4796152" y="4564897"/>
                  </a:lnTo>
                  <a:lnTo>
                    <a:pt x="4786241" y="4564897"/>
                  </a:lnTo>
                  <a:lnTo>
                    <a:pt x="4782224" y="4560858"/>
                  </a:lnTo>
                  <a:lnTo>
                    <a:pt x="4782224" y="4550987"/>
                  </a:lnTo>
                  <a:close/>
                  <a:moveTo>
                    <a:pt x="4546929" y="4546948"/>
                  </a:moveTo>
                  <a:lnTo>
                    <a:pt x="4556840" y="4546948"/>
                  </a:lnTo>
                  <a:lnTo>
                    <a:pt x="4560859" y="4550987"/>
                  </a:lnTo>
                  <a:lnTo>
                    <a:pt x="4560859" y="4560858"/>
                  </a:lnTo>
                  <a:lnTo>
                    <a:pt x="4556840" y="4564897"/>
                  </a:lnTo>
                  <a:lnTo>
                    <a:pt x="4546929" y="4564897"/>
                  </a:lnTo>
                  <a:lnTo>
                    <a:pt x="4542910" y="4560858"/>
                  </a:lnTo>
                  <a:lnTo>
                    <a:pt x="4542910" y="4550987"/>
                  </a:lnTo>
                  <a:close/>
                  <a:moveTo>
                    <a:pt x="4307612" y="4546948"/>
                  </a:moveTo>
                  <a:lnTo>
                    <a:pt x="4317523" y="4546948"/>
                  </a:lnTo>
                  <a:lnTo>
                    <a:pt x="4321543" y="4550987"/>
                  </a:lnTo>
                  <a:lnTo>
                    <a:pt x="4321543" y="4560858"/>
                  </a:lnTo>
                  <a:lnTo>
                    <a:pt x="4317523" y="4564897"/>
                  </a:lnTo>
                  <a:lnTo>
                    <a:pt x="4307612" y="4564897"/>
                  </a:lnTo>
                  <a:lnTo>
                    <a:pt x="4303595" y="4560858"/>
                  </a:lnTo>
                  <a:lnTo>
                    <a:pt x="4303595" y="4550987"/>
                  </a:lnTo>
                  <a:close/>
                  <a:moveTo>
                    <a:pt x="4068297" y="4546948"/>
                  </a:moveTo>
                  <a:lnTo>
                    <a:pt x="4078210" y="4546948"/>
                  </a:lnTo>
                  <a:lnTo>
                    <a:pt x="4082229" y="4550987"/>
                  </a:lnTo>
                  <a:lnTo>
                    <a:pt x="4082229" y="4560858"/>
                  </a:lnTo>
                  <a:lnTo>
                    <a:pt x="4078210" y="4564897"/>
                  </a:lnTo>
                  <a:lnTo>
                    <a:pt x="4068297" y="4564897"/>
                  </a:lnTo>
                  <a:lnTo>
                    <a:pt x="4064278" y="4560858"/>
                  </a:lnTo>
                  <a:lnTo>
                    <a:pt x="4064278" y="4550987"/>
                  </a:lnTo>
                  <a:close/>
                  <a:moveTo>
                    <a:pt x="3828990" y="4546948"/>
                  </a:moveTo>
                  <a:lnTo>
                    <a:pt x="3838899" y="4546948"/>
                  </a:lnTo>
                  <a:lnTo>
                    <a:pt x="3842917" y="4550987"/>
                  </a:lnTo>
                  <a:lnTo>
                    <a:pt x="3842917" y="4560858"/>
                  </a:lnTo>
                  <a:lnTo>
                    <a:pt x="3838899" y="4564897"/>
                  </a:lnTo>
                  <a:lnTo>
                    <a:pt x="3828990" y="4564897"/>
                  </a:lnTo>
                  <a:lnTo>
                    <a:pt x="3824971" y="4560858"/>
                  </a:lnTo>
                  <a:lnTo>
                    <a:pt x="3824971" y="4550987"/>
                  </a:lnTo>
                  <a:close/>
                  <a:moveTo>
                    <a:pt x="3589676" y="4546948"/>
                  </a:moveTo>
                  <a:lnTo>
                    <a:pt x="3599585" y="4546948"/>
                  </a:lnTo>
                  <a:lnTo>
                    <a:pt x="3603604" y="4550987"/>
                  </a:lnTo>
                  <a:lnTo>
                    <a:pt x="3603604" y="4560858"/>
                  </a:lnTo>
                  <a:lnTo>
                    <a:pt x="3599585" y="4564897"/>
                  </a:lnTo>
                  <a:lnTo>
                    <a:pt x="3589676" y="4564897"/>
                  </a:lnTo>
                  <a:lnTo>
                    <a:pt x="3585657" y="4560858"/>
                  </a:lnTo>
                  <a:lnTo>
                    <a:pt x="3585657" y="4550987"/>
                  </a:lnTo>
                  <a:close/>
                  <a:moveTo>
                    <a:pt x="3350359" y="4546948"/>
                  </a:moveTo>
                  <a:lnTo>
                    <a:pt x="3360268" y="4546948"/>
                  </a:lnTo>
                  <a:lnTo>
                    <a:pt x="3364287" y="4550987"/>
                  </a:lnTo>
                  <a:lnTo>
                    <a:pt x="3364287" y="4560858"/>
                  </a:lnTo>
                  <a:lnTo>
                    <a:pt x="3360268" y="4564897"/>
                  </a:lnTo>
                  <a:lnTo>
                    <a:pt x="3350359" y="4564897"/>
                  </a:lnTo>
                  <a:lnTo>
                    <a:pt x="3346340" y="4560858"/>
                  </a:lnTo>
                  <a:lnTo>
                    <a:pt x="3346340" y="4550987"/>
                  </a:lnTo>
                  <a:close/>
                  <a:moveTo>
                    <a:pt x="3111048" y="4546948"/>
                  </a:moveTo>
                  <a:lnTo>
                    <a:pt x="3120959" y="4546948"/>
                  </a:lnTo>
                  <a:lnTo>
                    <a:pt x="3124977" y="4550987"/>
                  </a:lnTo>
                  <a:lnTo>
                    <a:pt x="3124977" y="4560858"/>
                  </a:lnTo>
                  <a:lnTo>
                    <a:pt x="3120959" y="4564897"/>
                  </a:lnTo>
                  <a:lnTo>
                    <a:pt x="3111048" y="4564897"/>
                  </a:lnTo>
                  <a:lnTo>
                    <a:pt x="3107029" y="4560858"/>
                  </a:lnTo>
                  <a:lnTo>
                    <a:pt x="3107029" y="4550987"/>
                  </a:lnTo>
                  <a:close/>
                  <a:moveTo>
                    <a:pt x="2871737" y="4546948"/>
                  </a:moveTo>
                  <a:lnTo>
                    <a:pt x="2881646" y="4546948"/>
                  </a:lnTo>
                  <a:lnTo>
                    <a:pt x="2885666" y="4550987"/>
                  </a:lnTo>
                  <a:lnTo>
                    <a:pt x="2885666" y="4560858"/>
                  </a:lnTo>
                  <a:lnTo>
                    <a:pt x="2881646" y="4564897"/>
                  </a:lnTo>
                  <a:lnTo>
                    <a:pt x="2871737" y="4564897"/>
                  </a:lnTo>
                  <a:lnTo>
                    <a:pt x="2867717" y="4560858"/>
                  </a:lnTo>
                  <a:lnTo>
                    <a:pt x="2867717" y="4550987"/>
                  </a:lnTo>
                  <a:close/>
                  <a:moveTo>
                    <a:pt x="2632423" y="4546948"/>
                  </a:moveTo>
                  <a:lnTo>
                    <a:pt x="2642334" y="4546948"/>
                  </a:lnTo>
                  <a:lnTo>
                    <a:pt x="2646352" y="4550987"/>
                  </a:lnTo>
                  <a:lnTo>
                    <a:pt x="2646352" y="4560858"/>
                  </a:lnTo>
                  <a:lnTo>
                    <a:pt x="2642334" y="4564897"/>
                  </a:lnTo>
                  <a:lnTo>
                    <a:pt x="2632423" y="4564897"/>
                  </a:lnTo>
                  <a:lnTo>
                    <a:pt x="2628404" y="4560858"/>
                  </a:lnTo>
                  <a:lnTo>
                    <a:pt x="2628404" y="4550987"/>
                  </a:lnTo>
                  <a:close/>
                  <a:moveTo>
                    <a:pt x="2393104" y="4546948"/>
                  </a:moveTo>
                  <a:lnTo>
                    <a:pt x="2403015" y="4546948"/>
                  </a:lnTo>
                  <a:lnTo>
                    <a:pt x="2407034" y="4550987"/>
                  </a:lnTo>
                  <a:lnTo>
                    <a:pt x="2407034" y="4560858"/>
                  </a:lnTo>
                  <a:lnTo>
                    <a:pt x="2403015" y="4564897"/>
                  </a:lnTo>
                  <a:lnTo>
                    <a:pt x="2393104" y="4564897"/>
                  </a:lnTo>
                  <a:lnTo>
                    <a:pt x="2389087" y="4560858"/>
                  </a:lnTo>
                  <a:lnTo>
                    <a:pt x="2389087" y="4550987"/>
                  </a:lnTo>
                  <a:close/>
                  <a:moveTo>
                    <a:pt x="721964" y="4546948"/>
                  </a:moveTo>
                  <a:lnTo>
                    <a:pt x="731874" y="4546948"/>
                  </a:lnTo>
                  <a:lnTo>
                    <a:pt x="735893" y="4550987"/>
                  </a:lnTo>
                  <a:lnTo>
                    <a:pt x="735893" y="4560858"/>
                  </a:lnTo>
                  <a:lnTo>
                    <a:pt x="731874" y="4564897"/>
                  </a:lnTo>
                  <a:lnTo>
                    <a:pt x="721964" y="4564897"/>
                  </a:lnTo>
                  <a:lnTo>
                    <a:pt x="717945" y="4560858"/>
                  </a:lnTo>
                  <a:lnTo>
                    <a:pt x="717945" y="4550987"/>
                  </a:lnTo>
                  <a:close/>
                  <a:moveTo>
                    <a:pt x="482651" y="4546948"/>
                  </a:moveTo>
                  <a:lnTo>
                    <a:pt x="492562" y="4546948"/>
                  </a:lnTo>
                  <a:lnTo>
                    <a:pt x="496581" y="4550987"/>
                  </a:lnTo>
                  <a:lnTo>
                    <a:pt x="496581" y="4560858"/>
                  </a:lnTo>
                  <a:lnTo>
                    <a:pt x="492562" y="4564897"/>
                  </a:lnTo>
                  <a:lnTo>
                    <a:pt x="482651" y="4564897"/>
                  </a:lnTo>
                  <a:lnTo>
                    <a:pt x="478632" y="4560858"/>
                  </a:lnTo>
                  <a:lnTo>
                    <a:pt x="478632" y="4550987"/>
                  </a:lnTo>
                  <a:close/>
                  <a:moveTo>
                    <a:pt x="243338" y="4546948"/>
                  </a:moveTo>
                  <a:lnTo>
                    <a:pt x="253248" y="4546948"/>
                  </a:lnTo>
                  <a:lnTo>
                    <a:pt x="257267" y="4550987"/>
                  </a:lnTo>
                  <a:lnTo>
                    <a:pt x="257267" y="4560858"/>
                  </a:lnTo>
                  <a:lnTo>
                    <a:pt x="253248" y="4564897"/>
                  </a:lnTo>
                  <a:lnTo>
                    <a:pt x="243338" y="4564897"/>
                  </a:lnTo>
                  <a:lnTo>
                    <a:pt x="239319" y="4560858"/>
                  </a:lnTo>
                  <a:lnTo>
                    <a:pt x="239319" y="4550987"/>
                  </a:lnTo>
                  <a:close/>
                  <a:moveTo>
                    <a:pt x="4025" y="4546948"/>
                  </a:moveTo>
                  <a:lnTo>
                    <a:pt x="13935" y="4546948"/>
                  </a:lnTo>
                  <a:lnTo>
                    <a:pt x="17954" y="4550987"/>
                  </a:lnTo>
                  <a:lnTo>
                    <a:pt x="17954" y="4560858"/>
                  </a:lnTo>
                  <a:lnTo>
                    <a:pt x="13935" y="4564897"/>
                  </a:lnTo>
                  <a:lnTo>
                    <a:pt x="4025" y="4564897"/>
                  </a:lnTo>
                  <a:lnTo>
                    <a:pt x="6" y="4560858"/>
                  </a:lnTo>
                  <a:lnTo>
                    <a:pt x="6" y="4550987"/>
                  </a:lnTo>
                  <a:close/>
                  <a:moveTo>
                    <a:pt x="2157819" y="4307669"/>
                  </a:moveTo>
                  <a:lnTo>
                    <a:pt x="2167729" y="4307669"/>
                  </a:lnTo>
                  <a:lnTo>
                    <a:pt x="2171749" y="4311708"/>
                  </a:lnTo>
                  <a:lnTo>
                    <a:pt x="2171749" y="4321579"/>
                  </a:lnTo>
                  <a:lnTo>
                    <a:pt x="2167729" y="4325618"/>
                  </a:lnTo>
                  <a:lnTo>
                    <a:pt x="2157819" y="4325618"/>
                  </a:lnTo>
                  <a:lnTo>
                    <a:pt x="2153801" y="4321579"/>
                  </a:lnTo>
                  <a:lnTo>
                    <a:pt x="2153801" y="4311708"/>
                  </a:lnTo>
                  <a:close/>
                  <a:moveTo>
                    <a:pt x="1918511" y="4307669"/>
                  </a:moveTo>
                  <a:lnTo>
                    <a:pt x="1928421" y="4307669"/>
                  </a:lnTo>
                  <a:lnTo>
                    <a:pt x="1932440" y="4311708"/>
                  </a:lnTo>
                  <a:lnTo>
                    <a:pt x="1932440" y="4321579"/>
                  </a:lnTo>
                  <a:lnTo>
                    <a:pt x="1928421" y="4325618"/>
                  </a:lnTo>
                  <a:lnTo>
                    <a:pt x="1918511" y="4325618"/>
                  </a:lnTo>
                  <a:lnTo>
                    <a:pt x="1914492" y="4321579"/>
                  </a:lnTo>
                  <a:lnTo>
                    <a:pt x="1914492" y="4311708"/>
                  </a:lnTo>
                  <a:close/>
                  <a:moveTo>
                    <a:pt x="1679206" y="4307669"/>
                  </a:moveTo>
                  <a:lnTo>
                    <a:pt x="1689117" y="4307669"/>
                  </a:lnTo>
                  <a:lnTo>
                    <a:pt x="1693136" y="4311708"/>
                  </a:lnTo>
                  <a:lnTo>
                    <a:pt x="1693136" y="4321579"/>
                  </a:lnTo>
                  <a:lnTo>
                    <a:pt x="1689117" y="4325618"/>
                  </a:lnTo>
                  <a:lnTo>
                    <a:pt x="1679206" y="4325618"/>
                  </a:lnTo>
                  <a:lnTo>
                    <a:pt x="1675188" y="4321579"/>
                  </a:lnTo>
                  <a:lnTo>
                    <a:pt x="1675188" y="4311708"/>
                  </a:lnTo>
                  <a:close/>
                  <a:moveTo>
                    <a:pt x="1439891" y="4307669"/>
                  </a:moveTo>
                  <a:lnTo>
                    <a:pt x="1449801" y="4307669"/>
                  </a:lnTo>
                  <a:lnTo>
                    <a:pt x="1453819" y="4311708"/>
                  </a:lnTo>
                  <a:lnTo>
                    <a:pt x="1453819" y="4321579"/>
                  </a:lnTo>
                  <a:lnTo>
                    <a:pt x="1449801" y="4325618"/>
                  </a:lnTo>
                  <a:lnTo>
                    <a:pt x="1439891" y="4325618"/>
                  </a:lnTo>
                  <a:lnTo>
                    <a:pt x="1435871" y="4321579"/>
                  </a:lnTo>
                  <a:lnTo>
                    <a:pt x="1435871" y="4311708"/>
                  </a:lnTo>
                  <a:close/>
                  <a:moveTo>
                    <a:pt x="1200575" y="4307669"/>
                  </a:moveTo>
                  <a:lnTo>
                    <a:pt x="1210486" y="4307669"/>
                  </a:lnTo>
                  <a:lnTo>
                    <a:pt x="1214505" y="4311708"/>
                  </a:lnTo>
                  <a:lnTo>
                    <a:pt x="1214505" y="4321579"/>
                  </a:lnTo>
                  <a:lnTo>
                    <a:pt x="1210486" y="4325618"/>
                  </a:lnTo>
                  <a:lnTo>
                    <a:pt x="1200575" y="4325618"/>
                  </a:lnTo>
                  <a:lnTo>
                    <a:pt x="1196556" y="4321579"/>
                  </a:lnTo>
                  <a:lnTo>
                    <a:pt x="1196556" y="4311708"/>
                  </a:lnTo>
                  <a:close/>
                  <a:moveTo>
                    <a:pt x="961263" y="4307669"/>
                  </a:moveTo>
                  <a:lnTo>
                    <a:pt x="971173" y="4307669"/>
                  </a:lnTo>
                  <a:lnTo>
                    <a:pt x="975191" y="4311708"/>
                  </a:lnTo>
                  <a:lnTo>
                    <a:pt x="975191" y="4321579"/>
                  </a:lnTo>
                  <a:lnTo>
                    <a:pt x="971173" y="4325618"/>
                  </a:lnTo>
                  <a:lnTo>
                    <a:pt x="961263" y="4325618"/>
                  </a:lnTo>
                  <a:lnTo>
                    <a:pt x="957244" y="4321579"/>
                  </a:lnTo>
                  <a:lnTo>
                    <a:pt x="957244" y="4311708"/>
                  </a:lnTo>
                  <a:close/>
                  <a:moveTo>
                    <a:pt x="9572438" y="4307617"/>
                  </a:moveTo>
                  <a:lnTo>
                    <a:pt x="9582349" y="4307617"/>
                  </a:lnTo>
                  <a:lnTo>
                    <a:pt x="9586368" y="4311656"/>
                  </a:lnTo>
                  <a:lnTo>
                    <a:pt x="9586368" y="4321527"/>
                  </a:lnTo>
                  <a:lnTo>
                    <a:pt x="9582349" y="4325566"/>
                  </a:lnTo>
                  <a:lnTo>
                    <a:pt x="9572438" y="4325566"/>
                  </a:lnTo>
                  <a:lnTo>
                    <a:pt x="9568419" y="4321527"/>
                  </a:lnTo>
                  <a:lnTo>
                    <a:pt x="9568419" y="4311656"/>
                  </a:lnTo>
                  <a:close/>
                  <a:moveTo>
                    <a:pt x="9333125" y="4307617"/>
                  </a:moveTo>
                  <a:lnTo>
                    <a:pt x="9343036" y="4307617"/>
                  </a:lnTo>
                  <a:lnTo>
                    <a:pt x="9347055" y="4311656"/>
                  </a:lnTo>
                  <a:lnTo>
                    <a:pt x="9347055" y="4321527"/>
                  </a:lnTo>
                  <a:lnTo>
                    <a:pt x="9343036" y="4325566"/>
                  </a:lnTo>
                  <a:lnTo>
                    <a:pt x="9333125" y="4325566"/>
                  </a:lnTo>
                  <a:lnTo>
                    <a:pt x="9329106" y="4321527"/>
                  </a:lnTo>
                  <a:lnTo>
                    <a:pt x="9329106" y="4311656"/>
                  </a:lnTo>
                  <a:close/>
                  <a:moveTo>
                    <a:pt x="9093811" y="4307617"/>
                  </a:moveTo>
                  <a:lnTo>
                    <a:pt x="9103722" y="4307617"/>
                  </a:lnTo>
                  <a:lnTo>
                    <a:pt x="9107741" y="4311656"/>
                  </a:lnTo>
                  <a:lnTo>
                    <a:pt x="9107741" y="4321527"/>
                  </a:lnTo>
                  <a:lnTo>
                    <a:pt x="9103722" y="4325566"/>
                  </a:lnTo>
                  <a:lnTo>
                    <a:pt x="9093811" y="4325566"/>
                  </a:lnTo>
                  <a:lnTo>
                    <a:pt x="9089792" y="4321527"/>
                  </a:lnTo>
                  <a:lnTo>
                    <a:pt x="9089792" y="4311656"/>
                  </a:lnTo>
                  <a:close/>
                  <a:moveTo>
                    <a:pt x="8854496" y="4307617"/>
                  </a:moveTo>
                  <a:lnTo>
                    <a:pt x="8864407" y="4307617"/>
                  </a:lnTo>
                  <a:lnTo>
                    <a:pt x="8868426" y="4311656"/>
                  </a:lnTo>
                  <a:lnTo>
                    <a:pt x="8868426" y="4321527"/>
                  </a:lnTo>
                  <a:lnTo>
                    <a:pt x="8864407" y="4325566"/>
                  </a:lnTo>
                  <a:lnTo>
                    <a:pt x="8854496" y="4325566"/>
                  </a:lnTo>
                  <a:lnTo>
                    <a:pt x="8850477" y="4321527"/>
                  </a:lnTo>
                  <a:lnTo>
                    <a:pt x="8850477" y="4311656"/>
                  </a:lnTo>
                  <a:close/>
                  <a:moveTo>
                    <a:pt x="8615184" y="4307617"/>
                  </a:moveTo>
                  <a:lnTo>
                    <a:pt x="8625095" y="4307617"/>
                  </a:lnTo>
                  <a:lnTo>
                    <a:pt x="8629114" y="4311656"/>
                  </a:lnTo>
                  <a:lnTo>
                    <a:pt x="8629114" y="4321527"/>
                  </a:lnTo>
                  <a:lnTo>
                    <a:pt x="8625095" y="4325566"/>
                  </a:lnTo>
                  <a:lnTo>
                    <a:pt x="8615184" y="4325566"/>
                  </a:lnTo>
                  <a:lnTo>
                    <a:pt x="8611165" y="4321527"/>
                  </a:lnTo>
                  <a:lnTo>
                    <a:pt x="8611165" y="4311656"/>
                  </a:lnTo>
                  <a:close/>
                  <a:moveTo>
                    <a:pt x="8375869" y="4307617"/>
                  </a:moveTo>
                  <a:lnTo>
                    <a:pt x="8385779" y="4307617"/>
                  </a:lnTo>
                  <a:lnTo>
                    <a:pt x="8389799" y="4311656"/>
                  </a:lnTo>
                  <a:lnTo>
                    <a:pt x="8389799" y="4321527"/>
                  </a:lnTo>
                  <a:lnTo>
                    <a:pt x="8385779" y="4325566"/>
                  </a:lnTo>
                  <a:lnTo>
                    <a:pt x="8375869" y="4325566"/>
                  </a:lnTo>
                  <a:lnTo>
                    <a:pt x="8371850" y="4321527"/>
                  </a:lnTo>
                  <a:lnTo>
                    <a:pt x="8371850" y="4311656"/>
                  </a:lnTo>
                  <a:close/>
                  <a:moveTo>
                    <a:pt x="8136553" y="4307617"/>
                  </a:moveTo>
                  <a:lnTo>
                    <a:pt x="8146464" y="4307617"/>
                  </a:lnTo>
                  <a:lnTo>
                    <a:pt x="8150483" y="4311656"/>
                  </a:lnTo>
                  <a:lnTo>
                    <a:pt x="8150483" y="4321527"/>
                  </a:lnTo>
                  <a:lnTo>
                    <a:pt x="8146464" y="4325566"/>
                  </a:lnTo>
                  <a:lnTo>
                    <a:pt x="8136553" y="4325566"/>
                  </a:lnTo>
                  <a:lnTo>
                    <a:pt x="8132534" y="4321527"/>
                  </a:lnTo>
                  <a:lnTo>
                    <a:pt x="8132534" y="4311656"/>
                  </a:lnTo>
                  <a:close/>
                  <a:moveTo>
                    <a:pt x="7897241" y="4307617"/>
                  </a:moveTo>
                  <a:lnTo>
                    <a:pt x="7907151" y="4307617"/>
                  </a:lnTo>
                  <a:lnTo>
                    <a:pt x="7911170" y="4311656"/>
                  </a:lnTo>
                  <a:lnTo>
                    <a:pt x="7911170" y="4321527"/>
                  </a:lnTo>
                  <a:lnTo>
                    <a:pt x="7907151" y="4325566"/>
                  </a:lnTo>
                  <a:lnTo>
                    <a:pt x="7897241" y="4325566"/>
                  </a:lnTo>
                  <a:lnTo>
                    <a:pt x="7893222" y="4321527"/>
                  </a:lnTo>
                  <a:lnTo>
                    <a:pt x="7893222" y="4311656"/>
                  </a:lnTo>
                  <a:close/>
                  <a:moveTo>
                    <a:pt x="7657926" y="4307617"/>
                  </a:moveTo>
                  <a:lnTo>
                    <a:pt x="7667836" y="4307617"/>
                  </a:lnTo>
                  <a:lnTo>
                    <a:pt x="7671855" y="4311656"/>
                  </a:lnTo>
                  <a:lnTo>
                    <a:pt x="7671855" y="4321527"/>
                  </a:lnTo>
                  <a:lnTo>
                    <a:pt x="7667836" y="4325566"/>
                  </a:lnTo>
                  <a:lnTo>
                    <a:pt x="7657926" y="4325566"/>
                  </a:lnTo>
                  <a:lnTo>
                    <a:pt x="7653906" y="4321527"/>
                  </a:lnTo>
                  <a:lnTo>
                    <a:pt x="7653906" y="4311656"/>
                  </a:lnTo>
                  <a:close/>
                  <a:moveTo>
                    <a:pt x="7418611" y="4307617"/>
                  </a:moveTo>
                  <a:lnTo>
                    <a:pt x="7428521" y="4307617"/>
                  </a:lnTo>
                  <a:lnTo>
                    <a:pt x="7432540" y="4311656"/>
                  </a:lnTo>
                  <a:lnTo>
                    <a:pt x="7432540" y="4321527"/>
                  </a:lnTo>
                  <a:lnTo>
                    <a:pt x="7428521" y="4325566"/>
                  </a:lnTo>
                  <a:lnTo>
                    <a:pt x="7418611" y="4325566"/>
                  </a:lnTo>
                  <a:lnTo>
                    <a:pt x="7414592" y="4321527"/>
                  </a:lnTo>
                  <a:lnTo>
                    <a:pt x="7414592" y="4311656"/>
                  </a:lnTo>
                  <a:close/>
                  <a:moveTo>
                    <a:pt x="7179298" y="4307617"/>
                  </a:moveTo>
                  <a:lnTo>
                    <a:pt x="7189209" y="4307617"/>
                  </a:lnTo>
                  <a:lnTo>
                    <a:pt x="7193228" y="4311656"/>
                  </a:lnTo>
                  <a:lnTo>
                    <a:pt x="7193228" y="4321527"/>
                  </a:lnTo>
                  <a:lnTo>
                    <a:pt x="7189209" y="4325566"/>
                  </a:lnTo>
                  <a:lnTo>
                    <a:pt x="7179298" y="4325566"/>
                  </a:lnTo>
                  <a:lnTo>
                    <a:pt x="7175279" y="4321527"/>
                  </a:lnTo>
                  <a:lnTo>
                    <a:pt x="7175279" y="4311656"/>
                  </a:lnTo>
                  <a:close/>
                  <a:moveTo>
                    <a:pt x="6939983" y="4307617"/>
                  </a:moveTo>
                  <a:lnTo>
                    <a:pt x="6949894" y="4307617"/>
                  </a:lnTo>
                  <a:lnTo>
                    <a:pt x="6953913" y="4311656"/>
                  </a:lnTo>
                  <a:lnTo>
                    <a:pt x="6953913" y="4321527"/>
                  </a:lnTo>
                  <a:lnTo>
                    <a:pt x="6949894" y="4325566"/>
                  </a:lnTo>
                  <a:lnTo>
                    <a:pt x="6939983" y="4325566"/>
                  </a:lnTo>
                  <a:lnTo>
                    <a:pt x="6935964" y="4321527"/>
                  </a:lnTo>
                  <a:lnTo>
                    <a:pt x="6935964" y="4311656"/>
                  </a:lnTo>
                  <a:close/>
                  <a:moveTo>
                    <a:pt x="6700670" y="4307617"/>
                  </a:moveTo>
                  <a:lnTo>
                    <a:pt x="6710581" y="4307617"/>
                  </a:lnTo>
                  <a:lnTo>
                    <a:pt x="6714600" y="4311656"/>
                  </a:lnTo>
                  <a:lnTo>
                    <a:pt x="6714600" y="4321527"/>
                  </a:lnTo>
                  <a:lnTo>
                    <a:pt x="6710581" y="4325566"/>
                  </a:lnTo>
                  <a:lnTo>
                    <a:pt x="6700670" y="4325566"/>
                  </a:lnTo>
                  <a:lnTo>
                    <a:pt x="6696651" y="4321527"/>
                  </a:lnTo>
                  <a:lnTo>
                    <a:pt x="6696651" y="4311656"/>
                  </a:lnTo>
                  <a:close/>
                  <a:moveTo>
                    <a:pt x="6461356" y="4307617"/>
                  </a:moveTo>
                  <a:lnTo>
                    <a:pt x="6471266" y="4307617"/>
                  </a:lnTo>
                  <a:lnTo>
                    <a:pt x="6475285" y="4311656"/>
                  </a:lnTo>
                  <a:lnTo>
                    <a:pt x="6475285" y="4321527"/>
                  </a:lnTo>
                  <a:lnTo>
                    <a:pt x="6471266" y="4325566"/>
                  </a:lnTo>
                  <a:lnTo>
                    <a:pt x="6461356" y="4325566"/>
                  </a:lnTo>
                  <a:lnTo>
                    <a:pt x="6457337" y="4321527"/>
                  </a:lnTo>
                  <a:lnTo>
                    <a:pt x="6457337" y="4311656"/>
                  </a:lnTo>
                  <a:close/>
                  <a:moveTo>
                    <a:pt x="6222042" y="4307617"/>
                  </a:moveTo>
                  <a:lnTo>
                    <a:pt x="6231952" y="4307617"/>
                  </a:lnTo>
                  <a:lnTo>
                    <a:pt x="6235971" y="4311656"/>
                  </a:lnTo>
                  <a:lnTo>
                    <a:pt x="6235971" y="4321527"/>
                  </a:lnTo>
                  <a:lnTo>
                    <a:pt x="6231952" y="4325566"/>
                  </a:lnTo>
                  <a:lnTo>
                    <a:pt x="6222042" y="4325566"/>
                  </a:lnTo>
                  <a:lnTo>
                    <a:pt x="6218023" y="4321527"/>
                  </a:lnTo>
                  <a:lnTo>
                    <a:pt x="6218023" y="4311656"/>
                  </a:lnTo>
                  <a:close/>
                  <a:moveTo>
                    <a:pt x="5982729" y="4307617"/>
                  </a:moveTo>
                  <a:lnTo>
                    <a:pt x="5992639" y="4307617"/>
                  </a:lnTo>
                  <a:lnTo>
                    <a:pt x="5996658" y="4311656"/>
                  </a:lnTo>
                  <a:lnTo>
                    <a:pt x="5996658" y="4321527"/>
                  </a:lnTo>
                  <a:lnTo>
                    <a:pt x="5992639" y="4325566"/>
                  </a:lnTo>
                  <a:lnTo>
                    <a:pt x="5982729" y="4325566"/>
                  </a:lnTo>
                  <a:lnTo>
                    <a:pt x="5978710" y="4321527"/>
                  </a:lnTo>
                  <a:lnTo>
                    <a:pt x="5978710" y="4311656"/>
                  </a:lnTo>
                  <a:close/>
                  <a:moveTo>
                    <a:pt x="5743412" y="4307617"/>
                  </a:moveTo>
                  <a:lnTo>
                    <a:pt x="5753323" y="4307617"/>
                  </a:lnTo>
                  <a:lnTo>
                    <a:pt x="5757342" y="4311656"/>
                  </a:lnTo>
                  <a:lnTo>
                    <a:pt x="5757342" y="4321527"/>
                  </a:lnTo>
                  <a:lnTo>
                    <a:pt x="5753323" y="4325566"/>
                  </a:lnTo>
                  <a:lnTo>
                    <a:pt x="5743412" y="4325566"/>
                  </a:lnTo>
                  <a:lnTo>
                    <a:pt x="5739393" y="4321527"/>
                  </a:lnTo>
                  <a:lnTo>
                    <a:pt x="5739393" y="4311656"/>
                  </a:lnTo>
                  <a:close/>
                  <a:moveTo>
                    <a:pt x="5504099" y="4307617"/>
                  </a:moveTo>
                  <a:lnTo>
                    <a:pt x="5514010" y="4307617"/>
                  </a:lnTo>
                  <a:lnTo>
                    <a:pt x="5518029" y="4311656"/>
                  </a:lnTo>
                  <a:lnTo>
                    <a:pt x="5518029" y="4321527"/>
                  </a:lnTo>
                  <a:lnTo>
                    <a:pt x="5514010" y="4325566"/>
                  </a:lnTo>
                  <a:lnTo>
                    <a:pt x="5504099" y="4325566"/>
                  </a:lnTo>
                  <a:lnTo>
                    <a:pt x="5500080" y="4321527"/>
                  </a:lnTo>
                  <a:lnTo>
                    <a:pt x="5500080" y="4311656"/>
                  </a:lnTo>
                  <a:close/>
                  <a:moveTo>
                    <a:pt x="5264784" y="4307617"/>
                  </a:moveTo>
                  <a:lnTo>
                    <a:pt x="5274694" y="4307617"/>
                  </a:lnTo>
                  <a:lnTo>
                    <a:pt x="5278713" y="4311656"/>
                  </a:lnTo>
                  <a:lnTo>
                    <a:pt x="5278713" y="4321527"/>
                  </a:lnTo>
                  <a:lnTo>
                    <a:pt x="5274694" y="4325566"/>
                  </a:lnTo>
                  <a:lnTo>
                    <a:pt x="5264784" y="4325566"/>
                  </a:lnTo>
                  <a:lnTo>
                    <a:pt x="5260765" y="4321527"/>
                  </a:lnTo>
                  <a:lnTo>
                    <a:pt x="5260765" y="4311656"/>
                  </a:lnTo>
                  <a:close/>
                  <a:moveTo>
                    <a:pt x="5025470" y="4307617"/>
                  </a:moveTo>
                  <a:lnTo>
                    <a:pt x="5035381" y="4307617"/>
                  </a:lnTo>
                  <a:lnTo>
                    <a:pt x="5039400" y="4311656"/>
                  </a:lnTo>
                  <a:lnTo>
                    <a:pt x="5039400" y="4321527"/>
                  </a:lnTo>
                  <a:lnTo>
                    <a:pt x="5035381" y="4325566"/>
                  </a:lnTo>
                  <a:lnTo>
                    <a:pt x="5025470" y="4325566"/>
                  </a:lnTo>
                  <a:lnTo>
                    <a:pt x="5021451" y="4321527"/>
                  </a:lnTo>
                  <a:lnTo>
                    <a:pt x="5021451" y="4311656"/>
                  </a:lnTo>
                  <a:close/>
                  <a:moveTo>
                    <a:pt x="4786241" y="4307617"/>
                  </a:moveTo>
                  <a:lnTo>
                    <a:pt x="4796152" y="4307617"/>
                  </a:lnTo>
                  <a:lnTo>
                    <a:pt x="4800171" y="4311656"/>
                  </a:lnTo>
                  <a:lnTo>
                    <a:pt x="4800171" y="4321527"/>
                  </a:lnTo>
                  <a:lnTo>
                    <a:pt x="4796152" y="4325566"/>
                  </a:lnTo>
                  <a:lnTo>
                    <a:pt x="4786241" y="4325566"/>
                  </a:lnTo>
                  <a:lnTo>
                    <a:pt x="4782224" y="4321527"/>
                  </a:lnTo>
                  <a:lnTo>
                    <a:pt x="4782224" y="4311656"/>
                  </a:lnTo>
                  <a:close/>
                  <a:moveTo>
                    <a:pt x="4546929" y="4307617"/>
                  </a:moveTo>
                  <a:lnTo>
                    <a:pt x="4556840" y="4307617"/>
                  </a:lnTo>
                  <a:lnTo>
                    <a:pt x="4560859" y="4311656"/>
                  </a:lnTo>
                  <a:lnTo>
                    <a:pt x="4560859" y="4321527"/>
                  </a:lnTo>
                  <a:lnTo>
                    <a:pt x="4556840" y="4325566"/>
                  </a:lnTo>
                  <a:lnTo>
                    <a:pt x="4546929" y="4325566"/>
                  </a:lnTo>
                  <a:lnTo>
                    <a:pt x="4542910" y="4321527"/>
                  </a:lnTo>
                  <a:lnTo>
                    <a:pt x="4542910" y="4311656"/>
                  </a:lnTo>
                  <a:close/>
                  <a:moveTo>
                    <a:pt x="4307612" y="4307617"/>
                  </a:moveTo>
                  <a:lnTo>
                    <a:pt x="4317523" y="4307617"/>
                  </a:lnTo>
                  <a:lnTo>
                    <a:pt x="4321543" y="4311656"/>
                  </a:lnTo>
                  <a:lnTo>
                    <a:pt x="4321543" y="4321527"/>
                  </a:lnTo>
                  <a:lnTo>
                    <a:pt x="4317523" y="4325566"/>
                  </a:lnTo>
                  <a:lnTo>
                    <a:pt x="4307612" y="4325566"/>
                  </a:lnTo>
                  <a:lnTo>
                    <a:pt x="4303595" y="4321527"/>
                  </a:lnTo>
                  <a:lnTo>
                    <a:pt x="4303595" y="4311656"/>
                  </a:lnTo>
                  <a:close/>
                  <a:moveTo>
                    <a:pt x="4068297" y="4307617"/>
                  </a:moveTo>
                  <a:lnTo>
                    <a:pt x="4078210" y="4307617"/>
                  </a:lnTo>
                  <a:lnTo>
                    <a:pt x="4082229" y="4311656"/>
                  </a:lnTo>
                  <a:lnTo>
                    <a:pt x="4082229" y="4321527"/>
                  </a:lnTo>
                  <a:lnTo>
                    <a:pt x="4078210" y="4325566"/>
                  </a:lnTo>
                  <a:lnTo>
                    <a:pt x="4068297" y="4325566"/>
                  </a:lnTo>
                  <a:lnTo>
                    <a:pt x="4064278" y="4321527"/>
                  </a:lnTo>
                  <a:lnTo>
                    <a:pt x="4064278" y="4311656"/>
                  </a:lnTo>
                  <a:close/>
                  <a:moveTo>
                    <a:pt x="3828990" y="4307617"/>
                  </a:moveTo>
                  <a:lnTo>
                    <a:pt x="3838899" y="4307617"/>
                  </a:lnTo>
                  <a:lnTo>
                    <a:pt x="3842917" y="4311656"/>
                  </a:lnTo>
                  <a:lnTo>
                    <a:pt x="3842917" y="4321527"/>
                  </a:lnTo>
                  <a:lnTo>
                    <a:pt x="3838899" y="4325566"/>
                  </a:lnTo>
                  <a:lnTo>
                    <a:pt x="3828990" y="4325566"/>
                  </a:lnTo>
                  <a:lnTo>
                    <a:pt x="3824971" y="4321527"/>
                  </a:lnTo>
                  <a:lnTo>
                    <a:pt x="3824971" y="4311656"/>
                  </a:lnTo>
                  <a:close/>
                  <a:moveTo>
                    <a:pt x="3589676" y="4307617"/>
                  </a:moveTo>
                  <a:lnTo>
                    <a:pt x="3599585" y="4307617"/>
                  </a:lnTo>
                  <a:lnTo>
                    <a:pt x="3603604" y="4311656"/>
                  </a:lnTo>
                  <a:lnTo>
                    <a:pt x="3603604" y="4321527"/>
                  </a:lnTo>
                  <a:lnTo>
                    <a:pt x="3599585" y="4325566"/>
                  </a:lnTo>
                  <a:lnTo>
                    <a:pt x="3589676" y="4325566"/>
                  </a:lnTo>
                  <a:lnTo>
                    <a:pt x="3585657" y="4321527"/>
                  </a:lnTo>
                  <a:lnTo>
                    <a:pt x="3585657" y="4311656"/>
                  </a:lnTo>
                  <a:close/>
                  <a:moveTo>
                    <a:pt x="3350359" y="4307617"/>
                  </a:moveTo>
                  <a:lnTo>
                    <a:pt x="3360268" y="4307617"/>
                  </a:lnTo>
                  <a:lnTo>
                    <a:pt x="3364287" y="4311656"/>
                  </a:lnTo>
                  <a:lnTo>
                    <a:pt x="3364287" y="4321527"/>
                  </a:lnTo>
                  <a:lnTo>
                    <a:pt x="3360268" y="4325566"/>
                  </a:lnTo>
                  <a:lnTo>
                    <a:pt x="3350359" y="4325566"/>
                  </a:lnTo>
                  <a:lnTo>
                    <a:pt x="3346340" y="4321527"/>
                  </a:lnTo>
                  <a:lnTo>
                    <a:pt x="3346340" y="4311656"/>
                  </a:lnTo>
                  <a:close/>
                  <a:moveTo>
                    <a:pt x="3111048" y="4307617"/>
                  </a:moveTo>
                  <a:lnTo>
                    <a:pt x="3120959" y="4307617"/>
                  </a:lnTo>
                  <a:lnTo>
                    <a:pt x="3124977" y="4311656"/>
                  </a:lnTo>
                  <a:lnTo>
                    <a:pt x="3124977" y="4321527"/>
                  </a:lnTo>
                  <a:lnTo>
                    <a:pt x="3120959" y="4325566"/>
                  </a:lnTo>
                  <a:lnTo>
                    <a:pt x="3111048" y="4325566"/>
                  </a:lnTo>
                  <a:lnTo>
                    <a:pt x="3107029" y="4321527"/>
                  </a:lnTo>
                  <a:lnTo>
                    <a:pt x="3107029" y="4311656"/>
                  </a:lnTo>
                  <a:close/>
                  <a:moveTo>
                    <a:pt x="2871737" y="4307617"/>
                  </a:moveTo>
                  <a:lnTo>
                    <a:pt x="2881646" y="4307617"/>
                  </a:lnTo>
                  <a:lnTo>
                    <a:pt x="2885666" y="4311656"/>
                  </a:lnTo>
                  <a:lnTo>
                    <a:pt x="2885666" y="4321527"/>
                  </a:lnTo>
                  <a:lnTo>
                    <a:pt x="2881646" y="4325566"/>
                  </a:lnTo>
                  <a:lnTo>
                    <a:pt x="2871737" y="4325566"/>
                  </a:lnTo>
                  <a:lnTo>
                    <a:pt x="2867717" y="4321527"/>
                  </a:lnTo>
                  <a:lnTo>
                    <a:pt x="2867717" y="4311656"/>
                  </a:lnTo>
                  <a:close/>
                  <a:moveTo>
                    <a:pt x="2632423" y="4307617"/>
                  </a:moveTo>
                  <a:lnTo>
                    <a:pt x="2642334" y="4307617"/>
                  </a:lnTo>
                  <a:lnTo>
                    <a:pt x="2646352" y="4311656"/>
                  </a:lnTo>
                  <a:lnTo>
                    <a:pt x="2646352" y="4321527"/>
                  </a:lnTo>
                  <a:lnTo>
                    <a:pt x="2642334" y="4325566"/>
                  </a:lnTo>
                  <a:lnTo>
                    <a:pt x="2632423" y="4325566"/>
                  </a:lnTo>
                  <a:lnTo>
                    <a:pt x="2628404" y="4321527"/>
                  </a:lnTo>
                  <a:lnTo>
                    <a:pt x="2628404" y="4311656"/>
                  </a:lnTo>
                  <a:close/>
                  <a:moveTo>
                    <a:pt x="2393104" y="4307617"/>
                  </a:moveTo>
                  <a:lnTo>
                    <a:pt x="2403015" y="4307617"/>
                  </a:lnTo>
                  <a:lnTo>
                    <a:pt x="2407034" y="4311656"/>
                  </a:lnTo>
                  <a:lnTo>
                    <a:pt x="2407034" y="4321527"/>
                  </a:lnTo>
                  <a:lnTo>
                    <a:pt x="2403015" y="4325566"/>
                  </a:lnTo>
                  <a:lnTo>
                    <a:pt x="2393104" y="4325566"/>
                  </a:lnTo>
                  <a:lnTo>
                    <a:pt x="2389087" y="4321527"/>
                  </a:lnTo>
                  <a:lnTo>
                    <a:pt x="2389087" y="4311656"/>
                  </a:lnTo>
                  <a:close/>
                  <a:moveTo>
                    <a:pt x="721965" y="4307617"/>
                  </a:moveTo>
                  <a:lnTo>
                    <a:pt x="731874" y="4307617"/>
                  </a:lnTo>
                  <a:lnTo>
                    <a:pt x="735893" y="4311656"/>
                  </a:lnTo>
                  <a:lnTo>
                    <a:pt x="735893" y="4321527"/>
                  </a:lnTo>
                  <a:lnTo>
                    <a:pt x="731874" y="4325566"/>
                  </a:lnTo>
                  <a:lnTo>
                    <a:pt x="721965" y="4325566"/>
                  </a:lnTo>
                  <a:lnTo>
                    <a:pt x="717945" y="4321527"/>
                  </a:lnTo>
                  <a:lnTo>
                    <a:pt x="717945" y="4311656"/>
                  </a:lnTo>
                  <a:close/>
                  <a:moveTo>
                    <a:pt x="482652" y="4307617"/>
                  </a:moveTo>
                  <a:lnTo>
                    <a:pt x="492562" y="4307617"/>
                  </a:lnTo>
                  <a:lnTo>
                    <a:pt x="496581" y="4311656"/>
                  </a:lnTo>
                  <a:lnTo>
                    <a:pt x="496581" y="4321527"/>
                  </a:lnTo>
                  <a:lnTo>
                    <a:pt x="492562" y="4325566"/>
                  </a:lnTo>
                  <a:lnTo>
                    <a:pt x="482652" y="4325566"/>
                  </a:lnTo>
                  <a:lnTo>
                    <a:pt x="478633" y="4321527"/>
                  </a:lnTo>
                  <a:lnTo>
                    <a:pt x="478633" y="4311656"/>
                  </a:lnTo>
                  <a:close/>
                  <a:moveTo>
                    <a:pt x="243339" y="4307617"/>
                  </a:moveTo>
                  <a:lnTo>
                    <a:pt x="253249" y="4307617"/>
                  </a:lnTo>
                  <a:lnTo>
                    <a:pt x="257268" y="4311656"/>
                  </a:lnTo>
                  <a:lnTo>
                    <a:pt x="257268" y="4321527"/>
                  </a:lnTo>
                  <a:lnTo>
                    <a:pt x="253249" y="4325566"/>
                  </a:lnTo>
                  <a:lnTo>
                    <a:pt x="243339" y="4325566"/>
                  </a:lnTo>
                  <a:lnTo>
                    <a:pt x="239320" y="4321527"/>
                  </a:lnTo>
                  <a:lnTo>
                    <a:pt x="239320" y="4311656"/>
                  </a:lnTo>
                  <a:close/>
                  <a:moveTo>
                    <a:pt x="4025" y="4307617"/>
                  </a:moveTo>
                  <a:lnTo>
                    <a:pt x="13936" y="4307617"/>
                  </a:lnTo>
                  <a:lnTo>
                    <a:pt x="17955" y="4311656"/>
                  </a:lnTo>
                  <a:lnTo>
                    <a:pt x="17955" y="4321527"/>
                  </a:lnTo>
                  <a:lnTo>
                    <a:pt x="13936" y="4325566"/>
                  </a:lnTo>
                  <a:lnTo>
                    <a:pt x="4025" y="4325566"/>
                  </a:lnTo>
                  <a:lnTo>
                    <a:pt x="7" y="4321527"/>
                  </a:lnTo>
                  <a:lnTo>
                    <a:pt x="7" y="4311656"/>
                  </a:lnTo>
                  <a:close/>
                  <a:moveTo>
                    <a:pt x="9572438" y="4068339"/>
                  </a:moveTo>
                  <a:lnTo>
                    <a:pt x="9582349" y="4068339"/>
                  </a:lnTo>
                  <a:lnTo>
                    <a:pt x="9586368" y="4072377"/>
                  </a:lnTo>
                  <a:lnTo>
                    <a:pt x="9586368" y="4082248"/>
                  </a:lnTo>
                  <a:lnTo>
                    <a:pt x="9582349" y="4086287"/>
                  </a:lnTo>
                  <a:lnTo>
                    <a:pt x="9572438" y="4086287"/>
                  </a:lnTo>
                  <a:lnTo>
                    <a:pt x="9568419" y="4082248"/>
                  </a:lnTo>
                  <a:lnTo>
                    <a:pt x="9568419" y="4072377"/>
                  </a:lnTo>
                  <a:close/>
                  <a:moveTo>
                    <a:pt x="9333125" y="4068339"/>
                  </a:moveTo>
                  <a:lnTo>
                    <a:pt x="9343036" y="4068339"/>
                  </a:lnTo>
                  <a:lnTo>
                    <a:pt x="9347055" y="4072377"/>
                  </a:lnTo>
                  <a:lnTo>
                    <a:pt x="9347055" y="4082248"/>
                  </a:lnTo>
                  <a:lnTo>
                    <a:pt x="9343036" y="4086287"/>
                  </a:lnTo>
                  <a:lnTo>
                    <a:pt x="9333125" y="4086287"/>
                  </a:lnTo>
                  <a:lnTo>
                    <a:pt x="9329106" y="4082248"/>
                  </a:lnTo>
                  <a:lnTo>
                    <a:pt x="9329106" y="4072377"/>
                  </a:lnTo>
                  <a:close/>
                  <a:moveTo>
                    <a:pt x="9093811" y="4068339"/>
                  </a:moveTo>
                  <a:lnTo>
                    <a:pt x="9103722" y="4068339"/>
                  </a:lnTo>
                  <a:lnTo>
                    <a:pt x="9107741" y="4072377"/>
                  </a:lnTo>
                  <a:lnTo>
                    <a:pt x="9107741" y="4082248"/>
                  </a:lnTo>
                  <a:lnTo>
                    <a:pt x="9103722" y="4086287"/>
                  </a:lnTo>
                  <a:lnTo>
                    <a:pt x="9093811" y="4086287"/>
                  </a:lnTo>
                  <a:lnTo>
                    <a:pt x="9089792" y="4082248"/>
                  </a:lnTo>
                  <a:lnTo>
                    <a:pt x="9089792" y="4072377"/>
                  </a:lnTo>
                  <a:close/>
                  <a:moveTo>
                    <a:pt x="8854496" y="4068339"/>
                  </a:moveTo>
                  <a:lnTo>
                    <a:pt x="8864407" y="4068339"/>
                  </a:lnTo>
                  <a:lnTo>
                    <a:pt x="8868426" y="4072377"/>
                  </a:lnTo>
                  <a:lnTo>
                    <a:pt x="8868426" y="4082248"/>
                  </a:lnTo>
                  <a:lnTo>
                    <a:pt x="8864407" y="4086287"/>
                  </a:lnTo>
                  <a:lnTo>
                    <a:pt x="8854496" y="4086287"/>
                  </a:lnTo>
                  <a:lnTo>
                    <a:pt x="8850477" y="4082248"/>
                  </a:lnTo>
                  <a:lnTo>
                    <a:pt x="8850477" y="4072377"/>
                  </a:lnTo>
                  <a:close/>
                  <a:moveTo>
                    <a:pt x="8615184" y="4068339"/>
                  </a:moveTo>
                  <a:lnTo>
                    <a:pt x="8625095" y="4068339"/>
                  </a:lnTo>
                  <a:lnTo>
                    <a:pt x="8629114" y="4072377"/>
                  </a:lnTo>
                  <a:lnTo>
                    <a:pt x="8629114" y="4082248"/>
                  </a:lnTo>
                  <a:lnTo>
                    <a:pt x="8625095" y="4086287"/>
                  </a:lnTo>
                  <a:lnTo>
                    <a:pt x="8615184" y="4086287"/>
                  </a:lnTo>
                  <a:lnTo>
                    <a:pt x="8611165" y="4082248"/>
                  </a:lnTo>
                  <a:lnTo>
                    <a:pt x="8611165" y="4072377"/>
                  </a:lnTo>
                  <a:close/>
                  <a:moveTo>
                    <a:pt x="8375869" y="4068339"/>
                  </a:moveTo>
                  <a:lnTo>
                    <a:pt x="8385779" y="4068339"/>
                  </a:lnTo>
                  <a:lnTo>
                    <a:pt x="8389799" y="4072377"/>
                  </a:lnTo>
                  <a:lnTo>
                    <a:pt x="8389799" y="4082248"/>
                  </a:lnTo>
                  <a:lnTo>
                    <a:pt x="8385779" y="4086287"/>
                  </a:lnTo>
                  <a:lnTo>
                    <a:pt x="8375869" y="4086287"/>
                  </a:lnTo>
                  <a:lnTo>
                    <a:pt x="8371850" y="4082248"/>
                  </a:lnTo>
                  <a:lnTo>
                    <a:pt x="8371850" y="4072377"/>
                  </a:lnTo>
                  <a:close/>
                  <a:moveTo>
                    <a:pt x="8136553" y="4068339"/>
                  </a:moveTo>
                  <a:lnTo>
                    <a:pt x="8146464" y="4068339"/>
                  </a:lnTo>
                  <a:lnTo>
                    <a:pt x="8150483" y="4072377"/>
                  </a:lnTo>
                  <a:lnTo>
                    <a:pt x="8150483" y="4082248"/>
                  </a:lnTo>
                  <a:lnTo>
                    <a:pt x="8146464" y="4086287"/>
                  </a:lnTo>
                  <a:lnTo>
                    <a:pt x="8136553" y="4086287"/>
                  </a:lnTo>
                  <a:lnTo>
                    <a:pt x="8132534" y="4082248"/>
                  </a:lnTo>
                  <a:lnTo>
                    <a:pt x="8132534" y="4072377"/>
                  </a:lnTo>
                  <a:close/>
                  <a:moveTo>
                    <a:pt x="7897241" y="4068339"/>
                  </a:moveTo>
                  <a:lnTo>
                    <a:pt x="7907151" y="4068339"/>
                  </a:lnTo>
                  <a:lnTo>
                    <a:pt x="7911170" y="4072377"/>
                  </a:lnTo>
                  <a:lnTo>
                    <a:pt x="7911170" y="4082248"/>
                  </a:lnTo>
                  <a:lnTo>
                    <a:pt x="7907151" y="4086287"/>
                  </a:lnTo>
                  <a:lnTo>
                    <a:pt x="7897241" y="4086287"/>
                  </a:lnTo>
                  <a:lnTo>
                    <a:pt x="7893222" y="4082248"/>
                  </a:lnTo>
                  <a:lnTo>
                    <a:pt x="7893222" y="4072377"/>
                  </a:lnTo>
                  <a:close/>
                  <a:moveTo>
                    <a:pt x="7657926" y="4068339"/>
                  </a:moveTo>
                  <a:lnTo>
                    <a:pt x="7667836" y="4068339"/>
                  </a:lnTo>
                  <a:lnTo>
                    <a:pt x="7671855" y="4072377"/>
                  </a:lnTo>
                  <a:lnTo>
                    <a:pt x="7671855" y="4082248"/>
                  </a:lnTo>
                  <a:lnTo>
                    <a:pt x="7667836" y="4086287"/>
                  </a:lnTo>
                  <a:lnTo>
                    <a:pt x="7657926" y="4086287"/>
                  </a:lnTo>
                  <a:lnTo>
                    <a:pt x="7653906" y="4082248"/>
                  </a:lnTo>
                  <a:lnTo>
                    <a:pt x="7653906" y="4072377"/>
                  </a:lnTo>
                  <a:close/>
                  <a:moveTo>
                    <a:pt x="7418611" y="4068339"/>
                  </a:moveTo>
                  <a:lnTo>
                    <a:pt x="7428521" y="4068339"/>
                  </a:lnTo>
                  <a:lnTo>
                    <a:pt x="7432540" y="4072377"/>
                  </a:lnTo>
                  <a:lnTo>
                    <a:pt x="7432540" y="4082248"/>
                  </a:lnTo>
                  <a:lnTo>
                    <a:pt x="7428521" y="4086287"/>
                  </a:lnTo>
                  <a:lnTo>
                    <a:pt x="7418611" y="4086287"/>
                  </a:lnTo>
                  <a:lnTo>
                    <a:pt x="7414592" y="4082248"/>
                  </a:lnTo>
                  <a:lnTo>
                    <a:pt x="7414592" y="4072377"/>
                  </a:lnTo>
                  <a:close/>
                  <a:moveTo>
                    <a:pt x="7179298" y="4068339"/>
                  </a:moveTo>
                  <a:lnTo>
                    <a:pt x="7189209" y="4068339"/>
                  </a:lnTo>
                  <a:lnTo>
                    <a:pt x="7193228" y="4072377"/>
                  </a:lnTo>
                  <a:lnTo>
                    <a:pt x="7193228" y="4082248"/>
                  </a:lnTo>
                  <a:lnTo>
                    <a:pt x="7189209" y="4086287"/>
                  </a:lnTo>
                  <a:lnTo>
                    <a:pt x="7179298" y="4086287"/>
                  </a:lnTo>
                  <a:lnTo>
                    <a:pt x="7175279" y="4082248"/>
                  </a:lnTo>
                  <a:lnTo>
                    <a:pt x="7175279" y="4072377"/>
                  </a:lnTo>
                  <a:close/>
                  <a:moveTo>
                    <a:pt x="6939983" y="4068339"/>
                  </a:moveTo>
                  <a:lnTo>
                    <a:pt x="6949894" y="4068339"/>
                  </a:lnTo>
                  <a:lnTo>
                    <a:pt x="6953913" y="4072377"/>
                  </a:lnTo>
                  <a:lnTo>
                    <a:pt x="6953913" y="4082248"/>
                  </a:lnTo>
                  <a:lnTo>
                    <a:pt x="6949894" y="4086287"/>
                  </a:lnTo>
                  <a:lnTo>
                    <a:pt x="6939983" y="4086287"/>
                  </a:lnTo>
                  <a:lnTo>
                    <a:pt x="6935964" y="4082248"/>
                  </a:lnTo>
                  <a:lnTo>
                    <a:pt x="6935964" y="4072377"/>
                  </a:lnTo>
                  <a:close/>
                  <a:moveTo>
                    <a:pt x="6700670" y="4068339"/>
                  </a:moveTo>
                  <a:lnTo>
                    <a:pt x="6710581" y="4068339"/>
                  </a:lnTo>
                  <a:lnTo>
                    <a:pt x="6714600" y="4072377"/>
                  </a:lnTo>
                  <a:lnTo>
                    <a:pt x="6714600" y="4082248"/>
                  </a:lnTo>
                  <a:lnTo>
                    <a:pt x="6710581" y="4086287"/>
                  </a:lnTo>
                  <a:lnTo>
                    <a:pt x="6700670" y="4086287"/>
                  </a:lnTo>
                  <a:lnTo>
                    <a:pt x="6696651" y="4082248"/>
                  </a:lnTo>
                  <a:lnTo>
                    <a:pt x="6696651" y="4072377"/>
                  </a:lnTo>
                  <a:close/>
                  <a:moveTo>
                    <a:pt x="6461356" y="4068339"/>
                  </a:moveTo>
                  <a:lnTo>
                    <a:pt x="6471266" y="4068339"/>
                  </a:lnTo>
                  <a:lnTo>
                    <a:pt x="6475285" y="4072377"/>
                  </a:lnTo>
                  <a:lnTo>
                    <a:pt x="6475285" y="4082248"/>
                  </a:lnTo>
                  <a:lnTo>
                    <a:pt x="6471266" y="4086287"/>
                  </a:lnTo>
                  <a:lnTo>
                    <a:pt x="6461356" y="4086287"/>
                  </a:lnTo>
                  <a:lnTo>
                    <a:pt x="6457337" y="4082248"/>
                  </a:lnTo>
                  <a:lnTo>
                    <a:pt x="6457337" y="4072377"/>
                  </a:lnTo>
                  <a:close/>
                  <a:moveTo>
                    <a:pt x="6222042" y="4068339"/>
                  </a:moveTo>
                  <a:lnTo>
                    <a:pt x="6231952" y="4068339"/>
                  </a:lnTo>
                  <a:lnTo>
                    <a:pt x="6235971" y="4072377"/>
                  </a:lnTo>
                  <a:lnTo>
                    <a:pt x="6235971" y="4082248"/>
                  </a:lnTo>
                  <a:lnTo>
                    <a:pt x="6231952" y="4086287"/>
                  </a:lnTo>
                  <a:lnTo>
                    <a:pt x="6222042" y="4086287"/>
                  </a:lnTo>
                  <a:lnTo>
                    <a:pt x="6218023" y="4082248"/>
                  </a:lnTo>
                  <a:lnTo>
                    <a:pt x="6218023" y="4072377"/>
                  </a:lnTo>
                  <a:close/>
                  <a:moveTo>
                    <a:pt x="5982729" y="4068339"/>
                  </a:moveTo>
                  <a:lnTo>
                    <a:pt x="5992639" y="4068339"/>
                  </a:lnTo>
                  <a:lnTo>
                    <a:pt x="5996658" y="4072377"/>
                  </a:lnTo>
                  <a:lnTo>
                    <a:pt x="5996658" y="4082248"/>
                  </a:lnTo>
                  <a:lnTo>
                    <a:pt x="5992639" y="4086287"/>
                  </a:lnTo>
                  <a:lnTo>
                    <a:pt x="5982729" y="4086287"/>
                  </a:lnTo>
                  <a:lnTo>
                    <a:pt x="5978710" y="4082248"/>
                  </a:lnTo>
                  <a:lnTo>
                    <a:pt x="5978710" y="4072377"/>
                  </a:lnTo>
                  <a:close/>
                  <a:moveTo>
                    <a:pt x="5743412" y="4068339"/>
                  </a:moveTo>
                  <a:lnTo>
                    <a:pt x="5753323" y="4068339"/>
                  </a:lnTo>
                  <a:lnTo>
                    <a:pt x="5757342" y="4072377"/>
                  </a:lnTo>
                  <a:lnTo>
                    <a:pt x="5757342" y="4082248"/>
                  </a:lnTo>
                  <a:lnTo>
                    <a:pt x="5753323" y="4086287"/>
                  </a:lnTo>
                  <a:lnTo>
                    <a:pt x="5743412" y="4086287"/>
                  </a:lnTo>
                  <a:lnTo>
                    <a:pt x="5739393" y="4082248"/>
                  </a:lnTo>
                  <a:lnTo>
                    <a:pt x="5739393" y="4072377"/>
                  </a:lnTo>
                  <a:close/>
                  <a:moveTo>
                    <a:pt x="5504099" y="4068339"/>
                  </a:moveTo>
                  <a:lnTo>
                    <a:pt x="5514010" y="4068339"/>
                  </a:lnTo>
                  <a:lnTo>
                    <a:pt x="5518029" y="4072377"/>
                  </a:lnTo>
                  <a:lnTo>
                    <a:pt x="5518029" y="4082248"/>
                  </a:lnTo>
                  <a:lnTo>
                    <a:pt x="5514010" y="4086287"/>
                  </a:lnTo>
                  <a:lnTo>
                    <a:pt x="5504099" y="4086287"/>
                  </a:lnTo>
                  <a:lnTo>
                    <a:pt x="5500080" y="4082248"/>
                  </a:lnTo>
                  <a:lnTo>
                    <a:pt x="5500080" y="4072377"/>
                  </a:lnTo>
                  <a:close/>
                  <a:moveTo>
                    <a:pt x="5264784" y="4068339"/>
                  </a:moveTo>
                  <a:lnTo>
                    <a:pt x="5274694" y="4068339"/>
                  </a:lnTo>
                  <a:lnTo>
                    <a:pt x="5278713" y="4072377"/>
                  </a:lnTo>
                  <a:lnTo>
                    <a:pt x="5278713" y="4082248"/>
                  </a:lnTo>
                  <a:lnTo>
                    <a:pt x="5274694" y="4086287"/>
                  </a:lnTo>
                  <a:lnTo>
                    <a:pt x="5264784" y="4086287"/>
                  </a:lnTo>
                  <a:lnTo>
                    <a:pt x="5260765" y="4082248"/>
                  </a:lnTo>
                  <a:lnTo>
                    <a:pt x="5260765" y="4072377"/>
                  </a:lnTo>
                  <a:close/>
                  <a:moveTo>
                    <a:pt x="5025470" y="4068339"/>
                  </a:moveTo>
                  <a:lnTo>
                    <a:pt x="5035381" y="4068339"/>
                  </a:lnTo>
                  <a:lnTo>
                    <a:pt x="5039400" y="4072377"/>
                  </a:lnTo>
                  <a:lnTo>
                    <a:pt x="5039400" y="4082248"/>
                  </a:lnTo>
                  <a:lnTo>
                    <a:pt x="5035381" y="4086287"/>
                  </a:lnTo>
                  <a:lnTo>
                    <a:pt x="5025470" y="4086287"/>
                  </a:lnTo>
                  <a:lnTo>
                    <a:pt x="5021451" y="4082248"/>
                  </a:lnTo>
                  <a:lnTo>
                    <a:pt x="5021451" y="4072377"/>
                  </a:lnTo>
                  <a:close/>
                  <a:moveTo>
                    <a:pt x="4786241" y="4068339"/>
                  </a:moveTo>
                  <a:lnTo>
                    <a:pt x="4796152" y="4068339"/>
                  </a:lnTo>
                  <a:lnTo>
                    <a:pt x="4800171" y="4072377"/>
                  </a:lnTo>
                  <a:lnTo>
                    <a:pt x="4800171" y="4082248"/>
                  </a:lnTo>
                  <a:lnTo>
                    <a:pt x="4796152" y="4086287"/>
                  </a:lnTo>
                  <a:lnTo>
                    <a:pt x="4786241" y="4086287"/>
                  </a:lnTo>
                  <a:lnTo>
                    <a:pt x="4782224" y="4082248"/>
                  </a:lnTo>
                  <a:lnTo>
                    <a:pt x="4782224" y="4072377"/>
                  </a:lnTo>
                  <a:close/>
                  <a:moveTo>
                    <a:pt x="4546929" y="4068339"/>
                  </a:moveTo>
                  <a:lnTo>
                    <a:pt x="4556840" y="4068339"/>
                  </a:lnTo>
                  <a:lnTo>
                    <a:pt x="4560859" y="4072377"/>
                  </a:lnTo>
                  <a:lnTo>
                    <a:pt x="4560859" y="4082248"/>
                  </a:lnTo>
                  <a:lnTo>
                    <a:pt x="4556840" y="4086287"/>
                  </a:lnTo>
                  <a:lnTo>
                    <a:pt x="4546929" y="4086287"/>
                  </a:lnTo>
                  <a:lnTo>
                    <a:pt x="4542910" y="4082248"/>
                  </a:lnTo>
                  <a:lnTo>
                    <a:pt x="4542910" y="4072377"/>
                  </a:lnTo>
                  <a:close/>
                  <a:moveTo>
                    <a:pt x="4307612" y="4068339"/>
                  </a:moveTo>
                  <a:lnTo>
                    <a:pt x="4317523" y="4068339"/>
                  </a:lnTo>
                  <a:lnTo>
                    <a:pt x="4321543" y="4072377"/>
                  </a:lnTo>
                  <a:lnTo>
                    <a:pt x="4321543" y="4082248"/>
                  </a:lnTo>
                  <a:lnTo>
                    <a:pt x="4317523" y="4086287"/>
                  </a:lnTo>
                  <a:lnTo>
                    <a:pt x="4307612" y="4086287"/>
                  </a:lnTo>
                  <a:lnTo>
                    <a:pt x="4303595" y="4082248"/>
                  </a:lnTo>
                  <a:lnTo>
                    <a:pt x="4303595" y="4072377"/>
                  </a:lnTo>
                  <a:close/>
                  <a:moveTo>
                    <a:pt x="4068297" y="4068339"/>
                  </a:moveTo>
                  <a:lnTo>
                    <a:pt x="4078210" y="4068339"/>
                  </a:lnTo>
                  <a:lnTo>
                    <a:pt x="4082229" y="4072377"/>
                  </a:lnTo>
                  <a:lnTo>
                    <a:pt x="4082229" y="4082248"/>
                  </a:lnTo>
                  <a:lnTo>
                    <a:pt x="4078210" y="4086287"/>
                  </a:lnTo>
                  <a:lnTo>
                    <a:pt x="4068297" y="4086287"/>
                  </a:lnTo>
                  <a:lnTo>
                    <a:pt x="4064278" y="4082248"/>
                  </a:lnTo>
                  <a:lnTo>
                    <a:pt x="4064278" y="4072377"/>
                  </a:lnTo>
                  <a:close/>
                  <a:moveTo>
                    <a:pt x="3828990" y="4068339"/>
                  </a:moveTo>
                  <a:lnTo>
                    <a:pt x="3838899" y="4068339"/>
                  </a:lnTo>
                  <a:lnTo>
                    <a:pt x="3842917" y="4072377"/>
                  </a:lnTo>
                  <a:lnTo>
                    <a:pt x="3842917" y="4082248"/>
                  </a:lnTo>
                  <a:lnTo>
                    <a:pt x="3838899" y="4086287"/>
                  </a:lnTo>
                  <a:lnTo>
                    <a:pt x="3828990" y="4086287"/>
                  </a:lnTo>
                  <a:lnTo>
                    <a:pt x="3824971" y="4082248"/>
                  </a:lnTo>
                  <a:lnTo>
                    <a:pt x="3824971" y="4072377"/>
                  </a:lnTo>
                  <a:close/>
                  <a:moveTo>
                    <a:pt x="3589676" y="4068339"/>
                  </a:moveTo>
                  <a:lnTo>
                    <a:pt x="3599585" y="4068339"/>
                  </a:lnTo>
                  <a:lnTo>
                    <a:pt x="3603604" y="4072377"/>
                  </a:lnTo>
                  <a:lnTo>
                    <a:pt x="3603604" y="4082248"/>
                  </a:lnTo>
                  <a:lnTo>
                    <a:pt x="3599585" y="4086287"/>
                  </a:lnTo>
                  <a:lnTo>
                    <a:pt x="3589676" y="4086287"/>
                  </a:lnTo>
                  <a:lnTo>
                    <a:pt x="3585657" y="4082248"/>
                  </a:lnTo>
                  <a:lnTo>
                    <a:pt x="3585657" y="4072377"/>
                  </a:lnTo>
                  <a:close/>
                  <a:moveTo>
                    <a:pt x="3350359" y="4068339"/>
                  </a:moveTo>
                  <a:lnTo>
                    <a:pt x="3360268" y="4068339"/>
                  </a:lnTo>
                  <a:lnTo>
                    <a:pt x="3364287" y="4072377"/>
                  </a:lnTo>
                  <a:lnTo>
                    <a:pt x="3364287" y="4082248"/>
                  </a:lnTo>
                  <a:lnTo>
                    <a:pt x="3360268" y="4086287"/>
                  </a:lnTo>
                  <a:lnTo>
                    <a:pt x="3350359" y="4086287"/>
                  </a:lnTo>
                  <a:lnTo>
                    <a:pt x="3346340" y="4082248"/>
                  </a:lnTo>
                  <a:lnTo>
                    <a:pt x="3346340" y="4072377"/>
                  </a:lnTo>
                  <a:close/>
                  <a:moveTo>
                    <a:pt x="3111048" y="4068339"/>
                  </a:moveTo>
                  <a:lnTo>
                    <a:pt x="3120959" y="4068339"/>
                  </a:lnTo>
                  <a:lnTo>
                    <a:pt x="3124977" y="4072377"/>
                  </a:lnTo>
                  <a:lnTo>
                    <a:pt x="3124977" y="4082248"/>
                  </a:lnTo>
                  <a:lnTo>
                    <a:pt x="3120959" y="4086287"/>
                  </a:lnTo>
                  <a:lnTo>
                    <a:pt x="3111048" y="4086287"/>
                  </a:lnTo>
                  <a:lnTo>
                    <a:pt x="3107029" y="4082248"/>
                  </a:lnTo>
                  <a:lnTo>
                    <a:pt x="3107029" y="4072377"/>
                  </a:lnTo>
                  <a:close/>
                  <a:moveTo>
                    <a:pt x="2871737" y="4068339"/>
                  </a:moveTo>
                  <a:lnTo>
                    <a:pt x="2881646" y="4068339"/>
                  </a:lnTo>
                  <a:lnTo>
                    <a:pt x="2885666" y="4072377"/>
                  </a:lnTo>
                  <a:lnTo>
                    <a:pt x="2885666" y="4082248"/>
                  </a:lnTo>
                  <a:lnTo>
                    <a:pt x="2881646" y="4086287"/>
                  </a:lnTo>
                  <a:lnTo>
                    <a:pt x="2871737" y="4086287"/>
                  </a:lnTo>
                  <a:lnTo>
                    <a:pt x="2867717" y="4082248"/>
                  </a:lnTo>
                  <a:lnTo>
                    <a:pt x="2867717" y="4072377"/>
                  </a:lnTo>
                  <a:close/>
                  <a:moveTo>
                    <a:pt x="2632423" y="4068339"/>
                  </a:moveTo>
                  <a:lnTo>
                    <a:pt x="2642334" y="4068339"/>
                  </a:lnTo>
                  <a:lnTo>
                    <a:pt x="2646352" y="4072377"/>
                  </a:lnTo>
                  <a:lnTo>
                    <a:pt x="2646352" y="4082248"/>
                  </a:lnTo>
                  <a:lnTo>
                    <a:pt x="2642334" y="4086287"/>
                  </a:lnTo>
                  <a:lnTo>
                    <a:pt x="2632423" y="4086287"/>
                  </a:lnTo>
                  <a:lnTo>
                    <a:pt x="2628404" y="4082248"/>
                  </a:lnTo>
                  <a:lnTo>
                    <a:pt x="2628404" y="4072377"/>
                  </a:lnTo>
                  <a:close/>
                  <a:moveTo>
                    <a:pt x="2393104" y="4068339"/>
                  </a:moveTo>
                  <a:lnTo>
                    <a:pt x="2403015" y="4068339"/>
                  </a:lnTo>
                  <a:lnTo>
                    <a:pt x="2407034" y="4072377"/>
                  </a:lnTo>
                  <a:lnTo>
                    <a:pt x="2407034" y="4082248"/>
                  </a:lnTo>
                  <a:lnTo>
                    <a:pt x="2403015" y="4086287"/>
                  </a:lnTo>
                  <a:lnTo>
                    <a:pt x="2393104" y="4086287"/>
                  </a:lnTo>
                  <a:lnTo>
                    <a:pt x="2389087" y="4082248"/>
                  </a:lnTo>
                  <a:lnTo>
                    <a:pt x="2389087" y="4072377"/>
                  </a:lnTo>
                  <a:close/>
                  <a:moveTo>
                    <a:pt x="2157819" y="4068339"/>
                  </a:moveTo>
                  <a:lnTo>
                    <a:pt x="2167729" y="4068339"/>
                  </a:lnTo>
                  <a:lnTo>
                    <a:pt x="2171749" y="4072377"/>
                  </a:lnTo>
                  <a:lnTo>
                    <a:pt x="2171749" y="4082248"/>
                  </a:lnTo>
                  <a:lnTo>
                    <a:pt x="2167729" y="4086287"/>
                  </a:lnTo>
                  <a:lnTo>
                    <a:pt x="2157819" y="4086287"/>
                  </a:lnTo>
                  <a:lnTo>
                    <a:pt x="2153801" y="4082248"/>
                  </a:lnTo>
                  <a:lnTo>
                    <a:pt x="2153801" y="4072377"/>
                  </a:lnTo>
                  <a:close/>
                  <a:moveTo>
                    <a:pt x="1918511" y="4068339"/>
                  </a:moveTo>
                  <a:lnTo>
                    <a:pt x="1928421" y="4068339"/>
                  </a:lnTo>
                  <a:lnTo>
                    <a:pt x="1932440" y="4072377"/>
                  </a:lnTo>
                  <a:lnTo>
                    <a:pt x="1932440" y="4082248"/>
                  </a:lnTo>
                  <a:lnTo>
                    <a:pt x="1928421" y="4086287"/>
                  </a:lnTo>
                  <a:lnTo>
                    <a:pt x="1918511" y="4086287"/>
                  </a:lnTo>
                  <a:lnTo>
                    <a:pt x="1914492" y="4082248"/>
                  </a:lnTo>
                  <a:lnTo>
                    <a:pt x="1914492" y="4072377"/>
                  </a:lnTo>
                  <a:close/>
                  <a:moveTo>
                    <a:pt x="1679207" y="4068339"/>
                  </a:moveTo>
                  <a:lnTo>
                    <a:pt x="1689117" y="4068339"/>
                  </a:lnTo>
                  <a:lnTo>
                    <a:pt x="1693137" y="4072377"/>
                  </a:lnTo>
                  <a:lnTo>
                    <a:pt x="1693137" y="4082248"/>
                  </a:lnTo>
                  <a:lnTo>
                    <a:pt x="1689117" y="4086287"/>
                  </a:lnTo>
                  <a:lnTo>
                    <a:pt x="1679207" y="4086287"/>
                  </a:lnTo>
                  <a:lnTo>
                    <a:pt x="1675189" y="4082248"/>
                  </a:lnTo>
                  <a:lnTo>
                    <a:pt x="1675189" y="4072377"/>
                  </a:lnTo>
                  <a:close/>
                  <a:moveTo>
                    <a:pt x="1439891" y="4068339"/>
                  </a:moveTo>
                  <a:lnTo>
                    <a:pt x="1449802" y="4068339"/>
                  </a:lnTo>
                  <a:lnTo>
                    <a:pt x="1453820" y="4072377"/>
                  </a:lnTo>
                  <a:lnTo>
                    <a:pt x="1453820" y="4082248"/>
                  </a:lnTo>
                  <a:lnTo>
                    <a:pt x="1449802" y="4086287"/>
                  </a:lnTo>
                  <a:lnTo>
                    <a:pt x="1439891" y="4086287"/>
                  </a:lnTo>
                  <a:lnTo>
                    <a:pt x="1435873" y="4082248"/>
                  </a:lnTo>
                  <a:lnTo>
                    <a:pt x="1435873" y="4072377"/>
                  </a:lnTo>
                  <a:close/>
                  <a:moveTo>
                    <a:pt x="1200576" y="4068339"/>
                  </a:moveTo>
                  <a:lnTo>
                    <a:pt x="1210486" y="4068339"/>
                  </a:lnTo>
                  <a:lnTo>
                    <a:pt x="1214505" y="4072377"/>
                  </a:lnTo>
                  <a:lnTo>
                    <a:pt x="1214505" y="4082248"/>
                  </a:lnTo>
                  <a:lnTo>
                    <a:pt x="1210486" y="4086287"/>
                  </a:lnTo>
                  <a:lnTo>
                    <a:pt x="1200576" y="4086287"/>
                  </a:lnTo>
                  <a:lnTo>
                    <a:pt x="1196558" y="4082248"/>
                  </a:lnTo>
                  <a:lnTo>
                    <a:pt x="1196558" y="4072377"/>
                  </a:lnTo>
                  <a:close/>
                  <a:moveTo>
                    <a:pt x="961263" y="4068339"/>
                  </a:moveTo>
                  <a:lnTo>
                    <a:pt x="971174" y="4068339"/>
                  </a:lnTo>
                  <a:lnTo>
                    <a:pt x="975192" y="4072377"/>
                  </a:lnTo>
                  <a:lnTo>
                    <a:pt x="975192" y="4082248"/>
                  </a:lnTo>
                  <a:lnTo>
                    <a:pt x="971174" y="4086287"/>
                  </a:lnTo>
                  <a:lnTo>
                    <a:pt x="961263" y="4086287"/>
                  </a:lnTo>
                  <a:lnTo>
                    <a:pt x="957244" y="4082248"/>
                  </a:lnTo>
                  <a:lnTo>
                    <a:pt x="957244" y="4072377"/>
                  </a:lnTo>
                  <a:close/>
                  <a:moveTo>
                    <a:pt x="721965" y="4068339"/>
                  </a:moveTo>
                  <a:lnTo>
                    <a:pt x="731876" y="4068339"/>
                  </a:lnTo>
                  <a:lnTo>
                    <a:pt x="735894" y="4072377"/>
                  </a:lnTo>
                  <a:lnTo>
                    <a:pt x="735894" y="4082248"/>
                  </a:lnTo>
                  <a:lnTo>
                    <a:pt x="731876" y="4086287"/>
                  </a:lnTo>
                  <a:lnTo>
                    <a:pt x="721965" y="4086287"/>
                  </a:lnTo>
                  <a:lnTo>
                    <a:pt x="717946" y="4082248"/>
                  </a:lnTo>
                  <a:lnTo>
                    <a:pt x="717946" y="4072377"/>
                  </a:lnTo>
                  <a:close/>
                  <a:moveTo>
                    <a:pt x="482653" y="4068339"/>
                  </a:moveTo>
                  <a:lnTo>
                    <a:pt x="492563" y="4068339"/>
                  </a:lnTo>
                  <a:lnTo>
                    <a:pt x="496583" y="4072377"/>
                  </a:lnTo>
                  <a:lnTo>
                    <a:pt x="496583" y="4082248"/>
                  </a:lnTo>
                  <a:lnTo>
                    <a:pt x="492563" y="4086287"/>
                  </a:lnTo>
                  <a:lnTo>
                    <a:pt x="482653" y="4086287"/>
                  </a:lnTo>
                  <a:lnTo>
                    <a:pt x="478634" y="4082248"/>
                  </a:lnTo>
                  <a:lnTo>
                    <a:pt x="478634" y="4072377"/>
                  </a:lnTo>
                  <a:close/>
                  <a:moveTo>
                    <a:pt x="243339" y="4068339"/>
                  </a:moveTo>
                  <a:lnTo>
                    <a:pt x="253250" y="4068339"/>
                  </a:lnTo>
                  <a:lnTo>
                    <a:pt x="257269" y="4072377"/>
                  </a:lnTo>
                  <a:lnTo>
                    <a:pt x="257269" y="4082248"/>
                  </a:lnTo>
                  <a:lnTo>
                    <a:pt x="253250" y="4086287"/>
                  </a:lnTo>
                  <a:lnTo>
                    <a:pt x="243339" y="4086287"/>
                  </a:lnTo>
                  <a:lnTo>
                    <a:pt x="239320" y="4082248"/>
                  </a:lnTo>
                  <a:lnTo>
                    <a:pt x="239320" y="4072377"/>
                  </a:lnTo>
                  <a:close/>
                  <a:moveTo>
                    <a:pt x="4026" y="4068339"/>
                  </a:moveTo>
                  <a:lnTo>
                    <a:pt x="13936" y="4068339"/>
                  </a:lnTo>
                  <a:lnTo>
                    <a:pt x="17956" y="4072377"/>
                  </a:lnTo>
                  <a:lnTo>
                    <a:pt x="17956" y="4082248"/>
                  </a:lnTo>
                  <a:lnTo>
                    <a:pt x="13936" y="4086287"/>
                  </a:lnTo>
                  <a:lnTo>
                    <a:pt x="4026" y="4086287"/>
                  </a:lnTo>
                  <a:lnTo>
                    <a:pt x="7" y="4082248"/>
                  </a:lnTo>
                  <a:lnTo>
                    <a:pt x="7" y="4072377"/>
                  </a:lnTo>
                  <a:close/>
                  <a:moveTo>
                    <a:pt x="2157820" y="3829058"/>
                  </a:moveTo>
                  <a:lnTo>
                    <a:pt x="2167731" y="3829058"/>
                  </a:lnTo>
                  <a:lnTo>
                    <a:pt x="2171749" y="3833097"/>
                  </a:lnTo>
                  <a:lnTo>
                    <a:pt x="2171749" y="3842968"/>
                  </a:lnTo>
                  <a:lnTo>
                    <a:pt x="2167731" y="3847007"/>
                  </a:lnTo>
                  <a:lnTo>
                    <a:pt x="2157820" y="3847007"/>
                  </a:lnTo>
                  <a:lnTo>
                    <a:pt x="2153801" y="3842968"/>
                  </a:lnTo>
                  <a:lnTo>
                    <a:pt x="2153801" y="3833097"/>
                  </a:lnTo>
                  <a:close/>
                  <a:moveTo>
                    <a:pt x="1918511" y="3829058"/>
                  </a:moveTo>
                  <a:lnTo>
                    <a:pt x="1928421" y="3829058"/>
                  </a:lnTo>
                  <a:lnTo>
                    <a:pt x="1932440" y="3833097"/>
                  </a:lnTo>
                  <a:lnTo>
                    <a:pt x="1932440" y="3842968"/>
                  </a:lnTo>
                  <a:lnTo>
                    <a:pt x="1928421" y="3847007"/>
                  </a:lnTo>
                  <a:lnTo>
                    <a:pt x="1918511" y="3847007"/>
                  </a:lnTo>
                  <a:lnTo>
                    <a:pt x="1914493" y="3842968"/>
                  </a:lnTo>
                  <a:lnTo>
                    <a:pt x="1914493" y="3833097"/>
                  </a:lnTo>
                  <a:close/>
                  <a:moveTo>
                    <a:pt x="1679209" y="3829058"/>
                  </a:moveTo>
                  <a:lnTo>
                    <a:pt x="1689118" y="3829058"/>
                  </a:lnTo>
                  <a:lnTo>
                    <a:pt x="1693137" y="3833097"/>
                  </a:lnTo>
                  <a:lnTo>
                    <a:pt x="1693137" y="3842968"/>
                  </a:lnTo>
                  <a:lnTo>
                    <a:pt x="1689118" y="3847007"/>
                  </a:lnTo>
                  <a:lnTo>
                    <a:pt x="1679209" y="3847007"/>
                  </a:lnTo>
                  <a:lnTo>
                    <a:pt x="1675189" y="3842968"/>
                  </a:lnTo>
                  <a:lnTo>
                    <a:pt x="1675189" y="3833097"/>
                  </a:lnTo>
                  <a:close/>
                  <a:moveTo>
                    <a:pt x="1439892" y="3829058"/>
                  </a:moveTo>
                  <a:lnTo>
                    <a:pt x="1449802" y="3829058"/>
                  </a:lnTo>
                  <a:lnTo>
                    <a:pt x="1453820" y="3833097"/>
                  </a:lnTo>
                  <a:lnTo>
                    <a:pt x="1453820" y="3842968"/>
                  </a:lnTo>
                  <a:lnTo>
                    <a:pt x="1449802" y="3847007"/>
                  </a:lnTo>
                  <a:lnTo>
                    <a:pt x="1439892" y="3847007"/>
                  </a:lnTo>
                  <a:lnTo>
                    <a:pt x="1435874" y="3842968"/>
                  </a:lnTo>
                  <a:lnTo>
                    <a:pt x="1435874" y="3833097"/>
                  </a:lnTo>
                  <a:close/>
                  <a:moveTo>
                    <a:pt x="1200577" y="3829058"/>
                  </a:moveTo>
                  <a:lnTo>
                    <a:pt x="1210487" y="3829058"/>
                  </a:lnTo>
                  <a:lnTo>
                    <a:pt x="1214506" y="3833097"/>
                  </a:lnTo>
                  <a:lnTo>
                    <a:pt x="1214506" y="3842968"/>
                  </a:lnTo>
                  <a:lnTo>
                    <a:pt x="1210487" y="3847007"/>
                  </a:lnTo>
                  <a:lnTo>
                    <a:pt x="1200577" y="3847007"/>
                  </a:lnTo>
                  <a:lnTo>
                    <a:pt x="1196558" y="3842968"/>
                  </a:lnTo>
                  <a:lnTo>
                    <a:pt x="1196558" y="3833097"/>
                  </a:lnTo>
                  <a:close/>
                  <a:moveTo>
                    <a:pt x="961264" y="3829058"/>
                  </a:moveTo>
                  <a:lnTo>
                    <a:pt x="971174" y="3829058"/>
                  </a:lnTo>
                  <a:lnTo>
                    <a:pt x="975193" y="3833097"/>
                  </a:lnTo>
                  <a:lnTo>
                    <a:pt x="975193" y="3842968"/>
                  </a:lnTo>
                  <a:lnTo>
                    <a:pt x="971174" y="3847007"/>
                  </a:lnTo>
                  <a:lnTo>
                    <a:pt x="961264" y="3847007"/>
                  </a:lnTo>
                  <a:lnTo>
                    <a:pt x="957245" y="3842968"/>
                  </a:lnTo>
                  <a:lnTo>
                    <a:pt x="957245" y="3833097"/>
                  </a:lnTo>
                  <a:close/>
                  <a:moveTo>
                    <a:pt x="9572438" y="3829008"/>
                  </a:moveTo>
                  <a:lnTo>
                    <a:pt x="9582349" y="3829008"/>
                  </a:lnTo>
                  <a:lnTo>
                    <a:pt x="9586368" y="3833046"/>
                  </a:lnTo>
                  <a:lnTo>
                    <a:pt x="9586368" y="3842917"/>
                  </a:lnTo>
                  <a:lnTo>
                    <a:pt x="9582349" y="3846956"/>
                  </a:lnTo>
                  <a:lnTo>
                    <a:pt x="9572438" y="3846956"/>
                  </a:lnTo>
                  <a:lnTo>
                    <a:pt x="9568419" y="3842917"/>
                  </a:lnTo>
                  <a:lnTo>
                    <a:pt x="9568419" y="3833046"/>
                  </a:lnTo>
                  <a:close/>
                  <a:moveTo>
                    <a:pt x="9333125" y="3829008"/>
                  </a:moveTo>
                  <a:lnTo>
                    <a:pt x="9343036" y="3829008"/>
                  </a:lnTo>
                  <a:lnTo>
                    <a:pt x="9347055" y="3833046"/>
                  </a:lnTo>
                  <a:lnTo>
                    <a:pt x="9347055" y="3842917"/>
                  </a:lnTo>
                  <a:lnTo>
                    <a:pt x="9343036" y="3846956"/>
                  </a:lnTo>
                  <a:lnTo>
                    <a:pt x="9333125" y="3846956"/>
                  </a:lnTo>
                  <a:lnTo>
                    <a:pt x="9329106" y="3842917"/>
                  </a:lnTo>
                  <a:lnTo>
                    <a:pt x="9329106" y="3833046"/>
                  </a:lnTo>
                  <a:close/>
                  <a:moveTo>
                    <a:pt x="9093811" y="3829008"/>
                  </a:moveTo>
                  <a:lnTo>
                    <a:pt x="9103722" y="3829008"/>
                  </a:lnTo>
                  <a:lnTo>
                    <a:pt x="9107741" y="3833046"/>
                  </a:lnTo>
                  <a:lnTo>
                    <a:pt x="9107741" y="3842917"/>
                  </a:lnTo>
                  <a:lnTo>
                    <a:pt x="9103722" y="3846956"/>
                  </a:lnTo>
                  <a:lnTo>
                    <a:pt x="9093811" y="3846956"/>
                  </a:lnTo>
                  <a:lnTo>
                    <a:pt x="9089792" y="3842917"/>
                  </a:lnTo>
                  <a:lnTo>
                    <a:pt x="9089792" y="3833046"/>
                  </a:lnTo>
                  <a:close/>
                  <a:moveTo>
                    <a:pt x="8854496" y="3829008"/>
                  </a:moveTo>
                  <a:lnTo>
                    <a:pt x="8864407" y="3829008"/>
                  </a:lnTo>
                  <a:lnTo>
                    <a:pt x="8868426" y="3833046"/>
                  </a:lnTo>
                  <a:lnTo>
                    <a:pt x="8868426" y="3842917"/>
                  </a:lnTo>
                  <a:lnTo>
                    <a:pt x="8864407" y="3846956"/>
                  </a:lnTo>
                  <a:lnTo>
                    <a:pt x="8854496" y="3846956"/>
                  </a:lnTo>
                  <a:lnTo>
                    <a:pt x="8850477" y="3842917"/>
                  </a:lnTo>
                  <a:lnTo>
                    <a:pt x="8850477" y="3833046"/>
                  </a:lnTo>
                  <a:close/>
                  <a:moveTo>
                    <a:pt x="8615184" y="3829008"/>
                  </a:moveTo>
                  <a:lnTo>
                    <a:pt x="8625095" y="3829008"/>
                  </a:lnTo>
                  <a:lnTo>
                    <a:pt x="8629114" y="3833046"/>
                  </a:lnTo>
                  <a:lnTo>
                    <a:pt x="8629114" y="3842917"/>
                  </a:lnTo>
                  <a:lnTo>
                    <a:pt x="8625095" y="3846956"/>
                  </a:lnTo>
                  <a:lnTo>
                    <a:pt x="8615184" y="3846956"/>
                  </a:lnTo>
                  <a:lnTo>
                    <a:pt x="8611165" y="3842917"/>
                  </a:lnTo>
                  <a:lnTo>
                    <a:pt x="8611165" y="3833046"/>
                  </a:lnTo>
                  <a:close/>
                  <a:moveTo>
                    <a:pt x="8375869" y="3829008"/>
                  </a:moveTo>
                  <a:lnTo>
                    <a:pt x="8385779" y="3829008"/>
                  </a:lnTo>
                  <a:lnTo>
                    <a:pt x="8389799" y="3833046"/>
                  </a:lnTo>
                  <a:lnTo>
                    <a:pt x="8389799" y="3842917"/>
                  </a:lnTo>
                  <a:lnTo>
                    <a:pt x="8385779" y="3846956"/>
                  </a:lnTo>
                  <a:lnTo>
                    <a:pt x="8375869" y="3846956"/>
                  </a:lnTo>
                  <a:lnTo>
                    <a:pt x="8371850" y="3842917"/>
                  </a:lnTo>
                  <a:lnTo>
                    <a:pt x="8371850" y="3833046"/>
                  </a:lnTo>
                  <a:close/>
                  <a:moveTo>
                    <a:pt x="8136553" y="3829008"/>
                  </a:moveTo>
                  <a:lnTo>
                    <a:pt x="8146464" y="3829008"/>
                  </a:lnTo>
                  <a:lnTo>
                    <a:pt x="8150483" y="3833046"/>
                  </a:lnTo>
                  <a:lnTo>
                    <a:pt x="8150483" y="3842917"/>
                  </a:lnTo>
                  <a:lnTo>
                    <a:pt x="8146464" y="3846956"/>
                  </a:lnTo>
                  <a:lnTo>
                    <a:pt x="8136553" y="3846956"/>
                  </a:lnTo>
                  <a:lnTo>
                    <a:pt x="8132534" y="3842917"/>
                  </a:lnTo>
                  <a:lnTo>
                    <a:pt x="8132534" y="3833046"/>
                  </a:lnTo>
                  <a:close/>
                  <a:moveTo>
                    <a:pt x="7897241" y="3829008"/>
                  </a:moveTo>
                  <a:lnTo>
                    <a:pt x="7907151" y="3829008"/>
                  </a:lnTo>
                  <a:lnTo>
                    <a:pt x="7911170" y="3833046"/>
                  </a:lnTo>
                  <a:lnTo>
                    <a:pt x="7911170" y="3842917"/>
                  </a:lnTo>
                  <a:lnTo>
                    <a:pt x="7907151" y="3846956"/>
                  </a:lnTo>
                  <a:lnTo>
                    <a:pt x="7897241" y="3846956"/>
                  </a:lnTo>
                  <a:lnTo>
                    <a:pt x="7893222" y="3842917"/>
                  </a:lnTo>
                  <a:lnTo>
                    <a:pt x="7893222" y="3833046"/>
                  </a:lnTo>
                  <a:close/>
                  <a:moveTo>
                    <a:pt x="7657926" y="3829008"/>
                  </a:moveTo>
                  <a:lnTo>
                    <a:pt x="7667836" y="3829008"/>
                  </a:lnTo>
                  <a:lnTo>
                    <a:pt x="7671855" y="3833046"/>
                  </a:lnTo>
                  <a:lnTo>
                    <a:pt x="7671855" y="3842917"/>
                  </a:lnTo>
                  <a:lnTo>
                    <a:pt x="7667836" y="3846956"/>
                  </a:lnTo>
                  <a:lnTo>
                    <a:pt x="7657926" y="3846956"/>
                  </a:lnTo>
                  <a:lnTo>
                    <a:pt x="7653906" y="3842917"/>
                  </a:lnTo>
                  <a:lnTo>
                    <a:pt x="7653906" y="3833046"/>
                  </a:lnTo>
                  <a:close/>
                  <a:moveTo>
                    <a:pt x="7418611" y="3829008"/>
                  </a:moveTo>
                  <a:lnTo>
                    <a:pt x="7428521" y="3829008"/>
                  </a:lnTo>
                  <a:lnTo>
                    <a:pt x="7432540" y="3833046"/>
                  </a:lnTo>
                  <a:lnTo>
                    <a:pt x="7432540" y="3842917"/>
                  </a:lnTo>
                  <a:lnTo>
                    <a:pt x="7428521" y="3846956"/>
                  </a:lnTo>
                  <a:lnTo>
                    <a:pt x="7418611" y="3846956"/>
                  </a:lnTo>
                  <a:lnTo>
                    <a:pt x="7414592" y="3842917"/>
                  </a:lnTo>
                  <a:lnTo>
                    <a:pt x="7414592" y="3833046"/>
                  </a:lnTo>
                  <a:close/>
                  <a:moveTo>
                    <a:pt x="7179298" y="3829008"/>
                  </a:moveTo>
                  <a:lnTo>
                    <a:pt x="7189209" y="3829008"/>
                  </a:lnTo>
                  <a:lnTo>
                    <a:pt x="7193228" y="3833046"/>
                  </a:lnTo>
                  <a:lnTo>
                    <a:pt x="7193228" y="3842917"/>
                  </a:lnTo>
                  <a:lnTo>
                    <a:pt x="7189209" y="3846956"/>
                  </a:lnTo>
                  <a:lnTo>
                    <a:pt x="7179298" y="3846956"/>
                  </a:lnTo>
                  <a:lnTo>
                    <a:pt x="7175279" y="3842917"/>
                  </a:lnTo>
                  <a:lnTo>
                    <a:pt x="7175279" y="3833046"/>
                  </a:lnTo>
                  <a:close/>
                  <a:moveTo>
                    <a:pt x="6939983" y="3829008"/>
                  </a:moveTo>
                  <a:lnTo>
                    <a:pt x="6949894" y="3829008"/>
                  </a:lnTo>
                  <a:lnTo>
                    <a:pt x="6953913" y="3833046"/>
                  </a:lnTo>
                  <a:lnTo>
                    <a:pt x="6953913" y="3842917"/>
                  </a:lnTo>
                  <a:lnTo>
                    <a:pt x="6949894" y="3846956"/>
                  </a:lnTo>
                  <a:lnTo>
                    <a:pt x="6939983" y="3846956"/>
                  </a:lnTo>
                  <a:lnTo>
                    <a:pt x="6935964" y="3842917"/>
                  </a:lnTo>
                  <a:lnTo>
                    <a:pt x="6935964" y="3833046"/>
                  </a:lnTo>
                  <a:close/>
                  <a:moveTo>
                    <a:pt x="6700670" y="3829008"/>
                  </a:moveTo>
                  <a:lnTo>
                    <a:pt x="6710581" y="3829008"/>
                  </a:lnTo>
                  <a:lnTo>
                    <a:pt x="6714600" y="3833046"/>
                  </a:lnTo>
                  <a:lnTo>
                    <a:pt x="6714600" y="3842917"/>
                  </a:lnTo>
                  <a:lnTo>
                    <a:pt x="6710581" y="3846956"/>
                  </a:lnTo>
                  <a:lnTo>
                    <a:pt x="6700670" y="3846956"/>
                  </a:lnTo>
                  <a:lnTo>
                    <a:pt x="6696651" y="3842917"/>
                  </a:lnTo>
                  <a:lnTo>
                    <a:pt x="6696651" y="3833046"/>
                  </a:lnTo>
                  <a:close/>
                  <a:moveTo>
                    <a:pt x="6461356" y="3829008"/>
                  </a:moveTo>
                  <a:lnTo>
                    <a:pt x="6471266" y="3829008"/>
                  </a:lnTo>
                  <a:lnTo>
                    <a:pt x="6475285" y="3833046"/>
                  </a:lnTo>
                  <a:lnTo>
                    <a:pt x="6475285" y="3842917"/>
                  </a:lnTo>
                  <a:lnTo>
                    <a:pt x="6471266" y="3846956"/>
                  </a:lnTo>
                  <a:lnTo>
                    <a:pt x="6461356" y="3846956"/>
                  </a:lnTo>
                  <a:lnTo>
                    <a:pt x="6457337" y="3842917"/>
                  </a:lnTo>
                  <a:lnTo>
                    <a:pt x="6457337" y="3833046"/>
                  </a:lnTo>
                  <a:close/>
                  <a:moveTo>
                    <a:pt x="6222042" y="3829008"/>
                  </a:moveTo>
                  <a:lnTo>
                    <a:pt x="6231952" y="3829008"/>
                  </a:lnTo>
                  <a:lnTo>
                    <a:pt x="6235971" y="3833046"/>
                  </a:lnTo>
                  <a:lnTo>
                    <a:pt x="6235971" y="3842917"/>
                  </a:lnTo>
                  <a:lnTo>
                    <a:pt x="6231952" y="3846956"/>
                  </a:lnTo>
                  <a:lnTo>
                    <a:pt x="6222042" y="3846956"/>
                  </a:lnTo>
                  <a:lnTo>
                    <a:pt x="6218023" y="3842917"/>
                  </a:lnTo>
                  <a:lnTo>
                    <a:pt x="6218023" y="3833046"/>
                  </a:lnTo>
                  <a:close/>
                  <a:moveTo>
                    <a:pt x="5982729" y="3829008"/>
                  </a:moveTo>
                  <a:lnTo>
                    <a:pt x="5992639" y="3829008"/>
                  </a:lnTo>
                  <a:lnTo>
                    <a:pt x="5996658" y="3833046"/>
                  </a:lnTo>
                  <a:lnTo>
                    <a:pt x="5996658" y="3842917"/>
                  </a:lnTo>
                  <a:lnTo>
                    <a:pt x="5992639" y="3846956"/>
                  </a:lnTo>
                  <a:lnTo>
                    <a:pt x="5982729" y="3846956"/>
                  </a:lnTo>
                  <a:lnTo>
                    <a:pt x="5978710" y="3842917"/>
                  </a:lnTo>
                  <a:lnTo>
                    <a:pt x="5978710" y="3833046"/>
                  </a:lnTo>
                  <a:close/>
                  <a:moveTo>
                    <a:pt x="5743412" y="3829008"/>
                  </a:moveTo>
                  <a:lnTo>
                    <a:pt x="5753323" y="3829008"/>
                  </a:lnTo>
                  <a:lnTo>
                    <a:pt x="5757342" y="3833046"/>
                  </a:lnTo>
                  <a:lnTo>
                    <a:pt x="5757342" y="3842917"/>
                  </a:lnTo>
                  <a:lnTo>
                    <a:pt x="5753323" y="3846956"/>
                  </a:lnTo>
                  <a:lnTo>
                    <a:pt x="5743412" y="3846956"/>
                  </a:lnTo>
                  <a:lnTo>
                    <a:pt x="5739393" y="3842917"/>
                  </a:lnTo>
                  <a:lnTo>
                    <a:pt x="5739393" y="3833046"/>
                  </a:lnTo>
                  <a:close/>
                  <a:moveTo>
                    <a:pt x="5504099" y="3829008"/>
                  </a:moveTo>
                  <a:lnTo>
                    <a:pt x="5514010" y="3829008"/>
                  </a:lnTo>
                  <a:lnTo>
                    <a:pt x="5518029" y="3833046"/>
                  </a:lnTo>
                  <a:lnTo>
                    <a:pt x="5518029" y="3842917"/>
                  </a:lnTo>
                  <a:lnTo>
                    <a:pt x="5514010" y="3846956"/>
                  </a:lnTo>
                  <a:lnTo>
                    <a:pt x="5504099" y="3846956"/>
                  </a:lnTo>
                  <a:lnTo>
                    <a:pt x="5500080" y="3842917"/>
                  </a:lnTo>
                  <a:lnTo>
                    <a:pt x="5500080" y="3833046"/>
                  </a:lnTo>
                  <a:close/>
                  <a:moveTo>
                    <a:pt x="5264784" y="3829008"/>
                  </a:moveTo>
                  <a:lnTo>
                    <a:pt x="5274694" y="3829008"/>
                  </a:lnTo>
                  <a:lnTo>
                    <a:pt x="5278713" y="3833046"/>
                  </a:lnTo>
                  <a:lnTo>
                    <a:pt x="5278713" y="3842917"/>
                  </a:lnTo>
                  <a:lnTo>
                    <a:pt x="5274694" y="3846956"/>
                  </a:lnTo>
                  <a:lnTo>
                    <a:pt x="5264784" y="3846956"/>
                  </a:lnTo>
                  <a:lnTo>
                    <a:pt x="5260765" y="3842917"/>
                  </a:lnTo>
                  <a:lnTo>
                    <a:pt x="5260765" y="3833046"/>
                  </a:lnTo>
                  <a:close/>
                  <a:moveTo>
                    <a:pt x="5025470" y="3829008"/>
                  </a:moveTo>
                  <a:lnTo>
                    <a:pt x="5035381" y="3829008"/>
                  </a:lnTo>
                  <a:lnTo>
                    <a:pt x="5039400" y="3833046"/>
                  </a:lnTo>
                  <a:lnTo>
                    <a:pt x="5039400" y="3842917"/>
                  </a:lnTo>
                  <a:lnTo>
                    <a:pt x="5035381" y="3846956"/>
                  </a:lnTo>
                  <a:lnTo>
                    <a:pt x="5025470" y="3846956"/>
                  </a:lnTo>
                  <a:lnTo>
                    <a:pt x="5021451" y="3842917"/>
                  </a:lnTo>
                  <a:lnTo>
                    <a:pt x="5021451" y="3833046"/>
                  </a:lnTo>
                  <a:close/>
                  <a:moveTo>
                    <a:pt x="4786241" y="3829008"/>
                  </a:moveTo>
                  <a:lnTo>
                    <a:pt x="4796152" y="3829008"/>
                  </a:lnTo>
                  <a:lnTo>
                    <a:pt x="4800171" y="3833046"/>
                  </a:lnTo>
                  <a:lnTo>
                    <a:pt x="4800171" y="3842917"/>
                  </a:lnTo>
                  <a:lnTo>
                    <a:pt x="4796152" y="3846956"/>
                  </a:lnTo>
                  <a:lnTo>
                    <a:pt x="4786241" y="3846956"/>
                  </a:lnTo>
                  <a:lnTo>
                    <a:pt x="4782224" y="3842917"/>
                  </a:lnTo>
                  <a:lnTo>
                    <a:pt x="4782224" y="3833046"/>
                  </a:lnTo>
                  <a:close/>
                  <a:moveTo>
                    <a:pt x="4546929" y="3829008"/>
                  </a:moveTo>
                  <a:lnTo>
                    <a:pt x="4556840" y="3829008"/>
                  </a:lnTo>
                  <a:lnTo>
                    <a:pt x="4560859" y="3833046"/>
                  </a:lnTo>
                  <a:lnTo>
                    <a:pt x="4560859" y="3842917"/>
                  </a:lnTo>
                  <a:lnTo>
                    <a:pt x="4556840" y="3846956"/>
                  </a:lnTo>
                  <a:lnTo>
                    <a:pt x="4546929" y="3846956"/>
                  </a:lnTo>
                  <a:lnTo>
                    <a:pt x="4542910" y="3842917"/>
                  </a:lnTo>
                  <a:lnTo>
                    <a:pt x="4542910" y="3833046"/>
                  </a:lnTo>
                  <a:close/>
                  <a:moveTo>
                    <a:pt x="4307612" y="3829008"/>
                  </a:moveTo>
                  <a:lnTo>
                    <a:pt x="4317523" y="3829008"/>
                  </a:lnTo>
                  <a:lnTo>
                    <a:pt x="4321543" y="3833046"/>
                  </a:lnTo>
                  <a:lnTo>
                    <a:pt x="4321543" y="3842917"/>
                  </a:lnTo>
                  <a:lnTo>
                    <a:pt x="4317523" y="3846956"/>
                  </a:lnTo>
                  <a:lnTo>
                    <a:pt x="4307612" y="3846956"/>
                  </a:lnTo>
                  <a:lnTo>
                    <a:pt x="4303595" y="3842917"/>
                  </a:lnTo>
                  <a:lnTo>
                    <a:pt x="4303595" y="3833046"/>
                  </a:lnTo>
                  <a:close/>
                  <a:moveTo>
                    <a:pt x="4068297" y="3829008"/>
                  </a:moveTo>
                  <a:lnTo>
                    <a:pt x="4078210" y="3829008"/>
                  </a:lnTo>
                  <a:lnTo>
                    <a:pt x="4082229" y="3833046"/>
                  </a:lnTo>
                  <a:lnTo>
                    <a:pt x="4082229" y="3842917"/>
                  </a:lnTo>
                  <a:lnTo>
                    <a:pt x="4078210" y="3846956"/>
                  </a:lnTo>
                  <a:lnTo>
                    <a:pt x="4068297" y="3846956"/>
                  </a:lnTo>
                  <a:lnTo>
                    <a:pt x="4064278" y="3842917"/>
                  </a:lnTo>
                  <a:lnTo>
                    <a:pt x="4064278" y="3833046"/>
                  </a:lnTo>
                  <a:close/>
                  <a:moveTo>
                    <a:pt x="3828990" y="3829008"/>
                  </a:moveTo>
                  <a:lnTo>
                    <a:pt x="3838899" y="3829008"/>
                  </a:lnTo>
                  <a:lnTo>
                    <a:pt x="3842917" y="3833046"/>
                  </a:lnTo>
                  <a:lnTo>
                    <a:pt x="3842917" y="3842917"/>
                  </a:lnTo>
                  <a:lnTo>
                    <a:pt x="3838899" y="3846956"/>
                  </a:lnTo>
                  <a:lnTo>
                    <a:pt x="3828990" y="3846956"/>
                  </a:lnTo>
                  <a:lnTo>
                    <a:pt x="3824971" y="3842917"/>
                  </a:lnTo>
                  <a:lnTo>
                    <a:pt x="3824971" y="3833046"/>
                  </a:lnTo>
                  <a:close/>
                  <a:moveTo>
                    <a:pt x="3589676" y="3829008"/>
                  </a:moveTo>
                  <a:lnTo>
                    <a:pt x="3599585" y="3829008"/>
                  </a:lnTo>
                  <a:lnTo>
                    <a:pt x="3603604" y="3833046"/>
                  </a:lnTo>
                  <a:lnTo>
                    <a:pt x="3603604" y="3842917"/>
                  </a:lnTo>
                  <a:lnTo>
                    <a:pt x="3599585" y="3846956"/>
                  </a:lnTo>
                  <a:lnTo>
                    <a:pt x="3589676" y="3846956"/>
                  </a:lnTo>
                  <a:lnTo>
                    <a:pt x="3585657" y="3842917"/>
                  </a:lnTo>
                  <a:lnTo>
                    <a:pt x="3585657" y="3833046"/>
                  </a:lnTo>
                  <a:close/>
                  <a:moveTo>
                    <a:pt x="3350359" y="3829008"/>
                  </a:moveTo>
                  <a:lnTo>
                    <a:pt x="3360268" y="3829008"/>
                  </a:lnTo>
                  <a:lnTo>
                    <a:pt x="3364287" y="3833046"/>
                  </a:lnTo>
                  <a:lnTo>
                    <a:pt x="3364287" y="3842917"/>
                  </a:lnTo>
                  <a:lnTo>
                    <a:pt x="3360268" y="3846956"/>
                  </a:lnTo>
                  <a:lnTo>
                    <a:pt x="3350359" y="3846956"/>
                  </a:lnTo>
                  <a:lnTo>
                    <a:pt x="3346340" y="3842917"/>
                  </a:lnTo>
                  <a:lnTo>
                    <a:pt x="3346340" y="3833046"/>
                  </a:lnTo>
                  <a:close/>
                  <a:moveTo>
                    <a:pt x="3111048" y="3829008"/>
                  </a:moveTo>
                  <a:lnTo>
                    <a:pt x="3120959" y="3829008"/>
                  </a:lnTo>
                  <a:lnTo>
                    <a:pt x="3124977" y="3833046"/>
                  </a:lnTo>
                  <a:lnTo>
                    <a:pt x="3124977" y="3842917"/>
                  </a:lnTo>
                  <a:lnTo>
                    <a:pt x="3120959" y="3846956"/>
                  </a:lnTo>
                  <a:lnTo>
                    <a:pt x="3111048" y="3846956"/>
                  </a:lnTo>
                  <a:lnTo>
                    <a:pt x="3107029" y="3842917"/>
                  </a:lnTo>
                  <a:lnTo>
                    <a:pt x="3107029" y="3833046"/>
                  </a:lnTo>
                  <a:close/>
                  <a:moveTo>
                    <a:pt x="2871737" y="3829008"/>
                  </a:moveTo>
                  <a:lnTo>
                    <a:pt x="2881646" y="3829008"/>
                  </a:lnTo>
                  <a:lnTo>
                    <a:pt x="2885666" y="3833046"/>
                  </a:lnTo>
                  <a:lnTo>
                    <a:pt x="2885666" y="3842917"/>
                  </a:lnTo>
                  <a:lnTo>
                    <a:pt x="2881646" y="3846956"/>
                  </a:lnTo>
                  <a:lnTo>
                    <a:pt x="2871737" y="3846956"/>
                  </a:lnTo>
                  <a:lnTo>
                    <a:pt x="2867717" y="3842917"/>
                  </a:lnTo>
                  <a:lnTo>
                    <a:pt x="2867717" y="3833046"/>
                  </a:lnTo>
                  <a:close/>
                  <a:moveTo>
                    <a:pt x="2632423" y="3829008"/>
                  </a:moveTo>
                  <a:lnTo>
                    <a:pt x="2642334" y="3829008"/>
                  </a:lnTo>
                  <a:lnTo>
                    <a:pt x="2646352" y="3833046"/>
                  </a:lnTo>
                  <a:lnTo>
                    <a:pt x="2646352" y="3842917"/>
                  </a:lnTo>
                  <a:lnTo>
                    <a:pt x="2642334" y="3846956"/>
                  </a:lnTo>
                  <a:lnTo>
                    <a:pt x="2632423" y="3846956"/>
                  </a:lnTo>
                  <a:lnTo>
                    <a:pt x="2628404" y="3842917"/>
                  </a:lnTo>
                  <a:lnTo>
                    <a:pt x="2628404" y="3833046"/>
                  </a:lnTo>
                  <a:close/>
                  <a:moveTo>
                    <a:pt x="2393104" y="3829008"/>
                  </a:moveTo>
                  <a:lnTo>
                    <a:pt x="2403015" y="3829008"/>
                  </a:lnTo>
                  <a:lnTo>
                    <a:pt x="2407034" y="3833046"/>
                  </a:lnTo>
                  <a:lnTo>
                    <a:pt x="2407034" y="3842917"/>
                  </a:lnTo>
                  <a:lnTo>
                    <a:pt x="2403015" y="3846956"/>
                  </a:lnTo>
                  <a:lnTo>
                    <a:pt x="2393104" y="3846956"/>
                  </a:lnTo>
                  <a:lnTo>
                    <a:pt x="2389087" y="3842917"/>
                  </a:lnTo>
                  <a:lnTo>
                    <a:pt x="2389087" y="3833046"/>
                  </a:lnTo>
                  <a:close/>
                  <a:moveTo>
                    <a:pt x="721966" y="3829008"/>
                  </a:moveTo>
                  <a:lnTo>
                    <a:pt x="731876" y="3829008"/>
                  </a:lnTo>
                  <a:lnTo>
                    <a:pt x="735895" y="3833046"/>
                  </a:lnTo>
                  <a:lnTo>
                    <a:pt x="735895" y="3842917"/>
                  </a:lnTo>
                  <a:lnTo>
                    <a:pt x="731876" y="3846956"/>
                  </a:lnTo>
                  <a:lnTo>
                    <a:pt x="721966" y="3846956"/>
                  </a:lnTo>
                  <a:lnTo>
                    <a:pt x="717947" y="3842917"/>
                  </a:lnTo>
                  <a:lnTo>
                    <a:pt x="717947" y="3833046"/>
                  </a:lnTo>
                  <a:close/>
                  <a:moveTo>
                    <a:pt x="482654" y="3829008"/>
                  </a:moveTo>
                  <a:lnTo>
                    <a:pt x="492564" y="3829008"/>
                  </a:lnTo>
                  <a:lnTo>
                    <a:pt x="496583" y="3833046"/>
                  </a:lnTo>
                  <a:lnTo>
                    <a:pt x="496583" y="3842917"/>
                  </a:lnTo>
                  <a:lnTo>
                    <a:pt x="492564" y="3846956"/>
                  </a:lnTo>
                  <a:lnTo>
                    <a:pt x="482654" y="3846956"/>
                  </a:lnTo>
                  <a:lnTo>
                    <a:pt x="478635" y="3842917"/>
                  </a:lnTo>
                  <a:lnTo>
                    <a:pt x="478635" y="3833046"/>
                  </a:lnTo>
                  <a:close/>
                  <a:moveTo>
                    <a:pt x="243340" y="3829008"/>
                  </a:moveTo>
                  <a:lnTo>
                    <a:pt x="253250" y="3829008"/>
                  </a:lnTo>
                  <a:lnTo>
                    <a:pt x="257269" y="3833046"/>
                  </a:lnTo>
                  <a:lnTo>
                    <a:pt x="257269" y="3842917"/>
                  </a:lnTo>
                  <a:lnTo>
                    <a:pt x="253250" y="3846956"/>
                  </a:lnTo>
                  <a:lnTo>
                    <a:pt x="243340" y="3846956"/>
                  </a:lnTo>
                  <a:lnTo>
                    <a:pt x="239321" y="3842917"/>
                  </a:lnTo>
                  <a:lnTo>
                    <a:pt x="239321" y="3833046"/>
                  </a:lnTo>
                  <a:close/>
                  <a:moveTo>
                    <a:pt x="4027" y="3829008"/>
                  </a:moveTo>
                  <a:lnTo>
                    <a:pt x="13937" y="3829008"/>
                  </a:lnTo>
                  <a:lnTo>
                    <a:pt x="17956" y="3833046"/>
                  </a:lnTo>
                  <a:lnTo>
                    <a:pt x="17956" y="3842917"/>
                  </a:lnTo>
                  <a:lnTo>
                    <a:pt x="13937" y="3846956"/>
                  </a:lnTo>
                  <a:lnTo>
                    <a:pt x="4027" y="3846956"/>
                  </a:lnTo>
                  <a:lnTo>
                    <a:pt x="8" y="3842917"/>
                  </a:lnTo>
                  <a:lnTo>
                    <a:pt x="8" y="3833046"/>
                  </a:lnTo>
                  <a:close/>
                  <a:moveTo>
                    <a:pt x="2157820" y="3589728"/>
                  </a:moveTo>
                  <a:lnTo>
                    <a:pt x="2167731" y="3589728"/>
                  </a:lnTo>
                  <a:lnTo>
                    <a:pt x="2171749" y="3593767"/>
                  </a:lnTo>
                  <a:lnTo>
                    <a:pt x="2171749" y="3603637"/>
                  </a:lnTo>
                  <a:lnTo>
                    <a:pt x="2167731" y="3607676"/>
                  </a:lnTo>
                  <a:lnTo>
                    <a:pt x="2157820" y="3607676"/>
                  </a:lnTo>
                  <a:lnTo>
                    <a:pt x="2153801" y="3603637"/>
                  </a:lnTo>
                  <a:lnTo>
                    <a:pt x="2153801" y="3593767"/>
                  </a:lnTo>
                  <a:close/>
                  <a:moveTo>
                    <a:pt x="1918511" y="3589728"/>
                  </a:moveTo>
                  <a:lnTo>
                    <a:pt x="1928421" y="3589728"/>
                  </a:lnTo>
                  <a:lnTo>
                    <a:pt x="1932441" y="3593767"/>
                  </a:lnTo>
                  <a:lnTo>
                    <a:pt x="1932441" y="3603637"/>
                  </a:lnTo>
                  <a:lnTo>
                    <a:pt x="1928421" y="3607676"/>
                  </a:lnTo>
                  <a:lnTo>
                    <a:pt x="1918511" y="3607676"/>
                  </a:lnTo>
                  <a:lnTo>
                    <a:pt x="1914493" y="3603637"/>
                  </a:lnTo>
                  <a:lnTo>
                    <a:pt x="1914493" y="3593767"/>
                  </a:lnTo>
                  <a:close/>
                  <a:moveTo>
                    <a:pt x="1679209" y="3589728"/>
                  </a:moveTo>
                  <a:lnTo>
                    <a:pt x="1689118" y="3589728"/>
                  </a:lnTo>
                  <a:lnTo>
                    <a:pt x="1693138" y="3593767"/>
                  </a:lnTo>
                  <a:lnTo>
                    <a:pt x="1693138" y="3603637"/>
                  </a:lnTo>
                  <a:lnTo>
                    <a:pt x="1689118" y="3607676"/>
                  </a:lnTo>
                  <a:lnTo>
                    <a:pt x="1679209" y="3607676"/>
                  </a:lnTo>
                  <a:lnTo>
                    <a:pt x="1675190" y="3603637"/>
                  </a:lnTo>
                  <a:lnTo>
                    <a:pt x="1675190" y="3593767"/>
                  </a:lnTo>
                  <a:close/>
                  <a:moveTo>
                    <a:pt x="1439892" y="3589728"/>
                  </a:moveTo>
                  <a:lnTo>
                    <a:pt x="1449803" y="3589728"/>
                  </a:lnTo>
                  <a:lnTo>
                    <a:pt x="1453822" y="3593767"/>
                  </a:lnTo>
                  <a:lnTo>
                    <a:pt x="1453822" y="3603637"/>
                  </a:lnTo>
                  <a:lnTo>
                    <a:pt x="1449803" y="3607676"/>
                  </a:lnTo>
                  <a:lnTo>
                    <a:pt x="1439892" y="3607676"/>
                  </a:lnTo>
                  <a:lnTo>
                    <a:pt x="1435874" y="3603637"/>
                  </a:lnTo>
                  <a:lnTo>
                    <a:pt x="1435874" y="3593767"/>
                  </a:lnTo>
                  <a:close/>
                  <a:moveTo>
                    <a:pt x="1200577" y="3589728"/>
                  </a:moveTo>
                  <a:lnTo>
                    <a:pt x="1210488" y="3589728"/>
                  </a:lnTo>
                  <a:lnTo>
                    <a:pt x="1214506" y="3593767"/>
                  </a:lnTo>
                  <a:lnTo>
                    <a:pt x="1214506" y="3603637"/>
                  </a:lnTo>
                  <a:lnTo>
                    <a:pt x="1210488" y="3607676"/>
                  </a:lnTo>
                  <a:lnTo>
                    <a:pt x="1200577" y="3607676"/>
                  </a:lnTo>
                  <a:lnTo>
                    <a:pt x="1196559" y="3603637"/>
                  </a:lnTo>
                  <a:lnTo>
                    <a:pt x="1196559" y="3593767"/>
                  </a:lnTo>
                  <a:close/>
                  <a:moveTo>
                    <a:pt x="961265" y="3589728"/>
                  </a:moveTo>
                  <a:lnTo>
                    <a:pt x="971175" y="3589728"/>
                  </a:lnTo>
                  <a:lnTo>
                    <a:pt x="975193" y="3593767"/>
                  </a:lnTo>
                  <a:lnTo>
                    <a:pt x="975193" y="3603637"/>
                  </a:lnTo>
                  <a:lnTo>
                    <a:pt x="971175" y="3607676"/>
                  </a:lnTo>
                  <a:lnTo>
                    <a:pt x="961265" y="3607676"/>
                  </a:lnTo>
                  <a:lnTo>
                    <a:pt x="957246" y="3603637"/>
                  </a:lnTo>
                  <a:lnTo>
                    <a:pt x="957246" y="3593767"/>
                  </a:lnTo>
                  <a:close/>
                  <a:moveTo>
                    <a:pt x="9572438" y="3589677"/>
                  </a:moveTo>
                  <a:lnTo>
                    <a:pt x="9582349" y="3589677"/>
                  </a:lnTo>
                  <a:lnTo>
                    <a:pt x="9586368" y="3593716"/>
                  </a:lnTo>
                  <a:lnTo>
                    <a:pt x="9586368" y="3603586"/>
                  </a:lnTo>
                  <a:lnTo>
                    <a:pt x="9582349" y="3607625"/>
                  </a:lnTo>
                  <a:lnTo>
                    <a:pt x="9572438" y="3607625"/>
                  </a:lnTo>
                  <a:lnTo>
                    <a:pt x="9568419" y="3603586"/>
                  </a:lnTo>
                  <a:lnTo>
                    <a:pt x="9568419" y="3593716"/>
                  </a:lnTo>
                  <a:close/>
                  <a:moveTo>
                    <a:pt x="9333125" y="3589677"/>
                  </a:moveTo>
                  <a:lnTo>
                    <a:pt x="9343036" y="3589677"/>
                  </a:lnTo>
                  <a:lnTo>
                    <a:pt x="9347055" y="3593716"/>
                  </a:lnTo>
                  <a:lnTo>
                    <a:pt x="9347055" y="3603586"/>
                  </a:lnTo>
                  <a:lnTo>
                    <a:pt x="9343036" y="3607625"/>
                  </a:lnTo>
                  <a:lnTo>
                    <a:pt x="9333125" y="3607625"/>
                  </a:lnTo>
                  <a:lnTo>
                    <a:pt x="9329106" y="3603586"/>
                  </a:lnTo>
                  <a:lnTo>
                    <a:pt x="9329106" y="3593716"/>
                  </a:lnTo>
                  <a:close/>
                  <a:moveTo>
                    <a:pt x="9093811" y="3589677"/>
                  </a:moveTo>
                  <a:lnTo>
                    <a:pt x="9103722" y="3589677"/>
                  </a:lnTo>
                  <a:lnTo>
                    <a:pt x="9107741" y="3593716"/>
                  </a:lnTo>
                  <a:lnTo>
                    <a:pt x="9107741" y="3603586"/>
                  </a:lnTo>
                  <a:lnTo>
                    <a:pt x="9103722" y="3607625"/>
                  </a:lnTo>
                  <a:lnTo>
                    <a:pt x="9093811" y="3607625"/>
                  </a:lnTo>
                  <a:lnTo>
                    <a:pt x="9089792" y="3603586"/>
                  </a:lnTo>
                  <a:lnTo>
                    <a:pt x="9089792" y="3593716"/>
                  </a:lnTo>
                  <a:close/>
                  <a:moveTo>
                    <a:pt x="8854496" y="3589677"/>
                  </a:moveTo>
                  <a:lnTo>
                    <a:pt x="8864407" y="3589677"/>
                  </a:lnTo>
                  <a:lnTo>
                    <a:pt x="8868426" y="3593716"/>
                  </a:lnTo>
                  <a:lnTo>
                    <a:pt x="8868426" y="3603586"/>
                  </a:lnTo>
                  <a:lnTo>
                    <a:pt x="8864407" y="3607625"/>
                  </a:lnTo>
                  <a:lnTo>
                    <a:pt x="8854496" y="3607625"/>
                  </a:lnTo>
                  <a:lnTo>
                    <a:pt x="8850477" y="3603586"/>
                  </a:lnTo>
                  <a:lnTo>
                    <a:pt x="8850477" y="3593716"/>
                  </a:lnTo>
                  <a:close/>
                  <a:moveTo>
                    <a:pt x="8615184" y="3589677"/>
                  </a:moveTo>
                  <a:lnTo>
                    <a:pt x="8625095" y="3589677"/>
                  </a:lnTo>
                  <a:lnTo>
                    <a:pt x="8629114" y="3593716"/>
                  </a:lnTo>
                  <a:lnTo>
                    <a:pt x="8629114" y="3603586"/>
                  </a:lnTo>
                  <a:lnTo>
                    <a:pt x="8625095" y="3607625"/>
                  </a:lnTo>
                  <a:lnTo>
                    <a:pt x="8615184" y="3607625"/>
                  </a:lnTo>
                  <a:lnTo>
                    <a:pt x="8611165" y="3603586"/>
                  </a:lnTo>
                  <a:lnTo>
                    <a:pt x="8611165" y="3593716"/>
                  </a:lnTo>
                  <a:close/>
                  <a:moveTo>
                    <a:pt x="8375869" y="3589677"/>
                  </a:moveTo>
                  <a:lnTo>
                    <a:pt x="8385779" y="3589677"/>
                  </a:lnTo>
                  <a:lnTo>
                    <a:pt x="8389799" y="3593716"/>
                  </a:lnTo>
                  <a:lnTo>
                    <a:pt x="8389799" y="3603586"/>
                  </a:lnTo>
                  <a:lnTo>
                    <a:pt x="8385779" y="3607625"/>
                  </a:lnTo>
                  <a:lnTo>
                    <a:pt x="8375869" y="3607625"/>
                  </a:lnTo>
                  <a:lnTo>
                    <a:pt x="8371850" y="3603586"/>
                  </a:lnTo>
                  <a:lnTo>
                    <a:pt x="8371850" y="3593716"/>
                  </a:lnTo>
                  <a:close/>
                  <a:moveTo>
                    <a:pt x="8136553" y="3589677"/>
                  </a:moveTo>
                  <a:lnTo>
                    <a:pt x="8146464" y="3589677"/>
                  </a:lnTo>
                  <a:lnTo>
                    <a:pt x="8150483" y="3593716"/>
                  </a:lnTo>
                  <a:lnTo>
                    <a:pt x="8150483" y="3603586"/>
                  </a:lnTo>
                  <a:lnTo>
                    <a:pt x="8146464" y="3607625"/>
                  </a:lnTo>
                  <a:lnTo>
                    <a:pt x="8136553" y="3607625"/>
                  </a:lnTo>
                  <a:lnTo>
                    <a:pt x="8132534" y="3603586"/>
                  </a:lnTo>
                  <a:lnTo>
                    <a:pt x="8132534" y="3593716"/>
                  </a:lnTo>
                  <a:close/>
                  <a:moveTo>
                    <a:pt x="7897241" y="3589677"/>
                  </a:moveTo>
                  <a:lnTo>
                    <a:pt x="7907151" y="3589677"/>
                  </a:lnTo>
                  <a:lnTo>
                    <a:pt x="7911170" y="3593716"/>
                  </a:lnTo>
                  <a:lnTo>
                    <a:pt x="7911170" y="3603586"/>
                  </a:lnTo>
                  <a:lnTo>
                    <a:pt x="7907151" y="3607625"/>
                  </a:lnTo>
                  <a:lnTo>
                    <a:pt x="7897241" y="3607625"/>
                  </a:lnTo>
                  <a:lnTo>
                    <a:pt x="7893222" y="3603586"/>
                  </a:lnTo>
                  <a:lnTo>
                    <a:pt x="7893222" y="3593716"/>
                  </a:lnTo>
                  <a:close/>
                  <a:moveTo>
                    <a:pt x="7657926" y="3589677"/>
                  </a:moveTo>
                  <a:lnTo>
                    <a:pt x="7667836" y="3589677"/>
                  </a:lnTo>
                  <a:lnTo>
                    <a:pt x="7671855" y="3593716"/>
                  </a:lnTo>
                  <a:lnTo>
                    <a:pt x="7671855" y="3603586"/>
                  </a:lnTo>
                  <a:lnTo>
                    <a:pt x="7667836" y="3607625"/>
                  </a:lnTo>
                  <a:lnTo>
                    <a:pt x="7657926" y="3607625"/>
                  </a:lnTo>
                  <a:lnTo>
                    <a:pt x="7653906" y="3603586"/>
                  </a:lnTo>
                  <a:lnTo>
                    <a:pt x="7653906" y="3593716"/>
                  </a:lnTo>
                  <a:close/>
                  <a:moveTo>
                    <a:pt x="7418611" y="3589677"/>
                  </a:moveTo>
                  <a:lnTo>
                    <a:pt x="7428521" y="3589677"/>
                  </a:lnTo>
                  <a:lnTo>
                    <a:pt x="7432540" y="3593716"/>
                  </a:lnTo>
                  <a:lnTo>
                    <a:pt x="7432540" y="3603586"/>
                  </a:lnTo>
                  <a:lnTo>
                    <a:pt x="7428521" y="3607625"/>
                  </a:lnTo>
                  <a:lnTo>
                    <a:pt x="7418611" y="3607625"/>
                  </a:lnTo>
                  <a:lnTo>
                    <a:pt x="7414592" y="3603586"/>
                  </a:lnTo>
                  <a:lnTo>
                    <a:pt x="7414592" y="3593716"/>
                  </a:lnTo>
                  <a:close/>
                  <a:moveTo>
                    <a:pt x="7179298" y="3589677"/>
                  </a:moveTo>
                  <a:lnTo>
                    <a:pt x="7189209" y="3589677"/>
                  </a:lnTo>
                  <a:lnTo>
                    <a:pt x="7193228" y="3593716"/>
                  </a:lnTo>
                  <a:lnTo>
                    <a:pt x="7193228" y="3603586"/>
                  </a:lnTo>
                  <a:lnTo>
                    <a:pt x="7189209" y="3607625"/>
                  </a:lnTo>
                  <a:lnTo>
                    <a:pt x="7179298" y="3607625"/>
                  </a:lnTo>
                  <a:lnTo>
                    <a:pt x="7175279" y="3603586"/>
                  </a:lnTo>
                  <a:lnTo>
                    <a:pt x="7175279" y="3593716"/>
                  </a:lnTo>
                  <a:close/>
                  <a:moveTo>
                    <a:pt x="6939983" y="3589677"/>
                  </a:moveTo>
                  <a:lnTo>
                    <a:pt x="6949894" y="3589677"/>
                  </a:lnTo>
                  <a:lnTo>
                    <a:pt x="6953913" y="3593716"/>
                  </a:lnTo>
                  <a:lnTo>
                    <a:pt x="6953913" y="3603586"/>
                  </a:lnTo>
                  <a:lnTo>
                    <a:pt x="6949894" y="3607625"/>
                  </a:lnTo>
                  <a:lnTo>
                    <a:pt x="6939983" y="3607625"/>
                  </a:lnTo>
                  <a:lnTo>
                    <a:pt x="6935964" y="3603586"/>
                  </a:lnTo>
                  <a:lnTo>
                    <a:pt x="6935964" y="3593716"/>
                  </a:lnTo>
                  <a:close/>
                  <a:moveTo>
                    <a:pt x="6700670" y="3589677"/>
                  </a:moveTo>
                  <a:lnTo>
                    <a:pt x="6710581" y="3589677"/>
                  </a:lnTo>
                  <a:lnTo>
                    <a:pt x="6714600" y="3593716"/>
                  </a:lnTo>
                  <a:lnTo>
                    <a:pt x="6714600" y="3603586"/>
                  </a:lnTo>
                  <a:lnTo>
                    <a:pt x="6710581" y="3607625"/>
                  </a:lnTo>
                  <a:lnTo>
                    <a:pt x="6700670" y="3607625"/>
                  </a:lnTo>
                  <a:lnTo>
                    <a:pt x="6696651" y="3603586"/>
                  </a:lnTo>
                  <a:lnTo>
                    <a:pt x="6696651" y="3593716"/>
                  </a:lnTo>
                  <a:close/>
                  <a:moveTo>
                    <a:pt x="6461356" y="3589677"/>
                  </a:moveTo>
                  <a:lnTo>
                    <a:pt x="6471266" y="3589677"/>
                  </a:lnTo>
                  <a:lnTo>
                    <a:pt x="6475285" y="3593716"/>
                  </a:lnTo>
                  <a:lnTo>
                    <a:pt x="6475285" y="3603586"/>
                  </a:lnTo>
                  <a:lnTo>
                    <a:pt x="6471266" y="3607625"/>
                  </a:lnTo>
                  <a:lnTo>
                    <a:pt x="6461356" y="3607625"/>
                  </a:lnTo>
                  <a:lnTo>
                    <a:pt x="6457337" y="3603586"/>
                  </a:lnTo>
                  <a:lnTo>
                    <a:pt x="6457337" y="3593716"/>
                  </a:lnTo>
                  <a:close/>
                  <a:moveTo>
                    <a:pt x="6222042" y="3589677"/>
                  </a:moveTo>
                  <a:lnTo>
                    <a:pt x="6231952" y="3589677"/>
                  </a:lnTo>
                  <a:lnTo>
                    <a:pt x="6235971" y="3593716"/>
                  </a:lnTo>
                  <a:lnTo>
                    <a:pt x="6235971" y="3603586"/>
                  </a:lnTo>
                  <a:lnTo>
                    <a:pt x="6231952" y="3607625"/>
                  </a:lnTo>
                  <a:lnTo>
                    <a:pt x="6222042" y="3607625"/>
                  </a:lnTo>
                  <a:lnTo>
                    <a:pt x="6218023" y="3603586"/>
                  </a:lnTo>
                  <a:lnTo>
                    <a:pt x="6218023" y="3593716"/>
                  </a:lnTo>
                  <a:close/>
                  <a:moveTo>
                    <a:pt x="5982729" y="3589677"/>
                  </a:moveTo>
                  <a:lnTo>
                    <a:pt x="5992639" y="3589677"/>
                  </a:lnTo>
                  <a:lnTo>
                    <a:pt x="5996658" y="3593716"/>
                  </a:lnTo>
                  <a:lnTo>
                    <a:pt x="5996658" y="3603586"/>
                  </a:lnTo>
                  <a:lnTo>
                    <a:pt x="5992639" y="3607625"/>
                  </a:lnTo>
                  <a:lnTo>
                    <a:pt x="5982729" y="3607625"/>
                  </a:lnTo>
                  <a:lnTo>
                    <a:pt x="5978710" y="3603586"/>
                  </a:lnTo>
                  <a:lnTo>
                    <a:pt x="5978710" y="3593716"/>
                  </a:lnTo>
                  <a:close/>
                  <a:moveTo>
                    <a:pt x="5743412" y="3589677"/>
                  </a:moveTo>
                  <a:lnTo>
                    <a:pt x="5753323" y="3589677"/>
                  </a:lnTo>
                  <a:lnTo>
                    <a:pt x="5757342" y="3593716"/>
                  </a:lnTo>
                  <a:lnTo>
                    <a:pt x="5757342" y="3603586"/>
                  </a:lnTo>
                  <a:lnTo>
                    <a:pt x="5753323" y="3607625"/>
                  </a:lnTo>
                  <a:lnTo>
                    <a:pt x="5743412" y="3607625"/>
                  </a:lnTo>
                  <a:lnTo>
                    <a:pt x="5739393" y="3603586"/>
                  </a:lnTo>
                  <a:lnTo>
                    <a:pt x="5739393" y="3593716"/>
                  </a:lnTo>
                  <a:close/>
                  <a:moveTo>
                    <a:pt x="5504099" y="3589677"/>
                  </a:moveTo>
                  <a:lnTo>
                    <a:pt x="5514010" y="3589677"/>
                  </a:lnTo>
                  <a:lnTo>
                    <a:pt x="5518029" y="3593716"/>
                  </a:lnTo>
                  <a:lnTo>
                    <a:pt x="5518029" y="3603586"/>
                  </a:lnTo>
                  <a:lnTo>
                    <a:pt x="5514010" y="3607625"/>
                  </a:lnTo>
                  <a:lnTo>
                    <a:pt x="5504099" y="3607625"/>
                  </a:lnTo>
                  <a:lnTo>
                    <a:pt x="5500080" y="3603586"/>
                  </a:lnTo>
                  <a:lnTo>
                    <a:pt x="5500080" y="3593716"/>
                  </a:lnTo>
                  <a:close/>
                  <a:moveTo>
                    <a:pt x="5264784" y="3589677"/>
                  </a:moveTo>
                  <a:lnTo>
                    <a:pt x="5274694" y="3589677"/>
                  </a:lnTo>
                  <a:lnTo>
                    <a:pt x="5278713" y="3593716"/>
                  </a:lnTo>
                  <a:lnTo>
                    <a:pt x="5278713" y="3603586"/>
                  </a:lnTo>
                  <a:lnTo>
                    <a:pt x="5274694" y="3607625"/>
                  </a:lnTo>
                  <a:lnTo>
                    <a:pt x="5264784" y="3607625"/>
                  </a:lnTo>
                  <a:lnTo>
                    <a:pt x="5260765" y="3603586"/>
                  </a:lnTo>
                  <a:lnTo>
                    <a:pt x="5260765" y="3593716"/>
                  </a:lnTo>
                  <a:close/>
                  <a:moveTo>
                    <a:pt x="5025470" y="3589677"/>
                  </a:moveTo>
                  <a:lnTo>
                    <a:pt x="5035381" y="3589677"/>
                  </a:lnTo>
                  <a:lnTo>
                    <a:pt x="5039400" y="3593716"/>
                  </a:lnTo>
                  <a:lnTo>
                    <a:pt x="5039400" y="3603586"/>
                  </a:lnTo>
                  <a:lnTo>
                    <a:pt x="5035381" y="3607625"/>
                  </a:lnTo>
                  <a:lnTo>
                    <a:pt x="5025470" y="3607625"/>
                  </a:lnTo>
                  <a:lnTo>
                    <a:pt x="5021451" y="3603586"/>
                  </a:lnTo>
                  <a:lnTo>
                    <a:pt x="5021451" y="3593716"/>
                  </a:lnTo>
                  <a:close/>
                  <a:moveTo>
                    <a:pt x="4786241" y="3589677"/>
                  </a:moveTo>
                  <a:lnTo>
                    <a:pt x="4796152" y="3589677"/>
                  </a:lnTo>
                  <a:lnTo>
                    <a:pt x="4800171" y="3593716"/>
                  </a:lnTo>
                  <a:lnTo>
                    <a:pt x="4800171" y="3603586"/>
                  </a:lnTo>
                  <a:lnTo>
                    <a:pt x="4796152" y="3607625"/>
                  </a:lnTo>
                  <a:lnTo>
                    <a:pt x="4786241" y="3607625"/>
                  </a:lnTo>
                  <a:lnTo>
                    <a:pt x="4782224" y="3603586"/>
                  </a:lnTo>
                  <a:lnTo>
                    <a:pt x="4782224" y="3593716"/>
                  </a:lnTo>
                  <a:close/>
                  <a:moveTo>
                    <a:pt x="4546929" y="3589677"/>
                  </a:moveTo>
                  <a:lnTo>
                    <a:pt x="4556840" y="3589677"/>
                  </a:lnTo>
                  <a:lnTo>
                    <a:pt x="4560859" y="3593716"/>
                  </a:lnTo>
                  <a:lnTo>
                    <a:pt x="4560859" y="3603586"/>
                  </a:lnTo>
                  <a:lnTo>
                    <a:pt x="4556840" y="3607625"/>
                  </a:lnTo>
                  <a:lnTo>
                    <a:pt x="4546929" y="3607625"/>
                  </a:lnTo>
                  <a:lnTo>
                    <a:pt x="4542910" y="3603586"/>
                  </a:lnTo>
                  <a:lnTo>
                    <a:pt x="4542910" y="3593716"/>
                  </a:lnTo>
                  <a:close/>
                  <a:moveTo>
                    <a:pt x="4307612" y="3589677"/>
                  </a:moveTo>
                  <a:lnTo>
                    <a:pt x="4317523" y="3589677"/>
                  </a:lnTo>
                  <a:lnTo>
                    <a:pt x="4321543" y="3593716"/>
                  </a:lnTo>
                  <a:lnTo>
                    <a:pt x="4321543" y="3603586"/>
                  </a:lnTo>
                  <a:lnTo>
                    <a:pt x="4317523" y="3607625"/>
                  </a:lnTo>
                  <a:lnTo>
                    <a:pt x="4307612" y="3607625"/>
                  </a:lnTo>
                  <a:lnTo>
                    <a:pt x="4303595" y="3603586"/>
                  </a:lnTo>
                  <a:lnTo>
                    <a:pt x="4303595" y="3593716"/>
                  </a:lnTo>
                  <a:close/>
                  <a:moveTo>
                    <a:pt x="4068297" y="3589677"/>
                  </a:moveTo>
                  <a:lnTo>
                    <a:pt x="4078210" y="3589677"/>
                  </a:lnTo>
                  <a:lnTo>
                    <a:pt x="4082229" y="3593716"/>
                  </a:lnTo>
                  <a:lnTo>
                    <a:pt x="4082229" y="3603586"/>
                  </a:lnTo>
                  <a:lnTo>
                    <a:pt x="4078210" y="3607625"/>
                  </a:lnTo>
                  <a:lnTo>
                    <a:pt x="4068297" y="3607625"/>
                  </a:lnTo>
                  <a:lnTo>
                    <a:pt x="4064278" y="3603586"/>
                  </a:lnTo>
                  <a:lnTo>
                    <a:pt x="4064278" y="3593716"/>
                  </a:lnTo>
                  <a:close/>
                  <a:moveTo>
                    <a:pt x="3828990" y="3589677"/>
                  </a:moveTo>
                  <a:lnTo>
                    <a:pt x="3838899" y="3589677"/>
                  </a:lnTo>
                  <a:lnTo>
                    <a:pt x="3842917" y="3593716"/>
                  </a:lnTo>
                  <a:lnTo>
                    <a:pt x="3842917" y="3603586"/>
                  </a:lnTo>
                  <a:lnTo>
                    <a:pt x="3838899" y="3607625"/>
                  </a:lnTo>
                  <a:lnTo>
                    <a:pt x="3828990" y="3607625"/>
                  </a:lnTo>
                  <a:lnTo>
                    <a:pt x="3824971" y="3603586"/>
                  </a:lnTo>
                  <a:lnTo>
                    <a:pt x="3824971" y="3593716"/>
                  </a:lnTo>
                  <a:close/>
                  <a:moveTo>
                    <a:pt x="3589676" y="3589677"/>
                  </a:moveTo>
                  <a:lnTo>
                    <a:pt x="3599585" y="3589677"/>
                  </a:lnTo>
                  <a:lnTo>
                    <a:pt x="3603604" y="3593716"/>
                  </a:lnTo>
                  <a:lnTo>
                    <a:pt x="3603604" y="3603586"/>
                  </a:lnTo>
                  <a:lnTo>
                    <a:pt x="3599585" y="3607625"/>
                  </a:lnTo>
                  <a:lnTo>
                    <a:pt x="3589676" y="3607625"/>
                  </a:lnTo>
                  <a:lnTo>
                    <a:pt x="3585657" y="3603586"/>
                  </a:lnTo>
                  <a:lnTo>
                    <a:pt x="3585657" y="3593716"/>
                  </a:lnTo>
                  <a:close/>
                  <a:moveTo>
                    <a:pt x="3350359" y="3589677"/>
                  </a:moveTo>
                  <a:lnTo>
                    <a:pt x="3360268" y="3589677"/>
                  </a:lnTo>
                  <a:lnTo>
                    <a:pt x="3364287" y="3593716"/>
                  </a:lnTo>
                  <a:lnTo>
                    <a:pt x="3364287" y="3603586"/>
                  </a:lnTo>
                  <a:lnTo>
                    <a:pt x="3360268" y="3607625"/>
                  </a:lnTo>
                  <a:lnTo>
                    <a:pt x="3350359" y="3607625"/>
                  </a:lnTo>
                  <a:lnTo>
                    <a:pt x="3346340" y="3603586"/>
                  </a:lnTo>
                  <a:lnTo>
                    <a:pt x="3346340" y="3593716"/>
                  </a:lnTo>
                  <a:close/>
                  <a:moveTo>
                    <a:pt x="3111048" y="3589677"/>
                  </a:moveTo>
                  <a:lnTo>
                    <a:pt x="3120959" y="3589677"/>
                  </a:lnTo>
                  <a:lnTo>
                    <a:pt x="3124977" y="3593716"/>
                  </a:lnTo>
                  <a:lnTo>
                    <a:pt x="3124977" y="3603586"/>
                  </a:lnTo>
                  <a:lnTo>
                    <a:pt x="3120959" y="3607625"/>
                  </a:lnTo>
                  <a:lnTo>
                    <a:pt x="3111048" y="3607625"/>
                  </a:lnTo>
                  <a:lnTo>
                    <a:pt x="3107029" y="3603586"/>
                  </a:lnTo>
                  <a:lnTo>
                    <a:pt x="3107029" y="3593716"/>
                  </a:lnTo>
                  <a:close/>
                  <a:moveTo>
                    <a:pt x="2871737" y="3589677"/>
                  </a:moveTo>
                  <a:lnTo>
                    <a:pt x="2881646" y="3589677"/>
                  </a:lnTo>
                  <a:lnTo>
                    <a:pt x="2885666" y="3593716"/>
                  </a:lnTo>
                  <a:lnTo>
                    <a:pt x="2885666" y="3603586"/>
                  </a:lnTo>
                  <a:lnTo>
                    <a:pt x="2881646" y="3607625"/>
                  </a:lnTo>
                  <a:lnTo>
                    <a:pt x="2871737" y="3607625"/>
                  </a:lnTo>
                  <a:lnTo>
                    <a:pt x="2867717" y="3603586"/>
                  </a:lnTo>
                  <a:lnTo>
                    <a:pt x="2867717" y="3593716"/>
                  </a:lnTo>
                  <a:close/>
                  <a:moveTo>
                    <a:pt x="2632423" y="3589677"/>
                  </a:moveTo>
                  <a:lnTo>
                    <a:pt x="2642334" y="3589677"/>
                  </a:lnTo>
                  <a:lnTo>
                    <a:pt x="2646352" y="3593716"/>
                  </a:lnTo>
                  <a:lnTo>
                    <a:pt x="2646352" y="3603586"/>
                  </a:lnTo>
                  <a:lnTo>
                    <a:pt x="2642334" y="3607625"/>
                  </a:lnTo>
                  <a:lnTo>
                    <a:pt x="2632423" y="3607625"/>
                  </a:lnTo>
                  <a:lnTo>
                    <a:pt x="2628404" y="3603586"/>
                  </a:lnTo>
                  <a:lnTo>
                    <a:pt x="2628404" y="3593716"/>
                  </a:lnTo>
                  <a:close/>
                  <a:moveTo>
                    <a:pt x="2393104" y="3589677"/>
                  </a:moveTo>
                  <a:lnTo>
                    <a:pt x="2403015" y="3589677"/>
                  </a:lnTo>
                  <a:lnTo>
                    <a:pt x="2407034" y="3593716"/>
                  </a:lnTo>
                  <a:lnTo>
                    <a:pt x="2407034" y="3603586"/>
                  </a:lnTo>
                  <a:lnTo>
                    <a:pt x="2403015" y="3607625"/>
                  </a:lnTo>
                  <a:lnTo>
                    <a:pt x="2393104" y="3607625"/>
                  </a:lnTo>
                  <a:lnTo>
                    <a:pt x="2389087" y="3603586"/>
                  </a:lnTo>
                  <a:lnTo>
                    <a:pt x="2389087" y="3593716"/>
                  </a:lnTo>
                  <a:close/>
                  <a:moveTo>
                    <a:pt x="721966" y="3589677"/>
                  </a:moveTo>
                  <a:lnTo>
                    <a:pt x="731877" y="3589677"/>
                  </a:lnTo>
                  <a:lnTo>
                    <a:pt x="735896" y="3593716"/>
                  </a:lnTo>
                  <a:lnTo>
                    <a:pt x="735896" y="3603586"/>
                  </a:lnTo>
                  <a:lnTo>
                    <a:pt x="731877" y="3607625"/>
                  </a:lnTo>
                  <a:lnTo>
                    <a:pt x="721966" y="3607625"/>
                  </a:lnTo>
                  <a:lnTo>
                    <a:pt x="717948" y="3603586"/>
                  </a:lnTo>
                  <a:lnTo>
                    <a:pt x="717948" y="3593716"/>
                  </a:lnTo>
                  <a:close/>
                  <a:moveTo>
                    <a:pt x="482654" y="3589677"/>
                  </a:moveTo>
                  <a:lnTo>
                    <a:pt x="492565" y="3589677"/>
                  </a:lnTo>
                  <a:lnTo>
                    <a:pt x="496584" y="3593716"/>
                  </a:lnTo>
                  <a:lnTo>
                    <a:pt x="496584" y="3603586"/>
                  </a:lnTo>
                  <a:lnTo>
                    <a:pt x="492565" y="3607625"/>
                  </a:lnTo>
                  <a:lnTo>
                    <a:pt x="482654" y="3607625"/>
                  </a:lnTo>
                  <a:lnTo>
                    <a:pt x="478635" y="3603586"/>
                  </a:lnTo>
                  <a:lnTo>
                    <a:pt x="478635" y="3593716"/>
                  </a:lnTo>
                  <a:close/>
                  <a:moveTo>
                    <a:pt x="243341" y="3589677"/>
                  </a:moveTo>
                  <a:lnTo>
                    <a:pt x="253251" y="3589677"/>
                  </a:lnTo>
                  <a:lnTo>
                    <a:pt x="257270" y="3593716"/>
                  </a:lnTo>
                  <a:lnTo>
                    <a:pt x="257270" y="3603586"/>
                  </a:lnTo>
                  <a:lnTo>
                    <a:pt x="253251" y="3607625"/>
                  </a:lnTo>
                  <a:lnTo>
                    <a:pt x="243341" y="3607625"/>
                  </a:lnTo>
                  <a:lnTo>
                    <a:pt x="239321" y="3603586"/>
                  </a:lnTo>
                  <a:lnTo>
                    <a:pt x="239321" y="3593716"/>
                  </a:lnTo>
                  <a:close/>
                  <a:moveTo>
                    <a:pt x="4027" y="3589677"/>
                  </a:moveTo>
                  <a:lnTo>
                    <a:pt x="13938" y="3589677"/>
                  </a:lnTo>
                  <a:lnTo>
                    <a:pt x="17957" y="3593716"/>
                  </a:lnTo>
                  <a:lnTo>
                    <a:pt x="17957" y="3603586"/>
                  </a:lnTo>
                  <a:lnTo>
                    <a:pt x="13938" y="3607625"/>
                  </a:lnTo>
                  <a:lnTo>
                    <a:pt x="4027" y="3607625"/>
                  </a:lnTo>
                  <a:lnTo>
                    <a:pt x="8" y="3603586"/>
                  </a:lnTo>
                  <a:lnTo>
                    <a:pt x="8" y="3593716"/>
                  </a:lnTo>
                  <a:close/>
                  <a:moveTo>
                    <a:pt x="9572438" y="3350398"/>
                  </a:moveTo>
                  <a:lnTo>
                    <a:pt x="9582349" y="3350398"/>
                  </a:lnTo>
                  <a:lnTo>
                    <a:pt x="9586368" y="3354436"/>
                  </a:lnTo>
                  <a:lnTo>
                    <a:pt x="9586368" y="3364306"/>
                  </a:lnTo>
                  <a:lnTo>
                    <a:pt x="9582349" y="3368345"/>
                  </a:lnTo>
                  <a:lnTo>
                    <a:pt x="9572438" y="3368345"/>
                  </a:lnTo>
                  <a:lnTo>
                    <a:pt x="9568419" y="3364306"/>
                  </a:lnTo>
                  <a:lnTo>
                    <a:pt x="9568419" y="3354436"/>
                  </a:lnTo>
                  <a:close/>
                  <a:moveTo>
                    <a:pt x="9333125" y="3350398"/>
                  </a:moveTo>
                  <a:lnTo>
                    <a:pt x="9343036" y="3350398"/>
                  </a:lnTo>
                  <a:lnTo>
                    <a:pt x="9347055" y="3354436"/>
                  </a:lnTo>
                  <a:lnTo>
                    <a:pt x="9347055" y="3364306"/>
                  </a:lnTo>
                  <a:lnTo>
                    <a:pt x="9343036" y="3368345"/>
                  </a:lnTo>
                  <a:lnTo>
                    <a:pt x="9333125" y="3368345"/>
                  </a:lnTo>
                  <a:lnTo>
                    <a:pt x="9329106" y="3364306"/>
                  </a:lnTo>
                  <a:lnTo>
                    <a:pt x="9329106" y="3354436"/>
                  </a:lnTo>
                  <a:close/>
                  <a:moveTo>
                    <a:pt x="9093811" y="3350398"/>
                  </a:moveTo>
                  <a:lnTo>
                    <a:pt x="9103722" y="3350398"/>
                  </a:lnTo>
                  <a:lnTo>
                    <a:pt x="9107741" y="3354436"/>
                  </a:lnTo>
                  <a:lnTo>
                    <a:pt x="9107741" y="3364306"/>
                  </a:lnTo>
                  <a:lnTo>
                    <a:pt x="9103722" y="3368345"/>
                  </a:lnTo>
                  <a:lnTo>
                    <a:pt x="9093811" y="3368345"/>
                  </a:lnTo>
                  <a:lnTo>
                    <a:pt x="9089792" y="3364306"/>
                  </a:lnTo>
                  <a:lnTo>
                    <a:pt x="9089792" y="3354436"/>
                  </a:lnTo>
                  <a:close/>
                  <a:moveTo>
                    <a:pt x="8854496" y="3350398"/>
                  </a:moveTo>
                  <a:lnTo>
                    <a:pt x="8864407" y="3350398"/>
                  </a:lnTo>
                  <a:lnTo>
                    <a:pt x="8868426" y="3354436"/>
                  </a:lnTo>
                  <a:lnTo>
                    <a:pt x="8868426" y="3364306"/>
                  </a:lnTo>
                  <a:lnTo>
                    <a:pt x="8864407" y="3368345"/>
                  </a:lnTo>
                  <a:lnTo>
                    <a:pt x="8854496" y="3368345"/>
                  </a:lnTo>
                  <a:lnTo>
                    <a:pt x="8850477" y="3364306"/>
                  </a:lnTo>
                  <a:lnTo>
                    <a:pt x="8850477" y="3354436"/>
                  </a:lnTo>
                  <a:close/>
                  <a:moveTo>
                    <a:pt x="8615184" y="3350398"/>
                  </a:moveTo>
                  <a:lnTo>
                    <a:pt x="8625095" y="3350398"/>
                  </a:lnTo>
                  <a:lnTo>
                    <a:pt x="8629114" y="3354436"/>
                  </a:lnTo>
                  <a:lnTo>
                    <a:pt x="8629114" y="3364306"/>
                  </a:lnTo>
                  <a:lnTo>
                    <a:pt x="8625095" y="3368345"/>
                  </a:lnTo>
                  <a:lnTo>
                    <a:pt x="8615184" y="3368345"/>
                  </a:lnTo>
                  <a:lnTo>
                    <a:pt x="8611165" y="3364306"/>
                  </a:lnTo>
                  <a:lnTo>
                    <a:pt x="8611165" y="3354436"/>
                  </a:lnTo>
                  <a:close/>
                  <a:moveTo>
                    <a:pt x="8375869" y="3350398"/>
                  </a:moveTo>
                  <a:lnTo>
                    <a:pt x="8385779" y="3350398"/>
                  </a:lnTo>
                  <a:lnTo>
                    <a:pt x="8389799" y="3354436"/>
                  </a:lnTo>
                  <a:lnTo>
                    <a:pt x="8389799" y="3364306"/>
                  </a:lnTo>
                  <a:lnTo>
                    <a:pt x="8385779" y="3368345"/>
                  </a:lnTo>
                  <a:lnTo>
                    <a:pt x="8375869" y="3368345"/>
                  </a:lnTo>
                  <a:lnTo>
                    <a:pt x="8371850" y="3364306"/>
                  </a:lnTo>
                  <a:lnTo>
                    <a:pt x="8371850" y="3354436"/>
                  </a:lnTo>
                  <a:close/>
                  <a:moveTo>
                    <a:pt x="8136553" y="3350398"/>
                  </a:moveTo>
                  <a:lnTo>
                    <a:pt x="8146464" y="3350398"/>
                  </a:lnTo>
                  <a:lnTo>
                    <a:pt x="8150483" y="3354436"/>
                  </a:lnTo>
                  <a:lnTo>
                    <a:pt x="8150483" y="3364306"/>
                  </a:lnTo>
                  <a:lnTo>
                    <a:pt x="8146464" y="3368345"/>
                  </a:lnTo>
                  <a:lnTo>
                    <a:pt x="8136553" y="3368345"/>
                  </a:lnTo>
                  <a:lnTo>
                    <a:pt x="8132534" y="3364306"/>
                  </a:lnTo>
                  <a:lnTo>
                    <a:pt x="8132534" y="3354436"/>
                  </a:lnTo>
                  <a:close/>
                  <a:moveTo>
                    <a:pt x="7897241" y="3350398"/>
                  </a:moveTo>
                  <a:lnTo>
                    <a:pt x="7907151" y="3350398"/>
                  </a:lnTo>
                  <a:lnTo>
                    <a:pt x="7911170" y="3354436"/>
                  </a:lnTo>
                  <a:lnTo>
                    <a:pt x="7911170" y="3364306"/>
                  </a:lnTo>
                  <a:lnTo>
                    <a:pt x="7907151" y="3368345"/>
                  </a:lnTo>
                  <a:lnTo>
                    <a:pt x="7897241" y="3368345"/>
                  </a:lnTo>
                  <a:lnTo>
                    <a:pt x="7893222" y="3364306"/>
                  </a:lnTo>
                  <a:lnTo>
                    <a:pt x="7893222" y="3354436"/>
                  </a:lnTo>
                  <a:close/>
                  <a:moveTo>
                    <a:pt x="7657926" y="3350398"/>
                  </a:moveTo>
                  <a:lnTo>
                    <a:pt x="7667836" y="3350398"/>
                  </a:lnTo>
                  <a:lnTo>
                    <a:pt x="7671855" y="3354436"/>
                  </a:lnTo>
                  <a:lnTo>
                    <a:pt x="7671855" y="3364306"/>
                  </a:lnTo>
                  <a:lnTo>
                    <a:pt x="7667836" y="3368345"/>
                  </a:lnTo>
                  <a:lnTo>
                    <a:pt x="7657926" y="3368345"/>
                  </a:lnTo>
                  <a:lnTo>
                    <a:pt x="7653906" y="3364306"/>
                  </a:lnTo>
                  <a:lnTo>
                    <a:pt x="7653906" y="3354436"/>
                  </a:lnTo>
                  <a:close/>
                  <a:moveTo>
                    <a:pt x="7418611" y="3350398"/>
                  </a:moveTo>
                  <a:lnTo>
                    <a:pt x="7428521" y="3350398"/>
                  </a:lnTo>
                  <a:lnTo>
                    <a:pt x="7432540" y="3354436"/>
                  </a:lnTo>
                  <a:lnTo>
                    <a:pt x="7432540" y="3364306"/>
                  </a:lnTo>
                  <a:lnTo>
                    <a:pt x="7428521" y="3368345"/>
                  </a:lnTo>
                  <a:lnTo>
                    <a:pt x="7418611" y="3368345"/>
                  </a:lnTo>
                  <a:lnTo>
                    <a:pt x="7414592" y="3364306"/>
                  </a:lnTo>
                  <a:lnTo>
                    <a:pt x="7414592" y="3354436"/>
                  </a:lnTo>
                  <a:close/>
                  <a:moveTo>
                    <a:pt x="7179298" y="3350398"/>
                  </a:moveTo>
                  <a:lnTo>
                    <a:pt x="7189209" y="3350398"/>
                  </a:lnTo>
                  <a:lnTo>
                    <a:pt x="7193228" y="3354436"/>
                  </a:lnTo>
                  <a:lnTo>
                    <a:pt x="7193228" y="3364306"/>
                  </a:lnTo>
                  <a:lnTo>
                    <a:pt x="7189209" y="3368345"/>
                  </a:lnTo>
                  <a:lnTo>
                    <a:pt x="7179298" y="3368345"/>
                  </a:lnTo>
                  <a:lnTo>
                    <a:pt x="7175279" y="3364306"/>
                  </a:lnTo>
                  <a:lnTo>
                    <a:pt x="7175279" y="3354436"/>
                  </a:lnTo>
                  <a:close/>
                  <a:moveTo>
                    <a:pt x="6939983" y="3350398"/>
                  </a:moveTo>
                  <a:lnTo>
                    <a:pt x="6949894" y="3350398"/>
                  </a:lnTo>
                  <a:lnTo>
                    <a:pt x="6953913" y="3354436"/>
                  </a:lnTo>
                  <a:lnTo>
                    <a:pt x="6953913" y="3364306"/>
                  </a:lnTo>
                  <a:lnTo>
                    <a:pt x="6949894" y="3368345"/>
                  </a:lnTo>
                  <a:lnTo>
                    <a:pt x="6939983" y="3368345"/>
                  </a:lnTo>
                  <a:lnTo>
                    <a:pt x="6935964" y="3364306"/>
                  </a:lnTo>
                  <a:lnTo>
                    <a:pt x="6935964" y="3354436"/>
                  </a:lnTo>
                  <a:close/>
                  <a:moveTo>
                    <a:pt x="6700670" y="3350398"/>
                  </a:moveTo>
                  <a:lnTo>
                    <a:pt x="6710581" y="3350398"/>
                  </a:lnTo>
                  <a:lnTo>
                    <a:pt x="6714600" y="3354436"/>
                  </a:lnTo>
                  <a:lnTo>
                    <a:pt x="6714600" y="3364306"/>
                  </a:lnTo>
                  <a:lnTo>
                    <a:pt x="6710581" y="3368345"/>
                  </a:lnTo>
                  <a:lnTo>
                    <a:pt x="6700670" y="3368345"/>
                  </a:lnTo>
                  <a:lnTo>
                    <a:pt x="6696651" y="3364306"/>
                  </a:lnTo>
                  <a:lnTo>
                    <a:pt x="6696651" y="3354436"/>
                  </a:lnTo>
                  <a:close/>
                  <a:moveTo>
                    <a:pt x="6461356" y="3350398"/>
                  </a:moveTo>
                  <a:lnTo>
                    <a:pt x="6471266" y="3350398"/>
                  </a:lnTo>
                  <a:lnTo>
                    <a:pt x="6475285" y="3354436"/>
                  </a:lnTo>
                  <a:lnTo>
                    <a:pt x="6475285" y="3364306"/>
                  </a:lnTo>
                  <a:lnTo>
                    <a:pt x="6471266" y="3368345"/>
                  </a:lnTo>
                  <a:lnTo>
                    <a:pt x="6461356" y="3368345"/>
                  </a:lnTo>
                  <a:lnTo>
                    <a:pt x="6457337" y="3364306"/>
                  </a:lnTo>
                  <a:lnTo>
                    <a:pt x="6457337" y="3354436"/>
                  </a:lnTo>
                  <a:close/>
                  <a:moveTo>
                    <a:pt x="6222042" y="3350398"/>
                  </a:moveTo>
                  <a:lnTo>
                    <a:pt x="6231952" y="3350398"/>
                  </a:lnTo>
                  <a:lnTo>
                    <a:pt x="6235971" y="3354436"/>
                  </a:lnTo>
                  <a:lnTo>
                    <a:pt x="6235971" y="3364306"/>
                  </a:lnTo>
                  <a:lnTo>
                    <a:pt x="6231952" y="3368345"/>
                  </a:lnTo>
                  <a:lnTo>
                    <a:pt x="6222042" y="3368345"/>
                  </a:lnTo>
                  <a:lnTo>
                    <a:pt x="6218023" y="3364306"/>
                  </a:lnTo>
                  <a:lnTo>
                    <a:pt x="6218023" y="3354436"/>
                  </a:lnTo>
                  <a:close/>
                  <a:moveTo>
                    <a:pt x="5982729" y="3350398"/>
                  </a:moveTo>
                  <a:lnTo>
                    <a:pt x="5992639" y="3350398"/>
                  </a:lnTo>
                  <a:lnTo>
                    <a:pt x="5996658" y="3354436"/>
                  </a:lnTo>
                  <a:lnTo>
                    <a:pt x="5996658" y="3364306"/>
                  </a:lnTo>
                  <a:lnTo>
                    <a:pt x="5992639" y="3368345"/>
                  </a:lnTo>
                  <a:lnTo>
                    <a:pt x="5982729" y="3368345"/>
                  </a:lnTo>
                  <a:lnTo>
                    <a:pt x="5978710" y="3364306"/>
                  </a:lnTo>
                  <a:lnTo>
                    <a:pt x="5978710" y="3354436"/>
                  </a:lnTo>
                  <a:close/>
                  <a:moveTo>
                    <a:pt x="5743412" y="3350398"/>
                  </a:moveTo>
                  <a:lnTo>
                    <a:pt x="5753323" y="3350398"/>
                  </a:lnTo>
                  <a:lnTo>
                    <a:pt x="5757342" y="3354436"/>
                  </a:lnTo>
                  <a:lnTo>
                    <a:pt x="5757342" y="3364306"/>
                  </a:lnTo>
                  <a:lnTo>
                    <a:pt x="5753323" y="3368345"/>
                  </a:lnTo>
                  <a:lnTo>
                    <a:pt x="5743412" y="3368345"/>
                  </a:lnTo>
                  <a:lnTo>
                    <a:pt x="5739393" y="3364306"/>
                  </a:lnTo>
                  <a:lnTo>
                    <a:pt x="5739393" y="3354436"/>
                  </a:lnTo>
                  <a:close/>
                  <a:moveTo>
                    <a:pt x="5504099" y="3350398"/>
                  </a:moveTo>
                  <a:lnTo>
                    <a:pt x="5514010" y="3350398"/>
                  </a:lnTo>
                  <a:lnTo>
                    <a:pt x="5518029" y="3354436"/>
                  </a:lnTo>
                  <a:lnTo>
                    <a:pt x="5518029" y="3364306"/>
                  </a:lnTo>
                  <a:lnTo>
                    <a:pt x="5514010" y="3368345"/>
                  </a:lnTo>
                  <a:lnTo>
                    <a:pt x="5504099" y="3368345"/>
                  </a:lnTo>
                  <a:lnTo>
                    <a:pt x="5500080" y="3364306"/>
                  </a:lnTo>
                  <a:lnTo>
                    <a:pt x="5500080" y="3354436"/>
                  </a:lnTo>
                  <a:close/>
                  <a:moveTo>
                    <a:pt x="5264784" y="3350398"/>
                  </a:moveTo>
                  <a:lnTo>
                    <a:pt x="5274694" y="3350398"/>
                  </a:lnTo>
                  <a:lnTo>
                    <a:pt x="5278713" y="3354436"/>
                  </a:lnTo>
                  <a:lnTo>
                    <a:pt x="5278713" y="3364306"/>
                  </a:lnTo>
                  <a:lnTo>
                    <a:pt x="5274694" y="3368345"/>
                  </a:lnTo>
                  <a:lnTo>
                    <a:pt x="5264784" y="3368345"/>
                  </a:lnTo>
                  <a:lnTo>
                    <a:pt x="5260765" y="3364306"/>
                  </a:lnTo>
                  <a:lnTo>
                    <a:pt x="5260765" y="3354436"/>
                  </a:lnTo>
                  <a:close/>
                  <a:moveTo>
                    <a:pt x="5025470" y="3350398"/>
                  </a:moveTo>
                  <a:lnTo>
                    <a:pt x="5035381" y="3350398"/>
                  </a:lnTo>
                  <a:lnTo>
                    <a:pt x="5039400" y="3354436"/>
                  </a:lnTo>
                  <a:lnTo>
                    <a:pt x="5039400" y="3364306"/>
                  </a:lnTo>
                  <a:lnTo>
                    <a:pt x="5035381" y="3368345"/>
                  </a:lnTo>
                  <a:lnTo>
                    <a:pt x="5025470" y="3368345"/>
                  </a:lnTo>
                  <a:lnTo>
                    <a:pt x="5021451" y="3364306"/>
                  </a:lnTo>
                  <a:lnTo>
                    <a:pt x="5021451" y="3354436"/>
                  </a:lnTo>
                  <a:close/>
                  <a:moveTo>
                    <a:pt x="4786241" y="3350398"/>
                  </a:moveTo>
                  <a:lnTo>
                    <a:pt x="4796152" y="3350398"/>
                  </a:lnTo>
                  <a:lnTo>
                    <a:pt x="4800171" y="3354436"/>
                  </a:lnTo>
                  <a:lnTo>
                    <a:pt x="4800171" y="3364306"/>
                  </a:lnTo>
                  <a:lnTo>
                    <a:pt x="4796152" y="3368345"/>
                  </a:lnTo>
                  <a:lnTo>
                    <a:pt x="4786241" y="3368345"/>
                  </a:lnTo>
                  <a:lnTo>
                    <a:pt x="4782224" y="3364306"/>
                  </a:lnTo>
                  <a:lnTo>
                    <a:pt x="4782224" y="3354436"/>
                  </a:lnTo>
                  <a:close/>
                  <a:moveTo>
                    <a:pt x="4546929" y="3350398"/>
                  </a:moveTo>
                  <a:lnTo>
                    <a:pt x="4556840" y="3350398"/>
                  </a:lnTo>
                  <a:lnTo>
                    <a:pt x="4560859" y="3354436"/>
                  </a:lnTo>
                  <a:lnTo>
                    <a:pt x="4560859" y="3364306"/>
                  </a:lnTo>
                  <a:lnTo>
                    <a:pt x="4556840" y="3368345"/>
                  </a:lnTo>
                  <a:lnTo>
                    <a:pt x="4546929" y="3368345"/>
                  </a:lnTo>
                  <a:lnTo>
                    <a:pt x="4542910" y="3364306"/>
                  </a:lnTo>
                  <a:lnTo>
                    <a:pt x="4542910" y="3354436"/>
                  </a:lnTo>
                  <a:close/>
                  <a:moveTo>
                    <a:pt x="4307612" y="3350398"/>
                  </a:moveTo>
                  <a:lnTo>
                    <a:pt x="4317523" y="3350398"/>
                  </a:lnTo>
                  <a:lnTo>
                    <a:pt x="4321543" y="3354436"/>
                  </a:lnTo>
                  <a:lnTo>
                    <a:pt x="4321543" y="3364306"/>
                  </a:lnTo>
                  <a:lnTo>
                    <a:pt x="4317523" y="3368345"/>
                  </a:lnTo>
                  <a:lnTo>
                    <a:pt x="4307612" y="3368345"/>
                  </a:lnTo>
                  <a:lnTo>
                    <a:pt x="4303595" y="3364306"/>
                  </a:lnTo>
                  <a:lnTo>
                    <a:pt x="4303595" y="3354436"/>
                  </a:lnTo>
                  <a:close/>
                  <a:moveTo>
                    <a:pt x="4068297" y="3350398"/>
                  </a:moveTo>
                  <a:lnTo>
                    <a:pt x="4078210" y="3350398"/>
                  </a:lnTo>
                  <a:lnTo>
                    <a:pt x="4082229" y="3354436"/>
                  </a:lnTo>
                  <a:lnTo>
                    <a:pt x="4082229" y="3364306"/>
                  </a:lnTo>
                  <a:lnTo>
                    <a:pt x="4078210" y="3368345"/>
                  </a:lnTo>
                  <a:lnTo>
                    <a:pt x="4068297" y="3368345"/>
                  </a:lnTo>
                  <a:lnTo>
                    <a:pt x="4064278" y="3364306"/>
                  </a:lnTo>
                  <a:lnTo>
                    <a:pt x="4064278" y="3354436"/>
                  </a:lnTo>
                  <a:close/>
                  <a:moveTo>
                    <a:pt x="3828990" y="3350398"/>
                  </a:moveTo>
                  <a:lnTo>
                    <a:pt x="3838899" y="3350398"/>
                  </a:lnTo>
                  <a:lnTo>
                    <a:pt x="3842917" y="3354436"/>
                  </a:lnTo>
                  <a:lnTo>
                    <a:pt x="3842917" y="3364306"/>
                  </a:lnTo>
                  <a:lnTo>
                    <a:pt x="3838899" y="3368345"/>
                  </a:lnTo>
                  <a:lnTo>
                    <a:pt x="3828990" y="3368345"/>
                  </a:lnTo>
                  <a:lnTo>
                    <a:pt x="3824971" y="3364306"/>
                  </a:lnTo>
                  <a:lnTo>
                    <a:pt x="3824971" y="3354436"/>
                  </a:lnTo>
                  <a:close/>
                  <a:moveTo>
                    <a:pt x="3589676" y="3350398"/>
                  </a:moveTo>
                  <a:lnTo>
                    <a:pt x="3599585" y="3350398"/>
                  </a:lnTo>
                  <a:lnTo>
                    <a:pt x="3603604" y="3354436"/>
                  </a:lnTo>
                  <a:lnTo>
                    <a:pt x="3603604" y="3364306"/>
                  </a:lnTo>
                  <a:lnTo>
                    <a:pt x="3599585" y="3368345"/>
                  </a:lnTo>
                  <a:lnTo>
                    <a:pt x="3589676" y="3368345"/>
                  </a:lnTo>
                  <a:lnTo>
                    <a:pt x="3585657" y="3364306"/>
                  </a:lnTo>
                  <a:lnTo>
                    <a:pt x="3585657" y="3354436"/>
                  </a:lnTo>
                  <a:close/>
                  <a:moveTo>
                    <a:pt x="3350359" y="3350398"/>
                  </a:moveTo>
                  <a:lnTo>
                    <a:pt x="3360268" y="3350398"/>
                  </a:lnTo>
                  <a:lnTo>
                    <a:pt x="3364287" y="3354436"/>
                  </a:lnTo>
                  <a:lnTo>
                    <a:pt x="3364287" y="3364306"/>
                  </a:lnTo>
                  <a:lnTo>
                    <a:pt x="3360268" y="3368345"/>
                  </a:lnTo>
                  <a:lnTo>
                    <a:pt x="3350359" y="3368345"/>
                  </a:lnTo>
                  <a:lnTo>
                    <a:pt x="3346340" y="3364306"/>
                  </a:lnTo>
                  <a:lnTo>
                    <a:pt x="3346340" y="3354436"/>
                  </a:lnTo>
                  <a:close/>
                  <a:moveTo>
                    <a:pt x="3111048" y="3350398"/>
                  </a:moveTo>
                  <a:lnTo>
                    <a:pt x="3120959" y="3350398"/>
                  </a:lnTo>
                  <a:lnTo>
                    <a:pt x="3124977" y="3354436"/>
                  </a:lnTo>
                  <a:lnTo>
                    <a:pt x="3124977" y="3364306"/>
                  </a:lnTo>
                  <a:lnTo>
                    <a:pt x="3120959" y="3368345"/>
                  </a:lnTo>
                  <a:lnTo>
                    <a:pt x="3111048" y="3368345"/>
                  </a:lnTo>
                  <a:lnTo>
                    <a:pt x="3107029" y="3364306"/>
                  </a:lnTo>
                  <a:lnTo>
                    <a:pt x="3107029" y="3354436"/>
                  </a:lnTo>
                  <a:close/>
                  <a:moveTo>
                    <a:pt x="2871737" y="3350398"/>
                  </a:moveTo>
                  <a:lnTo>
                    <a:pt x="2881646" y="3350398"/>
                  </a:lnTo>
                  <a:lnTo>
                    <a:pt x="2885666" y="3354436"/>
                  </a:lnTo>
                  <a:lnTo>
                    <a:pt x="2885666" y="3364306"/>
                  </a:lnTo>
                  <a:lnTo>
                    <a:pt x="2881646" y="3368345"/>
                  </a:lnTo>
                  <a:lnTo>
                    <a:pt x="2871737" y="3368345"/>
                  </a:lnTo>
                  <a:lnTo>
                    <a:pt x="2867717" y="3364306"/>
                  </a:lnTo>
                  <a:lnTo>
                    <a:pt x="2867717" y="3354436"/>
                  </a:lnTo>
                  <a:close/>
                  <a:moveTo>
                    <a:pt x="2632423" y="3350398"/>
                  </a:moveTo>
                  <a:lnTo>
                    <a:pt x="2642334" y="3350398"/>
                  </a:lnTo>
                  <a:lnTo>
                    <a:pt x="2646352" y="3354436"/>
                  </a:lnTo>
                  <a:lnTo>
                    <a:pt x="2646352" y="3364306"/>
                  </a:lnTo>
                  <a:lnTo>
                    <a:pt x="2642334" y="3368345"/>
                  </a:lnTo>
                  <a:lnTo>
                    <a:pt x="2632423" y="3368345"/>
                  </a:lnTo>
                  <a:lnTo>
                    <a:pt x="2628404" y="3364306"/>
                  </a:lnTo>
                  <a:lnTo>
                    <a:pt x="2628404" y="3354436"/>
                  </a:lnTo>
                  <a:close/>
                  <a:moveTo>
                    <a:pt x="2393104" y="3350398"/>
                  </a:moveTo>
                  <a:lnTo>
                    <a:pt x="2403015" y="3350398"/>
                  </a:lnTo>
                  <a:lnTo>
                    <a:pt x="2407034" y="3354436"/>
                  </a:lnTo>
                  <a:lnTo>
                    <a:pt x="2407034" y="3364306"/>
                  </a:lnTo>
                  <a:lnTo>
                    <a:pt x="2403015" y="3368345"/>
                  </a:lnTo>
                  <a:lnTo>
                    <a:pt x="2393104" y="3368345"/>
                  </a:lnTo>
                  <a:lnTo>
                    <a:pt x="2389087" y="3364306"/>
                  </a:lnTo>
                  <a:lnTo>
                    <a:pt x="2389087" y="3354436"/>
                  </a:lnTo>
                  <a:close/>
                  <a:moveTo>
                    <a:pt x="2157820" y="3350398"/>
                  </a:moveTo>
                  <a:lnTo>
                    <a:pt x="2167731" y="3350398"/>
                  </a:lnTo>
                  <a:lnTo>
                    <a:pt x="2171749" y="3354436"/>
                  </a:lnTo>
                  <a:lnTo>
                    <a:pt x="2171749" y="3364306"/>
                  </a:lnTo>
                  <a:lnTo>
                    <a:pt x="2167731" y="3368345"/>
                  </a:lnTo>
                  <a:lnTo>
                    <a:pt x="2157820" y="3368345"/>
                  </a:lnTo>
                  <a:lnTo>
                    <a:pt x="2153802" y="3364306"/>
                  </a:lnTo>
                  <a:lnTo>
                    <a:pt x="2153802" y="3354436"/>
                  </a:lnTo>
                  <a:close/>
                  <a:moveTo>
                    <a:pt x="1918511" y="3350398"/>
                  </a:moveTo>
                  <a:lnTo>
                    <a:pt x="1928422" y="3350398"/>
                  </a:lnTo>
                  <a:lnTo>
                    <a:pt x="1932441" y="3354436"/>
                  </a:lnTo>
                  <a:lnTo>
                    <a:pt x="1932441" y="3364306"/>
                  </a:lnTo>
                  <a:lnTo>
                    <a:pt x="1928422" y="3368345"/>
                  </a:lnTo>
                  <a:lnTo>
                    <a:pt x="1918511" y="3368345"/>
                  </a:lnTo>
                  <a:lnTo>
                    <a:pt x="1914493" y="3364306"/>
                  </a:lnTo>
                  <a:lnTo>
                    <a:pt x="1914493" y="3354436"/>
                  </a:lnTo>
                  <a:close/>
                  <a:moveTo>
                    <a:pt x="1679210" y="3350398"/>
                  </a:moveTo>
                  <a:lnTo>
                    <a:pt x="1689120" y="3350398"/>
                  </a:lnTo>
                  <a:lnTo>
                    <a:pt x="1693138" y="3354436"/>
                  </a:lnTo>
                  <a:lnTo>
                    <a:pt x="1693138" y="3364306"/>
                  </a:lnTo>
                  <a:lnTo>
                    <a:pt x="1689120" y="3368345"/>
                  </a:lnTo>
                  <a:lnTo>
                    <a:pt x="1679210" y="3368345"/>
                  </a:lnTo>
                  <a:lnTo>
                    <a:pt x="1675191" y="3364306"/>
                  </a:lnTo>
                  <a:lnTo>
                    <a:pt x="1675191" y="3354436"/>
                  </a:lnTo>
                  <a:close/>
                  <a:moveTo>
                    <a:pt x="1439893" y="3350398"/>
                  </a:moveTo>
                  <a:lnTo>
                    <a:pt x="1449803" y="3350398"/>
                  </a:lnTo>
                  <a:lnTo>
                    <a:pt x="1453823" y="3354436"/>
                  </a:lnTo>
                  <a:lnTo>
                    <a:pt x="1453823" y="3364306"/>
                  </a:lnTo>
                  <a:lnTo>
                    <a:pt x="1449803" y="3368345"/>
                  </a:lnTo>
                  <a:lnTo>
                    <a:pt x="1439893" y="3368345"/>
                  </a:lnTo>
                  <a:lnTo>
                    <a:pt x="1435875" y="3364306"/>
                  </a:lnTo>
                  <a:lnTo>
                    <a:pt x="1435875" y="3354436"/>
                  </a:lnTo>
                  <a:close/>
                  <a:moveTo>
                    <a:pt x="1200578" y="3350398"/>
                  </a:moveTo>
                  <a:lnTo>
                    <a:pt x="1210488" y="3350398"/>
                  </a:lnTo>
                  <a:lnTo>
                    <a:pt x="1214507" y="3354436"/>
                  </a:lnTo>
                  <a:lnTo>
                    <a:pt x="1214507" y="3364306"/>
                  </a:lnTo>
                  <a:lnTo>
                    <a:pt x="1210488" y="3368345"/>
                  </a:lnTo>
                  <a:lnTo>
                    <a:pt x="1200578" y="3368345"/>
                  </a:lnTo>
                  <a:lnTo>
                    <a:pt x="1196559" y="3364306"/>
                  </a:lnTo>
                  <a:lnTo>
                    <a:pt x="1196559" y="3354436"/>
                  </a:lnTo>
                  <a:close/>
                  <a:moveTo>
                    <a:pt x="961265" y="3350398"/>
                  </a:moveTo>
                  <a:lnTo>
                    <a:pt x="971176" y="3350398"/>
                  </a:lnTo>
                  <a:lnTo>
                    <a:pt x="975194" y="3354436"/>
                  </a:lnTo>
                  <a:lnTo>
                    <a:pt x="975194" y="3364306"/>
                  </a:lnTo>
                  <a:lnTo>
                    <a:pt x="971176" y="3368345"/>
                  </a:lnTo>
                  <a:lnTo>
                    <a:pt x="961265" y="3368345"/>
                  </a:lnTo>
                  <a:lnTo>
                    <a:pt x="957246" y="3364306"/>
                  </a:lnTo>
                  <a:lnTo>
                    <a:pt x="957246" y="3354436"/>
                  </a:lnTo>
                  <a:close/>
                  <a:moveTo>
                    <a:pt x="721967" y="3350398"/>
                  </a:moveTo>
                  <a:lnTo>
                    <a:pt x="731877" y="3350398"/>
                  </a:lnTo>
                  <a:lnTo>
                    <a:pt x="735896" y="3354436"/>
                  </a:lnTo>
                  <a:lnTo>
                    <a:pt x="735896" y="3364306"/>
                  </a:lnTo>
                  <a:lnTo>
                    <a:pt x="731877" y="3368345"/>
                  </a:lnTo>
                  <a:lnTo>
                    <a:pt x="721967" y="3368345"/>
                  </a:lnTo>
                  <a:lnTo>
                    <a:pt x="717949" y="3364306"/>
                  </a:lnTo>
                  <a:lnTo>
                    <a:pt x="717949" y="3354436"/>
                  </a:lnTo>
                  <a:close/>
                  <a:moveTo>
                    <a:pt x="482655" y="3350398"/>
                  </a:moveTo>
                  <a:lnTo>
                    <a:pt x="492565" y="3350398"/>
                  </a:lnTo>
                  <a:lnTo>
                    <a:pt x="496584" y="3354436"/>
                  </a:lnTo>
                  <a:lnTo>
                    <a:pt x="496584" y="3364306"/>
                  </a:lnTo>
                  <a:lnTo>
                    <a:pt x="492565" y="3368345"/>
                  </a:lnTo>
                  <a:lnTo>
                    <a:pt x="482655" y="3368345"/>
                  </a:lnTo>
                  <a:lnTo>
                    <a:pt x="478636" y="3364306"/>
                  </a:lnTo>
                  <a:lnTo>
                    <a:pt x="478636" y="3354436"/>
                  </a:lnTo>
                  <a:close/>
                  <a:moveTo>
                    <a:pt x="243341" y="3350398"/>
                  </a:moveTo>
                  <a:lnTo>
                    <a:pt x="253252" y="3350398"/>
                  </a:lnTo>
                  <a:lnTo>
                    <a:pt x="257271" y="3354436"/>
                  </a:lnTo>
                  <a:lnTo>
                    <a:pt x="257271" y="3364306"/>
                  </a:lnTo>
                  <a:lnTo>
                    <a:pt x="253252" y="3368345"/>
                  </a:lnTo>
                  <a:lnTo>
                    <a:pt x="243341" y="3368345"/>
                  </a:lnTo>
                  <a:lnTo>
                    <a:pt x="239322" y="3364306"/>
                  </a:lnTo>
                  <a:lnTo>
                    <a:pt x="239322" y="3354436"/>
                  </a:lnTo>
                  <a:close/>
                  <a:moveTo>
                    <a:pt x="4029" y="3350398"/>
                  </a:moveTo>
                  <a:lnTo>
                    <a:pt x="13938" y="3350398"/>
                  </a:lnTo>
                  <a:lnTo>
                    <a:pt x="17957" y="3354436"/>
                  </a:lnTo>
                  <a:lnTo>
                    <a:pt x="17957" y="3364306"/>
                  </a:lnTo>
                  <a:lnTo>
                    <a:pt x="13938" y="3368345"/>
                  </a:lnTo>
                  <a:lnTo>
                    <a:pt x="4029" y="3368345"/>
                  </a:lnTo>
                  <a:lnTo>
                    <a:pt x="9" y="3364306"/>
                  </a:lnTo>
                  <a:lnTo>
                    <a:pt x="9" y="3354436"/>
                  </a:lnTo>
                  <a:close/>
                  <a:moveTo>
                    <a:pt x="2157820" y="3111118"/>
                  </a:moveTo>
                  <a:lnTo>
                    <a:pt x="2167731" y="3111118"/>
                  </a:lnTo>
                  <a:lnTo>
                    <a:pt x="2171750" y="3115157"/>
                  </a:lnTo>
                  <a:lnTo>
                    <a:pt x="2171750" y="3125027"/>
                  </a:lnTo>
                  <a:lnTo>
                    <a:pt x="2167731" y="3129066"/>
                  </a:lnTo>
                  <a:lnTo>
                    <a:pt x="2157820" y="3129066"/>
                  </a:lnTo>
                  <a:lnTo>
                    <a:pt x="2153802" y="3125027"/>
                  </a:lnTo>
                  <a:lnTo>
                    <a:pt x="2153802" y="3115157"/>
                  </a:lnTo>
                  <a:close/>
                  <a:moveTo>
                    <a:pt x="1918513" y="3111118"/>
                  </a:moveTo>
                  <a:lnTo>
                    <a:pt x="1928422" y="3111118"/>
                  </a:lnTo>
                  <a:lnTo>
                    <a:pt x="1932441" y="3115157"/>
                  </a:lnTo>
                  <a:lnTo>
                    <a:pt x="1932441" y="3125027"/>
                  </a:lnTo>
                  <a:lnTo>
                    <a:pt x="1928422" y="3129066"/>
                  </a:lnTo>
                  <a:lnTo>
                    <a:pt x="1918513" y="3129066"/>
                  </a:lnTo>
                  <a:lnTo>
                    <a:pt x="1914493" y="3125027"/>
                  </a:lnTo>
                  <a:lnTo>
                    <a:pt x="1914493" y="3115157"/>
                  </a:lnTo>
                  <a:close/>
                  <a:moveTo>
                    <a:pt x="1679211" y="3111118"/>
                  </a:moveTo>
                  <a:lnTo>
                    <a:pt x="1689121" y="3111118"/>
                  </a:lnTo>
                  <a:lnTo>
                    <a:pt x="1693139" y="3115157"/>
                  </a:lnTo>
                  <a:lnTo>
                    <a:pt x="1693139" y="3125027"/>
                  </a:lnTo>
                  <a:lnTo>
                    <a:pt x="1689121" y="3129066"/>
                  </a:lnTo>
                  <a:lnTo>
                    <a:pt x="1679211" y="3129066"/>
                  </a:lnTo>
                  <a:lnTo>
                    <a:pt x="1675191" y="3125027"/>
                  </a:lnTo>
                  <a:lnTo>
                    <a:pt x="1675191" y="3115157"/>
                  </a:lnTo>
                  <a:close/>
                  <a:moveTo>
                    <a:pt x="1439895" y="3111118"/>
                  </a:moveTo>
                  <a:lnTo>
                    <a:pt x="1449805" y="3111118"/>
                  </a:lnTo>
                  <a:lnTo>
                    <a:pt x="1453823" y="3115157"/>
                  </a:lnTo>
                  <a:lnTo>
                    <a:pt x="1453823" y="3125027"/>
                  </a:lnTo>
                  <a:lnTo>
                    <a:pt x="1449805" y="3129066"/>
                  </a:lnTo>
                  <a:lnTo>
                    <a:pt x="1439895" y="3129066"/>
                  </a:lnTo>
                  <a:lnTo>
                    <a:pt x="1435875" y="3125027"/>
                  </a:lnTo>
                  <a:lnTo>
                    <a:pt x="1435875" y="3115157"/>
                  </a:lnTo>
                  <a:close/>
                  <a:moveTo>
                    <a:pt x="1200578" y="3111118"/>
                  </a:moveTo>
                  <a:lnTo>
                    <a:pt x="1210489" y="3111118"/>
                  </a:lnTo>
                  <a:lnTo>
                    <a:pt x="1214507" y="3115157"/>
                  </a:lnTo>
                  <a:lnTo>
                    <a:pt x="1214507" y="3125027"/>
                  </a:lnTo>
                  <a:lnTo>
                    <a:pt x="1210489" y="3129066"/>
                  </a:lnTo>
                  <a:lnTo>
                    <a:pt x="1200578" y="3129066"/>
                  </a:lnTo>
                  <a:lnTo>
                    <a:pt x="1196560" y="3125027"/>
                  </a:lnTo>
                  <a:lnTo>
                    <a:pt x="1196560" y="3115157"/>
                  </a:lnTo>
                  <a:close/>
                  <a:moveTo>
                    <a:pt x="961266" y="3111118"/>
                  </a:moveTo>
                  <a:lnTo>
                    <a:pt x="971176" y="3111118"/>
                  </a:lnTo>
                  <a:lnTo>
                    <a:pt x="975195" y="3115157"/>
                  </a:lnTo>
                  <a:lnTo>
                    <a:pt x="975195" y="3125027"/>
                  </a:lnTo>
                  <a:lnTo>
                    <a:pt x="971176" y="3129066"/>
                  </a:lnTo>
                  <a:lnTo>
                    <a:pt x="961266" y="3129066"/>
                  </a:lnTo>
                  <a:lnTo>
                    <a:pt x="957247" y="3125027"/>
                  </a:lnTo>
                  <a:lnTo>
                    <a:pt x="957247" y="3115157"/>
                  </a:lnTo>
                  <a:close/>
                  <a:moveTo>
                    <a:pt x="9572438" y="3111067"/>
                  </a:moveTo>
                  <a:lnTo>
                    <a:pt x="9582349" y="3111067"/>
                  </a:lnTo>
                  <a:lnTo>
                    <a:pt x="9586368" y="3115105"/>
                  </a:lnTo>
                  <a:lnTo>
                    <a:pt x="9586368" y="3124976"/>
                  </a:lnTo>
                  <a:lnTo>
                    <a:pt x="9582349" y="3129015"/>
                  </a:lnTo>
                  <a:lnTo>
                    <a:pt x="9572438" y="3129015"/>
                  </a:lnTo>
                  <a:lnTo>
                    <a:pt x="9568419" y="3124976"/>
                  </a:lnTo>
                  <a:lnTo>
                    <a:pt x="9568419" y="3115105"/>
                  </a:lnTo>
                  <a:close/>
                  <a:moveTo>
                    <a:pt x="9333125" y="3111067"/>
                  </a:moveTo>
                  <a:lnTo>
                    <a:pt x="9343036" y="3111067"/>
                  </a:lnTo>
                  <a:lnTo>
                    <a:pt x="9347055" y="3115105"/>
                  </a:lnTo>
                  <a:lnTo>
                    <a:pt x="9347055" y="3124976"/>
                  </a:lnTo>
                  <a:lnTo>
                    <a:pt x="9343036" y="3129015"/>
                  </a:lnTo>
                  <a:lnTo>
                    <a:pt x="9333125" y="3129015"/>
                  </a:lnTo>
                  <a:lnTo>
                    <a:pt x="9329106" y="3124976"/>
                  </a:lnTo>
                  <a:lnTo>
                    <a:pt x="9329106" y="3115105"/>
                  </a:lnTo>
                  <a:close/>
                  <a:moveTo>
                    <a:pt x="9093811" y="3111067"/>
                  </a:moveTo>
                  <a:lnTo>
                    <a:pt x="9103722" y="3111067"/>
                  </a:lnTo>
                  <a:lnTo>
                    <a:pt x="9107741" y="3115105"/>
                  </a:lnTo>
                  <a:lnTo>
                    <a:pt x="9107741" y="3124976"/>
                  </a:lnTo>
                  <a:lnTo>
                    <a:pt x="9103722" y="3129015"/>
                  </a:lnTo>
                  <a:lnTo>
                    <a:pt x="9093811" y="3129015"/>
                  </a:lnTo>
                  <a:lnTo>
                    <a:pt x="9089792" y="3124976"/>
                  </a:lnTo>
                  <a:lnTo>
                    <a:pt x="9089792" y="3115105"/>
                  </a:lnTo>
                  <a:close/>
                  <a:moveTo>
                    <a:pt x="8854496" y="3111067"/>
                  </a:moveTo>
                  <a:lnTo>
                    <a:pt x="8864407" y="3111067"/>
                  </a:lnTo>
                  <a:lnTo>
                    <a:pt x="8868426" y="3115105"/>
                  </a:lnTo>
                  <a:lnTo>
                    <a:pt x="8868426" y="3124976"/>
                  </a:lnTo>
                  <a:lnTo>
                    <a:pt x="8864407" y="3129015"/>
                  </a:lnTo>
                  <a:lnTo>
                    <a:pt x="8854496" y="3129015"/>
                  </a:lnTo>
                  <a:lnTo>
                    <a:pt x="8850477" y="3124976"/>
                  </a:lnTo>
                  <a:lnTo>
                    <a:pt x="8850477" y="3115105"/>
                  </a:lnTo>
                  <a:close/>
                  <a:moveTo>
                    <a:pt x="8615184" y="3111067"/>
                  </a:moveTo>
                  <a:lnTo>
                    <a:pt x="8625095" y="3111067"/>
                  </a:lnTo>
                  <a:lnTo>
                    <a:pt x="8629114" y="3115105"/>
                  </a:lnTo>
                  <a:lnTo>
                    <a:pt x="8629114" y="3124976"/>
                  </a:lnTo>
                  <a:lnTo>
                    <a:pt x="8625095" y="3129015"/>
                  </a:lnTo>
                  <a:lnTo>
                    <a:pt x="8615184" y="3129015"/>
                  </a:lnTo>
                  <a:lnTo>
                    <a:pt x="8611165" y="3124976"/>
                  </a:lnTo>
                  <a:lnTo>
                    <a:pt x="8611165" y="3115105"/>
                  </a:lnTo>
                  <a:close/>
                  <a:moveTo>
                    <a:pt x="8375869" y="3111067"/>
                  </a:moveTo>
                  <a:lnTo>
                    <a:pt x="8385779" y="3111067"/>
                  </a:lnTo>
                  <a:lnTo>
                    <a:pt x="8389799" y="3115105"/>
                  </a:lnTo>
                  <a:lnTo>
                    <a:pt x="8389799" y="3124976"/>
                  </a:lnTo>
                  <a:lnTo>
                    <a:pt x="8385779" y="3129015"/>
                  </a:lnTo>
                  <a:lnTo>
                    <a:pt x="8375869" y="3129015"/>
                  </a:lnTo>
                  <a:lnTo>
                    <a:pt x="8371850" y="3124976"/>
                  </a:lnTo>
                  <a:lnTo>
                    <a:pt x="8371850" y="3115105"/>
                  </a:lnTo>
                  <a:close/>
                  <a:moveTo>
                    <a:pt x="8136553" y="3111067"/>
                  </a:moveTo>
                  <a:lnTo>
                    <a:pt x="8146464" y="3111067"/>
                  </a:lnTo>
                  <a:lnTo>
                    <a:pt x="8150483" y="3115105"/>
                  </a:lnTo>
                  <a:lnTo>
                    <a:pt x="8150483" y="3124976"/>
                  </a:lnTo>
                  <a:lnTo>
                    <a:pt x="8146464" y="3129015"/>
                  </a:lnTo>
                  <a:lnTo>
                    <a:pt x="8136553" y="3129015"/>
                  </a:lnTo>
                  <a:lnTo>
                    <a:pt x="8132534" y="3124976"/>
                  </a:lnTo>
                  <a:lnTo>
                    <a:pt x="8132534" y="3115105"/>
                  </a:lnTo>
                  <a:close/>
                  <a:moveTo>
                    <a:pt x="7897241" y="3111067"/>
                  </a:moveTo>
                  <a:lnTo>
                    <a:pt x="7907151" y="3111067"/>
                  </a:lnTo>
                  <a:lnTo>
                    <a:pt x="7911170" y="3115105"/>
                  </a:lnTo>
                  <a:lnTo>
                    <a:pt x="7911170" y="3124976"/>
                  </a:lnTo>
                  <a:lnTo>
                    <a:pt x="7907151" y="3129015"/>
                  </a:lnTo>
                  <a:lnTo>
                    <a:pt x="7897241" y="3129015"/>
                  </a:lnTo>
                  <a:lnTo>
                    <a:pt x="7893222" y="3124976"/>
                  </a:lnTo>
                  <a:lnTo>
                    <a:pt x="7893222" y="3115105"/>
                  </a:lnTo>
                  <a:close/>
                  <a:moveTo>
                    <a:pt x="7657926" y="3111067"/>
                  </a:moveTo>
                  <a:lnTo>
                    <a:pt x="7667836" y="3111067"/>
                  </a:lnTo>
                  <a:lnTo>
                    <a:pt x="7671855" y="3115105"/>
                  </a:lnTo>
                  <a:lnTo>
                    <a:pt x="7671855" y="3124976"/>
                  </a:lnTo>
                  <a:lnTo>
                    <a:pt x="7667836" y="3129015"/>
                  </a:lnTo>
                  <a:lnTo>
                    <a:pt x="7657926" y="3129015"/>
                  </a:lnTo>
                  <a:lnTo>
                    <a:pt x="7653906" y="3124976"/>
                  </a:lnTo>
                  <a:lnTo>
                    <a:pt x="7653906" y="3115105"/>
                  </a:lnTo>
                  <a:close/>
                  <a:moveTo>
                    <a:pt x="7418611" y="3111067"/>
                  </a:moveTo>
                  <a:lnTo>
                    <a:pt x="7428521" y="3111067"/>
                  </a:lnTo>
                  <a:lnTo>
                    <a:pt x="7432540" y="3115105"/>
                  </a:lnTo>
                  <a:lnTo>
                    <a:pt x="7432540" y="3124976"/>
                  </a:lnTo>
                  <a:lnTo>
                    <a:pt x="7428521" y="3129015"/>
                  </a:lnTo>
                  <a:lnTo>
                    <a:pt x="7418611" y="3129015"/>
                  </a:lnTo>
                  <a:lnTo>
                    <a:pt x="7414592" y="3124976"/>
                  </a:lnTo>
                  <a:lnTo>
                    <a:pt x="7414592" y="3115105"/>
                  </a:lnTo>
                  <a:close/>
                  <a:moveTo>
                    <a:pt x="7179298" y="3111067"/>
                  </a:moveTo>
                  <a:lnTo>
                    <a:pt x="7189209" y="3111067"/>
                  </a:lnTo>
                  <a:lnTo>
                    <a:pt x="7193228" y="3115105"/>
                  </a:lnTo>
                  <a:lnTo>
                    <a:pt x="7193228" y="3124976"/>
                  </a:lnTo>
                  <a:lnTo>
                    <a:pt x="7189209" y="3129015"/>
                  </a:lnTo>
                  <a:lnTo>
                    <a:pt x="7179298" y="3129015"/>
                  </a:lnTo>
                  <a:lnTo>
                    <a:pt x="7175279" y="3124976"/>
                  </a:lnTo>
                  <a:lnTo>
                    <a:pt x="7175279" y="3115105"/>
                  </a:lnTo>
                  <a:close/>
                  <a:moveTo>
                    <a:pt x="6939983" y="3111067"/>
                  </a:moveTo>
                  <a:lnTo>
                    <a:pt x="6949894" y="3111067"/>
                  </a:lnTo>
                  <a:lnTo>
                    <a:pt x="6953913" y="3115105"/>
                  </a:lnTo>
                  <a:lnTo>
                    <a:pt x="6953913" y="3124976"/>
                  </a:lnTo>
                  <a:lnTo>
                    <a:pt x="6949894" y="3129015"/>
                  </a:lnTo>
                  <a:lnTo>
                    <a:pt x="6939983" y="3129015"/>
                  </a:lnTo>
                  <a:lnTo>
                    <a:pt x="6935964" y="3124976"/>
                  </a:lnTo>
                  <a:lnTo>
                    <a:pt x="6935964" y="3115105"/>
                  </a:lnTo>
                  <a:close/>
                  <a:moveTo>
                    <a:pt x="6700670" y="3111067"/>
                  </a:moveTo>
                  <a:lnTo>
                    <a:pt x="6710581" y="3111067"/>
                  </a:lnTo>
                  <a:lnTo>
                    <a:pt x="6714600" y="3115105"/>
                  </a:lnTo>
                  <a:lnTo>
                    <a:pt x="6714600" y="3124976"/>
                  </a:lnTo>
                  <a:lnTo>
                    <a:pt x="6710581" y="3129015"/>
                  </a:lnTo>
                  <a:lnTo>
                    <a:pt x="6700670" y="3129015"/>
                  </a:lnTo>
                  <a:lnTo>
                    <a:pt x="6696651" y="3124976"/>
                  </a:lnTo>
                  <a:lnTo>
                    <a:pt x="6696651" y="3115105"/>
                  </a:lnTo>
                  <a:close/>
                  <a:moveTo>
                    <a:pt x="6461356" y="3111067"/>
                  </a:moveTo>
                  <a:lnTo>
                    <a:pt x="6471266" y="3111067"/>
                  </a:lnTo>
                  <a:lnTo>
                    <a:pt x="6475285" y="3115105"/>
                  </a:lnTo>
                  <a:lnTo>
                    <a:pt x="6475285" y="3124976"/>
                  </a:lnTo>
                  <a:lnTo>
                    <a:pt x="6471266" y="3129015"/>
                  </a:lnTo>
                  <a:lnTo>
                    <a:pt x="6461356" y="3129015"/>
                  </a:lnTo>
                  <a:lnTo>
                    <a:pt x="6457337" y="3124976"/>
                  </a:lnTo>
                  <a:lnTo>
                    <a:pt x="6457337" y="3115105"/>
                  </a:lnTo>
                  <a:close/>
                  <a:moveTo>
                    <a:pt x="6222042" y="3111067"/>
                  </a:moveTo>
                  <a:lnTo>
                    <a:pt x="6231952" y="3111067"/>
                  </a:lnTo>
                  <a:lnTo>
                    <a:pt x="6235971" y="3115105"/>
                  </a:lnTo>
                  <a:lnTo>
                    <a:pt x="6235971" y="3124976"/>
                  </a:lnTo>
                  <a:lnTo>
                    <a:pt x="6231952" y="3129015"/>
                  </a:lnTo>
                  <a:lnTo>
                    <a:pt x="6222042" y="3129015"/>
                  </a:lnTo>
                  <a:lnTo>
                    <a:pt x="6218023" y="3124976"/>
                  </a:lnTo>
                  <a:lnTo>
                    <a:pt x="6218023" y="3115105"/>
                  </a:lnTo>
                  <a:close/>
                  <a:moveTo>
                    <a:pt x="5982729" y="3111067"/>
                  </a:moveTo>
                  <a:lnTo>
                    <a:pt x="5992639" y="3111067"/>
                  </a:lnTo>
                  <a:lnTo>
                    <a:pt x="5996658" y="3115105"/>
                  </a:lnTo>
                  <a:lnTo>
                    <a:pt x="5996658" y="3124976"/>
                  </a:lnTo>
                  <a:lnTo>
                    <a:pt x="5992639" y="3129015"/>
                  </a:lnTo>
                  <a:lnTo>
                    <a:pt x="5982729" y="3129015"/>
                  </a:lnTo>
                  <a:lnTo>
                    <a:pt x="5978710" y="3124976"/>
                  </a:lnTo>
                  <a:lnTo>
                    <a:pt x="5978710" y="3115105"/>
                  </a:lnTo>
                  <a:close/>
                  <a:moveTo>
                    <a:pt x="5743412" y="3111067"/>
                  </a:moveTo>
                  <a:lnTo>
                    <a:pt x="5753323" y="3111067"/>
                  </a:lnTo>
                  <a:lnTo>
                    <a:pt x="5757342" y="3115105"/>
                  </a:lnTo>
                  <a:lnTo>
                    <a:pt x="5757342" y="3124976"/>
                  </a:lnTo>
                  <a:lnTo>
                    <a:pt x="5753323" y="3129015"/>
                  </a:lnTo>
                  <a:lnTo>
                    <a:pt x="5743412" y="3129015"/>
                  </a:lnTo>
                  <a:lnTo>
                    <a:pt x="5739393" y="3124976"/>
                  </a:lnTo>
                  <a:lnTo>
                    <a:pt x="5739393" y="3115105"/>
                  </a:lnTo>
                  <a:close/>
                  <a:moveTo>
                    <a:pt x="5504099" y="3111067"/>
                  </a:moveTo>
                  <a:lnTo>
                    <a:pt x="5514010" y="3111067"/>
                  </a:lnTo>
                  <a:lnTo>
                    <a:pt x="5518029" y="3115105"/>
                  </a:lnTo>
                  <a:lnTo>
                    <a:pt x="5518029" y="3124976"/>
                  </a:lnTo>
                  <a:lnTo>
                    <a:pt x="5514010" y="3129015"/>
                  </a:lnTo>
                  <a:lnTo>
                    <a:pt x="5504099" y="3129015"/>
                  </a:lnTo>
                  <a:lnTo>
                    <a:pt x="5500080" y="3124976"/>
                  </a:lnTo>
                  <a:lnTo>
                    <a:pt x="5500080" y="3115105"/>
                  </a:lnTo>
                  <a:close/>
                  <a:moveTo>
                    <a:pt x="5264784" y="3111067"/>
                  </a:moveTo>
                  <a:lnTo>
                    <a:pt x="5274694" y="3111067"/>
                  </a:lnTo>
                  <a:lnTo>
                    <a:pt x="5278713" y="3115105"/>
                  </a:lnTo>
                  <a:lnTo>
                    <a:pt x="5278713" y="3124976"/>
                  </a:lnTo>
                  <a:lnTo>
                    <a:pt x="5274694" y="3129015"/>
                  </a:lnTo>
                  <a:lnTo>
                    <a:pt x="5264784" y="3129015"/>
                  </a:lnTo>
                  <a:lnTo>
                    <a:pt x="5260765" y="3124976"/>
                  </a:lnTo>
                  <a:lnTo>
                    <a:pt x="5260765" y="3115105"/>
                  </a:lnTo>
                  <a:close/>
                  <a:moveTo>
                    <a:pt x="5025470" y="3111067"/>
                  </a:moveTo>
                  <a:lnTo>
                    <a:pt x="5035381" y="3111067"/>
                  </a:lnTo>
                  <a:lnTo>
                    <a:pt x="5039400" y="3115105"/>
                  </a:lnTo>
                  <a:lnTo>
                    <a:pt x="5039400" y="3124976"/>
                  </a:lnTo>
                  <a:lnTo>
                    <a:pt x="5035381" y="3129015"/>
                  </a:lnTo>
                  <a:lnTo>
                    <a:pt x="5025470" y="3129015"/>
                  </a:lnTo>
                  <a:lnTo>
                    <a:pt x="5021451" y="3124976"/>
                  </a:lnTo>
                  <a:lnTo>
                    <a:pt x="5021451" y="3115105"/>
                  </a:lnTo>
                  <a:close/>
                  <a:moveTo>
                    <a:pt x="4786241" y="3111067"/>
                  </a:moveTo>
                  <a:lnTo>
                    <a:pt x="4796152" y="3111067"/>
                  </a:lnTo>
                  <a:lnTo>
                    <a:pt x="4800171" y="3115105"/>
                  </a:lnTo>
                  <a:lnTo>
                    <a:pt x="4800171" y="3124976"/>
                  </a:lnTo>
                  <a:lnTo>
                    <a:pt x="4796152" y="3129015"/>
                  </a:lnTo>
                  <a:lnTo>
                    <a:pt x="4786241" y="3129015"/>
                  </a:lnTo>
                  <a:lnTo>
                    <a:pt x="4782224" y="3124976"/>
                  </a:lnTo>
                  <a:lnTo>
                    <a:pt x="4782224" y="3115105"/>
                  </a:lnTo>
                  <a:close/>
                  <a:moveTo>
                    <a:pt x="4546929" y="3111067"/>
                  </a:moveTo>
                  <a:lnTo>
                    <a:pt x="4556840" y="3111067"/>
                  </a:lnTo>
                  <a:lnTo>
                    <a:pt x="4560859" y="3115105"/>
                  </a:lnTo>
                  <a:lnTo>
                    <a:pt x="4560859" y="3124976"/>
                  </a:lnTo>
                  <a:lnTo>
                    <a:pt x="4556840" y="3129015"/>
                  </a:lnTo>
                  <a:lnTo>
                    <a:pt x="4546929" y="3129015"/>
                  </a:lnTo>
                  <a:lnTo>
                    <a:pt x="4542910" y="3124976"/>
                  </a:lnTo>
                  <a:lnTo>
                    <a:pt x="4542910" y="3115105"/>
                  </a:lnTo>
                  <a:close/>
                  <a:moveTo>
                    <a:pt x="4307612" y="3111067"/>
                  </a:moveTo>
                  <a:lnTo>
                    <a:pt x="4317523" y="3111067"/>
                  </a:lnTo>
                  <a:lnTo>
                    <a:pt x="4321543" y="3115105"/>
                  </a:lnTo>
                  <a:lnTo>
                    <a:pt x="4321543" y="3124976"/>
                  </a:lnTo>
                  <a:lnTo>
                    <a:pt x="4317523" y="3129015"/>
                  </a:lnTo>
                  <a:lnTo>
                    <a:pt x="4307612" y="3129015"/>
                  </a:lnTo>
                  <a:lnTo>
                    <a:pt x="4303595" y="3124976"/>
                  </a:lnTo>
                  <a:lnTo>
                    <a:pt x="4303595" y="3115105"/>
                  </a:lnTo>
                  <a:close/>
                  <a:moveTo>
                    <a:pt x="4068297" y="3111067"/>
                  </a:moveTo>
                  <a:lnTo>
                    <a:pt x="4078210" y="3111067"/>
                  </a:lnTo>
                  <a:lnTo>
                    <a:pt x="4082229" y="3115105"/>
                  </a:lnTo>
                  <a:lnTo>
                    <a:pt x="4082229" y="3124976"/>
                  </a:lnTo>
                  <a:lnTo>
                    <a:pt x="4078210" y="3129015"/>
                  </a:lnTo>
                  <a:lnTo>
                    <a:pt x="4068297" y="3129015"/>
                  </a:lnTo>
                  <a:lnTo>
                    <a:pt x="4064278" y="3124976"/>
                  </a:lnTo>
                  <a:lnTo>
                    <a:pt x="4064278" y="3115105"/>
                  </a:lnTo>
                  <a:close/>
                  <a:moveTo>
                    <a:pt x="3828990" y="3111067"/>
                  </a:moveTo>
                  <a:lnTo>
                    <a:pt x="3838899" y="3111067"/>
                  </a:lnTo>
                  <a:lnTo>
                    <a:pt x="3842917" y="3115105"/>
                  </a:lnTo>
                  <a:lnTo>
                    <a:pt x="3842917" y="3124976"/>
                  </a:lnTo>
                  <a:lnTo>
                    <a:pt x="3838899" y="3129015"/>
                  </a:lnTo>
                  <a:lnTo>
                    <a:pt x="3828990" y="3129015"/>
                  </a:lnTo>
                  <a:lnTo>
                    <a:pt x="3824971" y="3124976"/>
                  </a:lnTo>
                  <a:lnTo>
                    <a:pt x="3824971" y="3115105"/>
                  </a:lnTo>
                  <a:close/>
                  <a:moveTo>
                    <a:pt x="3589676" y="3111067"/>
                  </a:moveTo>
                  <a:lnTo>
                    <a:pt x="3599585" y="3111067"/>
                  </a:lnTo>
                  <a:lnTo>
                    <a:pt x="3603604" y="3115105"/>
                  </a:lnTo>
                  <a:lnTo>
                    <a:pt x="3603604" y="3124976"/>
                  </a:lnTo>
                  <a:lnTo>
                    <a:pt x="3599585" y="3129015"/>
                  </a:lnTo>
                  <a:lnTo>
                    <a:pt x="3589676" y="3129015"/>
                  </a:lnTo>
                  <a:lnTo>
                    <a:pt x="3585657" y="3124976"/>
                  </a:lnTo>
                  <a:lnTo>
                    <a:pt x="3585657" y="3115105"/>
                  </a:lnTo>
                  <a:close/>
                  <a:moveTo>
                    <a:pt x="3350359" y="3111067"/>
                  </a:moveTo>
                  <a:lnTo>
                    <a:pt x="3360268" y="3111067"/>
                  </a:lnTo>
                  <a:lnTo>
                    <a:pt x="3364287" y="3115105"/>
                  </a:lnTo>
                  <a:lnTo>
                    <a:pt x="3364287" y="3124976"/>
                  </a:lnTo>
                  <a:lnTo>
                    <a:pt x="3360268" y="3129015"/>
                  </a:lnTo>
                  <a:lnTo>
                    <a:pt x="3350359" y="3129015"/>
                  </a:lnTo>
                  <a:lnTo>
                    <a:pt x="3346340" y="3124976"/>
                  </a:lnTo>
                  <a:lnTo>
                    <a:pt x="3346340" y="3115105"/>
                  </a:lnTo>
                  <a:close/>
                  <a:moveTo>
                    <a:pt x="3111048" y="3111067"/>
                  </a:moveTo>
                  <a:lnTo>
                    <a:pt x="3120959" y="3111067"/>
                  </a:lnTo>
                  <a:lnTo>
                    <a:pt x="3124977" y="3115105"/>
                  </a:lnTo>
                  <a:lnTo>
                    <a:pt x="3124977" y="3124976"/>
                  </a:lnTo>
                  <a:lnTo>
                    <a:pt x="3120959" y="3129015"/>
                  </a:lnTo>
                  <a:lnTo>
                    <a:pt x="3111048" y="3129015"/>
                  </a:lnTo>
                  <a:lnTo>
                    <a:pt x="3107029" y="3124976"/>
                  </a:lnTo>
                  <a:lnTo>
                    <a:pt x="3107029" y="3115105"/>
                  </a:lnTo>
                  <a:close/>
                  <a:moveTo>
                    <a:pt x="2871737" y="3111067"/>
                  </a:moveTo>
                  <a:lnTo>
                    <a:pt x="2881646" y="3111067"/>
                  </a:lnTo>
                  <a:lnTo>
                    <a:pt x="2885666" y="3115105"/>
                  </a:lnTo>
                  <a:lnTo>
                    <a:pt x="2885666" y="3124976"/>
                  </a:lnTo>
                  <a:lnTo>
                    <a:pt x="2881646" y="3129015"/>
                  </a:lnTo>
                  <a:lnTo>
                    <a:pt x="2871737" y="3129015"/>
                  </a:lnTo>
                  <a:lnTo>
                    <a:pt x="2867717" y="3124976"/>
                  </a:lnTo>
                  <a:lnTo>
                    <a:pt x="2867717" y="3115105"/>
                  </a:lnTo>
                  <a:close/>
                  <a:moveTo>
                    <a:pt x="2632423" y="3111067"/>
                  </a:moveTo>
                  <a:lnTo>
                    <a:pt x="2642334" y="3111067"/>
                  </a:lnTo>
                  <a:lnTo>
                    <a:pt x="2646352" y="3115105"/>
                  </a:lnTo>
                  <a:lnTo>
                    <a:pt x="2646352" y="3124976"/>
                  </a:lnTo>
                  <a:lnTo>
                    <a:pt x="2642334" y="3129015"/>
                  </a:lnTo>
                  <a:lnTo>
                    <a:pt x="2632423" y="3129015"/>
                  </a:lnTo>
                  <a:lnTo>
                    <a:pt x="2628404" y="3124976"/>
                  </a:lnTo>
                  <a:lnTo>
                    <a:pt x="2628404" y="3115105"/>
                  </a:lnTo>
                  <a:close/>
                  <a:moveTo>
                    <a:pt x="2393104" y="3111067"/>
                  </a:moveTo>
                  <a:lnTo>
                    <a:pt x="2403015" y="3111067"/>
                  </a:lnTo>
                  <a:lnTo>
                    <a:pt x="2407034" y="3115105"/>
                  </a:lnTo>
                  <a:lnTo>
                    <a:pt x="2407034" y="3124976"/>
                  </a:lnTo>
                  <a:lnTo>
                    <a:pt x="2403015" y="3129015"/>
                  </a:lnTo>
                  <a:lnTo>
                    <a:pt x="2393104" y="3129015"/>
                  </a:lnTo>
                  <a:lnTo>
                    <a:pt x="2389087" y="3124976"/>
                  </a:lnTo>
                  <a:lnTo>
                    <a:pt x="2389087" y="3115105"/>
                  </a:lnTo>
                  <a:close/>
                  <a:moveTo>
                    <a:pt x="721968" y="3111067"/>
                  </a:moveTo>
                  <a:lnTo>
                    <a:pt x="731878" y="3111067"/>
                  </a:lnTo>
                  <a:lnTo>
                    <a:pt x="735897" y="3115105"/>
                  </a:lnTo>
                  <a:lnTo>
                    <a:pt x="735897" y="3124976"/>
                  </a:lnTo>
                  <a:lnTo>
                    <a:pt x="731878" y="3129015"/>
                  </a:lnTo>
                  <a:lnTo>
                    <a:pt x="721968" y="3129015"/>
                  </a:lnTo>
                  <a:lnTo>
                    <a:pt x="717949" y="3124976"/>
                  </a:lnTo>
                  <a:lnTo>
                    <a:pt x="717949" y="3115105"/>
                  </a:lnTo>
                  <a:close/>
                  <a:moveTo>
                    <a:pt x="482656" y="3111067"/>
                  </a:moveTo>
                  <a:lnTo>
                    <a:pt x="492566" y="3111067"/>
                  </a:lnTo>
                  <a:lnTo>
                    <a:pt x="496585" y="3115105"/>
                  </a:lnTo>
                  <a:lnTo>
                    <a:pt x="496585" y="3124976"/>
                  </a:lnTo>
                  <a:lnTo>
                    <a:pt x="492566" y="3129015"/>
                  </a:lnTo>
                  <a:lnTo>
                    <a:pt x="482656" y="3129015"/>
                  </a:lnTo>
                  <a:lnTo>
                    <a:pt x="478637" y="3124976"/>
                  </a:lnTo>
                  <a:lnTo>
                    <a:pt x="478637" y="3115105"/>
                  </a:lnTo>
                  <a:close/>
                  <a:moveTo>
                    <a:pt x="243342" y="3111067"/>
                  </a:moveTo>
                  <a:lnTo>
                    <a:pt x="253252" y="3111067"/>
                  </a:lnTo>
                  <a:lnTo>
                    <a:pt x="257271" y="3115105"/>
                  </a:lnTo>
                  <a:lnTo>
                    <a:pt x="257271" y="3124976"/>
                  </a:lnTo>
                  <a:lnTo>
                    <a:pt x="253252" y="3129015"/>
                  </a:lnTo>
                  <a:lnTo>
                    <a:pt x="243342" y="3129015"/>
                  </a:lnTo>
                  <a:lnTo>
                    <a:pt x="239323" y="3124976"/>
                  </a:lnTo>
                  <a:lnTo>
                    <a:pt x="239323" y="3115105"/>
                  </a:lnTo>
                  <a:close/>
                  <a:moveTo>
                    <a:pt x="4029" y="3111067"/>
                  </a:moveTo>
                  <a:lnTo>
                    <a:pt x="13939" y="3111067"/>
                  </a:lnTo>
                  <a:lnTo>
                    <a:pt x="17959" y="3115105"/>
                  </a:lnTo>
                  <a:lnTo>
                    <a:pt x="17959" y="3124976"/>
                  </a:lnTo>
                  <a:lnTo>
                    <a:pt x="13939" y="3129015"/>
                  </a:lnTo>
                  <a:lnTo>
                    <a:pt x="4029" y="3129015"/>
                  </a:lnTo>
                  <a:lnTo>
                    <a:pt x="10" y="3124976"/>
                  </a:lnTo>
                  <a:lnTo>
                    <a:pt x="10" y="3115105"/>
                  </a:lnTo>
                  <a:close/>
                  <a:moveTo>
                    <a:pt x="2157820" y="2871788"/>
                  </a:moveTo>
                  <a:lnTo>
                    <a:pt x="2167732" y="2871788"/>
                  </a:lnTo>
                  <a:lnTo>
                    <a:pt x="2171750" y="2875826"/>
                  </a:lnTo>
                  <a:lnTo>
                    <a:pt x="2171750" y="2885696"/>
                  </a:lnTo>
                  <a:lnTo>
                    <a:pt x="2167732" y="2889735"/>
                  </a:lnTo>
                  <a:lnTo>
                    <a:pt x="2157820" y="2889735"/>
                  </a:lnTo>
                  <a:lnTo>
                    <a:pt x="2153802" y="2885696"/>
                  </a:lnTo>
                  <a:lnTo>
                    <a:pt x="2153802" y="2875826"/>
                  </a:lnTo>
                  <a:close/>
                  <a:moveTo>
                    <a:pt x="1918513" y="2871788"/>
                  </a:moveTo>
                  <a:lnTo>
                    <a:pt x="1928422" y="2871788"/>
                  </a:lnTo>
                  <a:lnTo>
                    <a:pt x="1932441" y="2875826"/>
                  </a:lnTo>
                  <a:lnTo>
                    <a:pt x="1932441" y="2885696"/>
                  </a:lnTo>
                  <a:lnTo>
                    <a:pt x="1928422" y="2889735"/>
                  </a:lnTo>
                  <a:lnTo>
                    <a:pt x="1918513" y="2889735"/>
                  </a:lnTo>
                  <a:lnTo>
                    <a:pt x="1914493" y="2885696"/>
                  </a:lnTo>
                  <a:lnTo>
                    <a:pt x="1914493" y="2875826"/>
                  </a:lnTo>
                  <a:close/>
                  <a:moveTo>
                    <a:pt x="1679211" y="2871788"/>
                  </a:moveTo>
                  <a:lnTo>
                    <a:pt x="1689121" y="2871788"/>
                  </a:lnTo>
                  <a:lnTo>
                    <a:pt x="1693141" y="2875826"/>
                  </a:lnTo>
                  <a:lnTo>
                    <a:pt x="1693141" y="2885696"/>
                  </a:lnTo>
                  <a:lnTo>
                    <a:pt x="1689121" y="2889735"/>
                  </a:lnTo>
                  <a:lnTo>
                    <a:pt x="1679211" y="2889735"/>
                  </a:lnTo>
                  <a:lnTo>
                    <a:pt x="1675193" y="2885696"/>
                  </a:lnTo>
                  <a:lnTo>
                    <a:pt x="1675193" y="2875826"/>
                  </a:lnTo>
                  <a:close/>
                  <a:moveTo>
                    <a:pt x="1439895" y="2871788"/>
                  </a:moveTo>
                  <a:lnTo>
                    <a:pt x="1449805" y="2871788"/>
                  </a:lnTo>
                  <a:lnTo>
                    <a:pt x="1453824" y="2875826"/>
                  </a:lnTo>
                  <a:lnTo>
                    <a:pt x="1453824" y="2885696"/>
                  </a:lnTo>
                  <a:lnTo>
                    <a:pt x="1449805" y="2889735"/>
                  </a:lnTo>
                  <a:lnTo>
                    <a:pt x="1439895" y="2889735"/>
                  </a:lnTo>
                  <a:lnTo>
                    <a:pt x="1435876" y="2885696"/>
                  </a:lnTo>
                  <a:lnTo>
                    <a:pt x="1435876" y="2875826"/>
                  </a:lnTo>
                  <a:close/>
                  <a:moveTo>
                    <a:pt x="1200579" y="2871788"/>
                  </a:moveTo>
                  <a:lnTo>
                    <a:pt x="1210489" y="2871788"/>
                  </a:lnTo>
                  <a:lnTo>
                    <a:pt x="1214509" y="2875826"/>
                  </a:lnTo>
                  <a:lnTo>
                    <a:pt x="1214509" y="2885696"/>
                  </a:lnTo>
                  <a:lnTo>
                    <a:pt x="1210489" y="2889735"/>
                  </a:lnTo>
                  <a:lnTo>
                    <a:pt x="1200579" y="2889735"/>
                  </a:lnTo>
                  <a:lnTo>
                    <a:pt x="1196560" y="2885696"/>
                  </a:lnTo>
                  <a:lnTo>
                    <a:pt x="1196560" y="2875826"/>
                  </a:lnTo>
                  <a:close/>
                  <a:moveTo>
                    <a:pt x="961267" y="2871788"/>
                  </a:moveTo>
                  <a:lnTo>
                    <a:pt x="971177" y="2871788"/>
                  </a:lnTo>
                  <a:lnTo>
                    <a:pt x="975195" y="2875826"/>
                  </a:lnTo>
                  <a:lnTo>
                    <a:pt x="975195" y="2885696"/>
                  </a:lnTo>
                  <a:lnTo>
                    <a:pt x="971177" y="2889735"/>
                  </a:lnTo>
                  <a:lnTo>
                    <a:pt x="961267" y="2889735"/>
                  </a:lnTo>
                  <a:lnTo>
                    <a:pt x="957247" y="2885696"/>
                  </a:lnTo>
                  <a:lnTo>
                    <a:pt x="957247" y="2875826"/>
                  </a:lnTo>
                  <a:close/>
                  <a:moveTo>
                    <a:pt x="9572438" y="2871736"/>
                  </a:moveTo>
                  <a:lnTo>
                    <a:pt x="9582349" y="2871736"/>
                  </a:lnTo>
                  <a:lnTo>
                    <a:pt x="9586368" y="2875775"/>
                  </a:lnTo>
                  <a:lnTo>
                    <a:pt x="9586368" y="2885645"/>
                  </a:lnTo>
                  <a:lnTo>
                    <a:pt x="9582349" y="2889684"/>
                  </a:lnTo>
                  <a:lnTo>
                    <a:pt x="9572438" y="2889684"/>
                  </a:lnTo>
                  <a:lnTo>
                    <a:pt x="9568419" y="2885645"/>
                  </a:lnTo>
                  <a:lnTo>
                    <a:pt x="9568419" y="2875775"/>
                  </a:lnTo>
                  <a:close/>
                  <a:moveTo>
                    <a:pt x="9333125" y="2871736"/>
                  </a:moveTo>
                  <a:lnTo>
                    <a:pt x="9343036" y="2871736"/>
                  </a:lnTo>
                  <a:lnTo>
                    <a:pt x="9347055" y="2875775"/>
                  </a:lnTo>
                  <a:lnTo>
                    <a:pt x="9347055" y="2885645"/>
                  </a:lnTo>
                  <a:lnTo>
                    <a:pt x="9343036" y="2889684"/>
                  </a:lnTo>
                  <a:lnTo>
                    <a:pt x="9333125" y="2889684"/>
                  </a:lnTo>
                  <a:lnTo>
                    <a:pt x="9329106" y="2885645"/>
                  </a:lnTo>
                  <a:lnTo>
                    <a:pt x="9329106" y="2875775"/>
                  </a:lnTo>
                  <a:close/>
                  <a:moveTo>
                    <a:pt x="9093811" y="2871736"/>
                  </a:moveTo>
                  <a:lnTo>
                    <a:pt x="9103722" y="2871736"/>
                  </a:lnTo>
                  <a:lnTo>
                    <a:pt x="9107741" y="2875775"/>
                  </a:lnTo>
                  <a:lnTo>
                    <a:pt x="9107741" y="2885645"/>
                  </a:lnTo>
                  <a:lnTo>
                    <a:pt x="9103722" y="2889684"/>
                  </a:lnTo>
                  <a:lnTo>
                    <a:pt x="9093811" y="2889684"/>
                  </a:lnTo>
                  <a:lnTo>
                    <a:pt x="9089792" y="2885645"/>
                  </a:lnTo>
                  <a:lnTo>
                    <a:pt x="9089792" y="2875775"/>
                  </a:lnTo>
                  <a:close/>
                  <a:moveTo>
                    <a:pt x="8854496" y="2871736"/>
                  </a:moveTo>
                  <a:lnTo>
                    <a:pt x="8864407" y="2871736"/>
                  </a:lnTo>
                  <a:lnTo>
                    <a:pt x="8868426" y="2875775"/>
                  </a:lnTo>
                  <a:lnTo>
                    <a:pt x="8868426" y="2885645"/>
                  </a:lnTo>
                  <a:lnTo>
                    <a:pt x="8864407" y="2889684"/>
                  </a:lnTo>
                  <a:lnTo>
                    <a:pt x="8854496" y="2889684"/>
                  </a:lnTo>
                  <a:lnTo>
                    <a:pt x="8850477" y="2885645"/>
                  </a:lnTo>
                  <a:lnTo>
                    <a:pt x="8850477" y="2875775"/>
                  </a:lnTo>
                  <a:close/>
                  <a:moveTo>
                    <a:pt x="8615184" y="2871736"/>
                  </a:moveTo>
                  <a:lnTo>
                    <a:pt x="8625095" y="2871736"/>
                  </a:lnTo>
                  <a:lnTo>
                    <a:pt x="8629114" y="2875775"/>
                  </a:lnTo>
                  <a:lnTo>
                    <a:pt x="8629114" y="2885645"/>
                  </a:lnTo>
                  <a:lnTo>
                    <a:pt x="8625095" y="2889684"/>
                  </a:lnTo>
                  <a:lnTo>
                    <a:pt x="8615184" y="2889684"/>
                  </a:lnTo>
                  <a:lnTo>
                    <a:pt x="8611165" y="2885645"/>
                  </a:lnTo>
                  <a:lnTo>
                    <a:pt x="8611165" y="2875775"/>
                  </a:lnTo>
                  <a:close/>
                  <a:moveTo>
                    <a:pt x="8375869" y="2871736"/>
                  </a:moveTo>
                  <a:lnTo>
                    <a:pt x="8385779" y="2871736"/>
                  </a:lnTo>
                  <a:lnTo>
                    <a:pt x="8389799" y="2875775"/>
                  </a:lnTo>
                  <a:lnTo>
                    <a:pt x="8389799" y="2885645"/>
                  </a:lnTo>
                  <a:lnTo>
                    <a:pt x="8385779" y="2889684"/>
                  </a:lnTo>
                  <a:lnTo>
                    <a:pt x="8375869" y="2889684"/>
                  </a:lnTo>
                  <a:lnTo>
                    <a:pt x="8371850" y="2885645"/>
                  </a:lnTo>
                  <a:lnTo>
                    <a:pt x="8371850" y="2875775"/>
                  </a:lnTo>
                  <a:close/>
                  <a:moveTo>
                    <a:pt x="8136553" y="2871736"/>
                  </a:moveTo>
                  <a:lnTo>
                    <a:pt x="8146464" y="2871736"/>
                  </a:lnTo>
                  <a:lnTo>
                    <a:pt x="8150483" y="2875775"/>
                  </a:lnTo>
                  <a:lnTo>
                    <a:pt x="8150483" y="2885645"/>
                  </a:lnTo>
                  <a:lnTo>
                    <a:pt x="8146464" y="2889684"/>
                  </a:lnTo>
                  <a:lnTo>
                    <a:pt x="8136553" y="2889684"/>
                  </a:lnTo>
                  <a:lnTo>
                    <a:pt x="8132534" y="2885645"/>
                  </a:lnTo>
                  <a:lnTo>
                    <a:pt x="8132534" y="2875775"/>
                  </a:lnTo>
                  <a:close/>
                  <a:moveTo>
                    <a:pt x="7897241" y="2871736"/>
                  </a:moveTo>
                  <a:lnTo>
                    <a:pt x="7907151" y="2871736"/>
                  </a:lnTo>
                  <a:lnTo>
                    <a:pt x="7911170" y="2875775"/>
                  </a:lnTo>
                  <a:lnTo>
                    <a:pt x="7911170" y="2885645"/>
                  </a:lnTo>
                  <a:lnTo>
                    <a:pt x="7907151" y="2889684"/>
                  </a:lnTo>
                  <a:lnTo>
                    <a:pt x="7897241" y="2889684"/>
                  </a:lnTo>
                  <a:lnTo>
                    <a:pt x="7893222" y="2885645"/>
                  </a:lnTo>
                  <a:lnTo>
                    <a:pt x="7893222" y="2875775"/>
                  </a:lnTo>
                  <a:close/>
                  <a:moveTo>
                    <a:pt x="7657926" y="2871736"/>
                  </a:moveTo>
                  <a:lnTo>
                    <a:pt x="7667836" y="2871736"/>
                  </a:lnTo>
                  <a:lnTo>
                    <a:pt x="7671855" y="2875775"/>
                  </a:lnTo>
                  <a:lnTo>
                    <a:pt x="7671855" y="2885645"/>
                  </a:lnTo>
                  <a:lnTo>
                    <a:pt x="7667836" y="2889684"/>
                  </a:lnTo>
                  <a:lnTo>
                    <a:pt x="7657926" y="2889684"/>
                  </a:lnTo>
                  <a:lnTo>
                    <a:pt x="7653906" y="2885645"/>
                  </a:lnTo>
                  <a:lnTo>
                    <a:pt x="7653906" y="2875775"/>
                  </a:lnTo>
                  <a:close/>
                  <a:moveTo>
                    <a:pt x="7418611" y="2871736"/>
                  </a:moveTo>
                  <a:lnTo>
                    <a:pt x="7428521" y="2871736"/>
                  </a:lnTo>
                  <a:lnTo>
                    <a:pt x="7432540" y="2875775"/>
                  </a:lnTo>
                  <a:lnTo>
                    <a:pt x="7432540" y="2885645"/>
                  </a:lnTo>
                  <a:lnTo>
                    <a:pt x="7428521" y="2889684"/>
                  </a:lnTo>
                  <a:lnTo>
                    <a:pt x="7418611" y="2889684"/>
                  </a:lnTo>
                  <a:lnTo>
                    <a:pt x="7414592" y="2885645"/>
                  </a:lnTo>
                  <a:lnTo>
                    <a:pt x="7414592" y="2875775"/>
                  </a:lnTo>
                  <a:close/>
                  <a:moveTo>
                    <a:pt x="7179298" y="2871736"/>
                  </a:moveTo>
                  <a:lnTo>
                    <a:pt x="7189209" y="2871736"/>
                  </a:lnTo>
                  <a:lnTo>
                    <a:pt x="7193228" y="2875775"/>
                  </a:lnTo>
                  <a:lnTo>
                    <a:pt x="7193228" y="2885645"/>
                  </a:lnTo>
                  <a:lnTo>
                    <a:pt x="7189209" y="2889684"/>
                  </a:lnTo>
                  <a:lnTo>
                    <a:pt x="7179298" y="2889684"/>
                  </a:lnTo>
                  <a:lnTo>
                    <a:pt x="7175279" y="2885645"/>
                  </a:lnTo>
                  <a:lnTo>
                    <a:pt x="7175279" y="2875775"/>
                  </a:lnTo>
                  <a:close/>
                  <a:moveTo>
                    <a:pt x="6939983" y="2871736"/>
                  </a:moveTo>
                  <a:lnTo>
                    <a:pt x="6949894" y="2871736"/>
                  </a:lnTo>
                  <a:lnTo>
                    <a:pt x="6953913" y="2875775"/>
                  </a:lnTo>
                  <a:lnTo>
                    <a:pt x="6953913" y="2885645"/>
                  </a:lnTo>
                  <a:lnTo>
                    <a:pt x="6949894" y="2889684"/>
                  </a:lnTo>
                  <a:lnTo>
                    <a:pt x="6939983" y="2889684"/>
                  </a:lnTo>
                  <a:lnTo>
                    <a:pt x="6935964" y="2885645"/>
                  </a:lnTo>
                  <a:lnTo>
                    <a:pt x="6935964" y="2875775"/>
                  </a:lnTo>
                  <a:close/>
                  <a:moveTo>
                    <a:pt x="6700670" y="2871736"/>
                  </a:moveTo>
                  <a:lnTo>
                    <a:pt x="6710581" y="2871736"/>
                  </a:lnTo>
                  <a:lnTo>
                    <a:pt x="6714600" y="2875775"/>
                  </a:lnTo>
                  <a:lnTo>
                    <a:pt x="6714600" y="2885645"/>
                  </a:lnTo>
                  <a:lnTo>
                    <a:pt x="6710581" y="2889684"/>
                  </a:lnTo>
                  <a:lnTo>
                    <a:pt x="6700670" y="2889684"/>
                  </a:lnTo>
                  <a:lnTo>
                    <a:pt x="6696651" y="2885645"/>
                  </a:lnTo>
                  <a:lnTo>
                    <a:pt x="6696651" y="2875775"/>
                  </a:lnTo>
                  <a:close/>
                  <a:moveTo>
                    <a:pt x="6461356" y="2871736"/>
                  </a:moveTo>
                  <a:lnTo>
                    <a:pt x="6471266" y="2871736"/>
                  </a:lnTo>
                  <a:lnTo>
                    <a:pt x="6475285" y="2875775"/>
                  </a:lnTo>
                  <a:lnTo>
                    <a:pt x="6475285" y="2885645"/>
                  </a:lnTo>
                  <a:lnTo>
                    <a:pt x="6471266" y="2889684"/>
                  </a:lnTo>
                  <a:lnTo>
                    <a:pt x="6461356" y="2889684"/>
                  </a:lnTo>
                  <a:lnTo>
                    <a:pt x="6457337" y="2885645"/>
                  </a:lnTo>
                  <a:lnTo>
                    <a:pt x="6457337" y="2875775"/>
                  </a:lnTo>
                  <a:close/>
                  <a:moveTo>
                    <a:pt x="6222042" y="2871736"/>
                  </a:moveTo>
                  <a:lnTo>
                    <a:pt x="6231952" y="2871736"/>
                  </a:lnTo>
                  <a:lnTo>
                    <a:pt x="6235971" y="2875775"/>
                  </a:lnTo>
                  <a:lnTo>
                    <a:pt x="6235971" y="2885645"/>
                  </a:lnTo>
                  <a:lnTo>
                    <a:pt x="6231952" y="2889684"/>
                  </a:lnTo>
                  <a:lnTo>
                    <a:pt x="6222042" y="2889684"/>
                  </a:lnTo>
                  <a:lnTo>
                    <a:pt x="6218023" y="2885645"/>
                  </a:lnTo>
                  <a:lnTo>
                    <a:pt x="6218023" y="2875775"/>
                  </a:lnTo>
                  <a:close/>
                  <a:moveTo>
                    <a:pt x="5982729" y="2871736"/>
                  </a:moveTo>
                  <a:lnTo>
                    <a:pt x="5992639" y="2871736"/>
                  </a:lnTo>
                  <a:lnTo>
                    <a:pt x="5996658" y="2875775"/>
                  </a:lnTo>
                  <a:lnTo>
                    <a:pt x="5996658" y="2885645"/>
                  </a:lnTo>
                  <a:lnTo>
                    <a:pt x="5992639" y="2889684"/>
                  </a:lnTo>
                  <a:lnTo>
                    <a:pt x="5982729" y="2889684"/>
                  </a:lnTo>
                  <a:lnTo>
                    <a:pt x="5978710" y="2885645"/>
                  </a:lnTo>
                  <a:lnTo>
                    <a:pt x="5978710" y="2875775"/>
                  </a:lnTo>
                  <a:close/>
                  <a:moveTo>
                    <a:pt x="5743412" y="2871736"/>
                  </a:moveTo>
                  <a:lnTo>
                    <a:pt x="5753323" y="2871736"/>
                  </a:lnTo>
                  <a:lnTo>
                    <a:pt x="5757342" y="2875775"/>
                  </a:lnTo>
                  <a:lnTo>
                    <a:pt x="5757342" y="2885645"/>
                  </a:lnTo>
                  <a:lnTo>
                    <a:pt x="5753323" y="2889684"/>
                  </a:lnTo>
                  <a:lnTo>
                    <a:pt x="5743412" y="2889684"/>
                  </a:lnTo>
                  <a:lnTo>
                    <a:pt x="5739393" y="2885645"/>
                  </a:lnTo>
                  <a:lnTo>
                    <a:pt x="5739393" y="2875775"/>
                  </a:lnTo>
                  <a:close/>
                  <a:moveTo>
                    <a:pt x="5504099" y="2871736"/>
                  </a:moveTo>
                  <a:lnTo>
                    <a:pt x="5514010" y="2871736"/>
                  </a:lnTo>
                  <a:lnTo>
                    <a:pt x="5518029" y="2875775"/>
                  </a:lnTo>
                  <a:lnTo>
                    <a:pt x="5518029" y="2885645"/>
                  </a:lnTo>
                  <a:lnTo>
                    <a:pt x="5514010" y="2889684"/>
                  </a:lnTo>
                  <a:lnTo>
                    <a:pt x="5504099" y="2889684"/>
                  </a:lnTo>
                  <a:lnTo>
                    <a:pt x="5500080" y="2885645"/>
                  </a:lnTo>
                  <a:lnTo>
                    <a:pt x="5500080" y="2875775"/>
                  </a:lnTo>
                  <a:close/>
                  <a:moveTo>
                    <a:pt x="5264784" y="2871736"/>
                  </a:moveTo>
                  <a:lnTo>
                    <a:pt x="5274694" y="2871736"/>
                  </a:lnTo>
                  <a:lnTo>
                    <a:pt x="5278713" y="2875775"/>
                  </a:lnTo>
                  <a:lnTo>
                    <a:pt x="5278713" y="2885645"/>
                  </a:lnTo>
                  <a:lnTo>
                    <a:pt x="5274694" y="2889684"/>
                  </a:lnTo>
                  <a:lnTo>
                    <a:pt x="5264784" y="2889684"/>
                  </a:lnTo>
                  <a:lnTo>
                    <a:pt x="5260765" y="2885645"/>
                  </a:lnTo>
                  <a:lnTo>
                    <a:pt x="5260765" y="2875775"/>
                  </a:lnTo>
                  <a:close/>
                  <a:moveTo>
                    <a:pt x="5025470" y="2871736"/>
                  </a:moveTo>
                  <a:lnTo>
                    <a:pt x="5035381" y="2871736"/>
                  </a:lnTo>
                  <a:lnTo>
                    <a:pt x="5039400" y="2875775"/>
                  </a:lnTo>
                  <a:lnTo>
                    <a:pt x="5039400" y="2885645"/>
                  </a:lnTo>
                  <a:lnTo>
                    <a:pt x="5035381" y="2889684"/>
                  </a:lnTo>
                  <a:lnTo>
                    <a:pt x="5025470" y="2889684"/>
                  </a:lnTo>
                  <a:lnTo>
                    <a:pt x="5021451" y="2885645"/>
                  </a:lnTo>
                  <a:lnTo>
                    <a:pt x="5021451" y="2875775"/>
                  </a:lnTo>
                  <a:close/>
                  <a:moveTo>
                    <a:pt x="4786241" y="2871736"/>
                  </a:moveTo>
                  <a:lnTo>
                    <a:pt x="4796152" y="2871736"/>
                  </a:lnTo>
                  <a:lnTo>
                    <a:pt x="4800171" y="2875775"/>
                  </a:lnTo>
                  <a:lnTo>
                    <a:pt x="4800171" y="2885645"/>
                  </a:lnTo>
                  <a:lnTo>
                    <a:pt x="4796152" y="2889684"/>
                  </a:lnTo>
                  <a:lnTo>
                    <a:pt x="4786241" y="2889684"/>
                  </a:lnTo>
                  <a:lnTo>
                    <a:pt x="4782224" y="2885645"/>
                  </a:lnTo>
                  <a:lnTo>
                    <a:pt x="4782224" y="2875775"/>
                  </a:lnTo>
                  <a:close/>
                  <a:moveTo>
                    <a:pt x="4546929" y="2871736"/>
                  </a:moveTo>
                  <a:lnTo>
                    <a:pt x="4556840" y="2871736"/>
                  </a:lnTo>
                  <a:lnTo>
                    <a:pt x="4560859" y="2875775"/>
                  </a:lnTo>
                  <a:lnTo>
                    <a:pt x="4560859" y="2885645"/>
                  </a:lnTo>
                  <a:lnTo>
                    <a:pt x="4556840" y="2889684"/>
                  </a:lnTo>
                  <a:lnTo>
                    <a:pt x="4546929" y="2889684"/>
                  </a:lnTo>
                  <a:lnTo>
                    <a:pt x="4542910" y="2885645"/>
                  </a:lnTo>
                  <a:lnTo>
                    <a:pt x="4542910" y="2875775"/>
                  </a:lnTo>
                  <a:close/>
                  <a:moveTo>
                    <a:pt x="4307612" y="2871736"/>
                  </a:moveTo>
                  <a:lnTo>
                    <a:pt x="4317523" y="2871736"/>
                  </a:lnTo>
                  <a:lnTo>
                    <a:pt x="4321543" y="2875775"/>
                  </a:lnTo>
                  <a:lnTo>
                    <a:pt x="4321543" y="2885645"/>
                  </a:lnTo>
                  <a:lnTo>
                    <a:pt x="4317523" y="2889684"/>
                  </a:lnTo>
                  <a:lnTo>
                    <a:pt x="4307612" y="2889684"/>
                  </a:lnTo>
                  <a:lnTo>
                    <a:pt x="4303595" y="2885645"/>
                  </a:lnTo>
                  <a:lnTo>
                    <a:pt x="4303595" y="2875775"/>
                  </a:lnTo>
                  <a:close/>
                  <a:moveTo>
                    <a:pt x="4068297" y="2871736"/>
                  </a:moveTo>
                  <a:lnTo>
                    <a:pt x="4078210" y="2871736"/>
                  </a:lnTo>
                  <a:lnTo>
                    <a:pt x="4082229" y="2875775"/>
                  </a:lnTo>
                  <a:lnTo>
                    <a:pt x="4082229" y="2885645"/>
                  </a:lnTo>
                  <a:lnTo>
                    <a:pt x="4078210" y="2889684"/>
                  </a:lnTo>
                  <a:lnTo>
                    <a:pt x="4068297" y="2889684"/>
                  </a:lnTo>
                  <a:lnTo>
                    <a:pt x="4064278" y="2885645"/>
                  </a:lnTo>
                  <a:lnTo>
                    <a:pt x="4064278" y="2875775"/>
                  </a:lnTo>
                  <a:close/>
                  <a:moveTo>
                    <a:pt x="3828990" y="2871736"/>
                  </a:moveTo>
                  <a:lnTo>
                    <a:pt x="3838899" y="2871736"/>
                  </a:lnTo>
                  <a:lnTo>
                    <a:pt x="3842917" y="2875775"/>
                  </a:lnTo>
                  <a:lnTo>
                    <a:pt x="3842917" y="2885645"/>
                  </a:lnTo>
                  <a:lnTo>
                    <a:pt x="3838899" y="2889684"/>
                  </a:lnTo>
                  <a:lnTo>
                    <a:pt x="3828990" y="2889684"/>
                  </a:lnTo>
                  <a:lnTo>
                    <a:pt x="3824971" y="2885645"/>
                  </a:lnTo>
                  <a:lnTo>
                    <a:pt x="3824971" y="2875775"/>
                  </a:lnTo>
                  <a:close/>
                  <a:moveTo>
                    <a:pt x="3589676" y="2871736"/>
                  </a:moveTo>
                  <a:lnTo>
                    <a:pt x="3599585" y="2871736"/>
                  </a:lnTo>
                  <a:lnTo>
                    <a:pt x="3603604" y="2875775"/>
                  </a:lnTo>
                  <a:lnTo>
                    <a:pt x="3603604" y="2885645"/>
                  </a:lnTo>
                  <a:lnTo>
                    <a:pt x="3599585" y="2889684"/>
                  </a:lnTo>
                  <a:lnTo>
                    <a:pt x="3589676" y="2889684"/>
                  </a:lnTo>
                  <a:lnTo>
                    <a:pt x="3585657" y="2885645"/>
                  </a:lnTo>
                  <a:lnTo>
                    <a:pt x="3585657" y="2875775"/>
                  </a:lnTo>
                  <a:close/>
                  <a:moveTo>
                    <a:pt x="3350359" y="2871736"/>
                  </a:moveTo>
                  <a:lnTo>
                    <a:pt x="3360268" y="2871736"/>
                  </a:lnTo>
                  <a:lnTo>
                    <a:pt x="3364287" y="2875775"/>
                  </a:lnTo>
                  <a:lnTo>
                    <a:pt x="3364287" y="2885645"/>
                  </a:lnTo>
                  <a:lnTo>
                    <a:pt x="3360268" y="2889684"/>
                  </a:lnTo>
                  <a:lnTo>
                    <a:pt x="3350359" y="2889684"/>
                  </a:lnTo>
                  <a:lnTo>
                    <a:pt x="3346340" y="2885645"/>
                  </a:lnTo>
                  <a:lnTo>
                    <a:pt x="3346340" y="2875775"/>
                  </a:lnTo>
                  <a:close/>
                  <a:moveTo>
                    <a:pt x="3111048" y="2871736"/>
                  </a:moveTo>
                  <a:lnTo>
                    <a:pt x="3120959" y="2871736"/>
                  </a:lnTo>
                  <a:lnTo>
                    <a:pt x="3124977" y="2875775"/>
                  </a:lnTo>
                  <a:lnTo>
                    <a:pt x="3124977" y="2885645"/>
                  </a:lnTo>
                  <a:lnTo>
                    <a:pt x="3120959" y="2889684"/>
                  </a:lnTo>
                  <a:lnTo>
                    <a:pt x="3111048" y="2889684"/>
                  </a:lnTo>
                  <a:lnTo>
                    <a:pt x="3107029" y="2885645"/>
                  </a:lnTo>
                  <a:lnTo>
                    <a:pt x="3107029" y="2875775"/>
                  </a:lnTo>
                  <a:close/>
                  <a:moveTo>
                    <a:pt x="2871737" y="2871736"/>
                  </a:moveTo>
                  <a:lnTo>
                    <a:pt x="2881646" y="2871736"/>
                  </a:lnTo>
                  <a:lnTo>
                    <a:pt x="2885666" y="2875775"/>
                  </a:lnTo>
                  <a:lnTo>
                    <a:pt x="2885666" y="2885645"/>
                  </a:lnTo>
                  <a:lnTo>
                    <a:pt x="2881646" y="2889684"/>
                  </a:lnTo>
                  <a:lnTo>
                    <a:pt x="2871737" y="2889684"/>
                  </a:lnTo>
                  <a:lnTo>
                    <a:pt x="2867717" y="2885645"/>
                  </a:lnTo>
                  <a:lnTo>
                    <a:pt x="2867717" y="2875775"/>
                  </a:lnTo>
                  <a:close/>
                  <a:moveTo>
                    <a:pt x="2632423" y="2871736"/>
                  </a:moveTo>
                  <a:lnTo>
                    <a:pt x="2642334" y="2871736"/>
                  </a:lnTo>
                  <a:lnTo>
                    <a:pt x="2646352" y="2875775"/>
                  </a:lnTo>
                  <a:lnTo>
                    <a:pt x="2646352" y="2885645"/>
                  </a:lnTo>
                  <a:lnTo>
                    <a:pt x="2642334" y="2889684"/>
                  </a:lnTo>
                  <a:lnTo>
                    <a:pt x="2632423" y="2889684"/>
                  </a:lnTo>
                  <a:lnTo>
                    <a:pt x="2628404" y="2885645"/>
                  </a:lnTo>
                  <a:lnTo>
                    <a:pt x="2628404" y="2875775"/>
                  </a:lnTo>
                  <a:close/>
                  <a:moveTo>
                    <a:pt x="2393104" y="2871736"/>
                  </a:moveTo>
                  <a:lnTo>
                    <a:pt x="2403015" y="2871736"/>
                  </a:lnTo>
                  <a:lnTo>
                    <a:pt x="2407034" y="2875775"/>
                  </a:lnTo>
                  <a:lnTo>
                    <a:pt x="2407034" y="2885645"/>
                  </a:lnTo>
                  <a:lnTo>
                    <a:pt x="2403015" y="2889684"/>
                  </a:lnTo>
                  <a:lnTo>
                    <a:pt x="2393104" y="2889684"/>
                  </a:lnTo>
                  <a:lnTo>
                    <a:pt x="2389087" y="2885645"/>
                  </a:lnTo>
                  <a:lnTo>
                    <a:pt x="2389087" y="2875775"/>
                  </a:lnTo>
                  <a:close/>
                  <a:moveTo>
                    <a:pt x="721969" y="2871736"/>
                  </a:moveTo>
                  <a:lnTo>
                    <a:pt x="731879" y="2871736"/>
                  </a:lnTo>
                  <a:lnTo>
                    <a:pt x="735898" y="2875775"/>
                  </a:lnTo>
                  <a:lnTo>
                    <a:pt x="735898" y="2885645"/>
                  </a:lnTo>
                  <a:lnTo>
                    <a:pt x="731879" y="2889684"/>
                  </a:lnTo>
                  <a:lnTo>
                    <a:pt x="721969" y="2889684"/>
                  </a:lnTo>
                  <a:lnTo>
                    <a:pt x="717950" y="2885645"/>
                  </a:lnTo>
                  <a:lnTo>
                    <a:pt x="717950" y="2875775"/>
                  </a:lnTo>
                  <a:close/>
                  <a:moveTo>
                    <a:pt x="482656" y="2871736"/>
                  </a:moveTo>
                  <a:lnTo>
                    <a:pt x="492567" y="2871736"/>
                  </a:lnTo>
                  <a:lnTo>
                    <a:pt x="496586" y="2875775"/>
                  </a:lnTo>
                  <a:lnTo>
                    <a:pt x="496586" y="2885645"/>
                  </a:lnTo>
                  <a:lnTo>
                    <a:pt x="492567" y="2889684"/>
                  </a:lnTo>
                  <a:lnTo>
                    <a:pt x="482656" y="2889684"/>
                  </a:lnTo>
                  <a:lnTo>
                    <a:pt x="478637" y="2885645"/>
                  </a:lnTo>
                  <a:lnTo>
                    <a:pt x="478637" y="2875775"/>
                  </a:lnTo>
                  <a:close/>
                  <a:moveTo>
                    <a:pt x="243343" y="2871736"/>
                  </a:moveTo>
                  <a:lnTo>
                    <a:pt x="253253" y="2871736"/>
                  </a:lnTo>
                  <a:lnTo>
                    <a:pt x="257272" y="2875775"/>
                  </a:lnTo>
                  <a:lnTo>
                    <a:pt x="257272" y="2885645"/>
                  </a:lnTo>
                  <a:lnTo>
                    <a:pt x="253253" y="2889684"/>
                  </a:lnTo>
                  <a:lnTo>
                    <a:pt x="243343" y="2889684"/>
                  </a:lnTo>
                  <a:lnTo>
                    <a:pt x="239324" y="2885645"/>
                  </a:lnTo>
                  <a:lnTo>
                    <a:pt x="239324" y="2875775"/>
                  </a:lnTo>
                  <a:close/>
                  <a:moveTo>
                    <a:pt x="4030" y="2871736"/>
                  </a:moveTo>
                  <a:lnTo>
                    <a:pt x="13940" y="2871736"/>
                  </a:lnTo>
                  <a:lnTo>
                    <a:pt x="17959" y="2875775"/>
                  </a:lnTo>
                  <a:lnTo>
                    <a:pt x="17959" y="2885645"/>
                  </a:lnTo>
                  <a:lnTo>
                    <a:pt x="13940" y="2889684"/>
                  </a:lnTo>
                  <a:lnTo>
                    <a:pt x="4030" y="2889684"/>
                  </a:lnTo>
                  <a:lnTo>
                    <a:pt x="11" y="2885645"/>
                  </a:lnTo>
                  <a:lnTo>
                    <a:pt x="11" y="2875775"/>
                  </a:lnTo>
                  <a:close/>
                  <a:moveTo>
                    <a:pt x="9572438" y="2632457"/>
                  </a:moveTo>
                  <a:lnTo>
                    <a:pt x="9582349" y="2632457"/>
                  </a:lnTo>
                  <a:lnTo>
                    <a:pt x="9586368" y="2636496"/>
                  </a:lnTo>
                  <a:lnTo>
                    <a:pt x="9586368" y="2646366"/>
                  </a:lnTo>
                  <a:lnTo>
                    <a:pt x="9582349" y="2650405"/>
                  </a:lnTo>
                  <a:lnTo>
                    <a:pt x="9572438" y="2650405"/>
                  </a:lnTo>
                  <a:lnTo>
                    <a:pt x="9568419" y="2646366"/>
                  </a:lnTo>
                  <a:lnTo>
                    <a:pt x="9568419" y="2636496"/>
                  </a:lnTo>
                  <a:close/>
                  <a:moveTo>
                    <a:pt x="9333125" y="2632457"/>
                  </a:moveTo>
                  <a:lnTo>
                    <a:pt x="9343036" y="2632457"/>
                  </a:lnTo>
                  <a:lnTo>
                    <a:pt x="9347055" y="2636496"/>
                  </a:lnTo>
                  <a:lnTo>
                    <a:pt x="9347055" y="2646366"/>
                  </a:lnTo>
                  <a:lnTo>
                    <a:pt x="9343036" y="2650405"/>
                  </a:lnTo>
                  <a:lnTo>
                    <a:pt x="9333125" y="2650405"/>
                  </a:lnTo>
                  <a:lnTo>
                    <a:pt x="9329106" y="2646366"/>
                  </a:lnTo>
                  <a:lnTo>
                    <a:pt x="9329106" y="2636496"/>
                  </a:lnTo>
                  <a:close/>
                  <a:moveTo>
                    <a:pt x="9093811" y="2632457"/>
                  </a:moveTo>
                  <a:lnTo>
                    <a:pt x="9103722" y="2632457"/>
                  </a:lnTo>
                  <a:lnTo>
                    <a:pt x="9107741" y="2636496"/>
                  </a:lnTo>
                  <a:lnTo>
                    <a:pt x="9107741" y="2646366"/>
                  </a:lnTo>
                  <a:lnTo>
                    <a:pt x="9103722" y="2650405"/>
                  </a:lnTo>
                  <a:lnTo>
                    <a:pt x="9093811" y="2650405"/>
                  </a:lnTo>
                  <a:lnTo>
                    <a:pt x="9089792" y="2646366"/>
                  </a:lnTo>
                  <a:lnTo>
                    <a:pt x="9089792" y="2636496"/>
                  </a:lnTo>
                  <a:close/>
                  <a:moveTo>
                    <a:pt x="8854496" y="2632457"/>
                  </a:moveTo>
                  <a:lnTo>
                    <a:pt x="8864407" y="2632457"/>
                  </a:lnTo>
                  <a:lnTo>
                    <a:pt x="8868426" y="2636496"/>
                  </a:lnTo>
                  <a:lnTo>
                    <a:pt x="8868426" y="2646366"/>
                  </a:lnTo>
                  <a:lnTo>
                    <a:pt x="8864407" y="2650405"/>
                  </a:lnTo>
                  <a:lnTo>
                    <a:pt x="8854496" y="2650405"/>
                  </a:lnTo>
                  <a:lnTo>
                    <a:pt x="8850477" y="2646366"/>
                  </a:lnTo>
                  <a:lnTo>
                    <a:pt x="8850477" y="2636496"/>
                  </a:lnTo>
                  <a:close/>
                  <a:moveTo>
                    <a:pt x="8615184" y="2632457"/>
                  </a:moveTo>
                  <a:lnTo>
                    <a:pt x="8625095" y="2632457"/>
                  </a:lnTo>
                  <a:lnTo>
                    <a:pt x="8629114" y="2636496"/>
                  </a:lnTo>
                  <a:lnTo>
                    <a:pt x="8629114" y="2646366"/>
                  </a:lnTo>
                  <a:lnTo>
                    <a:pt x="8625095" y="2650405"/>
                  </a:lnTo>
                  <a:lnTo>
                    <a:pt x="8615184" y="2650405"/>
                  </a:lnTo>
                  <a:lnTo>
                    <a:pt x="8611165" y="2646366"/>
                  </a:lnTo>
                  <a:lnTo>
                    <a:pt x="8611165" y="2636496"/>
                  </a:lnTo>
                  <a:close/>
                  <a:moveTo>
                    <a:pt x="8375869" y="2632457"/>
                  </a:moveTo>
                  <a:lnTo>
                    <a:pt x="8385779" y="2632457"/>
                  </a:lnTo>
                  <a:lnTo>
                    <a:pt x="8389799" y="2636496"/>
                  </a:lnTo>
                  <a:lnTo>
                    <a:pt x="8389799" y="2646366"/>
                  </a:lnTo>
                  <a:lnTo>
                    <a:pt x="8385779" y="2650405"/>
                  </a:lnTo>
                  <a:lnTo>
                    <a:pt x="8375869" y="2650405"/>
                  </a:lnTo>
                  <a:lnTo>
                    <a:pt x="8371850" y="2646366"/>
                  </a:lnTo>
                  <a:lnTo>
                    <a:pt x="8371850" y="2636496"/>
                  </a:lnTo>
                  <a:close/>
                  <a:moveTo>
                    <a:pt x="8136553" y="2632457"/>
                  </a:moveTo>
                  <a:lnTo>
                    <a:pt x="8146464" y="2632457"/>
                  </a:lnTo>
                  <a:lnTo>
                    <a:pt x="8150483" y="2636496"/>
                  </a:lnTo>
                  <a:lnTo>
                    <a:pt x="8150483" y="2646366"/>
                  </a:lnTo>
                  <a:lnTo>
                    <a:pt x="8146464" y="2650405"/>
                  </a:lnTo>
                  <a:lnTo>
                    <a:pt x="8136553" y="2650405"/>
                  </a:lnTo>
                  <a:lnTo>
                    <a:pt x="8132534" y="2646366"/>
                  </a:lnTo>
                  <a:lnTo>
                    <a:pt x="8132534" y="2636496"/>
                  </a:lnTo>
                  <a:close/>
                  <a:moveTo>
                    <a:pt x="7897241" y="2632457"/>
                  </a:moveTo>
                  <a:lnTo>
                    <a:pt x="7907151" y="2632457"/>
                  </a:lnTo>
                  <a:lnTo>
                    <a:pt x="7911170" y="2636496"/>
                  </a:lnTo>
                  <a:lnTo>
                    <a:pt x="7911170" y="2646366"/>
                  </a:lnTo>
                  <a:lnTo>
                    <a:pt x="7907151" y="2650405"/>
                  </a:lnTo>
                  <a:lnTo>
                    <a:pt x="7897241" y="2650405"/>
                  </a:lnTo>
                  <a:lnTo>
                    <a:pt x="7893222" y="2646366"/>
                  </a:lnTo>
                  <a:lnTo>
                    <a:pt x="7893222" y="2636496"/>
                  </a:lnTo>
                  <a:close/>
                  <a:moveTo>
                    <a:pt x="7657926" y="2632457"/>
                  </a:moveTo>
                  <a:lnTo>
                    <a:pt x="7667836" y="2632457"/>
                  </a:lnTo>
                  <a:lnTo>
                    <a:pt x="7671855" y="2636496"/>
                  </a:lnTo>
                  <a:lnTo>
                    <a:pt x="7671855" y="2646366"/>
                  </a:lnTo>
                  <a:lnTo>
                    <a:pt x="7667836" y="2650405"/>
                  </a:lnTo>
                  <a:lnTo>
                    <a:pt x="7657926" y="2650405"/>
                  </a:lnTo>
                  <a:lnTo>
                    <a:pt x="7653906" y="2646366"/>
                  </a:lnTo>
                  <a:lnTo>
                    <a:pt x="7653906" y="2636496"/>
                  </a:lnTo>
                  <a:close/>
                  <a:moveTo>
                    <a:pt x="7418611" y="2632457"/>
                  </a:moveTo>
                  <a:lnTo>
                    <a:pt x="7428521" y="2632457"/>
                  </a:lnTo>
                  <a:lnTo>
                    <a:pt x="7432540" y="2636496"/>
                  </a:lnTo>
                  <a:lnTo>
                    <a:pt x="7432540" y="2646366"/>
                  </a:lnTo>
                  <a:lnTo>
                    <a:pt x="7428521" y="2650405"/>
                  </a:lnTo>
                  <a:lnTo>
                    <a:pt x="7418611" y="2650405"/>
                  </a:lnTo>
                  <a:lnTo>
                    <a:pt x="7414592" y="2646366"/>
                  </a:lnTo>
                  <a:lnTo>
                    <a:pt x="7414592" y="2636496"/>
                  </a:lnTo>
                  <a:close/>
                  <a:moveTo>
                    <a:pt x="7179298" y="2632457"/>
                  </a:moveTo>
                  <a:lnTo>
                    <a:pt x="7189209" y="2632457"/>
                  </a:lnTo>
                  <a:lnTo>
                    <a:pt x="7193228" y="2636496"/>
                  </a:lnTo>
                  <a:lnTo>
                    <a:pt x="7193228" y="2646366"/>
                  </a:lnTo>
                  <a:lnTo>
                    <a:pt x="7189209" y="2650405"/>
                  </a:lnTo>
                  <a:lnTo>
                    <a:pt x="7179298" y="2650405"/>
                  </a:lnTo>
                  <a:lnTo>
                    <a:pt x="7175279" y="2646366"/>
                  </a:lnTo>
                  <a:lnTo>
                    <a:pt x="7175279" y="2636496"/>
                  </a:lnTo>
                  <a:close/>
                  <a:moveTo>
                    <a:pt x="6939983" y="2632457"/>
                  </a:moveTo>
                  <a:lnTo>
                    <a:pt x="6949894" y="2632457"/>
                  </a:lnTo>
                  <a:lnTo>
                    <a:pt x="6953913" y="2636496"/>
                  </a:lnTo>
                  <a:lnTo>
                    <a:pt x="6953913" y="2646366"/>
                  </a:lnTo>
                  <a:lnTo>
                    <a:pt x="6949894" y="2650405"/>
                  </a:lnTo>
                  <a:lnTo>
                    <a:pt x="6939983" y="2650405"/>
                  </a:lnTo>
                  <a:lnTo>
                    <a:pt x="6935964" y="2646366"/>
                  </a:lnTo>
                  <a:lnTo>
                    <a:pt x="6935964" y="2636496"/>
                  </a:lnTo>
                  <a:close/>
                  <a:moveTo>
                    <a:pt x="6700670" y="2632457"/>
                  </a:moveTo>
                  <a:lnTo>
                    <a:pt x="6710581" y="2632457"/>
                  </a:lnTo>
                  <a:lnTo>
                    <a:pt x="6714600" y="2636496"/>
                  </a:lnTo>
                  <a:lnTo>
                    <a:pt x="6714600" y="2646366"/>
                  </a:lnTo>
                  <a:lnTo>
                    <a:pt x="6710581" y="2650405"/>
                  </a:lnTo>
                  <a:lnTo>
                    <a:pt x="6700670" y="2650405"/>
                  </a:lnTo>
                  <a:lnTo>
                    <a:pt x="6696651" y="2646366"/>
                  </a:lnTo>
                  <a:lnTo>
                    <a:pt x="6696651" y="2636496"/>
                  </a:lnTo>
                  <a:close/>
                  <a:moveTo>
                    <a:pt x="6461356" y="2632457"/>
                  </a:moveTo>
                  <a:lnTo>
                    <a:pt x="6471266" y="2632457"/>
                  </a:lnTo>
                  <a:lnTo>
                    <a:pt x="6475285" y="2636496"/>
                  </a:lnTo>
                  <a:lnTo>
                    <a:pt x="6475285" y="2646366"/>
                  </a:lnTo>
                  <a:lnTo>
                    <a:pt x="6471266" y="2650405"/>
                  </a:lnTo>
                  <a:lnTo>
                    <a:pt x="6461356" y="2650405"/>
                  </a:lnTo>
                  <a:lnTo>
                    <a:pt x="6457337" y="2646366"/>
                  </a:lnTo>
                  <a:lnTo>
                    <a:pt x="6457337" y="2636496"/>
                  </a:lnTo>
                  <a:close/>
                  <a:moveTo>
                    <a:pt x="6222042" y="2632457"/>
                  </a:moveTo>
                  <a:lnTo>
                    <a:pt x="6231952" y="2632457"/>
                  </a:lnTo>
                  <a:lnTo>
                    <a:pt x="6235971" y="2636496"/>
                  </a:lnTo>
                  <a:lnTo>
                    <a:pt x="6235971" y="2646366"/>
                  </a:lnTo>
                  <a:lnTo>
                    <a:pt x="6231952" y="2650405"/>
                  </a:lnTo>
                  <a:lnTo>
                    <a:pt x="6222042" y="2650405"/>
                  </a:lnTo>
                  <a:lnTo>
                    <a:pt x="6218023" y="2646366"/>
                  </a:lnTo>
                  <a:lnTo>
                    <a:pt x="6218023" y="2636496"/>
                  </a:lnTo>
                  <a:close/>
                  <a:moveTo>
                    <a:pt x="5982729" y="2632457"/>
                  </a:moveTo>
                  <a:lnTo>
                    <a:pt x="5992639" y="2632457"/>
                  </a:lnTo>
                  <a:lnTo>
                    <a:pt x="5996658" y="2636496"/>
                  </a:lnTo>
                  <a:lnTo>
                    <a:pt x="5996658" y="2646366"/>
                  </a:lnTo>
                  <a:lnTo>
                    <a:pt x="5992639" y="2650405"/>
                  </a:lnTo>
                  <a:lnTo>
                    <a:pt x="5982729" y="2650405"/>
                  </a:lnTo>
                  <a:lnTo>
                    <a:pt x="5978710" y="2646366"/>
                  </a:lnTo>
                  <a:lnTo>
                    <a:pt x="5978710" y="2636496"/>
                  </a:lnTo>
                  <a:close/>
                  <a:moveTo>
                    <a:pt x="5743412" y="2632457"/>
                  </a:moveTo>
                  <a:lnTo>
                    <a:pt x="5753323" y="2632457"/>
                  </a:lnTo>
                  <a:lnTo>
                    <a:pt x="5757342" y="2636496"/>
                  </a:lnTo>
                  <a:lnTo>
                    <a:pt x="5757342" y="2646366"/>
                  </a:lnTo>
                  <a:lnTo>
                    <a:pt x="5753323" y="2650405"/>
                  </a:lnTo>
                  <a:lnTo>
                    <a:pt x="5743412" y="2650405"/>
                  </a:lnTo>
                  <a:lnTo>
                    <a:pt x="5739393" y="2646366"/>
                  </a:lnTo>
                  <a:lnTo>
                    <a:pt x="5739393" y="2636496"/>
                  </a:lnTo>
                  <a:close/>
                  <a:moveTo>
                    <a:pt x="5504099" y="2632457"/>
                  </a:moveTo>
                  <a:lnTo>
                    <a:pt x="5514010" y="2632457"/>
                  </a:lnTo>
                  <a:lnTo>
                    <a:pt x="5518029" y="2636496"/>
                  </a:lnTo>
                  <a:lnTo>
                    <a:pt x="5518029" y="2646366"/>
                  </a:lnTo>
                  <a:lnTo>
                    <a:pt x="5514010" y="2650405"/>
                  </a:lnTo>
                  <a:lnTo>
                    <a:pt x="5504099" y="2650405"/>
                  </a:lnTo>
                  <a:lnTo>
                    <a:pt x="5500080" y="2646366"/>
                  </a:lnTo>
                  <a:lnTo>
                    <a:pt x="5500080" y="2636496"/>
                  </a:lnTo>
                  <a:close/>
                  <a:moveTo>
                    <a:pt x="5264784" y="2632457"/>
                  </a:moveTo>
                  <a:lnTo>
                    <a:pt x="5274694" y="2632457"/>
                  </a:lnTo>
                  <a:lnTo>
                    <a:pt x="5278713" y="2636496"/>
                  </a:lnTo>
                  <a:lnTo>
                    <a:pt x="5278713" y="2646366"/>
                  </a:lnTo>
                  <a:lnTo>
                    <a:pt x="5274694" y="2650405"/>
                  </a:lnTo>
                  <a:lnTo>
                    <a:pt x="5264784" y="2650405"/>
                  </a:lnTo>
                  <a:lnTo>
                    <a:pt x="5260765" y="2646366"/>
                  </a:lnTo>
                  <a:lnTo>
                    <a:pt x="5260765" y="2636496"/>
                  </a:lnTo>
                  <a:close/>
                  <a:moveTo>
                    <a:pt x="5025470" y="2632457"/>
                  </a:moveTo>
                  <a:lnTo>
                    <a:pt x="5035381" y="2632457"/>
                  </a:lnTo>
                  <a:lnTo>
                    <a:pt x="5039400" y="2636496"/>
                  </a:lnTo>
                  <a:lnTo>
                    <a:pt x="5039400" y="2646366"/>
                  </a:lnTo>
                  <a:lnTo>
                    <a:pt x="5035381" y="2650405"/>
                  </a:lnTo>
                  <a:lnTo>
                    <a:pt x="5025470" y="2650405"/>
                  </a:lnTo>
                  <a:lnTo>
                    <a:pt x="5021451" y="2646366"/>
                  </a:lnTo>
                  <a:lnTo>
                    <a:pt x="5021451" y="2636496"/>
                  </a:lnTo>
                  <a:close/>
                  <a:moveTo>
                    <a:pt x="4786241" y="2632457"/>
                  </a:moveTo>
                  <a:lnTo>
                    <a:pt x="4796152" y="2632457"/>
                  </a:lnTo>
                  <a:lnTo>
                    <a:pt x="4800171" y="2636496"/>
                  </a:lnTo>
                  <a:lnTo>
                    <a:pt x="4800171" y="2646366"/>
                  </a:lnTo>
                  <a:lnTo>
                    <a:pt x="4796152" y="2650405"/>
                  </a:lnTo>
                  <a:lnTo>
                    <a:pt x="4786241" y="2650405"/>
                  </a:lnTo>
                  <a:lnTo>
                    <a:pt x="4782224" y="2646366"/>
                  </a:lnTo>
                  <a:lnTo>
                    <a:pt x="4782224" y="2636496"/>
                  </a:lnTo>
                  <a:close/>
                  <a:moveTo>
                    <a:pt x="4546929" y="2632457"/>
                  </a:moveTo>
                  <a:lnTo>
                    <a:pt x="4556840" y="2632457"/>
                  </a:lnTo>
                  <a:lnTo>
                    <a:pt x="4560859" y="2636496"/>
                  </a:lnTo>
                  <a:lnTo>
                    <a:pt x="4560859" y="2646366"/>
                  </a:lnTo>
                  <a:lnTo>
                    <a:pt x="4556840" y="2650405"/>
                  </a:lnTo>
                  <a:lnTo>
                    <a:pt x="4546929" y="2650405"/>
                  </a:lnTo>
                  <a:lnTo>
                    <a:pt x="4542910" y="2646366"/>
                  </a:lnTo>
                  <a:lnTo>
                    <a:pt x="4542910" y="2636496"/>
                  </a:lnTo>
                  <a:close/>
                  <a:moveTo>
                    <a:pt x="4307612" y="2632457"/>
                  </a:moveTo>
                  <a:lnTo>
                    <a:pt x="4317523" y="2632457"/>
                  </a:lnTo>
                  <a:lnTo>
                    <a:pt x="4321543" y="2636496"/>
                  </a:lnTo>
                  <a:lnTo>
                    <a:pt x="4321543" y="2646366"/>
                  </a:lnTo>
                  <a:lnTo>
                    <a:pt x="4317523" y="2650405"/>
                  </a:lnTo>
                  <a:lnTo>
                    <a:pt x="4307612" y="2650405"/>
                  </a:lnTo>
                  <a:lnTo>
                    <a:pt x="4303595" y="2646366"/>
                  </a:lnTo>
                  <a:lnTo>
                    <a:pt x="4303595" y="2636496"/>
                  </a:lnTo>
                  <a:close/>
                  <a:moveTo>
                    <a:pt x="4068297" y="2632457"/>
                  </a:moveTo>
                  <a:lnTo>
                    <a:pt x="4078210" y="2632457"/>
                  </a:lnTo>
                  <a:lnTo>
                    <a:pt x="4082229" y="2636496"/>
                  </a:lnTo>
                  <a:lnTo>
                    <a:pt x="4082229" y="2646366"/>
                  </a:lnTo>
                  <a:lnTo>
                    <a:pt x="4078210" y="2650405"/>
                  </a:lnTo>
                  <a:lnTo>
                    <a:pt x="4068297" y="2650405"/>
                  </a:lnTo>
                  <a:lnTo>
                    <a:pt x="4064278" y="2646366"/>
                  </a:lnTo>
                  <a:lnTo>
                    <a:pt x="4064278" y="2636496"/>
                  </a:lnTo>
                  <a:close/>
                  <a:moveTo>
                    <a:pt x="3828990" y="2632457"/>
                  </a:moveTo>
                  <a:lnTo>
                    <a:pt x="3838899" y="2632457"/>
                  </a:lnTo>
                  <a:lnTo>
                    <a:pt x="3842917" y="2636496"/>
                  </a:lnTo>
                  <a:lnTo>
                    <a:pt x="3842917" y="2646366"/>
                  </a:lnTo>
                  <a:lnTo>
                    <a:pt x="3838899" y="2650405"/>
                  </a:lnTo>
                  <a:lnTo>
                    <a:pt x="3828990" y="2650405"/>
                  </a:lnTo>
                  <a:lnTo>
                    <a:pt x="3824971" y="2646366"/>
                  </a:lnTo>
                  <a:lnTo>
                    <a:pt x="3824971" y="2636496"/>
                  </a:lnTo>
                  <a:close/>
                  <a:moveTo>
                    <a:pt x="3589676" y="2632457"/>
                  </a:moveTo>
                  <a:lnTo>
                    <a:pt x="3599585" y="2632457"/>
                  </a:lnTo>
                  <a:lnTo>
                    <a:pt x="3603604" y="2636496"/>
                  </a:lnTo>
                  <a:lnTo>
                    <a:pt x="3603604" y="2646366"/>
                  </a:lnTo>
                  <a:lnTo>
                    <a:pt x="3599585" y="2650405"/>
                  </a:lnTo>
                  <a:lnTo>
                    <a:pt x="3589676" y="2650405"/>
                  </a:lnTo>
                  <a:lnTo>
                    <a:pt x="3585657" y="2646366"/>
                  </a:lnTo>
                  <a:lnTo>
                    <a:pt x="3585657" y="2636496"/>
                  </a:lnTo>
                  <a:close/>
                  <a:moveTo>
                    <a:pt x="3350359" y="2632457"/>
                  </a:moveTo>
                  <a:lnTo>
                    <a:pt x="3360268" y="2632457"/>
                  </a:lnTo>
                  <a:lnTo>
                    <a:pt x="3364287" y="2636496"/>
                  </a:lnTo>
                  <a:lnTo>
                    <a:pt x="3364287" y="2646366"/>
                  </a:lnTo>
                  <a:lnTo>
                    <a:pt x="3360268" y="2650405"/>
                  </a:lnTo>
                  <a:lnTo>
                    <a:pt x="3350359" y="2650405"/>
                  </a:lnTo>
                  <a:lnTo>
                    <a:pt x="3346340" y="2646366"/>
                  </a:lnTo>
                  <a:lnTo>
                    <a:pt x="3346340" y="2636496"/>
                  </a:lnTo>
                  <a:close/>
                  <a:moveTo>
                    <a:pt x="3111048" y="2632457"/>
                  </a:moveTo>
                  <a:lnTo>
                    <a:pt x="3120959" y="2632457"/>
                  </a:lnTo>
                  <a:lnTo>
                    <a:pt x="3124977" y="2636496"/>
                  </a:lnTo>
                  <a:lnTo>
                    <a:pt x="3124977" y="2646366"/>
                  </a:lnTo>
                  <a:lnTo>
                    <a:pt x="3120959" y="2650405"/>
                  </a:lnTo>
                  <a:lnTo>
                    <a:pt x="3111048" y="2650405"/>
                  </a:lnTo>
                  <a:lnTo>
                    <a:pt x="3107029" y="2646366"/>
                  </a:lnTo>
                  <a:lnTo>
                    <a:pt x="3107029" y="2636496"/>
                  </a:lnTo>
                  <a:close/>
                  <a:moveTo>
                    <a:pt x="2871737" y="2632457"/>
                  </a:moveTo>
                  <a:lnTo>
                    <a:pt x="2881646" y="2632457"/>
                  </a:lnTo>
                  <a:lnTo>
                    <a:pt x="2885666" y="2636496"/>
                  </a:lnTo>
                  <a:lnTo>
                    <a:pt x="2885666" y="2646366"/>
                  </a:lnTo>
                  <a:lnTo>
                    <a:pt x="2881646" y="2650405"/>
                  </a:lnTo>
                  <a:lnTo>
                    <a:pt x="2871737" y="2650405"/>
                  </a:lnTo>
                  <a:lnTo>
                    <a:pt x="2867717" y="2646366"/>
                  </a:lnTo>
                  <a:lnTo>
                    <a:pt x="2867717" y="2636496"/>
                  </a:lnTo>
                  <a:close/>
                  <a:moveTo>
                    <a:pt x="2632423" y="2632457"/>
                  </a:moveTo>
                  <a:lnTo>
                    <a:pt x="2642334" y="2632457"/>
                  </a:lnTo>
                  <a:lnTo>
                    <a:pt x="2646352" y="2636496"/>
                  </a:lnTo>
                  <a:lnTo>
                    <a:pt x="2646352" y="2646366"/>
                  </a:lnTo>
                  <a:lnTo>
                    <a:pt x="2642334" y="2650405"/>
                  </a:lnTo>
                  <a:lnTo>
                    <a:pt x="2632423" y="2650405"/>
                  </a:lnTo>
                  <a:lnTo>
                    <a:pt x="2628404" y="2646366"/>
                  </a:lnTo>
                  <a:lnTo>
                    <a:pt x="2628404" y="2636496"/>
                  </a:lnTo>
                  <a:close/>
                  <a:moveTo>
                    <a:pt x="2393104" y="2632457"/>
                  </a:moveTo>
                  <a:lnTo>
                    <a:pt x="2403015" y="2632457"/>
                  </a:lnTo>
                  <a:lnTo>
                    <a:pt x="2407034" y="2636496"/>
                  </a:lnTo>
                  <a:lnTo>
                    <a:pt x="2407034" y="2646366"/>
                  </a:lnTo>
                  <a:lnTo>
                    <a:pt x="2403015" y="2650405"/>
                  </a:lnTo>
                  <a:lnTo>
                    <a:pt x="2393104" y="2650405"/>
                  </a:lnTo>
                  <a:lnTo>
                    <a:pt x="2389087" y="2646366"/>
                  </a:lnTo>
                  <a:lnTo>
                    <a:pt x="2389087" y="2636496"/>
                  </a:lnTo>
                  <a:close/>
                  <a:moveTo>
                    <a:pt x="2157821" y="2632457"/>
                  </a:moveTo>
                  <a:lnTo>
                    <a:pt x="2167732" y="2632457"/>
                  </a:lnTo>
                  <a:lnTo>
                    <a:pt x="2171750" y="2636496"/>
                  </a:lnTo>
                  <a:lnTo>
                    <a:pt x="2171750" y="2646366"/>
                  </a:lnTo>
                  <a:lnTo>
                    <a:pt x="2167732" y="2650405"/>
                  </a:lnTo>
                  <a:lnTo>
                    <a:pt x="2157821" y="2650405"/>
                  </a:lnTo>
                  <a:lnTo>
                    <a:pt x="2153802" y="2646366"/>
                  </a:lnTo>
                  <a:lnTo>
                    <a:pt x="2153802" y="2636496"/>
                  </a:lnTo>
                  <a:close/>
                  <a:moveTo>
                    <a:pt x="1918513" y="2632457"/>
                  </a:moveTo>
                  <a:lnTo>
                    <a:pt x="1928422" y="2632457"/>
                  </a:lnTo>
                  <a:lnTo>
                    <a:pt x="1932441" y="2636496"/>
                  </a:lnTo>
                  <a:lnTo>
                    <a:pt x="1932441" y="2646366"/>
                  </a:lnTo>
                  <a:lnTo>
                    <a:pt x="1928422" y="2650405"/>
                  </a:lnTo>
                  <a:lnTo>
                    <a:pt x="1918513" y="2650405"/>
                  </a:lnTo>
                  <a:lnTo>
                    <a:pt x="1914494" y="2646366"/>
                  </a:lnTo>
                  <a:lnTo>
                    <a:pt x="1914494" y="2636496"/>
                  </a:lnTo>
                  <a:close/>
                  <a:moveTo>
                    <a:pt x="1679212" y="2632457"/>
                  </a:moveTo>
                  <a:lnTo>
                    <a:pt x="1689122" y="2632457"/>
                  </a:lnTo>
                  <a:lnTo>
                    <a:pt x="1693141" y="2636496"/>
                  </a:lnTo>
                  <a:lnTo>
                    <a:pt x="1693141" y="2646366"/>
                  </a:lnTo>
                  <a:lnTo>
                    <a:pt x="1689122" y="2650405"/>
                  </a:lnTo>
                  <a:lnTo>
                    <a:pt x="1679212" y="2650405"/>
                  </a:lnTo>
                  <a:lnTo>
                    <a:pt x="1675193" y="2646366"/>
                  </a:lnTo>
                  <a:lnTo>
                    <a:pt x="1675193" y="2636496"/>
                  </a:lnTo>
                  <a:close/>
                  <a:moveTo>
                    <a:pt x="1439896" y="2632457"/>
                  </a:moveTo>
                  <a:lnTo>
                    <a:pt x="1449806" y="2632457"/>
                  </a:lnTo>
                  <a:lnTo>
                    <a:pt x="1453824" y="2636496"/>
                  </a:lnTo>
                  <a:lnTo>
                    <a:pt x="1453824" y="2646366"/>
                  </a:lnTo>
                  <a:lnTo>
                    <a:pt x="1449806" y="2650405"/>
                  </a:lnTo>
                  <a:lnTo>
                    <a:pt x="1439896" y="2650405"/>
                  </a:lnTo>
                  <a:lnTo>
                    <a:pt x="1435876" y="2646366"/>
                  </a:lnTo>
                  <a:lnTo>
                    <a:pt x="1435876" y="2636496"/>
                  </a:lnTo>
                  <a:close/>
                  <a:moveTo>
                    <a:pt x="1200580" y="2632457"/>
                  </a:moveTo>
                  <a:lnTo>
                    <a:pt x="1210490" y="2632457"/>
                  </a:lnTo>
                  <a:lnTo>
                    <a:pt x="1214509" y="2636496"/>
                  </a:lnTo>
                  <a:lnTo>
                    <a:pt x="1214509" y="2646366"/>
                  </a:lnTo>
                  <a:lnTo>
                    <a:pt x="1210490" y="2650405"/>
                  </a:lnTo>
                  <a:lnTo>
                    <a:pt x="1200580" y="2650405"/>
                  </a:lnTo>
                  <a:lnTo>
                    <a:pt x="1196561" y="2646366"/>
                  </a:lnTo>
                  <a:lnTo>
                    <a:pt x="1196561" y="2636496"/>
                  </a:lnTo>
                  <a:close/>
                  <a:moveTo>
                    <a:pt x="961267" y="2632457"/>
                  </a:moveTo>
                  <a:lnTo>
                    <a:pt x="971178" y="2632457"/>
                  </a:lnTo>
                  <a:lnTo>
                    <a:pt x="975196" y="2636496"/>
                  </a:lnTo>
                  <a:lnTo>
                    <a:pt x="975196" y="2646366"/>
                  </a:lnTo>
                  <a:lnTo>
                    <a:pt x="971178" y="2650405"/>
                  </a:lnTo>
                  <a:lnTo>
                    <a:pt x="961267" y="2650405"/>
                  </a:lnTo>
                  <a:lnTo>
                    <a:pt x="957249" y="2646366"/>
                  </a:lnTo>
                  <a:lnTo>
                    <a:pt x="957249" y="2636496"/>
                  </a:lnTo>
                  <a:close/>
                  <a:moveTo>
                    <a:pt x="721970" y="2632457"/>
                  </a:moveTo>
                  <a:lnTo>
                    <a:pt x="731879" y="2632457"/>
                  </a:lnTo>
                  <a:lnTo>
                    <a:pt x="735898" y="2636496"/>
                  </a:lnTo>
                  <a:lnTo>
                    <a:pt x="735898" y="2646366"/>
                  </a:lnTo>
                  <a:lnTo>
                    <a:pt x="731879" y="2650405"/>
                  </a:lnTo>
                  <a:lnTo>
                    <a:pt x="721970" y="2650405"/>
                  </a:lnTo>
                  <a:lnTo>
                    <a:pt x="717951" y="2646366"/>
                  </a:lnTo>
                  <a:lnTo>
                    <a:pt x="717951" y="2636496"/>
                  </a:lnTo>
                  <a:close/>
                  <a:moveTo>
                    <a:pt x="482657" y="2632457"/>
                  </a:moveTo>
                  <a:lnTo>
                    <a:pt x="492567" y="2632457"/>
                  </a:lnTo>
                  <a:lnTo>
                    <a:pt x="496586" y="2636496"/>
                  </a:lnTo>
                  <a:lnTo>
                    <a:pt x="496586" y="2646366"/>
                  </a:lnTo>
                  <a:lnTo>
                    <a:pt x="492567" y="2650405"/>
                  </a:lnTo>
                  <a:lnTo>
                    <a:pt x="482657" y="2650405"/>
                  </a:lnTo>
                  <a:lnTo>
                    <a:pt x="478638" y="2646366"/>
                  </a:lnTo>
                  <a:lnTo>
                    <a:pt x="478638" y="2636496"/>
                  </a:lnTo>
                  <a:close/>
                  <a:moveTo>
                    <a:pt x="243344" y="2632457"/>
                  </a:moveTo>
                  <a:lnTo>
                    <a:pt x="253254" y="2632457"/>
                  </a:lnTo>
                  <a:lnTo>
                    <a:pt x="257273" y="2636496"/>
                  </a:lnTo>
                  <a:lnTo>
                    <a:pt x="257273" y="2646366"/>
                  </a:lnTo>
                  <a:lnTo>
                    <a:pt x="253254" y="2650405"/>
                  </a:lnTo>
                  <a:lnTo>
                    <a:pt x="243344" y="2650405"/>
                  </a:lnTo>
                  <a:lnTo>
                    <a:pt x="239325" y="2646366"/>
                  </a:lnTo>
                  <a:lnTo>
                    <a:pt x="239325" y="2636496"/>
                  </a:lnTo>
                  <a:close/>
                  <a:moveTo>
                    <a:pt x="4030" y="2632457"/>
                  </a:moveTo>
                  <a:lnTo>
                    <a:pt x="13941" y="2632457"/>
                  </a:lnTo>
                  <a:lnTo>
                    <a:pt x="17960" y="2636496"/>
                  </a:lnTo>
                  <a:lnTo>
                    <a:pt x="17960" y="2646366"/>
                  </a:lnTo>
                  <a:lnTo>
                    <a:pt x="13941" y="2650405"/>
                  </a:lnTo>
                  <a:lnTo>
                    <a:pt x="4030" y="2650405"/>
                  </a:lnTo>
                  <a:lnTo>
                    <a:pt x="11" y="2646366"/>
                  </a:lnTo>
                  <a:lnTo>
                    <a:pt x="11" y="2636496"/>
                  </a:lnTo>
                  <a:close/>
                  <a:moveTo>
                    <a:pt x="2157821" y="2393178"/>
                  </a:moveTo>
                  <a:lnTo>
                    <a:pt x="2167732" y="2393178"/>
                  </a:lnTo>
                  <a:lnTo>
                    <a:pt x="2171750" y="2397216"/>
                  </a:lnTo>
                  <a:lnTo>
                    <a:pt x="2171750" y="2407087"/>
                  </a:lnTo>
                  <a:lnTo>
                    <a:pt x="2167732" y="2411126"/>
                  </a:lnTo>
                  <a:lnTo>
                    <a:pt x="2157821" y="2411126"/>
                  </a:lnTo>
                  <a:lnTo>
                    <a:pt x="2153802" y="2407087"/>
                  </a:lnTo>
                  <a:lnTo>
                    <a:pt x="2153802" y="2397216"/>
                  </a:lnTo>
                  <a:close/>
                  <a:moveTo>
                    <a:pt x="1918513" y="2393178"/>
                  </a:moveTo>
                  <a:lnTo>
                    <a:pt x="1928422" y="2393178"/>
                  </a:lnTo>
                  <a:lnTo>
                    <a:pt x="1932443" y="2397216"/>
                  </a:lnTo>
                  <a:lnTo>
                    <a:pt x="1932443" y="2407087"/>
                  </a:lnTo>
                  <a:lnTo>
                    <a:pt x="1928422" y="2411126"/>
                  </a:lnTo>
                  <a:lnTo>
                    <a:pt x="1918513" y="2411126"/>
                  </a:lnTo>
                  <a:lnTo>
                    <a:pt x="1914494" y="2407087"/>
                  </a:lnTo>
                  <a:lnTo>
                    <a:pt x="1914494" y="2397216"/>
                  </a:lnTo>
                  <a:close/>
                  <a:moveTo>
                    <a:pt x="1679212" y="2393178"/>
                  </a:moveTo>
                  <a:lnTo>
                    <a:pt x="1689123" y="2393178"/>
                  </a:lnTo>
                  <a:lnTo>
                    <a:pt x="1693142" y="2397216"/>
                  </a:lnTo>
                  <a:lnTo>
                    <a:pt x="1693142" y="2407087"/>
                  </a:lnTo>
                  <a:lnTo>
                    <a:pt x="1689123" y="2411126"/>
                  </a:lnTo>
                  <a:lnTo>
                    <a:pt x="1679212" y="2411126"/>
                  </a:lnTo>
                  <a:lnTo>
                    <a:pt x="1675194" y="2407087"/>
                  </a:lnTo>
                  <a:lnTo>
                    <a:pt x="1675194" y="2397216"/>
                  </a:lnTo>
                  <a:close/>
                  <a:moveTo>
                    <a:pt x="1439896" y="2393178"/>
                  </a:moveTo>
                  <a:lnTo>
                    <a:pt x="1449806" y="2393178"/>
                  </a:lnTo>
                  <a:lnTo>
                    <a:pt x="1453826" y="2397216"/>
                  </a:lnTo>
                  <a:lnTo>
                    <a:pt x="1453826" y="2407087"/>
                  </a:lnTo>
                  <a:lnTo>
                    <a:pt x="1449806" y="2411126"/>
                  </a:lnTo>
                  <a:lnTo>
                    <a:pt x="1439896" y="2411126"/>
                  </a:lnTo>
                  <a:lnTo>
                    <a:pt x="1435878" y="2407087"/>
                  </a:lnTo>
                  <a:lnTo>
                    <a:pt x="1435878" y="2397216"/>
                  </a:lnTo>
                  <a:close/>
                  <a:moveTo>
                    <a:pt x="1200580" y="2393178"/>
                  </a:moveTo>
                  <a:lnTo>
                    <a:pt x="1210491" y="2393178"/>
                  </a:lnTo>
                  <a:lnTo>
                    <a:pt x="1214510" y="2397216"/>
                  </a:lnTo>
                  <a:lnTo>
                    <a:pt x="1214510" y="2407087"/>
                  </a:lnTo>
                  <a:lnTo>
                    <a:pt x="1210491" y="2411126"/>
                  </a:lnTo>
                  <a:lnTo>
                    <a:pt x="1200580" y="2411126"/>
                  </a:lnTo>
                  <a:lnTo>
                    <a:pt x="1196562" y="2407087"/>
                  </a:lnTo>
                  <a:lnTo>
                    <a:pt x="1196562" y="2397216"/>
                  </a:lnTo>
                  <a:close/>
                  <a:moveTo>
                    <a:pt x="961268" y="2393178"/>
                  </a:moveTo>
                  <a:lnTo>
                    <a:pt x="971178" y="2393178"/>
                  </a:lnTo>
                  <a:lnTo>
                    <a:pt x="975196" y="2397216"/>
                  </a:lnTo>
                  <a:lnTo>
                    <a:pt x="975196" y="2407087"/>
                  </a:lnTo>
                  <a:lnTo>
                    <a:pt x="971178" y="2411126"/>
                  </a:lnTo>
                  <a:lnTo>
                    <a:pt x="961268" y="2411126"/>
                  </a:lnTo>
                  <a:lnTo>
                    <a:pt x="957249" y="2407087"/>
                  </a:lnTo>
                  <a:lnTo>
                    <a:pt x="957249" y="2397216"/>
                  </a:lnTo>
                  <a:close/>
                  <a:moveTo>
                    <a:pt x="9572438" y="2393127"/>
                  </a:moveTo>
                  <a:lnTo>
                    <a:pt x="9582349" y="2393127"/>
                  </a:lnTo>
                  <a:lnTo>
                    <a:pt x="9586368" y="2397165"/>
                  </a:lnTo>
                  <a:lnTo>
                    <a:pt x="9586368" y="2407036"/>
                  </a:lnTo>
                  <a:lnTo>
                    <a:pt x="9582349" y="2411074"/>
                  </a:lnTo>
                  <a:lnTo>
                    <a:pt x="9572438" y="2411074"/>
                  </a:lnTo>
                  <a:lnTo>
                    <a:pt x="9568419" y="2407036"/>
                  </a:lnTo>
                  <a:lnTo>
                    <a:pt x="9568419" y="2397165"/>
                  </a:lnTo>
                  <a:close/>
                  <a:moveTo>
                    <a:pt x="9333125" y="2393127"/>
                  </a:moveTo>
                  <a:lnTo>
                    <a:pt x="9343036" y="2393127"/>
                  </a:lnTo>
                  <a:lnTo>
                    <a:pt x="9347055" y="2397165"/>
                  </a:lnTo>
                  <a:lnTo>
                    <a:pt x="9347055" y="2407036"/>
                  </a:lnTo>
                  <a:lnTo>
                    <a:pt x="9343036" y="2411074"/>
                  </a:lnTo>
                  <a:lnTo>
                    <a:pt x="9333125" y="2411074"/>
                  </a:lnTo>
                  <a:lnTo>
                    <a:pt x="9329106" y="2407036"/>
                  </a:lnTo>
                  <a:lnTo>
                    <a:pt x="9329106" y="2397165"/>
                  </a:lnTo>
                  <a:close/>
                  <a:moveTo>
                    <a:pt x="9093811" y="2393127"/>
                  </a:moveTo>
                  <a:lnTo>
                    <a:pt x="9103722" y="2393127"/>
                  </a:lnTo>
                  <a:lnTo>
                    <a:pt x="9107741" y="2397165"/>
                  </a:lnTo>
                  <a:lnTo>
                    <a:pt x="9107741" y="2407036"/>
                  </a:lnTo>
                  <a:lnTo>
                    <a:pt x="9103722" y="2411074"/>
                  </a:lnTo>
                  <a:lnTo>
                    <a:pt x="9093811" y="2411074"/>
                  </a:lnTo>
                  <a:lnTo>
                    <a:pt x="9089792" y="2407036"/>
                  </a:lnTo>
                  <a:lnTo>
                    <a:pt x="9089792" y="2397165"/>
                  </a:lnTo>
                  <a:close/>
                  <a:moveTo>
                    <a:pt x="8854496" y="2393127"/>
                  </a:moveTo>
                  <a:lnTo>
                    <a:pt x="8864407" y="2393127"/>
                  </a:lnTo>
                  <a:lnTo>
                    <a:pt x="8868426" y="2397165"/>
                  </a:lnTo>
                  <a:lnTo>
                    <a:pt x="8868426" y="2407036"/>
                  </a:lnTo>
                  <a:lnTo>
                    <a:pt x="8864407" y="2411074"/>
                  </a:lnTo>
                  <a:lnTo>
                    <a:pt x="8854496" y="2411074"/>
                  </a:lnTo>
                  <a:lnTo>
                    <a:pt x="8850477" y="2407036"/>
                  </a:lnTo>
                  <a:lnTo>
                    <a:pt x="8850477" y="2397165"/>
                  </a:lnTo>
                  <a:close/>
                  <a:moveTo>
                    <a:pt x="8615184" y="2393127"/>
                  </a:moveTo>
                  <a:lnTo>
                    <a:pt x="8625095" y="2393127"/>
                  </a:lnTo>
                  <a:lnTo>
                    <a:pt x="8629114" y="2397165"/>
                  </a:lnTo>
                  <a:lnTo>
                    <a:pt x="8629114" y="2407036"/>
                  </a:lnTo>
                  <a:lnTo>
                    <a:pt x="8625095" y="2411074"/>
                  </a:lnTo>
                  <a:lnTo>
                    <a:pt x="8615184" y="2411074"/>
                  </a:lnTo>
                  <a:lnTo>
                    <a:pt x="8611165" y="2407036"/>
                  </a:lnTo>
                  <a:lnTo>
                    <a:pt x="8611165" y="2397165"/>
                  </a:lnTo>
                  <a:close/>
                  <a:moveTo>
                    <a:pt x="8375869" y="2393127"/>
                  </a:moveTo>
                  <a:lnTo>
                    <a:pt x="8385779" y="2393127"/>
                  </a:lnTo>
                  <a:lnTo>
                    <a:pt x="8389799" y="2397165"/>
                  </a:lnTo>
                  <a:lnTo>
                    <a:pt x="8389799" y="2407036"/>
                  </a:lnTo>
                  <a:lnTo>
                    <a:pt x="8385779" y="2411074"/>
                  </a:lnTo>
                  <a:lnTo>
                    <a:pt x="8375869" y="2411074"/>
                  </a:lnTo>
                  <a:lnTo>
                    <a:pt x="8371850" y="2407036"/>
                  </a:lnTo>
                  <a:lnTo>
                    <a:pt x="8371850" y="2397165"/>
                  </a:lnTo>
                  <a:close/>
                  <a:moveTo>
                    <a:pt x="8136553" y="2393127"/>
                  </a:moveTo>
                  <a:lnTo>
                    <a:pt x="8146464" y="2393127"/>
                  </a:lnTo>
                  <a:lnTo>
                    <a:pt x="8150483" y="2397165"/>
                  </a:lnTo>
                  <a:lnTo>
                    <a:pt x="8150483" y="2407036"/>
                  </a:lnTo>
                  <a:lnTo>
                    <a:pt x="8146464" y="2411074"/>
                  </a:lnTo>
                  <a:lnTo>
                    <a:pt x="8136553" y="2411074"/>
                  </a:lnTo>
                  <a:lnTo>
                    <a:pt x="8132534" y="2407036"/>
                  </a:lnTo>
                  <a:lnTo>
                    <a:pt x="8132534" y="2397165"/>
                  </a:lnTo>
                  <a:close/>
                  <a:moveTo>
                    <a:pt x="7897241" y="2393127"/>
                  </a:moveTo>
                  <a:lnTo>
                    <a:pt x="7907151" y="2393127"/>
                  </a:lnTo>
                  <a:lnTo>
                    <a:pt x="7911170" y="2397165"/>
                  </a:lnTo>
                  <a:lnTo>
                    <a:pt x="7911170" y="2407036"/>
                  </a:lnTo>
                  <a:lnTo>
                    <a:pt x="7907151" y="2411074"/>
                  </a:lnTo>
                  <a:lnTo>
                    <a:pt x="7897241" y="2411074"/>
                  </a:lnTo>
                  <a:lnTo>
                    <a:pt x="7893222" y="2407036"/>
                  </a:lnTo>
                  <a:lnTo>
                    <a:pt x="7893222" y="2397165"/>
                  </a:lnTo>
                  <a:close/>
                  <a:moveTo>
                    <a:pt x="7657926" y="2393127"/>
                  </a:moveTo>
                  <a:lnTo>
                    <a:pt x="7667836" y="2393127"/>
                  </a:lnTo>
                  <a:lnTo>
                    <a:pt x="7671855" y="2397165"/>
                  </a:lnTo>
                  <a:lnTo>
                    <a:pt x="7671855" y="2407036"/>
                  </a:lnTo>
                  <a:lnTo>
                    <a:pt x="7667836" y="2411074"/>
                  </a:lnTo>
                  <a:lnTo>
                    <a:pt x="7657926" y="2411074"/>
                  </a:lnTo>
                  <a:lnTo>
                    <a:pt x="7653906" y="2407036"/>
                  </a:lnTo>
                  <a:lnTo>
                    <a:pt x="7653906" y="2397165"/>
                  </a:lnTo>
                  <a:close/>
                  <a:moveTo>
                    <a:pt x="7418611" y="2393127"/>
                  </a:moveTo>
                  <a:lnTo>
                    <a:pt x="7428521" y="2393127"/>
                  </a:lnTo>
                  <a:lnTo>
                    <a:pt x="7432540" y="2397165"/>
                  </a:lnTo>
                  <a:lnTo>
                    <a:pt x="7432540" y="2407036"/>
                  </a:lnTo>
                  <a:lnTo>
                    <a:pt x="7428521" y="2411074"/>
                  </a:lnTo>
                  <a:lnTo>
                    <a:pt x="7418611" y="2411074"/>
                  </a:lnTo>
                  <a:lnTo>
                    <a:pt x="7414592" y="2407036"/>
                  </a:lnTo>
                  <a:lnTo>
                    <a:pt x="7414592" y="2397165"/>
                  </a:lnTo>
                  <a:close/>
                  <a:moveTo>
                    <a:pt x="7179298" y="2393127"/>
                  </a:moveTo>
                  <a:lnTo>
                    <a:pt x="7189209" y="2393127"/>
                  </a:lnTo>
                  <a:lnTo>
                    <a:pt x="7193228" y="2397165"/>
                  </a:lnTo>
                  <a:lnTo>
                    <a:pt x="7193228" y="2407036"/>
                  </a:lnTo>
                  <a:lnTo>
                    <a:pt x="7189209" y="2411074"/>
                  </a:lnTo>
                  <a:lnTo>
                    <a:pt x="7179298" y="2411074"/>
                  </a:lnTo>
                  <a:lnTo>
                    <a:pt x="7175279" y="2407036"/>
                  </a:lnTo>
                  <a:lnTo>
                    <a:pt x="7175279" y="2397165"/>
                  </a:lnTo>
                  <a:close/>
                  <a:moveTo>
                    <a:pt x="6939983" y="2393127"/>
                  </a:moveTo>
                  <a:lnTo>
                    <a:pt x="6949894" y="2393127"/>
                  </a:lnTo>
                  <a:lnTo>
                    <a:pt x="6953913" y="2397165"/>
                  </a:lnTo>
                  <a:lnTo>
                    <a:pt x="6953913" y="2407036"/>
                  </a:lnTo>
                  <a:lnTo>
                    <a:pt x="6949894" y="2411074"/>
                  </a:lnTo>
                  <a:lnTo>
                    <a:pt x="6939983" y="2411074"/>
                  </a:lnTo>
                  <a:lnTo>
                    <a:pt x="6935964" y="2407036"/>
                  </a:lnTo>
                  <a:lnTo>
                    <a:pt x="6935964" y="2397165"/>
                  </a:lnTo>
                  <a:close/>
                  <a:moveTo>
                    <a:pt x="6700670" y="2393127"/>
                  </a:moveTo>
                  <a:lnTo>
                    <a:pt x="6710581" y="2393127"/>
                  </a:lnTo>
                  <a:lnTo>
                    <a:pt x="6714600" y="2397165"/>
                  </a:lnTo>
                  <a:lnTo>
                    <a:pt x="6714600" y="2407036"/>
                  </a:lnTo>
                  <a:lnTo>
                    <a:pt x="6710581" y="2411074"/>
                  </a:lnTo>
                  <a:lnTo>
                    <a:pt x="6700670" y="2411074"/>
                  </a:lnTo>
                  <a:lnTo>
                    <a:pt x="6696651" y="2407036"/>
                  </a:lnTo>
                  <a:lnTo>
                    <a:pt x="6696651" y="2397165"/>
                  </a:lnTo>
                  <a:close/>
                  <a:moveTo>
                    <a:pt x="6461356" y="2393127"/>
                  </a:moveTo>
                  <a:lnTo>
                    <a:pt x="6471266" y="2393127"/>
                  </a:lnTo>
                  <a:lnTo>
                    <a:pt x="6475285" y="2397165"/>
                  </a:lnTo>
                  <a:lnTo>
                    <a:pt x="6475285" y="2407036"/>
                  </a:lnTo>
                  <a:lnTo>
                    <a:pt x="6471266" y="2411074"/>
                  </a:lnTo>
                  <a:lnTo>
                    <a:pt x="6461356" y="2411074"/>
                  </a:lnTo>
                  <a:lnTo>
                    <a:pt x="6457337" y="2407036"/>
                  </a:lnTo>
                  <a:lnTo>
                    <a:pt x="6457337" y="2397165"/>
                  </a:lnTo>
                  <a:close/>
                  <a:moveTo>
                    <a:pt x="6222042" y="2393127"/>
                  </a:moveTo>
                  <a:lnTo>
                    <a:pt x="6231952" y="2393127"/>
                  </a:lnTo>
                  <a:lnTo>
                    <a:pt x="6235971" y="2397165"/>
                  </a:lnTo>
                  <a:lnTo>
                    <a:pt x="6235971" y="2407036"/>
                  </a:lnTo>
                  <a:lnTo>
                    <a:pt x="6231952" y="2411074"/>
                  </a:lnTo>
                  <a:lnTo>
                    <a:pt x="6222042" y="2411074"/>
                  </a:lnTo>
                  <a:lnTo>
                    <a:pt x="6218023" y="2407036"/>
                  </a:lnTo>
                  <a:lnTo>
                    <a:pt x="6218023" y="2397165"/>
                  </a:lnTo>
                  <a:close/>
                  <a:moveTo>
                    <a:pt x="5982729" y="2393127"/>
                  </a:moveTo>
                  <a:lnTo>
                    <a:pt x="5992639" y="2393127"/>
                  </a:lnTo>
                  <a:lnTo>
                    <a:pt x="5996658" y="2397165"/>
                  </a:lnTo>
                  <a:lnTo>
                    <a:pt x="5996658" y="2407036"/>
                  </a:lnTo>
                  <a:lnTo>
                    <a:pt x="5992639" y="2411074"/>
                  </a:lnTo>
                  <a:lnTo>
                    <a:pt x="5982729" y="2411074"/>
                  </a:lnTo>
                  <a:lnTo>
                    <a:pt x="5978710" y="2407036"/>
                  </a:lnTo>
                  <a:lnTo>
                    <a:pt x="5978710" y="2397165"/>
                  </a:lnTo>
                  <a:close/>
                  <a:moveTo>
                    <a:pt x="5743412" y="2393127"/>
                  </a:moveTo>
                  <a:lnTo>
                    <a:pt x="5753323" y="2393127"/>
                  </a:lnTo>
                  <a:lnTo>
                    <a:pt x="5757342" y="2397165"/>
                  </a:lnTo>
                  <a:lnTo>
                    <a:pt x="5757342" y="2407036"/>
                  </a:lnTo>
                  <a:lnTo>
                    <a:pt x="5753323" y="2411074"/>
                  </a:lnTo>
                  <a:lnTo>
                    <a:pt x="5743412" y="2411074"/>
                  </a:lnTo>
                  <a:lnTo>
                    <a:pt x="5739393" y="2407036"/>
                  </a:lnTo>
                  <a:lnTo>
                    <a:pt x="5739393" y="2397165"/>
                  </a:lnTo>
                  <a:close/>
                  <a:moveTo>
                    <a:pt x="5504099" y="2393127"/>
                  </a:moveTo>
                  <a:lnTo>
                    <a:pt x="5514010" y="2393127"/>
                  </a:lnTo>
                  <a:lnTo>
                    <a:pt x="5518029" y="2397165"/>
                  </a:lnTo>
                  <a:lnTo>
                    <a:pt x="5518029" y="2407036"/>
                  </a:lnTo>
                  <a:lnTo>
                    <a:pt x="5514010" y="2411074"/>
                  </a:lnTo>
                  <a:lnTo>
                    <a:pt x="5504099" y="2411074"/>
                  </a:lnTo>
                  <a:lnTo>
                    <a:pt x="5500080" y="2407036"/>
                  </a:lnTo>
                  <a:lnTo>
                    <a:pt x="5500080" y="2397165"/>
                  </a:lnTo>
                  <a:close/>
                  <a:moveTo>
                    <a:pt x="5264784" y="2393127"/>
                  </a:moveTo>
                  <a:lnTo>
                    <a:pt x="5274694" y="2393127"/>
                  </a:lnTo>
                  <a:lnTo>
                    <a:pt x="5278713" y="2397165"/>
                  </a:lnTo>
                  <a:lnTo>
                    <a:pt x="5278713" y="2407036"/>
                  </a:lnTo>
                  <a:lnTo>
                    <a:pt x="5274694" y="2411074"/>
                  </a:lnTo>
                  <a:lnTo>
                    <a:pt x="5264784" y="2411074"/>
                  </a:lnTo>
                  <a:lnTo>
                    <a:pt x="5260765" y="2407036"/>
                  </a:lnTo>
                  <a:lnTo>
                    <a:pt x="5260765" y="2397165"/>
                  </a:lnTo>
                  <a:close/>
                  <a:moveTo>
                    <a:pt x="5025470" y="2393127"/>
                  </a:moveTo>
                  <a:lnTo>
                    <a:pt x="5035381" y="2393127"/>
                  </a:lnTo>
                  <a:lnTo>
                    <a:pt x="5039400" y="2397165"/>
                  </a:lnTo>
                  <a:lnTo>
                    <a:pt x="5039400" y="2407036"/>
                  </a:lnTo>
                  <a:lnTo>
                    <a:pt x="5035381" y="2411074"/>
                  </a:lnTo>
                  <a:lnTo>
                    <a:pt x="5025470" y="2411074"/>
                  </a:lnTo>
                  <a:lnTo>
                    <a:pt x="5021451" y="2407036"/>
                  </a:lnTo>
                  <a:lnTo>
                    <a:pt x="5021451" y="2397165"/>
                  </a:lnTo>
                  <a:close/>
                  <a:moveTo>
                    <a:pt x="4786241" y="2393127"/>
                  </a:moveTo>
                  <a:lnTo>
                    <a:pt x="4796152" y="2393127"/>
                  </a:lnTo>
                  <a:lnTo>
                    <a:pt x="4800171" y="2397165"/>
                  </a:lnTo>
                  <a:lnTo>
                    <a:pt x="4800171" y="2407036"/>
                  </a:lnTo>
                  <a:lnTo>
                    <a:pt x="4796152" y="2411074"/>
                  </a:lnTo>
                  <a:lnTo>
                    <a:pt x="4786241" y="2411074"/>
                  </a:lnTo>
                  <a:lnTo>
                    <a:pt x="4782224" y="2407036"/>
                  </a:lnTo>
                  <a:lnTo>
                    <a:pt x="4782224" y="2397165"/>
                  </a:lnTo>
                  <a:close/>
                  <a:moveTo>
                    <a:pt x="4546929" y="2393127"/>
                  </a:moveTo>
                  <a:lnTo>
                    <a:pt x="4556840" y="2393127"/>
                  </a:lnTo>
                  <a:lnTo>
                    <a:pt x="4560859" y="2397165"/>
                  </a:lnTo>
                  <a:lnTo>
                    <a:pt x="4560859" y="2407036"/>
                  </a:lnTo>
                  <a:lnTo>
                    <a:pt x="4556840" y="2411074"/>
                  </a:lnTo>
                  <a:lnTo>
                    <a:pt x="4546929" y="2411074"/>
                  </a:lnTo>
                  <a:lnTo>
                    <a:pt x="4542910" y="2407036"/>
                  </a:lnTo>
                  <a:lnTo>
                    <a:pt x="4542910" y="2397165"/>
                  </a:lnTo>
                  <a:close/>
                  <a:moveTo>
                    <a:pt x="4307612" y="2393127"/>
                  </a:moveTo>
                  <a:lnTo>
                    <a:pt x="4317523" y="2393127"/>
                  </a:lnTo>
                  <a:lnTo>
                    <a:pt x="4321543" y="2397165"/>
                  </a:lnTo>
                  <a:lnTo>
                    <a:pt x="4321543" y="2407036"/>
                  </a:lnTo>
                  <a:lnTo>
                    <a:pt x="4317523" y="2411074"/>
                  </a:lnTo>
                  <a:lnTo>
                    <a:pt x="4307612" y="2411074"/>
                  </a:lnTo>
                  <a:lnTo>
                    <a:pt x="4303595" y="2407036"/>
                  </a:lnTo>
                  <a:lnTo>
                    <a:pt x="4303595" y="2397165"/>
                  </a:lnTo>
                  <a:close/>
                  <a:moveTo>
                    <a:pt x="4068297" y="2393127"/>
                  </a:moveTo>
                  <a:lnTo>
                    <a:pt x="4078210" y="2393127"/>
                  </a:lnTo>
                  <a:lnTo>
                    <a:pt x="4082229" y="2397165"/>
                  </a:lnTo>
                  <a:lnTo>
                    <a:pt x="4082229" y="2407036"/>
                  </a:lnTo>
                  <a:lnTo>
                    <a:pt x="4078210" y="2411074"/>
                  </a:lnTo>
                  <a:lnTo>
                    <a:pt x="4068297" y="2411074"/>
                  </a:lnTo>
                  <a:lnTo>
                    <a:pt x="4064278" y="2407036"/>
                  </a:lnTo>
                  <a:lnTo>
                    <a:pt x="4064278" y="2397165"/>
                  </a:lnTo>
                  <a:close/>
                  <a:moveTo>
                    <a:pt x="3828990" y="2393127"/>
                  </a:moveTo>
                  <a:lnTo>
                    <a:pt x="3838899" y="2393127"/>
                  </a:lnTo>
                  <a:lnTo>
                    <a:pt x="3842917" y="2397165"/>
                  </a:lnTo>
                  <a:lnTo>
                    <a:pt x="3842917" y="2407036"/>
                  </a:lnTo>
                  <a:lnTo>
                    <a:pt x="3838899" y="2411074"/>
                  </a:lnTo>
                  <a:lnTo>
                    <a:pt x="3828990" y="2411074"/>
                  </a:lnTo>
                  <a:lnTo>
                    <a:pt x="3824971" y="2407036"/>
                  </a:lnTo>
                  <a:lnTo>
                    <a:pt x="3824971" y="2397165"/>
                  </a:lnTo>
                  <a:close/>
                  <a:moveTo>
                    <a:pt x="3589676" y="2393127"/>
                  </a:moveTo>
                  <a:lnTo>
                    <a:pt x="3599585" y="2393127"/>
                  </a:lnTo>
                  <a:lnTo>
                    <a:pt x="3603604" y="2397165"/>
                  </a:lnTo>
                  <a:lnTo>
                    <a:pt x="3603604" y="2407036"/>
                  </a:lnTo>
                  <a:lnTo>
                    <a:pt x="3599585" y="2411074"/>
                  </a:lnTo>
                  <a:lnTo>
                    <a:pt x="3589676" y="2411074"/>
                  </a:lnTo>
                  <a:lnTo>
                    <a:pt x="3585657" y="2407036"/>
                  </a:lnTo>
                  <a:lnTo>
                    <a:pt x="3585657" y="2397165"/>
                  </a:lnTo>
                  <a:close/>
                  <a:moveTo>
                    <a:pt x="3350359" y="2393127"/>
                  </a:moveTo>
                  <a:lnTo>
                    <a:pt x="3360268" y="2393127"/>
                  </a:lnTo>
                  <a:lnTo>
                    <a:pt x="3364287" y="2397165"/>
                  </a:lnTo>
                  <a:lnTo>
                    <a:pt x="3364287" y="2407036"/>
                  </a:lnTo>
                  <a:lnTo>
                    <a:pt x="3360268" y="2411074"/>
                  </a:lnTo>
                  <a:lnTo>
                    <a:pt x="3350359" y="2411074"/>
                  </a:lnTo>
                  <a:lnTo>
                    <a:pt x="3346340" y="2407036"/>
                  </a:lnTo>
                  <a:lnTo>
                    <a:pt x="3346340" y="2397165"/>
                  </a:lnTo>
                  <a:close/>
                  <a:moveTo>
                    <a:pt x="3111048" y="2393127"/>
                  </a:moveTo>
                  <a:lnTo>
                    <a:pt x="3120959" y="2393127"/>
                  </a:lnTo>
                  <a:lnTo>
                    <a:pt x="3124977" y="2397165"/>
                  </a:lnTo>
                  <a:lnTo>
                    <a:pt x="3124977" y="2407036"/>
                  </a:lnTo>
                  <a:lnTo>
                    <a:pt x="3120959" y="2411074"/>
                  </a:lnTo>
                  <a:lnTo>
                    <a:pt x="3111048" y="2411074"/>
                  </a:lnTo>
                  <a:lnTo>
                    <a:pt x="3107029" y="2407036"/>
                  </a:lnTo>
                  <a:lnTo>
                    <a:pt x="3107029" y="2397165"/>
                  </a:lnTo>
                  <a:close/>
                  <a:moveTo>
                    <a:pt x="2871737" y="2393127"/>
                  </a:moveTo>
                  <a:lnTo>
                    <a:pt x="2881646" y="2393127"/>
                  </a:lnTo>
                  <a:lnTo>
                    <a:pt x="2885666" y="2397165"/>
                  </a:lnTo>
                  <a:lnTo>
                    <a:pt x="2885666" y="2407036"/>
                  </a:lnTo>
                  <a:lnTo>
                    <a:pt x="2881646" y="2411074"/>
                  </a:lnTo>
                  <a:lnTo>
                    <a:pt x="2871737" y="2411074"/>
                  </a:lnTo>
                  <a:lnTo>
                    <a:pt x="2867717" y="2407036"/>
                  </a:lnTo>
                  <a:lnTo>
                    <a:pt x="2867717" y="2397165"/>
                  </a:lnTo>
                  <a:close/>
                  <a:moveTo>
                    <a:pt x="2632423" y="2393127"/>
                  </a:moveTo>
                  <a:lnTo>
                    <a:pt x="2642334" y="2393127"/>
                  </a:lnTo>
                  <a:lnTo>
                    <a:pt x="2646352" y="2397165"/>
                  </a:lnTo>
                  <a:lnTo>
                    <a:pt x="2646352" y="2407036"/>
                  </a:lnTo>
                  <a:lnTo>
                    <a:pt x="2642334" y="2411074"/>
                  </a:lnTo>
                  <a:lnTo>
                    <a:pt x="2632423" y="2411074"/>
                  </a:lnTo>
                  <a:lnTo>
                    <a:pt x="2628404" y="2407036"/>
                  </a:lnTo>
                  <a:lnTo>
                    <a:pt x="2628404" y="2397165"/>
                  </a:lnTo>
                  <a:close/>
                  <a:moveTo>
                    <a:pt x="2393104" y="2393127"/>
                  </a:moveTo>
                  <a:lnTo>
                    <a:pt x="2403015" y="2393127"/>
                  </a:lnTo>
                  <a:lnTo>
                    <a:pt x="2407034" y="2397165"/>
                  </a:lnTo>
                  <a:lnTo>
                    <a:pt x="2407034" y="2407036"/>
                  </a:lnTo>
                  <a:lnTo>
                    <a:pt x="2403015" y="2411074"/>
                  </a:lnTo>
                  <a:lnTo>
                    <a:pt x="2393104" y="2411074"/>
                  </a:lnTo>
                  <a:lnTo>
                    <a:pt x="2389087" y="2407036"/>
                  </a:lnTo>
                  <a:lnTo>
                    <a:pt x="2389087" y="2397165"/>
                  </a:lnTo>
                  <a:close/>
                  <a:moveTo>
                    <a:pt x="721970" y="2393127"/>
                  </a:moveTo>
                  <a:lnTo>
                    <a:pt x="731881" y="2393127"/>
                  </a:lnTo>
                  <a:lnTo>
                    <a:pt x="735899" y="2397165"/>
                  </a:lnTo>
                  <a:lnTo>
                    <a:pt x="735899" y="2407036"/>
                  </a:lnTo>
                  <a:lnTo>
                    <a:pt x="731881" y="2411074"/>
                  </a:lnTo>
                  <a:lnTo>
                    <a:pt x="721970" y="2411074"/>
                  </a:lnTo>
                  <a:lnTo>
                    <a:pt x="717951" y="2407036"/>
                  </a:lnTo>
                  <a:lnTo>
                    <a:pt x="717951" y="2397165"/>
                  </a:lnTo>
                  <a:close/>
                  <a:moveTo>
                    <a:pt x="482658" y="2393127"/>
                  </a:moveTo>
                  <a:lnTo>
                    <a:pt x="492568" y="2393127"/>
                  </a:lnTo>
                  <a:lnTo>
                    <a:pt x="496588" y="2397165"/>
                  </a:lnTo>
                  <a:lnTo>
                    <a:pt x="496588" y="2407036"/>
                  </a:lnTo>
                  <a:lnTo>
                    <a:pt x="492568" y="2411074"/>
                  </a:lnTo>
                  <a:lnTo>
                    <a:pt x="482658" y="2411074"/>
                  </a:lnTo>
                  <a:lnTo>
                    <a:pt x="478639" y="2407036"/>
                  </a:lnTo>
                  <a:lnTo>
                    <a:pt x="478639" y="2397165"/>
                  </a:lnTo>
                  <a:close/>
                  <a:moveTo>
                    <a:pt x="243344" y="2393127"/>
                  </a:moveTo>
                  <a:lnTo>
                    <a:pt x="253255" y="2393127"/>
                  </a:lnTo>
                  <a:lnTo>
                    <a:pt x="257274" y="2397165"/>
                  </a:lnTo>
                  <a:lnTo>
                    <a:pt x="257274" y="2407036"/>
                  </a:lnTo>
                  <a:lnTo>
                    <a:pt x="253255" y="2411074"/>
                  </a:lnTo>
                  <a:lnTo>
                    <a:pt x="243344" y="2411074"/>
                  </a:lnTo>
                  <a:lnTo>
                    <a:pt x="239325" y="2407036"/>
                  </a:lnTo>
                  <a:lnTo>
                    <a:pt x="239325" y="2397165"/>
                  </a:lnTo>
                  <a:close/>
                  <a:moveTo>
                    <a:pt x="4031" y="2393127"/>
                  </a:moveTo>
                  <a:lnTo>
                    <a:pt x="13941" y="2393127"/>
                  </a:lnTo>
                  <a:lnTo>
                    <a:pt x="17961" y="2397165"/>
                  </a:lnTo>
                  <a:lnTo>
                    <a:pt x="17961" y="2407036"/>
                  </a:lnTo>
                  <a:lnTo>
                    <a:pt x="13941" y="2411074"/>
                  </a:lnTo>
                  <a:lnTo>
                    <a:pt x="4031" y="2411074"/>
                  </a:lnTo>
                  <a:lnTo>
                    <a:pt x="12" y="2407036"/>
                  </a:lnTo>
                  <a:lnTo>
                    <a:pt x="12" y="2397165"/>
                  </a:lnTo>
                  <a:close/>
                  <a:moveTo>
                    <a:pt x="3111048" y="2153996"/>
                  </a:moveTo>
                  <a:lnTo>
                    <a:pt x="3120959" y="2153996"/>
                  </a:lnTo>
                  <a:lnTo>
                    <a:pt x="3124977" y="2158034"/>
                  </a:lnTo>
                  <a:lnTo>
                    <a:pt x="3124977" y="2167907"/>
                  </a:lnTo>
                  <a:lnTo>
                    <a:pt x="3120959" y="2171946"/>
                  </a:lnTo>
                  <a:lnTo>
                    <a:pt x="3111048" y="2171946"/>
                  </a:lnTo>
                  <a:lnTo>
                    <a:pt x="3107029" y="2167907"/>
                  </a:lnTo>
                  <a:lnTo>
                    <a:pt x="3107029" y="2158034"/>
                  </a:lnTo>
                  <a:close/>
                  <a:moveTo>
                    <a:pt x="2871737" y="2153996"/>
                  </a:moveTo>
                  <a:lnTo>
                    <a:pt x="2881646" y="2153996"/>
                  </a:lnTo>
                  <a:lnTo>
                    <a:pt x="2885666" y="2158034"/>
                  </a:lnTo>
                  <a:lnTo>
                    <a:pt x="2885666" y="2167907"/>
                  </a:lnTo>
                  <a:lnTo>
                    <a:pt x="2881646" y="2171946"/>
                  </a:lnTo>
                  <a:lnTo>
                    <a:pt x="2871737" y="2171946"/>
                  </a:lnTo>
                  <a:lnTo>
                    <a:pt x="2867717" y="2167907"/>
                  </a:lnTo>
                  <a:lnTo>
                    <a:pt x="2867717" y="2158034"/>
                  </a:lnTo>
                  <a:close/>
                  <a:moveTo>
                    <a:pt x="2632423" y="2153996"/>
                  </a:moveTo>
                  <a:lnTo>
                    <a:pt x="2642334" y="2153996"/>
                  </a:lnTo>
                  <a:lnTo>
                    <a:pt x="2646352" y="2158034"/>
                  </a:lnTo>
                  <a:lnTo>
                    <a:pt x="2646352" y="2167907"/>
                  </a:lnTo>
                  <a:lnTo>
                    <a:pt x="2642334" y="2171947"/>
                  </a:lnTo>
                  <a:lnTo>
                    <a:pt x="2632423" y="2171947"/>
                  </a:lnTo>
                  <a:lnTo>
                    <a:pt x="2628404" y="2167907"/>
                  </a:lnTo>
                  <a:lnTo>
                    <a:pt x="2628404" y="2158034"/>
                  </a:lnTo>
                  <a:close/>
                  <a:moveTo>
                    <a:pt x="2393104" y="2153996"/>
                  </a:moveTo>
                  <a:lnTo>
                    <a:pt x="2403015" y="2153996"/>
                  </a:lnTo>
                  <a:lnTo>
                    <a:pt x="2407034" y="2158034"/>
                  </a:lnTo>
                  <a:lnTo>
                    <a:pt x="2407034" y="2167907"/>
                  </a:lnTo>
                  <a:lnTo>
                    <a:pt x="2403015" y="2171947"/>
                  </a:lnTo>
                  <a:lnTo>
                    <a:pt x="2393104" y="2171947"/>
                  </a:lnTo>
                  <a:lnTo>
                    <a:pt x="2389087" y="2167907"/>
                  </a:lnTo>
                  <a:lnTo>
                    <a:pt x="2389087" y="2158034"/>
                  </a:lnTo>
                  <a:close/>
                  <a:moveTo>
                    <a:pt x="3350359" y="2153995"/>
                  </a:moveTo>
                  <a:lnTo>
                    <a:pt x="3360268" y="2153995"/>
                  </a:lnTo>
                  <a:lnTo>
                    <a:pt x="3364287" y="2158034"/>
                  </a:lnTo>
                  <a:lnTo>
                    <a:pt x="3364287" y="2167907"/>
                  </a:lnTo>
                  <a:lnTo>
                    <a:pt x="3360268" y="2171946"/>
                  </a:lnTo>
                  <a:lnTo>
                    <a:pt x="3350359" y="2171946"/>
                  </a:lnTo>
                  <a:lnTo>
                    <a:pt x="3346340" y="2167907"/>
                  </a:lnTo>
                  <a:lnTo>
                    <a:pt x="3346340" y="2158034"/>
                  </a:lnTo>
                  <a:close/>
                  <a:moveTo>
                    <a:pt x="4546929" y="2153976"/>
                  </a:moveTo>
                  <a:lnTo>
                    <a:pt x="4556840" y="2153976"/>
                  </a:lnTo>
                  <a:lnTo>
                    <a:pt x="4560859" y="2158014"/>
                  </a:lnTo>
                  <a:lnTo>
                    <a:pt x="4560859" y="2167886"/>
                  </a:lnTo>
                  <a:lnTo>
                    <a:pt x="4556840" y="2171926"/>
                  </a:lnTo>
                  <a:lnTo>
                    <a:pt x="4546929" y="2171926"/>
                  </a:lnTo>
                  <a:lnTo>
                    <a:pt x="4542910" y="2167886"/>
                  </a:lnTo>
                  <a:lnTo>
                    <a:pt x="4542910" y="2158014"/>
                  </a:lnTo>
                  <a:close/>
                  <a:moveTo>
                    <a:pt x="4307612" y="2153976"/>
                  </a:moveTo>
                  <a:lnTo>
                    <a:pt x="4317523" y="2153976"/>
                  </a:lnTo>
                  <a:lnTo>
                    <a:pt x="4321543" y="2158014"/>
                  </a:lnTo>
                  <a:lnTo>
                    <a:pt x="4321543" y="2167887"/>
                  </a:lnTo>
                  <a:lnTo>
                    <a:pt x="4317523" y="2171926"/>
                  </a:lnTo>
                  <a:lnTo>
                    <a:pt x="4307612" y="2171926"/>
                  </a:lnTo>
                  <a:lnTo>
                    <a:pt x="4303595" y="2167887"/>
                  </a:lnTo>
                  <a:lnTo>
                    <a:pt x="4303595" y="2158014"/>
                  </a:lnTo>
                  <a:close/>
                  <a:moveTo>
                    <a:pt x="4068297" y="2153976"/>
                  </a:moveTo>
                  <a:lnTo>
                    <a:pt x="4078210" y="2153976"/>
                  </a:lnTo>
                  <a:lnTo>
                    <a:pt x="4082229" y="2158014"/>
                  </a:lnTo>
                  <a:lnTo>
                    <a:pt x="4082229" y="2167887"/>
                  </a:lnTo>
                  <a:lnTo>
                    <a:pt x="4078210" y="2171926"/>
                  </a:lnTo>
                  <a:lnTo>
                    <a:pt x="4068297" y="2171926"/>
                  </a:lnTo>
                  <a:lnTo>
                    <a:pt x="4064278" y="2167887"/>
                  </a:lnTo>
                  <a:lnTo>
                    <a:pt x="4064278" y="2158014"/>
                  </a:lnTo>
                  <a:close/>
                  <a:moveTo>
                    <a:pt x="3828990" y="2153976"/>
                  </a:moveTo>
                  <a:lnTo>
                    <a:pt x="3838899" y="2153976"/>
                  </a:lnTo>
                  <a:lnTo>
                    <a:pt x="3842917" y="2158014"/>
                  </a:lnTo>
                  <a:lnTo>
                    <a:pt x="3842917" y="2167887"/>
                  </a:lnTo>
                  <a:lnTo>
                    <a:pt x="3838899" y="2171926"/>
                  </a:lnTo>
                  <a:lnTo>
                    <a:pt x="3828990" y="2171926"/>
                  </a:lnTo>
                  <a:lnTo>
                    <a:pt x="3824971" y="2167887"/>
                  </a:lnTo>
                  <a:lnTo>
                    <a:pt x="3824971" y="2158014"/>
                  </a:lnTo>
                  <a:close/>
                  <a:moveTo>
                    <a:pt x="3589676" y="2153976"/>
                  </a:moveTo>
                  <a:lnTo>
                    <a:pt x="3599585" y="2153976"/>
                  </a:lnTo>
                  <a:lnTo>
                    <a:pt x="3603604" y="2158014"/>
                  </a:lnTo>
                  <a:lnTo>
                    <a:pt x="3603604" y="2167887"/>
                  </a:lnTo>
                  <a:lnTo>
                    <a:pt x="3599585" y="2171926"/>
                  </a:lnTo>
                  <a:lnTo>
                    <a:pt x="3589676" y="2171926"/>
                  </a:lnTo>
                  <a:lnTo>
                    <a:pt x="3585657" y="2167887"/>
                  </a:lnTo>
                  <a:lnTo>
                    <a:pt x="3585657" y="2158014"/>
                  </a:lnTo>
                  <a:close/>
                  <a:moveTo>
                    <a:pt x="5504099" y="2153956"/>
                  </a:moveTo>
                  <a:lnTo>
                    <a:pt x="5514010" y="2153956"/>
                  </a:lnTo>
                  <a:lnTo>
                    <a:pt x="5518029" y="2157994"/>
                  </a:lnTo>
                  <a:lnTo>
                    <a:pt x="5518029" y="2167867"/>
                  </a:lnTo>
                  <a:lnTo>
                    <a:pt x="5514010" y="2171905"/>
                  </a:lnTo>
                  <a:lnTo>
                    <a:pt x="5504099" y="2171905"/>
                  </a:lnTo>
                  <a:lnTo>
                    <a:pt x="5500080" y="2167867"/>
                  </a:lnTo>
                  <a:lnTo>
                    <a:pt x="5500080" y="2157994"/>
                  </a:lnTo>
                  <a:close/>
                  <a:moveTo>
                    <a:pt x="5264784" y="2153956"/>
                  </a:moveTo>
                  <a:lnTo>
                    <a:pt x="5274694" y="2153956"/>
                  </a:lnTo>
                  <a:lnTo>
                    <a:pt x="5278713" y="2157994"/>
                  </a:lnTo>
                  <a:lnTo>
                    <a:pt x="5278713" y="2167867"/>
                  </a:lnTo>
                  <a:lnTo>
                    <a:pt x="5274694" y="2171905"/>
                  </a:lnTo>
                  <a:lnTo>
                    <a:pt x="5264784" y="2171905"/>
                  </a:lnTo>
                  <a:lnTo>
                    <a:pt x="5260765" y="2167867"/>
                  </a:lnTo>
                  <a:lnTo>
                    <a:pt x="5260765" y="2157994"/>
                  </a:lnTo>
                  <a:close/>
                  <a:moveTo>
                    <a:pt x="5025470" y="2153956"/>
                  </a:moveTo>
                  <a:lnTo>
                    <a:pt x="5035381" y="2153956"/>
                  </a:lnTo>
                  <a:lnTo>
                    <a:pt x="5039400" y="2157994"/>
                  </a:lnTo>
                  <a:lnTo>
                    <a:pt x="5039400" y="2167867"/>
                  </a:lnTo>
                  <a:lnTo>
                    <a:pt x="5035381" y="2171906"/>
                  </a:lnTo>
                  <a:lnTo>
                    <a:pt x="5025470" y="2171906"/>
                  </a:lnTo>
                  <a:lnTo>
                    <a:pt x="5021451" y="2167867"/>
                  </a:lnTo>
                  <a:lnTo>
                    <a:pt x="5021451" y="2157994"/>
                  </a:lnTo>
                  <a:close/>
                  <a:moveTo>
                    <a:pt x="4786241" y="2153956"/>
                  </a:moveTo>
                  <a:lnTo>
                    <a:pt x="4796152" y="2153956"/>
                  </a:lnTo>
                  <a:lnTo>
                    <a:pt x="4800171" y="2157994"/>
                  </a:lnTo>
                  <a:lnTo>
                    <a:pt x="4800171" y="2167867"/>
                  </a:lnTo>
                  <a:lnTo>
                    <a:pt x="4796152" y="2171906"/>
                  </a:lnTo>
                  <a:lnTo>
                    <a:pt x="4786241" y="2171906"/>
                  </a:lnTo>
                  <a:lnTo>
                    <a:pt x="4782224" y="2167867"/>
                  </a:lnTo>
                  <a:lnTo>
                    <a:pt x="4782224" y="2157994"/>
                  </a:lnTo>
                  <a:close/>
                  <a:moveTo>
                    <a:pt x="5743412" y="2153955"/>
                  </a:moveTo>
                  <a:lnTo>
                    <a:pt x="5753323" y="2153955"/>
                  </a:lnTo>
                  <a:lnTo>
                    <a:pt x="5757342" y="2157994"/>
                  </a:lnTo>
                  <a:lnTo>
                    <a:pt x="5757342" y="2167866"/>
                  </a:lnTo>
                  <a:lnTo>
                    <a:pt x="5753323" y="2171905"/>
                  </a:lnTo>
                  <a:lnTo>
                    <a:pt x="5743412" y="2171905"/>
                  </a:lnTo>
                  <a:lnTo>
                    <a:pt x="5739393" y="2167866"/>
                  </a:lnTo>
                  <a:lnTo>
                    <a:pt x="5739393" y="2157994"/>
                  </a:lnTo>
                  <a:close/>
                  <a:moveTo>
                    <a:pt x="6222042" y="2153936"/>
                  </a:moveTo>
                  <a:lnTo>
                    <a:pt x="6231952" y="2153936"/>
                  </a:lnTo>
                  <a:lnTo>
                    <a:pt x="6235971" y="2157974"/>
                  </a:lnTo>
                  <a:lnTo>
                    <a:pt x="6235971" y="2167846"/>
                  </a:lnTo>
                  <a:lnTo>
                    <a:pt x="6231952" y="2171885"/>
                  </a:lnTo>
                  <a:lnTo>
                    <a:pt x="6222042" y="2171885"/>
                  </a:lnTo>
                  <a:lnTo>
                    <a:pt x="6218023" y="2167846"/>
                  </a:lnTo>
                  <a:lnTo>
                    <a:pt x="6218023" y="2157974"/>
                  </a:lnTo>
                  <a:close/>
                  <a:moveTo>
                    <a:pt x="5982729" y="2153936"/>
                  </a:moveTo>
                  <a:lnTo>
                    <a:pt x="5992639" y="2153936"/>
                  </a:lnTo>
                  <a:lnTo>
                    <a:pt x="5996658" y="2157974"/>
                  </a:lnTo>
                  <a:lnTo>
                    <a:pt x="5996658" y="2167846"/>
                  </a:lnTo>
                  <a:lnTo>
                    <a:pt x="5992639" y="2171885"/>
                  </a:lnTo>
                  <a:lnTo>
                    <a:pt x="5982729" y="2171885"/>
                  </a:lnTo>
                  <a:lnTo>
                    <a:pt x="5978710" y="2167846"/>
                  </a:lnTo>
                  <a:lnTo>
                    <a:pt x="5978710" y="2157974"/>
                  </a:lnTo>
                  <a:close/>
                  <a:moveTo>
                    <a:pt x="6939983" y="2153935"/>
                  </a:moveTo>
                  <a:lnTo>
                    <a:pt x="6949894" y="2153935"/>
                  </a:lnTo>
                  <a:lnTo>
                    <a:pt x="6953913" y="2157974"/>
                  </a:lnTo>
                  <a:lnTo>
                    <a:pt x="6953913" y="2167845"/>
                  </a:lnTo>
                  <a:lnTo>
                    <a:pt x="6949894" y="2171885"/>
                  </a:lnTo>
                  <a:lnTo>
                    <a:pt x="6939983" y="2171885"/>
                  </a:lnTo>
                  <a:lnTo>
                    <a:pt x="6935964" y="2167845"/>
                  </a:lnTo>
                  <a:lnTo>
                    <a:pt x="6935964" y="2157974"/>
                  </a:lnTo>
                  <a:close/>
                  <a:moveTo>
                    <a:pt x="6700670" y="2153935"/>
                  </a:moveTo>
                  <a:lnTo>
                    <a:pt x="6710581" y="2153935"/>
                  </a:lnTo>
                  <a:lnTo>
                    <a:pt x="6714600" y="2157974"/>
                  </a:lnTo>
                  <a:lnTo>
                    <a:pt x="6714600" y="2167846"/>
                  </a:lnTo>
                  <a:lnTo>
                    <a:pt x="6710581" y="2171885"/>
                  </a:lnTo>
                  <a:lnTo>
                    <a:pt x="6700670" y="2171885"/>
                  </a:lnTo>
                  <a:lnTo>
                    <a:pt x="6696651" y="2167846"/>
                  </a:lnTo>
                  <a:lnTo>
                    <a:pt x="6696651" y="2157974"/>
                  </a:lnTo>
                  <a:close/>
                  <a:moveTo>
                    <a:pt x="6461356" y="2153935"/>
                  </a:moveTo>
                  <a:lnTo>
                    <a:pt x="6471266" y="2153935"/>
                  </a:lnTo>
                  <a:lnTo>
                    <a:pt x="6475285" y="2157974"/>
                  </a:lnTo>
                  <a:lnTo>
                    <a:pt x="6475285" y="2167846"/>
                  </a:lnTo>
                  <a:lnTo>
                    <a:pt x="6471266" y="2171885"/>
                  </a:lnTo>
                  <a:lnTo>
                    <a:pt x="6461356" y="2171885"/>
                  </a:lnTo>
                  <a:lnTo>
                    <a:pt x="6457337" y="2167846"/>
                  </a:lnTo>
                  <a:lnTo>
                    <a:pt x="6457337" y="2157974"/>
                  </a:lnTo>
                  <a:close/>
                  <a:moveTo>
                    <a:pt x="7418611" y="2153916"/>
                  </a:moveTo>
                  <a:lnTo>
                    <a:pt x="7428521" y="2153916"/>
                  </a:lnTo>
                  <a:lnTo>
                    <a:pt x="7432540" y="2157955"/>
                  </a:lnTo>
                  <a:lnTo>
                    <a:pt x="7432540" y="2167826"/>
                  </a:lnTo>
                  <a:lnTo>
                    <a:pt x="7428521" y="2171865"/>
                  </a:lnTo>
                  <a:lnTo>
                    <a:pt x="7418611" y="2171865"/>
                  </a:lnTo>
                  <a:lnTo>
                    <a:pt x="7414592" y="2167826"/>
                  </a:lnTo>
                  <a:lnTo>
                    <a:pt x="7414592" y="2157955"/>
                  </a:lnTo>
                  <a:close/>
                  <a:moveTo>
                    <a:pt x="7179298" y="2153916"/>
                  </a:moveTo>
                  <a:lnTo>
                    <a:pt x="7189209" y="2153916"/>
                  </a:lnTo>
                  <a:lnTo>
                    <a:pt x="7193228" y="2157955"/>
                  </a:lnTo>
                  <a:lnTo>
                    <a:pt x="7193228" y="2167826"/>
                  </a:lnTo>
                  <a:lnTo>
                    <a:pt x="7189209" y="2171865"/>
                  </a:lnTo>
                  <a:lnTo>
                    <a:pt x="7179298" y="2171865"/>
                  </a:lnTo>
                  <a:lnTo>
                    <a:pt x="7175279" y="2167826"/>
                  </a:lnTo>
                  <a:lnTo>
                    <a:pt x="7175279" y="2157955"/>
                  </a:lnTo>
                  <a:close/>
                  <a:moveTo>
                    <a:pt x="8136553" y="2153915"/>
                  </a:moveTo>
                  <a:lnTo>
                    <a:pt x="8146464" y="2153915"/>
                  </a:lnTo>
                  <a:lnTo>
                    <a:pt x="8150483" y="2157955"/>
                  </a:lnTo>
                  <a:lnTo>
                    <a:pt x="8150483" y="2167825"/>
                  </a:lnTo>
                  <a:lnTo>
                    <a:pt x="8146464" y="2171864"/>
                  </a:lnTo>
                  <a:lnTo>
                    <a:pt x="8136553" y="2171864"/>
                  </a:lnTo>
                  <a:lnTo>
                    <a:pt x="8132534" y="2167825"/>
                  </a:lnTo>
                  <a:lnTo>
                    <a:pt x="8132534" y="2157955"/>
                  </a:lnTo>
                  <a:close/>
                  <a:moveTo>
                    <a:pt x="7897241" y="2153915"/>
                  </a:moveTo>
                  <a:lnTo>
                    <a:pt x="7907151" y="2153915"/>
                  </a:lnTo>
                  <a:lnTo>
                    <a:pt x="7911170" y="2157955"/>
                  </a:lnTo>
                  <a:lnTo>
                    <a:pt x="7911170" y="2167826"/>
                  </a:lnTo>
                  <a:lnTo>
                    <a:pt x="7907151" y="2171864"/>
                  </a:lnTo>
                  <a:lnTo>
                    <a:pt x="7897241" y="2171864"/>
                  </a:lnTo>
                  <a:lnTo>
                    <a:pt x="7893222" y="2167826"/>
                  </a:lnTo>
                  <a:lnTo>
                    <a:pt x="7893222" y="2157955"/>
                  </a:lnTo>
                  <a:close/>
                  <a:moveTo>
                    <a:pt x="7657926" y="2153915"/>
                  </a:moveTo>
                  <a:lnTo>
                    <a:pt x="7667836" y="2153915"/>
                  </a:lnTo>
                  <a:lnTo>
                    <a:pt x="7671855" y="2157955"/>
                  </a:lnTo>
                  <a:lnTo>
                    <a:pt x="7671855" y="2167826"/>
                  </a:lnTo>
                  <a:lnTo>
                    <a:pt x="7667836" y="2171864"/>
                  </a:lnTo>
                  <a:lnTo>
                    <a:pt x="7657926" y="2171864"/>
                  </a:lnTo>
                  <a:lnTo>
                    <a:pt x="7653906" y="2167826"/>
                  </a:lnTo>
                  <a:lnTo>
                    <a:pt x="7653906" y="2157955"/>
                  </a:lnTo>
                  <a:close/>
                  <a:moveTo>
                    <a:pt x="8615184" y="2153896"/>
                  </a:moveTo>
                  <a:lnTo>
                    <a:pt x="8625095" y="2153896"/>
                  </a:lnTo>
                  <a:lnTo>
                    <a:pt x="8629114" y="2157935"/>
                  </a:lnTo>
                  <a:lnTo>
                    <a:pt x="8629114" y="2167805"/>
                  </a:lnTo>
                  <a:lnTo>
                    <a:pt x="8625095" y="2171844"/>
                  </a:lnTo>
                  <a:lnTo>
                    <a:pt x="8615184" y="2171844"/>
                  </a:lnTo>
                  <a:lnTo>
                    <a:pt x="8611165" y="2167805"/>
                  </a:lnTo>
                  <a:lnTo>
                    <a:pt x="8611165" y="2157935"/>
                  </a:lnTo>
                  <a:close/>
                  <a:moveTo>
                    <a:pt x="8375869" y="2153896"/>
                  </a:moveTo>
                  <a:lnTo>
                    <a:pt x="8385779" y="2153896"/>
                  </a:lnTo>
                  <a:lnTo>
                    <a:pt x="8389799" y="2157935"/>
                  </a:lnTo>
                  <a:lnTo>
                    <a:pt x="8389799" y="2167805"/>
                  </a:lnTo>
                  <a:lnTo>
                    <a:pt x="8385779" y="2171844"/>
                  </a:lnTo>
                  <a:lnTo>
                    <a:pt x="8375869" y="2171844"/>
                  </a:lnTo>
                  <a:lnTo>
                    <a:pt x="8371850" y="2167805"/>
                  </a:lnTo>
                  <a:lnTo>
                    <a:pt x="8371850" y="2157935"/>
                  </a:lnTo>
                  <a:close/>
                  <a:moveTo>
                    <a:pt x="9333125" y="2153895"/>
                  </a:moveTo>
                  <a:lnTo>
                    <a:pt x="9343036" y="2153895"/>
                  </a:lnTo>
                  <a:lnTo>
                    <a:pt x="9347055" y="2157934"/>
                  </a:lnTo>
                  <a:lnTo>
                    <a:pt x="9347055" y="2167805"/>
                  </a:lnTo>
                  <a:lnTo>
                    <a:pt x="9343036" y="2171844"/>
                  </a:lnTo>
                  <a:lnTo>
                    <a:pt x="9333125" y="2171844"/>
                  </a:lnTo>
                  <a:lnTo>
                    <a:pt x="9329106" y="2167805"/>
                  </a:lnTo>
                  <a:lnTo>
                    <a:pt x="9329106" y="2157934"/>
                  </a:lnTo>
                  <a:close/>
                  <a:moveTo>
                    <a:pt x="9093811" y="2153895"/>
                  </a:moveTo>
                  <a:lnTo>
                    <a:pt x="9103722" y="2153895"/>
                  </a:lnTo>
                  <a:lnTo>
                    <a:pt x="9107741" y="2157935"/>
                  </a:lnTo>
                  <a:lnTo>
                    <a:pt x="9107741" y="2167805"/>
                  </a:lnTo>
                  <a:lnTo>
                    <a:pt x="9103722" y="2171844"/>
                  </a:lnTo>
                  <a:lnTo>
                    <a:pt x="9093811" y="2171844"/>
                  </a:lnTo>
                  <a:lnTo>
                    <a:pt x="9089792" y="2167805"/>
                  </a:lnTo>
                  <a:lnTo>
                    <a:pt x="9089792" y="2157935"/>
                  </a:lnTo>
                  <a:close/>
                  <a:moveTo>
                    <a:pt x="8854496" y="2153895"/>
                  </a:moveTo>
                  <a:lnTo>
                    <a:pt x="8864407" y="2153895"/>
                  </a:lnTo>
                  <a:lnTo>
                    <a:pt x="8868426" y="2157935"/>
                  </a:lnTo>
                  <a:lnTo>
                    <a:pt x="8868426" y="2167805"/>
                  </a:lnTo>
                  <a:lnTo>
                    <a:pt x="8864407" y="2171844"/>
                  </a:lnTo>
                  <a:lnTo>
                    <a:pt x="8854496" y="2171844"/>
                  </a:lnTo>
                  <a:lnTo>
                    <a:pt x="8850477" y="2167805"/>
                  </a:lnTo>
                  <a:lnTo>
                    <a:pt x="8850477" y="2157935"/>
                  </a:lnTo>
                  <a:close/>
                  <a:moveTo>
                    <a:pt x="9572438" y="2153876"/>
                  </a:moveTo>
                  <a:lnTo>
                    <a:pt x="9582349" y="2153876"/>
                  </a:lnTo>
                  <a:lnTo>
                    <a:pt x="9586368" y="2157914"/>
                  </a:lnTo>
                  <a:lnTo>
                    <a:pt x="9586368" y="2167786"/>
                  </a:lnTo>
                  <a:lnTo>
                    <a:pt x="9582349" y="2171824"/>
                  </a:lnTo>
                  <a:lnTo>
                    <a:pt x="9572438" y="2171824"/>
                  </a:lnTo>
                  <a:lnTo>
                    <a:pt x="9568419" y="2167786"/>
                  </a:lnTo>
                  <a:lnTo>
                    <a:pt x="9568419" y="2157914"/>
                  </a:lnTo>
                  <a:close/>
                  <a:moveTo>
                    <a:pt x="1200582" y="2153867"/>
                  </a:moveTo>
                  <a:lnTo>
                    <a:pt x="1210491" y="2153867"/>
                  </a:lnTo>
                  <a:lnTo>
                    <a:pt x="1214510" y="2157906"/>
                  </a:lnTo>
                  <a:lnTo>
                    <a:pt x="1214510" y="2167776"/>
                  </a:lnTo>
                  <a:lnTo>
                    <a:pt x="1210491" y="2171815"/>
                  </a:lnTo>
                  <a:lnTo>
                    <a:pt x="1200582" y="2171815"/>
                  </a:lnTo>
                  <a:lnTo>
                    <a:pt x="1196562" y="2167776"/>
                  </a:lnTo>
                  <a:lnTo>
                    <a:pt x="1196562" y="2157906"/>
                  </a:lnTo>
                  <a:close/>
                  <a:moveTo>
                    <a:pt x="961268" y="2153867"/>
                  </a:moveTo>
                  <a:lnTo>
                    <a:pt x="971179" y="2153867"/>
                  </a:lnTo>
                  <a:lnTo>
                    <a:pt x="975198" y="2157906"/>
                  </a:lnTo>
                  <a:lnTo>
                    <a:pt x="975198" y="2167776"/>
                  </a:lnTo>
                  <a:lnTo>
                    <a:pt x="971179" y="2171815"/>
                  </a:lnTo>
                  <a:lnTo>
                    <a:pt x="961268" y="2171815"/>
                  </a:lnTo>
                  <a:lnTo>
                    <a:pt x="957250" y="2167776"/>
                  </a:lnTo>
                  <a:lnTo>
                    <a:pt x="957250" y="2157906"/>
                  </a:lnTo>
                  <a:close/>
                  <a:moveTo>
                    <a:pt x="1679214" y="2153867"/>
                  </a:moveTo>
                  <a:lnTo>
                    <a:pt x="1689123" y="2153867"/>
                  </a:lnTo>
                  <a:lnTo>
                    <a:pt x="1693144" y="2157905"/>
                  </a:lnTo>
                  <a:lnTo>
                    <a:pt x="1693144" y="2167775"/>
                  </a:lnTo>
                  <a:lnTo>
                    <a:pt x="1689123" y="2171814"/>
                  </a:lnTo>
                  <a:lnTo>
                    <a:pt x="1679214" y="2171814"/>
                  </a:lnTo>
                  <a:lnTo>
                    <a:pt x="1675195" y="2167775"/>
                  </a:lnTo>
                  <a:lnTo>
                    <a:pt x="1675195" y="2157905"/>
                  </a:lnTo>
                  <a:close/>
                  <a:moveTo>
                    <a:pt x="1439897" y="2153867"/>
                  </a:moveTo>
                  <a:lnTo>
                    <a:pt x="1449807" y="2153867"/>
                  </a:lnTo>
                  <a:lnTo>
                    <a:pt x="1453826" y="2157905"/>
                  </a:lnTo>
                  <a:lnTo>
                    <a:pt x="1453826" y="2167776"/>
                  </a:lnTo>
                  <a:lnTo>
                    <a:pt x="1449807" y="2171814"/>
                  </a:lnTo>
                  <a:lnTo>
                    <a:pt x="1439897" y="2171814"/>
                  </a:lnTo>
                  <a:lnTo>
                    <a:pt x="1435878" y="2167776"/>
                  </a:lnTo>
                  <a:lnTo>
                    <a:pt x="1435878" y="2157905"/>
                  </a:lnTo>
                  <a:close/>
                  <a:moveTo>
                    <a:pt x="1918513" y="2153855"/>
                  </a:moveTo>
                  <a:lnTo>
                    <a:pt x="1928422" y="2153855"/>
                  </a:lnTo>
                  <a:lnTo>
                    <a:pt x="1932443" y="2157892"/>
                  </a:lnTo>
                  <a:lnTo>
                    <a:pt x="1932443" y="2167763"/>
                  </a:lnTo>
                  <a:lnTo>
                    <a:pt x="1928422" y="2171803"/>
                  </a:lnTo>
                  <a:lnTo>
                    <a:pt x="1918513" y="2171803"/>
                  </a:lnTo>
                  <a:lnTo>
                    <a:pt x="1914494" y="2167763"/>
                  </a:lnTo>
                  <a:lnTo>
                    <a:pt x="1914494" y="2157892"/>
                  </a:lnTo>
                  <a:close/>
                  <a:moveTo>
                    <a:pt x="2157821" y="2153850"/>
                  </a:moveTo>
                  <a:lnTo>
                    <a:pt x="2167732" y="2153850"/>
                  </a:lnTo>
                  <a:lnTo>
                    <a:pt x="2171750" y="2157889"/>
                  </a:lnTo>
                  <a:lnTo>
                    <a:pt x="2171750" y="2167759"/>
                  </a:lnTo>
                  <a:lnTo>
                    <a:pt x="2167732" y="2171798"/>
                  </a:lnTo>
                  <a:lnTo>
                    <a:pt x="2157821" y="2171798"/>
                  </a:lnTo>
                  <a:lnTo>
                    <a:pt x="2153803" y="2167759"/>
                  </a:lnTo>
                  <a:lnTo>
                    <a:pt x="2153803" y="2157889"/>
                  </a:lnTo>
                  <a:close/>
                  <a:moveTo>
                    <a:pt x="4032" y="2153832"/>
                  </a:moveTo>
                  <a:lnTo>
                    <a:pt x="13942" y="2153832"/>
                  </a:lnTo>
                  <a:lnTo>
                    <a:pt x="17961" y="2157870"/>
                  </a:lnTo>
                  <a:lnTo>
                    <a:pt x="17961" y="2167741"/>
                  </a:lnTo>
                  <a:lnTo>
                    <a:pt x="13942" y="2171780"/>
                  </a:lnTo>
                  <a:lnTo>
                    <a:pt x="4032" y="2171780"/>
                  </a:lnTo>
                  <a:lnTo>
                    <a:pt x="13" y="2167741"/>
                  </a:lnTo>
                  <a:lnTo>
                    <a:pt x="13" y="2157870"/>
                  </a:lnTo>
                  <a:close/>
                  <a:moveTo>
                    <a:pt x="721971" y="2153832"/>
                  </a:moveTo>
                  <a:lnTo>
                    <a:pt x="731881" y="2153832"/>
                  </a:lnTo>
                  <a:lnTo>
                    <a:pt x="735900" y="2157870"/>
                  </a:lnTo>
                  <a:lnTo>
                    <a:pt x="735900" y="2167740"/>
                  </a:lnTo>
                  <a:lnTo>
                    <a:pt x="731881" y="2171780"/>
                  </a:lnTo>
                  <a:lnTo>
                    <a:pt x="721971" y="2171780"/>
                  </a:lnTo>
                  <a:lnTo>
                    <a:pt x="717952" y="2167740"/>
                  </a:lnTo>
                  <a:lnTo>
                    <a:pt x="717952" y="2157870"/>
                  </a:lnTo>
                  <a:close/>
                  <a:moveTo>
                    <a:pt x="482659" y="2153832"/>
                  </a:moveTo>
                  <a:lnTo>
                    <a:pt x="492569" y="2153832"/>
                  </a:lnTo>
                  <a:lnTo>
                    <a:pt x="496588" y="2157870"/>
                  </a:lnTo>
                  <a:lnTo>
                    <a:pt x="496588" y="2167741"/>
                  </a:lnTo>
                  <a:lnTo>
                    <a:pt x="492569" y="2171780"/>
                  </a:lnTo>
                  <a:lnTo>
                    <a:pt x="482659" y="2171780"/>
                  </a:lnTo>
                  <a:lnTo>
                    <a:pt x="478640" y="2167741"/>
                  </a:lnTo>
                  <a:lnTo>
                    <a:pt x="478640" y="2157870"/>
                  </a:lnTo>
                  <a:close/>
                  <a:moveTo>
                    <a:pt x="243345" y="2153832"/>
                  </a:moveTo>
                  <a:lnTo>
                    <a:pt x="253255" y="2153832"/>
                  </a:lnTo>
                  <a:lnTo>
                    <a:pt x="257274" y="2157870"/>
                  </a:lnTo>
                  <a:lnTo>
                    <a:pt x="257274" y="2167741"/>
                  </a:lnTo>
                  <a:lnTo>
                    <a:pt x="253255" y="2171780"/>
                  </a:lnTo>
                  <a:lnTo>
                    <a:pt x="243345" y="2171780"/>
                  </a:lnTo>
                  <a:lnTo>
                    <a:pt x="239326" y="2167741"/>
                  </a:lnTo>
                  <a:lnTo>
                    <a:pt x="239326" y="2157870"/>
                  </a:lnTo>
                  <a:close/>
                  <a:moveTo>
                    <a:pt x="2393104" y="1914701"/>
                  </a:moveTo>
                  <a:lnTo>
                    <a:pt x="2403015" y="1914701"/>
                  </a:lnTo>
                  <a:lnTo>
                    <a:pt x="2407034" y="1918739"/>
                  </a:lnTo>
                  <a:lnTo>
                    <a:pt x="2407034" y="1928610"/>
                  </a:lnTo>
                  <a:lnTo>
                    <a:pt x="2403015" y="1932649"/>
                  </a:lnTo>
                  <a:lnTo>
                    <a:pt x="2393104" y="1932649"/>
                  </a:lnTo>
                  <a:lnTo>
                    <a:pt x="2389087" y="1928610"/>
                  </a:lnTo>
                  <a:lnTo>
                    <a:pt x="2389087" y="1918739"/>
                  </a:lnTo>
                  <a:close/>
                  <a:moveTo>
                    <a:pt x="3350359" y="1914699"/>
                  </a:moveTo>
                  <a:lnTo>
                    <a:pt x="3360268" y="1914699"/>
                  </a:lnTo>
                  <a:lnTo>
                    <a:pt x="3364287" y="1918738"/>
                  </a:lnTo>
                  <a:lnTo>
                    <a:pt x="3364287" y="1928610"/>
                  </a:lnTo>
                  <a:lnTo>
                    <a:pt x="3360268" y="1932649"/>
                  </a:lnTo>
                  <a:lnTo>
                    <a:pt x="3350359" y="1932649"/>
                  </a:lnTo>
                  <a:lnTo>
                    <a:pt x="3346340" y="1928610"/>
                  </a:lnTo>
                  <a:lnTo>
                    <a:pt x="3346340" y="1918738"/>
                  </a:lnTo>
                  <a:close/>
                  <a:moveTo>
                    <a:pt x="3111048" y="1914699"/>
                  </a:moveTo>
                  <a:lnTo>
                    <a:pt x="3120959" y="1914699"/>
                  </a:lnTo>
                  <a:lnTo>
                    <a:pt x="3124977" y="1918739"/>
                  </a:lnTo>
                  <a:lnTo>
                    <a:pt x="3124977" y="1928610"/>
                  </a:lnTo>
                  <a:lnTo>
                    <a:pt x="3120959" y="1932649"/>
                  </a:lnTo>
                  <a:lnTo>
                    <a:pt x="3111048" y="1932649"/>
                  </a:lnTo>
                  <a:lnTo>
                    <a:pt x="3107029" y="1928610"/>
                  </a:lnTo>
                  <a:lnTo>
                    <a:pt x="3107029" y="1918739"/>
                  </a:lnTo>
                  <a:close/>
                  <a:moveTo>
                    <a:pt x="2871737" y="1914699"/>
                  </a:moveTo>
                  <a:lnTo>
                    <a:pt x="2881646" y="1914699"/>
                  </a:lnTo>
                  <a:lnTo>
                    <a:pt x="2885666" y="1918739"/>
                  </a:lnTo>
                  <a:lnTo>
                    <a:pt x="2885666" y="1928610"/>
                  </a:lnTo>
                  <a:lnTo>
                    <a:pt x="2881646" y="1932649"/>
                  </a:lnTo>
                  <a:lnTo>
                    <a:pt x="2871737" y="1932649"/>
                  </a:lnTo>
                  <a:lnTo>
                    <a:pt x="2867717" y="1928610"/>
                  </a:lnTo>
                  <a:lnTo>
                    <a:pt x="2867717" y="1918739"/>
                  </a:lnTo>
                  <a:close/>
                  <a:moveTo>
                    <a:pt x="2632423" y="1914699"/>
                  </a:moveTo>
                  <a:lnTo>
                    <a:pt x="2642334" y="1914699"/>
                  </a:lnTo>
                  <a:lnTo>
                    <a:pt x="2646352" y="1918739"/>
                  </a:lnTo>
                  <a:lnTo>
                    <a:pt x="2646352" y="1928610"/>
                  </a:lnTo>
                  <a:lnTo>
                    <a:pt x="2642334" y="1932649"/>
                  </a:lnTo>
                  <a:lnTo>
                    <a:pt x="2632423" y="1932649"/>
                  </a:lnTo>
                  <a:lnTo>
                    <a:pt x="2628404" y="1928610"/>
                  </a:lnTo>
                  <a:lnTo>
                    <a:pt x="2628404" y="1918739"/>
                  </a:lnTo>
                  <a:close/>
                  <a:moveTo>
                    <a:pt x="3589676" y="1914682"/>
                  </a:moveTo>
                  <a:lnTo>
                    <a:pt x="3599585" y="1914682"/>
                  </a:lnTo>
                  <a:lnTo>
                    <a:pt x="3603604" y="1918721"/>
                  </a:lnTo>
                  <a:lnTo>
                    <a:pt x="3603604" y="1928592"/>
                  </a:lnTo>
                  <a:lnTo>
                    <a:pt x="3599585" y="1932631"/>
                  </a:lnTo>
                  <a:lnTo>
                    <a:pt x="3589676" y="1932631"/>
                  </a:lnTo>
                  <a:lnTo>
                    <a:pt x="3585657" y="1928592"/>
                  </a:lnTo>
                  <a:lnTo>
                    <a:pt x="3585657" y="1918721"/>
                  </a:lnTo>
                  <a:close/>
                  <a:moveTo>
                    <a:pt x="4546929" y="1914681"/>
                  </a:moveTo>
                  <a:lnTo>
                    <a:pt x="4556840" y="1914681"/>
                  </a:lnTo>
                  <a:lnTo>
                    <a:pt x="4560859" y="1918719"/>
                  </a:lnTo>
                  <a:lnTo>
                    <a:pt x="4560859" y="1928592"/>
                  </a:lnTo>
                  <a:lnTo>
                    <a:pt x="4556840" y="1932631"/>
                  </a:lnTo>
                  <a:lnTo>
                    <a:pt x="4546929" y="1932631"/>
                  </a:lnTo>
                  <a:lnTo>
                    <a:pt x="4542910" y="1928592"/>
                  </a:lnTo>
                  <a:lnTo>
                    <a:pt x="4542910" y="1918719"/>
                  </a:lnTo>
                  <a:close/>
                  <a:moveTo>
                    <a:pt x="4307612" y="1914681"/>
                  </a:moveTo>
                  <a:lnTo>
                    <a:pt x="4317523" y="1914681"/>
                  </a:lnTo>
                  <a:lnTo>
                    <a:pt x="4321543" y="1918720"/>
                  </a:lnTo>
                  <a:lnTo>
                    <a:pt x="4321543" y="1928592"/>
                  </a:lnTo>
                  <a:lnTo>
                    <a:pt x="4317523" y="1932631"/>
                  </a:lnTo>
                  <a:lnTo>
                    <a:pt x="4307612" y="1932631"/>
                  </a:lnTo>
                  <a:lnTo>
                    <a:pt x="4303595" y="1928592"/>
                  </a:lnTo>
                  <a:lnTo>
                    <a:pt x="4303595" y="1918720"/>
                  </a:lnTo>
                  <a:close/>
                  <a:moveTo>
                    <a:pt x="4068297" y="1914681"/>
                  </a:moveTo>
                  <a:lnTo>
                    <a:pt x="4078210" y="1914681"/>
                  </a:lnTo>
                  <a:lnTo>
                    <a:pt x="4082229" y="1918720"/>
                  </a:lnTo>
                  <a:lnTo>
                    <a:pt x="4082229" y="1928592"/>
                  </a:lnTo>
                  <a:lnTo>
                    <a:pt x="4078210" y="1932631"/>
                  </a:lnTo>
                  <a:lnTo>
                    <a:pt x="4068297" y="1932631"/>
                  </a:lnTo>
                  <a:lnTo>
                    <a:pt x="4064278" y="1928592"/>
                  </a:lnTo>
                  <a:lnTo>
                    <a:pt x="4064278" y="1918720"/>
                  </a:lnTo>
                  <a:close/>
                  <a:moveTo>
                    <a:pt x="3828990" y="1914681"/>
                  </a:moveTo>
                  <a:lnTo>
                    <a:pt x="3838899" y="1914681"/>
                  </a:lnTo>
                  <a:lnTo>
                    <a:pt x="3842917" y="1918720"/>
                  </a:lnTo>
                  <a:lnTo>
                    <a:pt x="3842917" y="1928592"/>
                  </a:lnTo>
                  <a:lnTo>
                    <a:pt x="3838899" y="1932631"/>
                  </a:lnTo>
                  <a:lnTo>
                    <a:pt x="3828990" y="1932631"/>
                  </a:lnTo>
                  <a:lnTo>
                    <a:pt x="3824971" y="1928592"/>
                  </a:lnTo>
                  <a:lnTo>
                    <a:pt x="3824971" y="1918720"/>
                  </a:lnTo>
                  <a:close/>
                  <a:moveTo>
                    <a:pt x="4786241" y="1914664"/>
                  </a:moveTo>
                  <a:lnTo>
                    <a:pt x="4796152" y="1914664"/>
                  </a:lnTo>
                  <a:lnTo>
                    <a:pt x="4800171" y="1918702"/>
                  </a:lnTo>
                  <a:lnTo>
                    <a:pt x="4800171" y="1928573"/>
                  </a:lnTo>
                  <a:lnTo>
                    <a:pt x="4796152" y="1932612"/>
                  </a:lnTo>
                  <a:lnTo>
                    <a:pt x="4786241" y="1932612"/>
                  </a:lnTo>
                  <a:lnTo>
                    <a:pt x="4782224" y="1928573"/>
                  </a:lnTo>
                  <a:lnTo>
                    <a:pt x="4782224" y="1918702"/>
                  </a:lnTo>
                  <a:close/>
                  <a:moveTo>
                    <a:pt x="5504099" y="1914663"/>
                  </a:moveTo>
                  <a:lnTo>
                    <a:pt x="5514010" y="1914663"/>
                  </a:lnTo>
                  <a:lnTo>
                    <a:pt x="5518029" y="1918702"/>
                  </a:lnTo>
                  <a:lnTo>
                    <a:pt x="5518029" y="1928572"/>
                  </a:lnTo>
                  <a:lnTo>
                    <a:pt x="5514010" y="1932612"/>
                  </a:lnTo>
                  <a:lnTo>
                    <a:pt x="5504099" y="1932612"/>
                  </a:lnTo>
                  <a:lnTo>
                    <a:pt x="5500080" y="1928572"/>
                  </a:lnTo>
                  <a:lnTo>
                    <a:pt x="5500080" y="1918702"/>
                  </a:lnTo>
                  <a:close/>
                  <a:moveTo>
                    <a:pt x="5264784" y="1914663"/>
                  </a:moveTo>
                  <a:lnTo>
                    <a:pt x="5274694" y="1914663"/>
                  </a:lnTo>
                  <a:lnTo>
                    <a:pt x="5278713" y="1918702"/>
                  </a:lnTo>
                  <a:lnTo>
                    <a:pt x="5278713" y="1928573"/>
                  </a:lnTo>
                  <a:lnTo>
                    <a:pt x="5274694" y="1932612"/>
                  </a:lnTo>
                  <a:lnTo>
                    <a:pt x="5264784" y="1932612"/>
                  </a:lnTo>
                  <a:lnTo>
                    <a:pt x="5260765" y="1928573"/>
                  </a:lnTo>
                  <a:lnTo>
                    <a:pt x="5260765" y="1918702"/>
                  </a:lnTo>
                  <a:close/>
                  <a:moveTo>
                    <a:pt x="5025470" y="1914663"/>
                  </a:moveTo>
                  <a:lnTo>
                    <a:pt x="5035381" y="1914663"/>
                  </a:lnTo>
                  <a:lnTo>
                    <a:pt x="5039400" y="1918702"/>
                  </a:lnTo>
                  <a:lnTo>
                    <a:pt x="5039400" y="1928573"/>
                  </a:lnTo>
                  <a:lnTo>
                    <a:pt x="5035381" y="1932612"/>
                  </a:lnTo>
                  <a:lnTo>
                    <a:pt x="5025470" y="1932612"/>
                  </a:lnTo>
                  <a:lnTo>
                    <a:pt x="5021451" y="1928573"/>
                  </a:lnTo>
                  <a:lnTo>
                    <a:pt x="5021451" y="1918702"/>
                  </a:lnTo>
                  <a:close/>
                  <a:moveTo>
                    <a:pt x="5743412" y="1914662"/>
                  </a:moveTo>
                  <a:lnTo>
                    <a:pt x="5753323" y="1914662"/>
                  </a:lnTo>
                  <a:lnTo>
                    <a:pt x="5757342" y="1918701"/>
                  </a:lnTo>
                  <a:lnTo>
                    <a:pt x="5757342" y="1928572"/>
                  </a:lnTo>
                  <a:lnTo>
                    <a:pt x="5753323" y="1932612"/>
                  </a:lnTo>
                  <a:lnTo>
                    <a:pt x="5743412" y="1932612"/>
                  </a:lnTo>
                  <a:lnTo>
                    <a:pt x="5739393" y="1928572"/>
                  </a:lnTo>
                  <a:lnTo>
                    <a:pt x="5739393" y="1918701"/>
                  </a:lnTo>
                  <a:close/>
                  <a:moveTo>
                    <a:pt x="5982729" y="1914645"/>
                  </a:moveTo>
                  <a:lnTo>
                    <a:pt x="5992639" y="1914645"/>
                  </a:lnTo>
                  <a:lnTo>
                    <a:pt x="5996658" y="1918684"/>
                  </a:lnTo>
                  <a:lnTo>
                    <a:pt x="5996658" y="1928555"/>
                  </a:lnTo>
                  <a:lnTo>
                    <a:pt x="5992639" y="1932594"/>
                  </a:lnTo>
                  <a:lnTo>
                    <a:pt x="5982729" y="1932594"/>
                  </a:lnTo>
                  <a:lnTo>
                    <a:pt x="5978710" y="1928555"/>
                  </a:lnTo>
                  <a:lnTo>
                    <a:pt x="5978710" y="1918684"/>
                  </a:lnTo>
                  <a:close/>
                  <a:moveTo>
                    <a:pt x="6939983" y="1914645"/>
                  </a:moveTo>
                  <a:lnTo>
                    <a:pt x="6949894" y="1914645"/>
                  </a:lnTo>
                  <a:lnTo>
                    <a:pt x="6953913" y="1918682"/>
                  </a:lnTo>
                  <a:lnTo>
                    <a:pt x="6953913" y="1928554"/>
                  </a:lnTo>
                  <a:lnTo>
                    <a:pt x="6949894" y="1932594"/>
                  </a:lnTo>
                  <a:lnTo>
                    <a:pt x="6939983" y="1932594"/>
                  </a:lnTo>
                  <a:lnTo>
                    <a:pt x="6935964" y="1928554"/>
                  </a:lnTo>
                  <a:lnTo>
                    <a:pt x="6935964" y="1918682"/>
                  </a:lnTo>
                  <a:close/>
                  <a:moveTo>
                    <a:pt x="6700670" y="1914645"/>
                  </a:moveTo>
                  <a:lnTo>
                    <a:pt x="6710581" y="1914645"/>
                  </a:lnTo>
                  <a:lnTo>
                    <a:pt x="6714600" y="1918683"/>
                  </a:lnTo>
                  <a:lnTo>
                    <a:pt x="6714600" y="1928554"/>
                  </a:lnTo>
                  <a:lnTo>
                    <a:pt x="6710581" y="1932594"/>
                  </a:lnTo>
                  <a:lnTo>
                    <a:pt x="6700670" y="1932594"/>
                  </a:lnTo>
                  <a:lnTo>
                    <a:pt x="6696651" y="1928554"/>
                  </a:lnTo>
                  <a:lnTo>
                    <a:pt x="6696651" y="1918683"/>
                  </a:lnTo>
                  <a:close/>
                  <a:moveTo>
                    <a:pt x="6461356" y="1914645"/>
                  </a:moveTo>
                  <a:lnTo>
                    <a:pt x="6471266" y="1914645"/>
                  </a:lnTo>
                  <a:lnTo>
                    <a:pt x="6475285" y="1918683"/>
                  </a:lnTo>
                  <a:lnTo>
                    <a:pt x="6475285" y="1928555"/>
                  </a:lnTo>
                  <a:lnTo>
                    <a:pt x="6471266" y="1932594"/>
                  </a:lnTo>
                  <a:lnTo>
                    <a:pt x="6461356" y="1932594"/>
                  </a:lnTo>
                  <a:lnTo>
                    <a:pt x="6457337" y="1928555"/>
                  </a:lnTo>
                  <a:lnTo>
                    <a:pt x="6457337" y="1918683"/>
                  </a:lnTo>
                  <a:close/>
                  <a:moveTo>
                    <a:pt x="6222042" y="1914645"/>
                  </a:moveTo>
                  <a:lnTo>
                    <a:pt x="6231952" y="1914645"/>
                  </a:lnTo>
                  <a:lnTo>
                    <a:pt x="6235971" y="1918683"/>
                  </a:lnTo>
                  <a:lnTo>
                    <a:pt x="6235971" y="1928555"/>
                  </a:lnTo>
                  <a:lnTo>
                    <a:pt x="6231952" y="1932594"/>
                  </a:lnTo>
                  <a:lnTo>
                    <a:pt x="6222042" y="1932594"/>
                  </a:lnTo>
                  <a:lnTo>
                    <a:pt x="6218023" y="1928555"/>
                  </a:lnTo>
                  <a:lnTo>
                    <a:pt x="6218023" y="1918683"/>
                  </a:lnTo>
                  <a:close/>
                  <a:moveTo>
                    <a:pt x="7179298" y="1914627"/>
                  </a:moveTo>
                  <a:lnTo>
                    <a:pt x="7189209" y="1914627"/>
                  </a:lnTo>
                  <a:lnTo>
                    <a:pt x="7193228" y="1918666"/>
                  </a:lnTo>
                  <a:lnTo>
                    <a:pt x="7193228" y="1928536"/>
                  </a:lnTo>
                  <a:lnTo>
                    <a:pt x="7189209" y="1932575"/>
                  </a:lnTo>
                  <a:lnTo>
                    <a:pt x="7179298" y="1932575"/>
                  </a:lnTo>
                  <a:lnTo>
                    <a:pt x="7175279" y="1928536"/>
                  </a:lnTo>
                  <a:lnTo>
                    <a:pt x="7175279" y="1918666"/>
                  </a:lnTo>
                  <a:close/>
                  <a:moveTo>
                    <a:pt x="7897241" y="1914627"/>
                  </a:moveTo>
                  <a:lnTo>
                    <a:pt x="7907151" y="1914627"/>
                  </a:lnTo>
                  <a:lnTo>
                    <a:pt x="7911170" y="1918664"/>
                  </a:lnTo>
                  <a:lnTo>
                    <a:pt x="7911170" y="1928535"/>
                  </a:lnTo>
                  <a:lnTo>
                    <a:pt x="7907151" y="1932575"/>
                  </a:lnTo>
                  <a:lnTo>
                    <a:pt x="7897241" y="1932575"/>
                  </a:lnTo>
                  <a:lnTo>
                    <a:pt x="7893222" y="1928535"/>
                  </a:lnTo>
                  <a:lnTo>
                    <a:pt x="7893222" y="1918664"/>
                  </a:lnTo>
                  <a:close/>
                  <a:moveTo>
                    <a:pt x="7657926" y="1914627"/>
                  </a:moveTo>
                  <a:lnTo>
                    <a:pt x="7667836" y="1914627"/>
                  </a:lnTo>
                  <a:lnTo>
                    <a:pt x="7671855" y="1918664"/>
                  </a:lnTo>
                  <a:lnTo>
                    <a:pt x="7671855" y="1928536"/>
                  </a:lnTo>
                  <a:lnTo>
                    <a:pt x="7667836" y="1932575"/>
                  </a:lnTo>
                  <a:lnTo>
                    <a:pt x="7657926" y="1932575"/>
                  </a:lnTo>
                  <a:lnTo>
                    <a:pt x="7653906" y="1928536"/>
                  </a:lnTo>
                  <a:lnTo>
                    <a:pt x="7653906" y="1918664"/>
                  </a:lnTo>
                  <a:close/>
                  <a:moveTo>
                    <a:pt x="7418611" y="1914627"/>
                  </a:moveTo>
                  <a:lnTo>
                    <a:pt x="7428521" y="1914627"/>
                  </a:lnTo>
                  <a:lnTo>
                    <a:pt x="7432540" y="1918664"/>
                  </a:lnTo>
                  <a:lnTo>
                    <a:pt x="7432540" y="1928536"/>
                  </a:lnTo>
                  <a:lnTo>
                    <a:pt x="7428521" y="1932575"/>
                  </a:lnTo>
                  <a:lnTo>
                    <a:pt x="7418611" y="1932575"/>
                  </a:lnTo>
                  <a:lnTo>
                    <a:pt x="7414592" y="1928536"/>
                  </a:lnTo>
                  <a:lnTo>
                    <a:pt x="7414592" y="1918664"/>
                  </a:lnTo>
                  <a:close/>
                  <a:moveTo>
                    <a:pt x="8136553" y="1914626"/>
                  </a:moveTo>
                  <a:lnTo>
                    <a:pt x="8146464" y="1914626"/>
                  </a:lnTo>
                  <a:lnTo>
                    <a:pt x="8150483" y="1918664"/>
                  </a:lnTo>
                  <a:lnTo>
                    <a:pt x="8150483" y="1928535"/>
                  </a:lnTo>
                  <a:lnTo>
                    <a:pt x="8146464" y="1932575"/>
                  </a:lnTo>
                  <a:lnTo>
                    <a:pt x="8136553" y="1932575"/>
                  </a:lnTo>
                  <a:lnTo>
                    <a:pt x="8132534" y="1928535"/>
                  </a:lnTo>
                  <a:lnTo>
                    <a:pt x="8132534" y="1918664"/>
                  </a:lnTo>
                  <a:close/>
                  <a:moveTo>
                    <a:pt x="8375869" y="1914608"/>
                  </a:moveTo>
                  <a:lnTo>
                    <a:pt x="8385779" y="1914608"/>
                  </a:lnTo>
                  <a:lnTo>
                    <a:pt x="8389799" y="1918647"/>
                  </a:lnTo>
                  <a:lnTo>
                    <a:pt x="8389799" y="1928518"/>
                  </a:lnTo>
                  <a:lnTo>
                    <a:pt x="8385779" y="1932557"/>
                  </a:lnTo>
                  <a:lnTo>
                    <a:pt x="8375869" y="1932557"/>
                  </a:lnTo>
                  <a:lnTo>
                    <a:pt x="8371850" y="1928518"/>
                  </a:lnTo>
                  <a:lnTo>
                    <a:pt x="8371850" y="1918647"/>
                  </a:lnTo>
                  <a:close/>
                  <a:moveTo>
                    <a:pt x="9333125" y="1914608"/>
                  </a:moveTo>
                  <a:lnTo>
                    <a:pt x="9343036" y="1914608"/>
                  </a:lnTo>
                  <a:lnTo>
                    <a:pt x="9347055" y="1918646"/>
                  </a:lnTo>
                  <a:lnTo>
                    <a:pt x="9347055" y="1928517"/>
                  </a:lnTo>
                  <a:lnTo>
                    <a:pt x="9343036" y="1932557"/>
                  </a:lnTo>
                  <a:lnTo>
                    <a:pt x="9333125" y="1932557"/>
                  </a:lnTo>
                  <a:lnTo>
                    <a:pt x="9329106" y="1928517"/>
                  </a:lnTo>
                  <a:lnTo>
                    <a:pt x="9329106" y="1918646"/>
                  </a:lnTo>
                  <a:close/>
                  <a:moveTo>
                    <a:pt x="9093811" y="1914608"/>
                  </a:moveTo>
                  <a:lnTo>
                    <a:pt x="9103722" y="1914608"/>
                  </a:lnTo>
                  <a:lnTo>
                    <a:pt x="9107741" y="1918646"/>
                  </a:lnTo>
                  <a:lnTo>
                    <a:pt x="9107741" y="1928517"/>
                  </a:lnTo>
                  <a:lnTo>
                    <a:pt x="9103722" y="1932557"/>
                  </a:lnTo>
                  <a:lnTo>
                    <a:pt x="9093811" y="1932557"/>
                  </a:lnTo>
                  <a:lnTo>
                    <a:pt x="9089792" y="1928517"/>
                  </a:lnTo>
                  <a:lnTo>
                    <a:pt x="9089792" y="1918646"/>
                  </a:lnTo>
                  <a:close/>
                  <a:moveTo>
                    <a:pt x="8854496" y="1914608"/>
                  </a:moveTo>
                  <a:lnTo>
                    <a:pt x="8864407" y="1914608"/>
                  </a:lnTo>
                  <a:lnTo>
                    <a:pt x="8868426" y="1918646"/>
                  </a:lnTo>
                  <a:lnTo>
                    <a:pt x="8868426" y="1928518"/>
                  </a:lnTo>
                  <a:lnTo>
                    <a:pt x="8864407" y="1932557"/>
                  </a:lnTo>
                  <a:lnTo>
                    <a:pt x="8854496" y="1932557"/>
                  </a:lnTo>
                  <a:lnTo>
                    <a:pt x="8850477" y="1928518"/>
                  </a:lnTo>
                  <a:lnTo>
                    <a:pt x="8850477" y="1918646"/>
                  </a:lnTo>
                  <a:close/>
                  <a:moveTo>
                    <a:pt x="8615184" y="1914608"/>
                  </a:moveTo>
                  <a:lnTo>
                    <a:pt x="8625095" y="1914608"/>
                  </a:lnTo>
                  <a:lnTo>
                    <a:pt x="8629114" y="1918646"/>
                  </a:lnTo>
                  <a:lnTo>
                    <a:pt x="8629114" y="1928518"/>
                  </a:lnTo>
                  <a:lnTo>
                    <a:pt x="8625095" y="1932557"/>
                  </a:lnTo>
                  <a:lnTo>
                    <a:pt x="8615184" y="1932557"/>
                  </a:lnTo>
                  <a:lnTo>
                    <a:pt x="8611165" y="1928518"/>
                  </a:lnTo>
                  <a:lnTo>
                    <a:pt x="8611165" y="1918646"/>
                  </a:lnTo>
                  <a:close/>
                  <a:moveTo>
                    <a:pt x="9572438" y="1914590"/>
                  </a:moveTo>
                  <a:lnTo>
                    <a:pt x="9582349" y="1914590"/>
                  </a:lnTo>
                  <a:lnTo>
                    <a:pt x="9586368" y="1918629"/>
                  </a:lnTo>
                  <a:lnTo>
                    <a:pt x="9586368" y="1928499"/>
                  </a:lnTo>
                  <a:lnTo>
                    <a:pt x="9582349" y="1932538"/>
                  </a:lnTo>
                  <a:lnTo>
                    <a:pt x="9572438" y="1932538"/>
                  </a:lnTo>
                  <a:lnTo>
                    <a:pt x="9568419" y="1928499"/>
                  </a:lnTo>
                  <a:lnTo>
                    <a:pt x="9568419" y="1918629"/>
                  </a:lnTo>
                  <a:close/>
                  <a:moveTo>
                    <a:pt x="243346" y="1914550"/>
                  </a:moveTo>
                  <a:lnTo>
                    <a:pt x="253256" y="1914550"/>
                  </a:lnTo>
                  <a:lnTo>
                    <a:pt x="257275" y="1918589"/>
                  </a:lnTo>
                  <a:lnTo>
                    <a:pt x="257275" y="1928459"/>
                  </a:lnTo>
                  <a:lnTo>
                    <a:pt x="253256" y="1932498"/>
                  </a:lnTo>
                  <a:lnTo>
                    <a:pt x="243346" y="1932498"/>
                  </a:lnTo>
                  <a:lnTo>
                    <a:pt x="239327" y="1928459"/>
                  </a:lnTo>
                  <a:lnTo>
                    <a:pt x="239327" y="1918589"/>
                  </a:lnTo>
                  <a:close/>
                  <a:moveTo>
                    <a:pt x="4032" y="1914550"/>
                  </a:moveTo>
                  <a:lnTo>
                    <a:pt x="13943" y="1914550"/>
                  </a:lnTo>
                  <a:lnTo>
                    <a:pt x="17962" y="1918589"/>
                  </a:lnTo>
                  <a:lnTo>
                    <a:pt x="17962" y="1928459"/>
                  </a:lnTo>
                  <a:lnTo>
                    <a:pt x="13943" y="1932498"/>
                  </a:lnTo>
                  <a:lnTo>
                    <a:pt x="4032" y="1932498"/>
                  </a:lnTo>
                  <a:lnTo>
                    <a:pt x="13" y="1928459"/>
                  </a:lnTo>
                  <a:lnTo>
                    <a:pt x="13" y="1918589"/>
                  </a:lnTo>
                  <a:close/>
                  <a:moveTo>
                    <a:pt x="721971" y="1914550"/>
                  </a:moveTo>
                  <a:lnTo>
                    <a:pt x="731882" y="1914550"/>
                  </a:lnTo>
                  <a:lnTo>
                    <a:pt x="735901" y="1918588"/>
                  </a:lnTo>
                  <a:lnTo>
                    <a:pt x="735901" y="1928459"/>
                  </a:lnTo>
                  <a:lnTo>
                    <a:pt x="731882" y="1932497"/>
                  </a:lnTo>
                  <a:lnTo>
                    <a:pt x="721971" y="1932497"/>
                  </a:lnTo>
                  <a:lnTo>
                    <a:pt x="717953" y="1928459"/>
                  </a:lnTo>
                  <a:lnTo>
                    <a:pt x="717953" y="1918588"/>
                  </a:lnTo>
                  <a:close/>
                  <a:moveTo>
                    <a:pt x="482660" y="1914550"/>
                  </a:moveTo>
                  <a:lnTo>
                    <a:pt x="492570" y="1914550"/>
                  </a:lnTo>
                  <a:lnTo>
                    <a:pt x="496589" y="1918588"/>
                  </a:lnTo>
                  <a:lnTo>
                    <a:pt x="496589" y="1928459"/>
                  </a:lnTo>
                  <a:lnTo>
                    <a:pt x="492570" y="1932497"/>
                  </a:lnTo>
                  <a:lnTo>
                    <a:pt x="482660" y="1932497"/>
                  </a:lnTo>
                  <a:lnTo>
                    <a:pt x="478640" y="1928459"/>
                  </a:lnTo>
                  <a:lnTo>
                    <a:pt x="478640" y="1918588"/>
                  </a:lnTo>
                  <a:close/>
                  <a:moveTo>
                    <a:pt x="1679215" y="1914535"/>
                  </a:moveTo>
                  <a:lnTo>
                    <a:pt x="1689125" y="1914535"/>
                  </a:lnTo>
                  <a:lnTo>
                    <a:pt x="1693144" y="1918573"/>
                  </a:lnTo>
                  <a:lnTo>
                    <a:pt x="1693144" y="1928444"/>
                  </a:lnTo>
                  <a:lnTo>
                    <a:pt x="1689125" y="1932482"/>
                  </a:lnTo>
                  <a:lnTo>
                    <a:pt x="1679215" y="1932482"/>
                  </a:lnTo>
                  <a:lnTo>
                    <a:pt x="1675195" y="1928444"/>
                  </a:lnTo>
                  <a:lnTo>
                    <a:pt x="1675195" y="1918573"/>
                  </a:lnTo>
                  <a:close/>
                  <a:moveTo>
                    <a:pt x="1439897" y="1914535"/>
                  </a:moveTo>
                  <a:lnTo>
                    <a:pt x="1449808" y="1914535"/>
                  </a:lnTo>
                  <a:lnTo>
                    <a:pt x="1453827" y="1918573"/>
                  </a:lnTo>
                  <a:lnTo>
                    <a:pt x="1453827" y="1928444"/>
                  </a:lnTo>
                  <a:lnTo>
                    <a:pt x="1449808" y="1932483"/>
                  </a:lnTo>
                  <a:lnTo>
                    <a:pt x="1439897" y="1932483"/>
                  </a:lnTo>
                  <a:lnTo>
                    <a:pt x="1435879" y="1928444"/>
                  </a:lnTo>
                  <a:lnTo>
                    <a:pt x="1435879" y="1918573"/>
                  </a:lnTo>
                  <a:close/>
                  <a:moveTo>
                    <a:pt x="1200582" y="1914535"/>
                  </a:moveTo>
                  <a:lnTo>
                    <a:pt x="1210492" y="1914535"/>
                  </a:lnTo>
                  <a:lnTo>
                    <a:pt x="1214511" y="1918573"/>
                  </a:lnTo>
                  <a:lnTo>
                    <a:pt x="1214511" y="1928444"/>
                  </a:lnTo>
                  <a:lnTo>
                    <a:pt x="1210492" y="1932483"/>
                  </a:lnTo>
                  <a:lnTo>
                    <a:pt x="1200582" y="1932483"/>
                  </a:lnTo>
                  <a:lnTo>
                    <a:pt x="1196563" y="1928444"/>
                  </a:lnTo>
                  <a:lnTo>
                    <a:pt x="1196563" y="1918573"/>
                  </a:lnTo>
                  <a:close/>
                  <a:moveTo>
                    <a:pt x="961269" y="1914535"/>
                  </a:moveTo>
                  <a:lnTo>
                    <a:pt x="971179" y="1914535"/>
                  </a:lnTo>
                  <a:lnTo>
                    <a:pt x="975198" y="1918573"/>
                  </a:lnTo>
                  <a:lnTo>
                    <a:pt x="975198" y="1928444"/>
                  </a:lnTo>
                  <a:lnTo>
                    <a:pt x="971179" y="1932483"/>
                  </a:lnTo>
                  <a:lnTo>
                    <a:pt x="961269" y="1932483"/>
                  </a:lnTo>
                  <a:lnTo>
                    <a:pt x="957250" y="1928444"/>
                  </a:lnTo>
                  <a:lnTo>
                    <a:pt x="957250" y="1918573"/>
                  </a:lnTo>
                  <a:close/>
                  <a:moveTo>
                    <a:pt x="1918513" y="1914523"/>
                  </a:moveTo>
                  <a:lnTo>
                    <a:pt x="1928424" y="1914523"/>
                  </a:lnTo>
                  <a:lnTo>
                    <a:pt x="1932443" y="1918562"/>
                  </a:lnTo>
                  <a:lnTo>
                    <a:pt x="1932443" y="1928432"/>
                  </a:lnTo>
                  <a:lnTo>
                    <a:pt x="1928424" y="1932471"/>
                  </a:lnTo>
                  <a:lnTo>
                    <a:pt x="1918513" y="1932471"/>
                  </a:lnTo>
                  <a:lnTo>
                    <a:pt x="1914494" y="1928432"/>
                  </a:lnTo>
                  <a:lnTo>
                    <a:pt x="1914494" y="1918562"/>
                  </a:lnTo>
                  <a:close/>
                  <a:moveTo>
                    <a:pt x="2157821" y="1914520"/>
                  </a:moveTo>
                  <a:lnTo>
                    <a:pt x="2167732" y="1914520"/>
                  </a:lnTo>
                  <a:lnTo>
                    <a:pt x="2171751" y="1918558"/>
                  </a:lnTo>
                  <a:lnTo>
                    <a:pt x="2171751" y="1928428"/>
                  </a:lnTo>
                  <a:lnTo>
                    <a:pt x="2167732" y="1932467"/>
                  </a:lnTo>
                  <a:lnTo>
                    <a:pt x="2157821" y="1932467"/>
                  </a:lnTo>
                  <a:lnTo>
                    <a:pt x="2153803" y="1928428"/>
                  </a:lnTo>
                  <a:lnTo>
                    <a:pt x="2153803" y="1918558"/>
                  </a:lnTo>
                  <a:close/>
                  <a:moveTo>
                    <a:pt x="2871737" y="1675350"/>
                  </a:moveTo>
                  <a:lnTo>
                    <a:pt x="2881646" y="1675350"/>
                  </a:lnTo>
                  <a:lnTo>
                    <a:pt x="2885666" y="1679389"/>
                  </a:lnTo>
                  <a:lnTo>
                    <a:pt x="2885666" y="1689260"/>
                  </a:lnTo>
                  <a:lnTo>
                    <a:pt x="2881646" y="1693299"/>
                  </a:lnTo>
                  <a:lnTo>
                    <a:pt x="2871737" y="1693299"/>
                  </a:lnTo>
                  <a:lnTo>
                    <a:pt x="2867717" y="1689260"/>
                  </a:lnTo>
                  <a:lnTo>
                    <a:pt x="2867717" y="1679389"/>
                  </a:lnTo>
                  <a:close/>
                  <a:moveTo>
                    <a:pt x="2632423" y="1675350"/>
                  </a:moveTo>
                  <a:lnTo>
                    <a:pt x="2642334" y="1675350"/>
                  </a:lnTo>
                  <a:lnTo>
                    <a:pt x="2646352" y="1679389"/>
                  </a:lnTo>
                  <a:lnTo>
                    <a:pt x="2646352" y="1689260"/>
                  </a:lnTo>
                  <a:lnTo>
                    <a:pt x="2642334" y="1693299"/>
                  </a:lnTo>
                  <a:lnTo>
                    <a:pt x="2632423" y="1693299"/>
                  </a:lnTo>
                  <a:lnTo>
                    <a:pt x="2628404" y="1689260"/>
                  </a:lnTo>
                  <a:lnTo>
                    <a:pt x="2628404" y="1679389"/>
                  </a:lnTo>
                  <a:close/>
                  <a:moveTo>
                    <a:pt x="2393104" y="1675350"/>
                  </a:moveTo>
                  <a:lnTo>
                    <a:pt x="2403015" y="1675350"/>
                  </a:lnTo>
                  <a:lnTo>
                    <a:pt x="2407034" y="1679389"/>
                  </a:lnTo>
                  <a:lnTo>
                    <a:pt x="2407034" y="1689260"/>
                  </a:lnTo>
                  <a:lnTo>
                    <a:pt x="2403015" y="1693299"/>
                  </a:lnTo>
                  <a:lnTo>
                    <a:pt x="2393104" y="1693299"/>
                  </a:lnTo>
                  <a:lnTo>
                    <a:pt x="2389087" y="1689260"/>
                  </a:lnTo>
                  <a:lnTo>
                    <a:pt x="2389087" y="1679389"/>
                  </a:lnTo>
                  <a:close/>
                  <a:moveTo>
                    <a:pt x="3350359" y="1675349"/>
                  </a:moveTo>
                  <a:lnTo>
                    <a:pt x="3360268" y="1675349"/>
                  </a:lnTo>
                  <a:lnTo>
                    <a:pt x="3364287" y="1679388"/>
                  </a:lnTo>
                  <a:lnTo>
                    <a:pt x="3364287" y="1689260"/>
                  </a:lnTo>
                  <a:lnTo>
                    <a:pt x="3360268" y="1693298"/>
                  </a:lnTo>
                  <a:lnTo>
                    <a:pt x="3350359" y="1693298"/>
                  </a:lnTo>
                  <a:lnTo>
                    <a:pt x="3346340" y="1689260"/>
                  </a:lnTo>
                  <a:lnTo>
                    <a:pt x="3346340" y="1679388"/>
                  </a:lnTo>
                  <a:close/>
                  <a:moveTo>
                    <a:pt x="3111048" y="1675349"/>
                  </a:moveTo>
                  <a:lnTo>
                    <a:pt x="3120959" y="1675349"/>
                  </a:lnTo>
                  <a:lnTo>
                    <a:pt x="3124977" y="1679388"/>
                  </a:lnTo>
                  <a:lnTo>
                    <a:pt x="3124977" y="1689260"/>
                  </a:lnTo>
                  <a:lnTo>
                    <a:pt x="3120959" y="1693299"/>
                  </a:lnTo>
                  <a:lnTo>
                    <a:pt x="3111048" y="1693299"/>
                  </a:lnTo>
                  <a:lnTo>
                    <a:pt x="3107029" y="1689260"/>
                  </a:lnTo>
                  <a:lnTo>
                    <a:pt x="3107029" y="1679388"/>
                  </a:lnTo>
                  <a:close/>
                  <a:moveTo>
                    <a:pt x="4068297" y="1675334"/>
                  </a:moveTo>
                  <a:lnTo>
                    <a:pt x="4078210" y="1675334"/>
                  </a:lnTo>
                  <a:lnTo>
                    <a:pt x="4082229" y="1679373"/>
                  </a:lnTo>
                  <a:lnTo>
                    <a:pt x="4082229" y="1689243"/>
                  </a:lnTo>
                  <a:lnTo>
                    <a:pt x="4078210" y="1693282"/>
                  </a:lnTo>
                  <a:lnTo>
                    <a:pt x="4068297" y="1693282"/>
                  </a:lnTo>
                  <a:lnTo>
                    <a:pt x="4064278" y="1689243"/>
                  </a:lnTo>
                  <a:lnTo>
                    <a:pt x="4064278" y="1679373"/>
                  </a:lnTo>
                  <a:close/>
                  <a:moveTo>
                    <a:pt x="3828990" y="1675334"/>
                  </a:moveTo>
                  <a:lnTo>
                    <a:pt x="3838899" y="1675334"/>
                  </a:lnTo>
                  <a:lnTo>
                    <a:pt x="3842917" y="1679373"/>
                  </a:lnTo>
                  <a:lnTo>
                    <a:pt x="3842917" y="1689243"/>
                  </a:lnTo>
                  <a:lnTo>
                    <a:pt x="3838899" y="1693282"/>
                  </a:lnTo>
                  <a:lnTo>
                    <a:pt x="3828990" y="1693282"/>
                  </a:lnTo>
                  <a:lnTo>
                    <a:pt x="3824971" y="1689243"/>
                  </a:lnTo>
                  <a:lnTo>
                    <a:pt x="3824971" y="1679373"/>
                  </a:lnTo>
                  <a:close/>
                  <a:moveTo>
                    <a:pt x="3589676" y="1675334"/>
                  </a:moveTo>
                  <a:lnTo>
                    <a:pt x="3599585" y="1675334"/>
                  </a:lnTo>
                  <a:lnTo>
                    <a:pt x="3603604" y="1679373"/>
                  </a:lnTo>
                  <a:lnTo>
                    <a:pt x="3603604" y="1689243"/>
                  </a:lnTo>
                  <a:lnTo>
                    <a:pt x="3599585" y="1693282"/>
                  </a:lnTo>
                  <a:lnTo>
                    <a:pt x="3589676" y="1693282"/>
                  </a:lnTo>
                  <a:lnTo>
                    <a:pt x="3585657" y="1689243"/>
                  </a:lnTo>
                  <a:lnTo>
                    <a:pt x="3585657" y="1679373"/>
                  </a:lnTo>
                  <a:close/>
                  <a:moveTo>
                    <a:pt x="4546929" y="1675333"/>
                  </a:moveTo>
                  <a:lnTo>
                    <a:pt x="4556840" y="1675333"/>
                  </a:lnTo>
                  <a:lnTo>
                    <a:pt x="4560859" y="1679372"/>
                  </a:lnTo>
                  <a:lnTo>
                    <a:pt x="4560859" y="1689243"/>
                  </a:lnTo>
                  <a:lnTo>
                    <a:pt x="4556840" y="1693281"/>
                  </a:lnTo>
                  <a:lnTo>
                    <a:pt x="4546929" y="1693281"/>
                  </a:lnTo>
                  <a:lnTo>
                    <a:pt x="4542910" y="1689243"/>
                  </a:lnTo>
                  <a:lnTo>
                    <a:pt x="4542910" y="1679372"/>
                  </a:lnTo>
                  <a:close/>
                  <a:moveTo>
                    <a:pt x="4307612" y="1675333"/>
                  </a:moveTo>
                  <a:lnTo>
                    <a:pt x="4317523" y="1675333"/>
                  </a:lnTo>
                  <a:lnTo>
                    <a:pt x="4321543" y="1679372"/>
                  </a:lnTo>
                  <a:lnTo>
                    <a:pt x="4321543" y="1689243"/>
                  </a:lnTo>
                  <a:lnTo>
                    <a:pt x="4317523" y="1693282"/>
                  </a:lnTo>
                  <a:lnTo>
                    <a:pt x="4307612" y="1693282"/>
                  </a:lnTo>
                  <a:lnTo>
                    <a:pt x="4303595" y="1689243"/>
                  </a:lnTo>
                  <a:lnTo>
                    <a:pt x="4303595" y="1679372"/>
                  </a:lnTo>
                  <a:close/>
                  <a:moveTo>
                    <a:pt x="5264784" y="1675318"/>
                  </a:moveTo>
                  <a:lnTo>
                    <a:pt x="5274694" y="1675318"/>
                  </a:lnTo>
                  <a:lnTo>
                    <a:pt x="5278713" y="1679357"/>
                  </a:lnTo>
                  <a:lnTo>
                    <a:pt x="5278713" y="1689227"/>
                  </a:lnTo>
                  <a:lnTo>
                    <a:pt x="5274694" y="1693266"/>
                  </a:lnTo>
                  <a:lnTo>
                    <a:pt x="5264784" y="1693266"/>
                  </a:lnTo>
                  <a:lnTo>
                    <a:pt x="5260765" y="1689227"/>
                  </a:lnTo>
                  <a:lnTo>
                    <a:pt x="5260765" y="1679357"/>
                  </a:lnTo>
                  <a:close/>
                  <a:moveTo>
                    <a:pt x="5025470" y="1675318"/>
                  </a:moveTo>
                  <a:lnTo>
                    <a:pt x="5035381" y="1675318"/>
                  </a:lnTo>
                  <a:lnTo>
                    <a:pt x="5039400" y="1679357"/>
                  </a:lnTo>
                  <a:lnTo>
                    <a:pt x="5039400" y="1689227"/>
                  </a:lnTo>
                  <a:lnTo>
                    <a:pt x="5035381" y="1693266"/>
                  </a:lnTo>
                  <a:lnTo>
                    <a:pt x="5025470" y="1693266"/>
                  </a:lnTo>
                  <a:lnTo>
                    <a:pt x="5021451" y="1689227"/>
                  </a:lnTo>
                  <a:lnTo>
                    <a:pt x="5021451" y="1679357"/>
                  </a:lnTo>
                  <a:close/>
                  <a:moveTo>
                    <a:pt x="4786241" y="1675318"/>
                  </a:moveTo>
                  <a:lnTo>
                    <a:pt x="4796152" y="1675318"/>
                  </a:lnTo>
                  <a:lnTo>
                    <a:pt x="4800171" y="1679357"/>
                  </a:lnTo>
                  <a:lnTo>
                    <a:pt x="4800171" y="1689227"/>
                  </a:lnTo>
                  <a:lnTo>
                    <a:pt x="4796152" y="1693266"/>
                  </a:lnTo>
                  <a:lnTo>
                    <a:pt x="4786241" y="1693266"/>
                  </a:lnTo>
                  <a:lnTo>
                    <a:pt x="4782224" y="1689227"/>
                  </a:lnTo>
                  <a:lnTo>
                    <a:pt x="4782224" y="1679357"/>
                  </a:lnTo>
                  <a:close/>
                  <a:moveTo>
                    <a:pt x="5743412" y="1675316"/>
                  </a:moveTo>
                  <a:lnTo>
                    <a:pt x="5753323" y="1675316"/>
                  </a:lnTo>
                  <a:lnTo>
                    <a:pt x="5757342" y="1679356"/>
                  </a:lnTo>
                  <a:lnTo>
                    <a:pt x="5757342" y="1689227"/>
                  </a:lnTo>
                  <a:lnTo>
                    <a:pt x="5753323" y="1693266"/>
                  </a:lnTo>
                  <a:lnTo>
                    <a:pt x="5743412" y="1693266"/>
                  </a:lnTo>
                  <a:lnTo>
                    <a:pt x="5739393" y="1689227"/>
                  </a:lnTo>
                  <a:lnTo>
                    <a:pt x="5739393" y="1679356"/>
                  </a:lnTo>
                  <a:close/>
                  <a:moveTo>
                    <a:pt x="5504099" y="1675316"/>
                  </a:moveTo>
                  <a:lnTo>
                    <a:pt x="5514010" y="1675316"/>
                  </a:lnTo>
                  <a:lnTo>
                    <a:pt x="5518029" y="1679356"/>
                  </a:lnTo>
                  <a:lnTo>
                    <a:pt x="5518029" y="1689227"/>
                  </a:lnTo>
                  <a:lnTo>
                    <a:pt x="5514010" y="1693266"/>
                  </a:lnTo>
                  <a:lnTo>
                    <a:pt x="5504099" y="1693266"/>
                  </a:lnTo>
                  <a:lnTo>
                    <a:pt x="5500080" y="1689227"/>
                  </a:lnTo>
                  <a:lnTo>
                    <a:pt x="5500080" y="1679356"/>
                  </a:lnTo>
                  <a:close/>
                  <a:moveTo>
                    <a:pt x="6461356" y="1675301"/>
                  </a:moveTo>
                  <a:lnTo>
                    <a:pt x="6471266" y="1675301"/>
                  </a:lnTo>
                  <a:lnTo>
                    <a:pt x="6475285" y="1679339"/>
                  </a:lnTo>
                  <a:lnTo>
                    <a:pt x="6475285" y="1689210"/>
                  </a:lnTo>
                  <a:lnTo>
                    <a:pt x="6471266" y="1693249"/>
                  </a:lnTo>
                  <a:lnTo>
                    <a:pt x="6461356" y="1693249"/>
                  </a:lnTo>
                  <a:lnTo>
                    <a:pt x="6457337" y="1689210"/>
                  </a:lnTo>
                  <a:lnTo>
                    <a:pt x="6457337" y="1679339"/>
                  </a:lnTo>
                  <a:close/>
                  <a:moveTo>
                    <a:pt x="6222042" y="1675301"/>
                  </a:moveTo>
                  <a:lnTo>
                    <a:pt x="6231952" y="1675301"/>
                  </a:lnTo>
                  <a:lnTo>
                    <a:pt x="6235971" y="1679339"/>
                  </a:lnTo>
                  <a:lnTo>
                    <a:pt x="6235971" y="1689211"/>
                  </a:lnTo>
                  <a:lnTo>
                    <a:pt x="6231952" y="1693249"/>
                  </a:lnTo>
                  <a:lnTo>
                    <a:pt x="6222042" y="1693249"/>
                  </a:lnTo>
                  <a:lnTo>
                    <a:pt x="6218023" y="1689211"/>
                  </a:lnTo>
                  <a:lnTo>
                    <a:pt x="6218023" y="1679339"/>
                  </a:lnTo>
                  <a:close/>
                  <a:moveTo>
                    <a:pt x="5982729" y="1675301"/>
                  </a:moveTo>
                  <a:lnTo>
                    <a:pt x="5992639" y="1675301"/>
                  </a:lnTo>
                  <a:lnTo>
                    <a:pt x="5996658" y="1679339"/>
                  </a:lnTo>
                  <a:lnTo>
                    <a:pt x="5996658" y="1689211"/>
                  </a:lnTo>
                  <a:lnTo>
                    <a:pt x="5992639" y="1693251"/>
                  </a:lnTo>
                  <a:lnTo>
                    <a:pt x="5982729" y="1693251"/>
                  </a:lnTo>
                  <a:lnTo>
                    <a:pt x="5978710" y="1689211"/>
                  </a:lnTo>
                  <a:lnTo>
                    <a:pt x="5978710" y="1679339"/>
                  </a:lnTo>
                  <a:close/>
                  <a:moveTo>
                    <a:pt x="6939983" y="1675300"/>
                  </a:moveTo>
                  <a:lnTo>
                    <a:pt x="6949894" y="1675300"/>
                  </a:lnTo>
                  <a:lnTo>
                    <a:pt x="6953913" y="1679339"/>
                  </a:lnTo>
                  <a:lnTo>
                    <a:pt x="6953913" y="1689210"/>
                  </a:lnTo>
                  <a:lnTo>
                    <a:pt x="6949894" y="1693249"/>
                  </a:lnTo>
                  <a:lnTo>
                    <a:pt x="6939983" y="1693249"/>
                  </a:lnTo>
                  <a:lnTo>
                    <a:pt x="6935964" y="1689210"/>
                  </a:lnTo>
                  <a:lnTo>
                    <a:pt x="6935964" y="1679339"/>
                  </a:lnTo>
                  <a:close/>
                  <a:moveTo>
                    <a:pt x="6700670" y="1675300"/>
                  </a:moveTo>
                  <a:lnTo>
                    <a:pt x="6710581" y="1675300"/>
                  </a:lnTo>
                  <a:lnTo>
                    <a:pt x="6714600" y="1679339"/>
                  </a:lnTo>
                  <a:lnTo>
                    <a:pt x="6714600" y="1689210"/>
                  </a:lnTo>
                  <a:lnTo>
                    <a:pt x="6710581" y="1693249"/>
                  </a:lnTo>
                  <a:lnTo>
                    <a:pt x="6700670" y="1693249"/>
                  </a:lnTo>
                  <a:lnTo>
                    <a:pt x="6696651" y="1689210"/>
                  </a:lnTo>
                  <a:lnTo>
                    <a:pt x="6696651" y="1679339"/>
                  </a:lnTo>
                  <a:close/>
                  <a:moveTo>
                    <a:pt x="8136553" y="1675285"/>
                  </a:moveTo>
                  <a:lnTo>
                    <a:pt x="8146464" y="1675285"/>
                  </a:lnTo>
                  <a:lnTo>
                    <a:pt x="8150483" y="1679323"/>
                  </a:lnTo>
                  <a:lnTo>
                    <a:pt x="8150483" y="1689193"/>
                  </a:lnTo>
                  <a:lnTo>
                    <a:pt x="8146464" y="1693232"/>
                  </a:lnTo>
                  <a:lnTo>
                    <a:pt x="8136553" y="1693232"/>
                  </a:lnTo>
                  <a:lnTo>
                    <a:pt x="8132534" y="1689193"/>
                  </a:lnTo>
                  <a:lnTo>
                    <a:pt x="8132534" y="1679323"/>
                  </a:lnTo>
                  <a:close/>
                  <a:moveTo>
                    <a:pt x="7897241" y="1675285"/>
                  </a:moveTo>
                  <a:lnTo>
                    <a:pt x="7907151" y="1675285"/>
                  </a:lnTo>
                  <a:lnTo>
                    <a:pt x="7911170" y="1679323"/>
                  </a:lnTo>
                  <a:lnTo>
                    <a:pt x="7911170" y="1689193"/>
                  </a:lnTo>
                  <a:lnTo>
                    <a:pt x="7907151" y="1693232"/>
                  </a:lnTo>
                  <a:lnTo>
                    <a:pt x="7897241" y="1693232"/>
                  </a:lnTo>
                  <a:lnTo>
                    <a:pt x="7893222" y="1689193"/>
                  </a:lnTo>
                  <a:lnTo>
                    <a:pt x="7893222" y="1679323"/>
                  </a:lnTo>
                  <a:close/>
                  <a:moveTo>
                    <a:pt x="7657926" y="1675285"/>
                  </a:moveTo>
                  <a:lnTo>
                    <a:pt x="7667836" y="1675285"/>
                  </a:lnTo>
                  <a:lnTo>
                    <a:pt x="7671855" y="1679323"/>
                  </a:lnTo>
                  <a:lnTo>
                    <a:pt x="7671855" y="1689193"/>
                  </a:lnTo>
                  <a:lnTo>
                    <a:pt x="7667836" y="1693232"/>
                  </a:lnTo>
                  <a:lnTo>
                    <a:pt x="7657926" y="1693232"/>
                  </a:lnTo>
                  <a:lnTo>
                    <a:pt x="7653906" y="1689193"/>
                  </a:lnTo>
                  <a:lnTo>
                    <a:pt x="7653906" y="1679323"/>
                  </a:lnTo>
                  <a:close/>
                  <a:moveTo>
                    <a:pt x="7418611" y="1675285"/>
                  </a:moveTo>
                  <a:lnTo>
                    <a:pt x="7428521" y="1675285"/>
                  </a:lnTo>
                  <a:lnTo>
                    <a:pt x="7432540" y="1679323"/>
                  </a:lnTo>
                  <a:lnTo>
                    <a:pt x="7432540" y="1689195"/>
                  </a:lnTo>
                  <a:lnTo>
                    <a:pt x="7428521" y="1693232"/>
                  </a:lnTo>
                  <a:lnTo>
                    <a:pt x="7418611" y="1693232"/>
                  </a:lnTo>
                  <a:lnTo>
                    <a:pt x="7414592" y="1689195"/>
                  </a:lnTo>
                  <a:lnTo>
                    <a:pt x="7414592" y="1679323"/>
                  </a:lnTo>
                  <a:close/>
                  <a:moveTo>
                    <a:pt x="7179298" y="1675285"/>
                  </a:moveTo>
                  <a:lnTo>
                    <a:pt x="7189209" y="1675285"/>
                  </a:lnTo>
                  <a:lnTo>
                    <a:pt x="7193228" y="1679323"/>
                  </a:lnTo>
                  <a:lnTo>
                    <a:pt x="7193228" y="1689195"/>
                  </a:lnTo>
                  <a:lnTo>
                    <a:pt x="7189209" y="1693234"/>
                  </a:lnTo>
                  <a:lnTo>
                    <a:pt x="7179298" y="1693234"/>
                  </a:lnTo>
                  <a:lnTo>
                    <a:pt x="7175279" y="1689195"/>
                  </a:lnTo>
                  <a:lnTo>
                    <a:pt x="7175279" y="1679323"/>
                  </a:lnTo>
                  <a:close/>
                  <a:moveTo>
                    <a:pt x="9333125" y="1675268"/>
                  </a:moveTo>
                  <a:lnTo>
                    <a:pt x="9343036" y="1675268"/>
                  </a:lnTo>
                  <a:lnTo>
                    <a:pt x="9347055" y="1679306"/>
                  </a:lnTo>
                  <a:lnTo>
                    <a:pt x="9347055" y="1689177"/>
                  </a:lnTo>
                  <a:lnTo>
                    <a:pt x="9343036" y="1693216"/>
                  </a:lnTo>
                  <a:lnTo>
                    <a:pt x="9333125" y="1693216"/>
                  </a:lnTo>
                  <a:lnTo>
                    <a:pt x="9329106" y="1689177"/>
                  </a:lnTo>
                  <a:lnTo>
                    <a:pt x="9329106" y="1679306"/>
                  </a:lnTo>
                  <a:close/>
                  <a:moveTo>
                    <a:pt x="9093811" y="1675268"/>
                  </a:moveTo>
                  <a:lnTo>
                    <a:pt x="9103722" y="1675268"/>
                  </a:lnTo>
                  <a:lnTo>
                    <a:pt x="9107741" y="1679306"/>
                  </a:lnTo>
                  <a:lnTo>
                    <a:pt x="9107741" y="1689177"/>
                  </a:lnTo>
                  <a:lnTo>
                    <a:pt x="9103722" y="1693217"/>
                  </a:lnTo>
                  <a:lnTo>
                    <a:pt x="9093811" y="1693217"/>
                  </a:lnTo>
                  <a:lnTo>
                    <a:pt x="9089792" y="1689177"/>
                  </a:lnTo>
                  <a:lnTo>
                    <a:pt x="9089792" y="1679306"/>
                  </a:lnTo>
                  <a:close/>
                  <a:moveTo>
                    <a:pt x="8854496" y="1675268"/>
                  </a:moveTo>
                  <a:lnTo>
                    <a:pt x="8864407" y="1675268"/>
                  </a:lnTo>
                  <a:lnTo>
                    <a:pt x="8868426" y="1679307"/>
                  </a:lnTo>
                  <a:lnTo>
                    <a:pt x="8868426" y="1689177"/>
                  </a:lnTo>
                  <a:lnTo>
                    <a:pt x="8864407" y="1693217"/>
                  </a:lnTo>
                  <a:lnTo>
                    <a:pt x="8854496" y="1693217"/>
                  </a:lnTo>
                  <a:lnTo>
                    <a:pt x="8850477" y="1689177"/>
                  </a:lnTo>
                  <a:lnTo>
                    <a:pt x="8850477" y="1679307"/>
                  </a:lnTo>
                  <a:close/>
                  <a:moveTo>
                    <a:pt x="8615184" y="1675268"/>
                  </a:moveTo>
                  <a:lnTo>
                    <a:pt x="8625095" y="1675268"/>
                  </a:lnTo>
                  <a:lnTo>
                    <a:pt x="8629114" y="1679307"/>
                  </a:lnTo>
                  <a:lnTo>
                    <a:pt x="8629114" y="1689178"/>
                  </a:lnTo>
                  <a:lnTo>
                    <a:pt x="8625095" y="1693217"/>
                  </a:lnTo>
                  <a:lnTo>
                    <a:pt x="8615184" y="1693217"/>
                  </a:lnTo>
                  <a:lnTo>
                    <a:pt x="8611165" y="1689178"/>
                  </a:lnTo>
                  <a:lnTo>
                    <a:pt x="8611165" y="1679307"/>
                  </a:lnTo>
                  <a:close/>
                  <a:moveTo>
                    <a:pt x="8375869" y="1675268"/>
                  </a:moveTo>
                  <a:lnTo>
                    <a:pt x="8385779" y="1675268"/>
                  </a:lnTo>
                  <a:lnTo>
                    <a:pt x="8389799" y="1679307"/>
                  </a:lnTo>
                  <a:lnTo>
                    <a:pt x="8389799" y="1689178"/>
                  </a:lnTo>
                  <a:lnTo>
                    <a:pt x="8385779" y="1693217"/>
                  </a:lnTo>
                  <a:lnTo>
                    <a:pt x="8375869" y="1693217"/>
                  </a:lnTo>
                  <a:lnTo>
                    <a:pt x="8371850" y="1689178"/>
                  </a:lnTo>
                  <a:lnTo>
                    <a:pt x="8371850" y="1679307"/>
                  </a:lnTo>
                  <a:close/>
                  <a:moveTo>
                    <a:pt x="961270" y="1675255"/>
                  </a:moveTo>
                  <a:lnTo>
                    <a:pt x="971180" y="1675255"/>
                  </a:lnTo>
                  <a:lnTo>
                    <a:pt x="975199" y="1679292"/>
                  </a:lnTo>
                  <a:lnTo>
                    <a:pt x="975199" y="1689163"/>
                  </a:lnTo>
                  <a:lnTo>
                    <a:pt x="971180" y="1693202"/>
                  </a:lnTo>
                  <a:lnTo>
                    <a:pt x="961270" y="1693202"/>
                  </a:lnTo>
                  <a:lnTo>
                    <a:pt x="957251" y="1689163"/>
                  </a:lnTo>
                  <a:lnTo>
                    <a:pt x="957251" y="1679292"/>
                  </a:lnTo>
                  <a:close/>
                  <a:moveTo>
                    <a:pt x="1679215" y="1675254"/>
                  </a:moveTo>
                  <a:lnTo>
                    <a:pt x="1689126" y="1675254"/>
                  </a:lnTo>
                  <a:lnTo>
                    <a:pt x="1693145" y="1679292"/>
                  </a:lnTo>
                  <a:lnTo>
                    <a:pt x="1693145" y="1689163"/>
                  </a:lnTo>
                  <a:lnTo>
                    <a:pt x="1689126" y="1693202"/>
                  </a:lnTo>
                  <a:lnTo>
                    <a:pt x="1679215" y="1693202"/>
                  </a:lnTo>
                  <a:lnTo>
                    <a:pt x="1675196" y="1689163"/>
                  </a:lnTo>
                  <a:lnTo>
                    <a:pt x="1675196" y="1679292"/>
                  </a:lnTo>
                  <a:close/>
                  <a:moveTo>
                    <a:pt x="1439898" y="1675254"/>
                  </a:moveTo>
                  <a:lnTo>
                    <a:pt x="1449808" y="1675254"/>
                  </a:lnTo>
                  <a:lnTo>
                    <a:pt x="1453828" y="1679292"/>
                  </a:lnTo>
                  <a:lnTo>
                    <a:pt x="1453828" y="1689163"/>
                  </a:lnTo>
                  <a:lnTo>
                    <a:pt x="1449808" y="1693202"/>
                  </a:lnTo>
                  <a:lnTo>
                    <a:pt x="1439898" y="1693202"/>
                  </a:lnTo>
                  <a:lnTo>
                    <a:pt x="1435880" y="1689163"/>
                  </a:lnTo>
                  <a:lnTo>
                    <a:pt x="1435880" y="1679292"/>
                  </a:lnTo>
                  <a:close/>
                  <a:moveTo>
                    <a:pt x="1200583" y="1675254"/>
                  </a:moveTo>
                  <a:lnTo>
                    <a:pt x="1210493" y="1675254"/>
                  </a:lnTo>
                  <a:lnTo>
                    <a:pt x="1214511" y="1679292"/>
                  </a:lnTo>
                  <a:lnTo>
                    <a:pt x="1214511" y="1689163"/>
                  </a:lnTo>
                  <a:lnTo>
                    <a:pt x="1210493" y="1693202"/>
                  </a:lnTo>
                  <a:lnTo>
                    <a:pt x="1200583" y="1693202"/>
                  </a:lnTo>
                  <a:lnTo>
                    <a:pt x="1196564" y="1689163"/>
                  </a:lnTo>
                  <a:lnTo>
                    <a:pt x="1196564" y="1679292"/>
                  </a:lnTo>
                  <a:close/>
                  <a:moveTo>
                    <a:pt x="9572438" y="1675251"/>
                  </a:moveTo>
                  <a:lnTo>
                    <a:pt x="9582349" y="1675251"/>
                  </a:lnTo>
                  <a:lnTo>
                    <a:pt x="9586368" y="1679290"/>
                  </a:lnTo>
                  <a:lnTo>
                    <a:pt x="9586368" y="1689161"/>
                  </a:lnTo>
                  <a:lnTo>
                    <a:pt x="9582349" y="1693201"/>
                  </a:lnTo>
                  <a:lnTo>
                    <a:pt x="9572438" y="1693201"/>
                  </a:lnTo>
                  <a:lnTo>
                    <a:pt x="9568419" y="1689161"/>
                  </a:lnTo>
                  <a:lnTo>
                    <a:pt x="9568419" y="1679290"/>
                  </a:lnTo>
                  <a:close/>
                  <a:moveTo>
                    <a:pt x="1918514" y="1675243"/>
                  </a:moveTo>
                  <a:lnTo>
                    <a:pt x="1928424" y="1675243"/>
                  </a:lnTo>
                  <a:lnTo>
                    <a:pt x="1932443" y="1679282"/>
                  </a:lnTo>
                  <a:lnTo>
                    <a:pt x="1932443" y="1689153"/>
                  </a:lnTo>
                  <a:lnTo>
                    <a:pt x="1928424" y="1693191"/>
                  </a:lnTo>
                  <a:lnTo>
                    <a:pt x="1918514" y="1693191"/>
                  </a:lnTo>
                  <a:lnTo>
                    <a:pt x="1914494" y="1689153"/>
                  </a:lnTo>
                  <a:lnTo>
                    <a:pt x="1914494" y="1679282"/>
                  </a:lnTo>
                  <a:close/>
                  <a:moveTo>
                    <a:pt x="2157821" y="1675240"/>
                  </a:moveTo>
                  <a:lnTo>
                    <a:pt x="2167732" y="1675240"/>
                  </a:lnTo>
                  <a:lnTo>
                    <a:pt x="2171751" y="1679279"/>
                  </a:lnTo>
                  <a:lnTo>
                    <a:pt x="2171751" y="1689149"/>
                  </a:lnTo>
                  <a:lnTo>
                    <a:pt x="2167732" y="1693188"/>
                  </a:lnTo>
                  <a:lnTo>
                    <a:pt x="2157821" y="1693188"/>
                  </a:lnTo>
                  <a:lnTo>
                    <a:pt x="2153803" y="1689149"/>
                  </a:lnTo>
                  <a:lnTo>
                    <a:pt x="2153803" y="1679279"/>
                  </a:lnTo>
                  <a:close/>
                  <a:moveTo>
                    <a:pt x="243346" y="1675216"/>
                  </a:moveTo>
                  <a:lnTo>
                    <a:pt x="253257" y="1675216"/>
                  </a:lnTo>
                  <a:lnTo>
                    <a:pt x="257276" y="1679254"/>
                  </a:lnTo>
                  <a:lnTo>
                    <a:pt x="257276" y="1689125"/>
                  </a:lnTo>
                  <a:lnTo>
                    <a:pt x="253257" y="1693164"/>
                  </a:lnTo>
                  <a:lnTo>
                    <a:pt x="243346" y="1693164"/>
                  </a:lnTo>
                  <a:lnTo>
                    <a:pt x="239327" y="1689125"/>
                  </a:lnTo>
                  <a:lnTo>
                    <a:pt x="239327" y="1679254"/>
                  </a:lnTo>
                  <a:close/>
                  <a:moveTo>
                    <a:pt x="4034" y="1675216"/>
                  </a:moveTo>
                  <a:lnTo>
                    <a:pt x="13943" y="1675216"/>
                  </a:lnTo>
                  <a:lnTo>
                    <a:pt x="17962" y="1679254"/>
                  </a:lnTo>
                  <a:lnTo>
                    <a:pt x="17962" y="1689125"/>
                  </a:lnTo>
                  <a:lnTo>
                    <a:pt x="13943" y="1693164"/>
                  </a:lnTo>
                  <a:lnTo>
                    <a:pt x="4034" y="1693164"/>
                  </a:lnTo>
                  <a:lnTo>
                    <a:pt x="14" y="1689125"/>
                  </a:lnTo>
                  <a:lnTo>
                    <a:pt x="14" y="1679254"/>
                  </a:lnTo>
                  <a:close/>
                  <a:moveTo>
                    <a:pt x="721972" y="1675216"/>
                  </a:moveTo>
                  <a:lnTo>
                    <a:pt x="731882" y="1675216"/>
                  </a:lnTo>
                  <a:lnTo>
                    <a:pt x="735902" y="1679254"/>
                  </a:lnTo>
                  <a:lnTo>
                    <a:pt x="735902" y="1689125"/>
                  </a:lnTo>
                  <a:lnTo>
                    <a:pt x="731882" y="1693164"/>
                  </a:lnTo>
                  <a:lnTo>
                    <a:pt x="721972" y="1693164"/>
                  </a:lnTo>
                  <a:lnTo>
                    <a:pt x="717954" y="1689125"/>
                  </a:lnTo>
                  <a:lnTo>
                    <a:pt x="717954" y="1679254"/>
                  </a:lnTo>
                  <a:close/>
                  <a:moveTo>
                    <a:pt x="482660" y="1675216"/>
                  </a:moveTo>
                  <a:lnTo>
                    <a:pt x="492571" y="1675216"/>
                  </a:lnTo>
                  <a:lnTo>
                    <a:pt x="496589" y="1679254"/>
                  </a:lnTo>
                  <a:lnTo>
                    <a:pt x="496589" y="1689125"/>
                  </a:lnTo>
                  <a:lnTo>
                    <a:pt x="492571" y="1693164"/>
                  </a:lnTo>
                  <a:lnTo>
                    <a:pt x="482660" y="1693164"/>
                  </a:lnTo>
                  <a:lnTo>
                    <a:pt x="478641" y="1689125"/>
                  </a:lnTo>
                  <a:lnTo>
                    <a:pt x="478641" y="1679254"/>
                  </a:lnTo>
                  <a:close/>
                  <a:moveTo>
                    <a:pt x="2393104" y="1436001"/>
                  </a:moveTo>
                  <a:lnTo>
                    <a:pt x="2403015" y="1436001"/>
                  </a:lnTo>
                  <a:lnTo>
                    <a:pt x="2407034" y="1440038"/>
                  </a:lnTo>
                  <a:lnTo>
                    <a:pt x="2407034" y="1449910"/>
                  </a:lnTo>
                  <a:lnTo>
                    <a:pt x="2403015" y="1453949"/>
                  </a:lnTo>
                  <a:lnTo>
                    <a:pt x="2393104" y="1453949"/>
                  </a:lnTo>
                  <a:lnTo>
                    <a:pt x="2389087" y="1449910"/>
                  </a:lnTo>
                  <a:lnTo>
                    <a:pt x="2389087" y="1440038"/>
                  </a:lnTo>
                  <a:close/>
                  <a:moveTo>
                    <a:pt x="3350359" y="1436000"/>
                  </a:moveTo>
                  <a:lnTo>
                    <a:pt x="3360268" y="1436000"/>
                  </a:lnTo>
                  <a:lnTo>
                    <a:pt x="3364287" y="1440038"/>
                  </a:lnTo>
                  <a:lnTo>
                    <a:pt x="3364287" y="1449909"/>
                  </a:lnTo>
                  <a:lnTo>
                    <a:pt x="3360268" y="1453949"/>
                  </a:lnTo>
                  <a:lnTo>
                    <a:pt x="3350359" y="1453949"/>
                  </a:lnTo>
                  <a:lnTo>
                    <a:pt x="3346340" y="1449909"/>
                  </a:lnTo>
                  <a:lnTo>
                    <a:pt x="3346340" y="1440038"/>
                  </a:lnTo>
                  <a:close/>
                  <a:moveTo>
                    <a:pt x="3111048" y="1436000"/>
                  </a:moveTo>
                  <a:lnTo>
                    <a:pt x="3120959" y="1436000"/>
                  </a:lnTo>
                  <a:lnTo>
                    <a:pt x="3124977" y="1440038"/>
                  </a:lnTo>
                  <a:lnTo>
                    <a:pt x="3124977" y="1449910"/>
                  </a:lnTo>
                  <a:lnTo>
                    <a:pt x="3120959" y="1453949"/>
                  </a:lnTo>
                  <a:lnTo>
                    <a:pt x="3111048" y="1453949"/>
                  </a:lnTo>
                  <a:lnTo>
                    <a:pt x="3107029" y="1449910"/>
                  </a:lnTo>
                  <a:lnTo>
                    <a:pt x="3107029" y="1440038"/>
                  </a:lnTo>
                  <a:close/>
                  <a:moveTo>
                    <a:pt x="2871737" y="1436000"/>
                  </a:moveTo>
                  <a:lnTo>
                    <a:pt x="2881646" y="1436000"/>
                  </a:lnTo>
                  <a:lnTo>
                    <a:pt x="2885666" y="1440038"/>
                  </a:lnTo>
                  <a:lnTo>
                    <a:pt x="2885666" y="1449910"/>
                  </a:lnTo>
                  <a:lnTo>
                    <a:pt x="2881646" y="1453949"/>
                  </a:lnTo>
                  <a:lnTo>
                    <a:pt x="2871737" y="1453949"/>
                  </a:lnTo>
                  <a:lnTo>
                    <a:pt x="2867717" y="1449910"/>
                  </a:lnTo>
                  <a:lnTo>
                    <a:pt x="2867717" y="1440038"/>
                  </a:lnTo>
                  <a:close/>
                  <a:moveTo>
                    <a:pt x="2632423" y="1436000"/>
                  </a:moveTo>
                  <a:lnTo>
                    <a:pt x="2642334" y="1436000"/>
                  </a:lnTo>
                  <a:lnTo>
                    <a:pt x="2646352" y="1440038"/>
                  </a:lnTo>
                  <a:lnTo>
                    <a:pt x="2646352" y="1449910"/>
                  </a:lnTo>
                  <a:lnTo>
                    <a:pt x="2642334" y="1453949"/>
                  </a:lnTo>
                  <a:lnTo>
                    <a:pt x="2632423" y="1453949"/>
                  </a:lnTo>
                  <a:lnTo>
                    <a:pt x="2628404" y="1449910"/>
                  </a:lnTo>
                  <a:lnTo>
                    <a:pt x="2628404" y="1440038"/>
                  </a:lnTo>
                  <a:close/>
                  <a:moveTo>
                    <a:pt x="3589676" y="1435986"/>
                  </a:moveTo>
                  <a:lnTo>
                    <a:pt x="3599585" y="1435986"/>
                  </a:lnTo>
                  <a:lnTo>
                    <a:pt x="3603604" y="1440024"/>
                  </a:lnTo>
                  <a:lnTo>
                    <a:pt x="3603604" y="1449895"/>
                  </a:lnTo>
                  <a:lnTo>
                    <a:pt x="3599585" y="1453934"/>
                  </a:lnTo>
                  <a:lnTo>
                    <a:pt x="3589676" y="1453934"/>
                  </a:lnTo>
                  <a:lnTo>
                    <a:pt x="3585657" y="1449895"/>
                  </a:lnTo>
                  <a:lnTo>
                    <a:pt x="3585657" y="1440024"/>
                  </a:lnTo>
                  <a:close/>
                  <a:moveTo>
                    <a:pt x="4546929" y="1435986"/>
                  </a:moveTo>
                  <a:lnTo>
                    <a:pt x="4556840" y="1435986"/>
                  </a:lnTo>
                  <a:lnTo>
                    <a:pt x="4560859" y="1440024"/>
                  </a:lnTo>
                  <a:lnTo>
                    <a:pt x="4560859" y="1449895"/>
                  </a:lnTo>
                  <a:lnTo>
                    <a:pt x="4556840" y="1453934"/>
                  </a:lnTo>
                  <a:lnTo>
                    <a:pt x="4546929" y="1453934"/>
                  </a:lnTo>
                  <a:lnTo>
                    <a:pt x="4542910" y="1449895"/>
                  </a:lnTo>
                  <a:lnTo>
                    <a:pt x="4542910" y="1440024"/>
                  </a:lnTo>
                  <a:close/>
                  <a:moveTo>
                    <a:pt x="4307612" y="1435986"/>
                  </a:moveTo>
                  <a:lnTo>
                    <a:pt x="4317523" y="1435986"/>
                  </a:lnTo>
                  <a:lnTo>
                    <a:pt x="4321543" y="1440024"/>
                  </a:lnTo>
                  <a:lnTo>
                    <a:pt x="4321543" y="1449895"/>
                  </a:lnTo>
                  <a:lnTo>
                    <a:pt x="4317523" y="1453934"/>
                  </a:lnTo>
                  <a:lnTo>
                    <a:pt x="4307612" y="1453934"/>
                  </a:lnTo>
                  <a:lnTo>
                    <a:pt x="4303595" y="1449895"/>
                  </a:lnTo>
                  <a:lnTo>
                    <a:pt x="4303595" y="1440024"/>
                  </a:lnTo>
                  <a:close/>
                  <a:moveTo>
                    <a:pt x="4068297" y="1435986"/>
                  </a:moveTo>
                  <a:lnTo>
                    <a:pt x="4078210" y="1435986"/>
                  </a:lnTo>
                  <a:lnTo>
                    <a:pt x="4082229" y="1440024"/>
                  </a:lnTo>
                  <a:lnTo>
                    <a:pt x="4082229" y="1449895"/>
                  </a:lnTo>
                  <a:lnTo>
                    <a:pt x="4078210" y="1453934"/>
                  </a:lnTo>
                  <a:lnTo>
                    <a:pt x="4068297" y="1453934"/>
                  </a:lnTo>
                  <a:lnTo>
                    <a:pt x="4064278" y="1449895"/>
                  </a:lnTo>
                  <a:lnTo>
                    <a:pt x="4064278" y="1440024"/>
                  </a:lnTo>
                  <a:close/>
                  <a:moveTo>
                    <a:pt x="3828990" y="1435986"/>
                  </a:moveTo>
                  <a:lnTo>
                    <a:pt x="3838899" y="1435986"/>
                  </a:lnTo>
                  <a:lnTo>
                    <a:pt x="3842917" y="1440024"/>
                  </a:lnTo>
                  <a:lnTo>
                    <a:pt x="3842917" y="1449895"/>
                  </a:lnTo>
                  <a:lnTo>
                    <a:pt x="3838899" y="1453934"/>
                  </a:lnTo>
                  <a:lnTo>
                    <a:pt x="3828990" y="1453934"/>
                  </a:lnTo>
                  <a:lnTo>
                    <a:pt x="3824971" y="1449895"/>
                  </a:lnTo>
                  <a:lnTo>
                    <a:pt x="3824971" y="1440024"/>
                  </a:lnTo>
                  <a:close/>
                  <a:moveTo>
                    <a:pt x="4786241" y="1435972"/>
                  </a:moveTo>
                  <a:lnTo>
                    <a:pt x="4796152" y="1435972"/>
                  </a:lnTo>
                  <a:lnTo>
                    <a:pt x="4800171" y="1440010"/>
                  </a:lnTo>
                  <a:lnTo>
                    <a:pt x="4800171" y="1449881"/>
                  </a:lnTo>
                  <a:lnTo>
                    <a:pt x="4796152" y="1453920"/>
                  </a:lnTo>
                  <a:lnTo>
                    <a:pt x="4786241" y="1453920"/>
                  </a:lnTo>
                  <a:lnTo>
                    <a:pt x="4782224" y="1449881"/>
                  </a:lnTo>
                  <a:lnTo>
                    <a:pt x="4782224" y="1440010"/>
                  </a:lnTo>
                  <a:close/>
                  <a:moveTo>
                    <a:pt x="5743412" y="1435971"/>
                  </a:moveTo>
                  <a:lnTo>
                    <a:pt x="5753323" y="1435971"/>
                  </a:lnTo>
                  <a:lnTo>
                    <a:pt x="5757342" y="1440010"/>
                  </a:lnTo>
                  <a:lnTo>
                    <a:pt x="5757342" y="1449880"/>
                  </a:lnTo>
                  <a:lnTo>
                    <a:pt x="5753323" y="1453919"/>
                  </a:lnTo>
                  <a:lnTo>
                    <a:pt x="5743412" y="1453919"/>
                  </a:lnTo>
                  <a:lnTo>
                    <a:pt x="5739393" y="1449880"/>
                  </a:lnTo>
                  <a:lnTo>
                    <a:pt x="5739393" y="1440010"/>
                  </a:lnTo>
                  <a:close/>
                  <a:moveTo>
                    <a:pt x="5504099" y="1435971"/>
                  </a:moveTo>
                  <a:lnTo>
                    <a:pt x="5514010" y="1435971"/>
                  </a:lnTo>
                  <a:lnTo>
                    <a:pt x="5518029" y="1440010"/>
                  </a:lnTo>
                  <a:lnTo>
                    <a:pt x="5518029" y="1449881"/>
                  </a:lnTo>
                  <a:lnTo>
                    <a:pt x="5514010" y="1453919"/>
                  </a:lnTo>
                  <a:lnTo>
                    <a:pt x="5504099" y="1453919"/>
                  </a:lnTo>
                  <a:lnTo>
                    <a:pt x="5500080" y="1449881"/>
                  </a:lnTo>
                  <a:lnTo>
                    <a:pt x="5500080" y="1440010"/>
                  </a:lnTo>
                  <a:close/>
                  <a:moveTo>
                    <a:pt x="5264784" y="1435971"/>
                  </a:moveTo>
                  <a:lnTo>
                    <a:pt x="5274694" y="1435971"/>
                  </a:lnTo>
                  <a:lnTo>
                    <a:pt x="5278713" y="1440010"/>
                  </a:lnTo>
                  <a:lnTo>
                    <a:pt x="5278713" y="1449881"/>
                  </a:lnTo>
                  <a:lnTo>
                    <a:pt x="5274694" y="1453920"/>
                  </a:lnTo>
                  <a:lnTo>
                    <a:pt x="5264784" y="1453920"/>
                  </a:lnTo>
                  <a:lnTo>
                    <a:pt x="5260765" y="1449881"/>
                  </a:lnTo>
                  <a:lnTo>
                    <a:pt x="5260765" y="1440010"/>
                  </a:lnTo>
                  <a:close/>
                  <a:moveTo>
                    <a:pt x="5025470" y="1435971"/>
                  </a:moveTo>
                  <a:lnTo>
                    <a:pt x="5035381" y="1435971"/>
                  </a:lnTo>
                  <a:lnTo>
                    <a:pt x="5039400" y="1440010"/>
                  </a:lnTo>
                  <a:lnTo>
                    <a:pt x="5039400" y="1449881"/>
                  </a:lnTo>
                  <a:lnTo>
                    <a:pt x="5035381" y="1453920"/>
                  </a:lnTo>
                  <a:lnTo>
                    <a:pt x="5025470" y="1453920"/>
                  </a:lnTo>
                  <a:lnTo>
                    <a:pt x="5021451" y="1449881"/>
                  </a:lnTo>
                  <a:lnTo>
                    <a:pt x="5021451" y="1440010"/>
                  </a:lnTo>
                  <a:close/>
                  <a:moveTo>
                    <a:pt x="5982729" y="1435958"/>
                  </a:moveTo>
                  <a:lnTo>
                    <a:pt x="5992639" y="1435958"/>
                  </a:lnTo>
                  <a:lnTo>
                    <a:pt x="5996658" y="1439995"/>
                  </a:lnTo>
                  <a:lnTo>
                    <a:pt x="5996658" y="1449866"/>
                  </a:lnTo>
                  <a:lnTo>
                    <a:pt x="5992639" y="1453905"/>
                  </a:lnTo>
                  <a:lnTo>
                    <a:pt x="5982729" y="1453905"/>
                  </a:lnTo>
                  <a:lnTo>
                    <a:pt x="5978710" y="1449866"/>
                  </a:lnTo>
                  <a:lnTo>
                    <a:pt x="5978710" y="1439995"/>
                  </a:lnTo>
                  <a:close/>
                  <a:moveTo>
                    <a:pt x="6939983" y="1435956"/>
                  </a:moveTo>
                  <a:lnTo>
                    <a:pt x="6949894" y="1435956"/>
                  </a:lnTo>
                  <a:lnTo>
                    <a:pt x="6953913" y="1439995"/>
                  </a:lnTo>
                  <a:lnTo>
                    <a:pt x="6953913" y="1449865"/>
                  </a:lnTo>
                  <a:lnTo>
                    <a:pt x="6949894" y="1453905"/>
                  </a:lnTo>
                  <a:lnTo>
                    <a:pt x="6939983" y="1453905"/>
                  </a:lnTo>
                  <a:lnTo>
                    <a:pt x="6935964" y="1449865"/>
                  </a:lnTo>
                  <a:lnTo>
                    <a:pt x="6935964" y="1439995"/>
                  </a:lnTo>
                  <a:close/>
                  <a:moveTo>
                    <a:pt x="6700670" y="1435956"/>
                  </a:moveTo>
                  <a:lnTo>
                    <a:pt x="6710581" y="1435956"/>
                  </a:lnTo>
                  <a:lnTo>
                    <a:pt x="6714600" y="1439995"/>
                  </a:lnTo>
                  <a:lnTo>
                    <a:pt x="6714600" y="1449866"/>
                  </a:lnTo>
                  <a:lnTo>
                    <a:pt x="6710581" y="1453905"/>
                  </a:lnTo>
                  <a:lnTo>
                    <a:pt x="6700670" y="1453905"/>
                  </a:lnTo>
                  <a:lnTo>
                    <a:pt x="6696651" y="1449866"/>
                  </a:lnTo>
                  <a:lnTo>
                    <a:pt x="6696651" y="1439995"/>
                  </a:lnTo>
                  <a:close/>
                  <a:moveTo>
                    <a:pt x="6461356" y="1435956"/>
                  </a:moveTo>
                  <a:lnTo>
                    <a:pt x="6471266" y="1435956"/>
                  </a:lnTo>
                  <a:lnTo>
                    <a:pt x="6475285" y="1439995"/>
                  </a:lnTo>
                  <a:lnTo>
                    <a:pt x="6475285" y="1449866"/>
                  </a:lnTo>
                  <a:lnTo>
                    <a:pt x="6471266" y="1453905"/>
                  </a:lnTo>
                  <a:lnTo>
                    <a:pt x="6461356" y="1453905"/>
                  </a:lnTo>
                  <a:lnTo>
                    <a:pt x="6457337" y="1449866"/>
                  </a:lnTo>
                  <a:lnTo>
                    <a:pt x="6457337" y="1439995"/>
                  </a:lnTo>
                  <a:close/>
                  <a:moveTo>
                    <a:pt x="6222042" y="1435956"/>
                  </a:moveTo>
                  <a:lnTo>
                    <a:pt x="6231952" y="1435956"/>
                  </a:lnTo>
                  <a:lnTo>
                    <a:pt x="6235971" y="1439995"/>
                  </a:lnTo>
                  <a:lnTo>
                    <a:pt x="6235971" y="1449866"/>
                  </a:lnTo>
                  <a:lnTo>
                    <a:pt x="6231952" y="1453905"/>
                  </a:lnTo>
                  <a:lnTo>
                    <a:pt x="6222042" y="1453905"/>
                  </a:lnTo>
                  <a:lnTo>
                    <a:pt x="6218023" y="1449866"/>
                  </a:lnTo>
                  <a:lnTo>
                    <a:pt x="6218023" y="1439995"/>
                  </a:lnTo>
                  <a:close/>
                  <a:moveTo>
                    <a:pt x="7179298" y="1435943"/>
                  </a:moveTo>
                  <a:lnTo>
                    <a:pt x="7189209" y="1435943"/>
                  </a:lnTo>
                  <a:lnTo>
                    <a:pt x="7193228" y="1439981"/>
                  </a:lnTo>
                  <a:lnTo>
                    <a:pt x="7193228" y="1449852"/>
                  </a:lnTo>
                  <a:lnTo>
                    <a:pt x="7189209" y="1453891"/>
                  </a:lnTo>
                  <a:lnTo>
                    <a:pt x="7179298" y="1453891"/>
                  </a:lnTo>
                  <a:lnTo>
                    <a:pt x="7175279" y="1449852"/>
                  </a:lnTo>
                  <a:lnTo>
                    <a:pt x="7175279" y="1439981"/>
                  </a:lnTo>
                  <a:close/>
                  <a:moveTo>
                    <a:pt x="8136553" y="1435943"/>
                  </a:moveTo>
                  <a:lnTo>
                    <a:pt x="8146464" y="1435943"/>
                  </a:lnTo>
                  <a:lnTo>
                    <a:pt x="8150483" y="1439980"/>
                  </a:lnTo>
                  <a:lnTo>
                    <a:pt x="8150483" y="1449851"/>
                  </a:lnTo>
                  <a:lnTo>
                    <a:pt x="8146464" y="1453890"/>
                  </a:lnTo>
                  <a:lnTo>
                    <a:pt x="8136553" y="1453890"/>
                  </a:lnTo>
                  <a:lnTo>
                    <a:pt x="8132534" y="1449851"/>
                  </a:lnTo>
                  <a:lnTo>
                    <a:pt x="8132534" y="1439980"/>
                  </a:lnTo>
                  <a:close/>
                  <a:moveTo>
                    <a:pt x="7897241" y="1435943"/>
                  </a:moveTo>
                  <a:lnTo>
                    <a:pt x="7907151" y="1435943"/>
                  </a:lnTo>
                  <a:lnTo>
                    <a:pt x="7911170" y="1439980"/>
                  </a:lnTo>
                  <a:lnTo>
                    <a:pt x="7911170" y="1449852"/>
                  </a:lnTo>
                  <a:lnTo>
                    <a:pt x="7907151" y="1453890"/>
                  </a:lnTo>
                  <a:lnTo>
                    <a:pt x="7897241" y="1453890"/>
                  </a:lnTo>
                  <a:lnTo>
                    <a:pt x="7893222" y="1449852"/>
                  </a:lnTo>
                  <a:lnTo>
                    <a:pt x="7893222" y="1439980"/>
                  </a:lnTo>
                  <a:close/>
                  <a:moveTo>
                    <a:pt x="7657926" y="1435943"/>
                  </a:moveTo>
                  <a:lnTo>
                    <a:pt x="7667836" y="1435943"/>
                  </a:lnTo>
                  <a:lnTo>
                    <a:pt x="7671855" y="1439980"/>
                  </a:lnTo>
                  <a:lnTo>
                    <a:pt x="7671855" y="1449852"/>
                  </a:lnTo>
                  <a:lnTo>
                    <a:pt x="7667836" y="1453891"/>
                  </a:lnTo>
                  <a:lnTo>
                    <a:pt x="7657926" y="1453891"/>
                  </a:lnTo>
                  <a:lnTo>
                    <a:pt x="7653906" y="1449852"/>
                  </a:lnTo>
                  <a:lnTo>
                    <a:pt x="7653906" y="1439980"/>
                  </a:lnTo>
                  <a:close/>
                  <a:moveTo>
                    <a:pt x="7418611" y="1435943"/>
                  </a:moveTo>
                  <a:lnTo>
                    <a:pt x="7428521" y="1435943"/>
                  </a:lnTo>
                  <a:lnTo>
                    <a:pt x="7432540" y="1439980"/>
                  </a:lnTo>
                  <a:lnTo>
                    <a:pt x="7432540" y="1449852"/>
                  </a:lnTo>
                  <a:lnTo>
                    <a:pt x="7428521" y="1453891"/>
                  </a:lnTo>
                  <a:lnTo>
                    <a:pt x="7418611" y="1453891"/>
                  </a:lnTo>
                  <a:lnTo>
                    <a:pt x="7414592" y="1449852"/>
                  </a:lnTo>
                  <a:lnTo>
                    <a:pt x="7414592" y="1439980"/>
                  </a:lnTo>
                  <a:close/>
                  <a:moveTo>
                    <a:pt x="8375869" y="1435928"/>
                  </a:moveTo>
                  <a:lnTo>
                    <a:pt x="8385779" y="1435928"/>
                  </a:lnTo>
                  <a:lnTo>
                    <a:pt x="8389799" y="1439967"/>
                  </a:lnTo>
                  <a:lnTo>
                    <a:pt x="8389799" y="1449837"/>
                  </a:lnTo>
                  <a:lnTo>
                    <a:pt x="8385779" y="1453877"/>
                  </a:lnTo>
                  <a:lnTo>
                    <a:pt x="8375869" y="1453877"/>
                  </a:lnTo>
                  <a:lnTo>
                    <a:pt x="8371850" y="1449837"/>
                  </a:lnTo>
                  <a:lnTo>
                    <a:pt x="8371850" y="1439967"/>
                  </a:lnTo>
                  <a:close/>
                  <a:moveTo>
                    <a:pt x="9333125" y="1435928"/>
                  </a:moveTo>
                  <a:lnTo>
                    <a:pt x="9343036" y="1435928"/>
                  </a:lnTo>
                  <a:lnTo>
                    <a:pt x="9347055" y="1439967"/>
                  </a:lnTo>
                  <a:lnTo>
                    <a:pt x="9347055" y="1449836"/>
                  </a:lnTo>
                  <a:lnTo>
                    <a:pt x="9343036" y="1453876"/>
                  </a:lnTo>
                  <a:lnTo>
                    <a:pt x="9333125" y="1453876"/>
                  </a:lnTo>
                  <a:lnTo>
                    <a:pt x="9329106" y="1449836"/>
                  </a:lnTo>
                  <a:lnTo>
                    <a:pt x="9329106" y="1439967"/>
                  </a:lnTo>
                  <a:close/>
                  <a:moveTo>
                    <a:pt x="9093811" y="1435928"/>
                  </a:moveTo>
                  <a:lnTo>
                    <a:pt x="9103722" y="1435928"/>
                  </a:lnTo>
                  <a:lnTo>
                    <a:pt x="9107741" y="1439967"/>
                  </a:lnTo>
                  <a:lnTo>
                    <a:pt x="9107741" y="1449837"/>
                  </a:lnTo>
                  <a:lnTo>
                    <a:pt x="9103722" y="1453876"/>
                  </a:lnTo>
                  <a:lnTo>
                    <a:pt x="9093811" y="1453876"/>
                  </a:lnTo>
                  <a:lnTo>
                    <a:pt x="9089792" y="1449837"/>
                  </a:lnTo>
                  <a:lnTo>
                    <a:pt x="9089792" y="1439967"/>
                  </a:lnTo>
                  <a:close/>
                  <a:moveTo>
                    <a:pt x="8854496" y="1435928"/>
                  </a:moveTo>
                  <a:lnTo>
                    <a:pt x="8864407" y="1435928"/>
                  </a:lnTo>
                  <a:lnTo>
                    <a:pt x="8868426" y="1439967"/>
                  </a:lnTo>
                  <a:lnTo>
                    <a:pt x="8868426" y="1449837"/>
                  </a:lnTo>
                  <a:lnTo>
                    <a:pt x="8864407" y="1453877"/>
                  </a:lnTo>
                  <a:lnTo>
                    <a:pt x="8854496" y="1453877"/>
                  </a:lnTo>
                  <a:lnTo>
                    <a:pt x="8850477" y="1449837"/>
                  </a:lnTo>
                  <a:lnTo>
                    <a:pt x="8850477" y="1439967"/>
                  </a:lnTo>
                  <a:close/>
                  <a:moveTo>
                    <a:pt x="8615184" y="1435928"/>
                  </a:moveTo>
                  <a:lnTo>
                    <a:pt x="8625095" y="1435928"/>
                  </a:lnTo>
                  <a:lnTo>
                    <a:pt x="8629114" y="1439967"/>
                  </a:lnTo>
                  <a:lnTo>
                    <a:pt x="8629114" y="1449837"/>
                  </a:lnTo>
                  <a:lnTo>
                    <a:pt x="8625095" y="1453877"/>
                  </a:lnTo>
                  <a:lnTo>
                    <a:pt x="8615184" y="1453877"/>
                  </a:lnTo>
                  <a:lnTo>
                    <a:pt x="8611165" y="1449837"/>
                  </a:lnTo>
                  <a:lnTo>
                    <a:pt x="8611165" y="1439967"/>
                  </a:lnTo>
                  <a:close/>
                  <a:moveTo>
                    <a:pt x="1679216" y="1435922"/>
                  </a:moveTo>
                  <a:lnTo>
                    <a:pt x="1689126" y="1435922"/>
                  </a:lnTo>
                  <a:lnTo>
                    <a:pt x="1693146" y="1439960"/>
                  </a:lnTo>
                  <a:lnTo>
                    <a:pt x="1693146" y="1449831"/>
                  </a:lnTo>
                  <a:lnTo>
                    <a:pt x="1689126" y="1453870"/>
                  </a:lnTo>
                  <a:lnTo>
                    <a:pt x="1679216" y="1453870"/>
                  </a:lnTo>
                  <a:lnTo>
                    <a:pt x="1675198" y="1449831"/>
                  </a:lnTo>
                  <a:lnTo>
                    <a:pt x="1675198" y="1439960"/>
                  </a:lnTo>
                  <a:close/>
                  <a:moveTo>
                    <a:pt x="1439900" y="1435922"/>
                  </a:moveTo>
                  <a:lnTo>
                    <a:pt x="1449810" y="1435922"/>
                  </a:lnTo>
                  <a:lnTo>
                    <a:pt x="1453828" y="1439960"/>
                  </a:lnTo>
                  <a:lnTo>
                    <a:pt x="1453828" y="1449831"/>
                  </a:lnTo>
                  <a:lnTo>
                    <a:pt x="1449810" y="1453870"/>
                  </a:lnTo>
                  <a:lnTo>
                    <a:pt x="1439900" y="1453870"/>
                  </a:lnTo>
                  <a:lnTo>
                    <a:pt x="1435880" y="1449831"/>
                  </a:lnTo>
                  <a:lnTo>
                    <a:pt x="1435880" y="1439960"/>
                  </a:lnTo>
                  <a:close/>
                  <a:moveTo>
                    <a:pt x="1200583" y="1435922"/>
                  </a:moveTo>
                  <a:lnTo>
                    <a:pt x="1210493" y="1435922"/>
                  </a:lnTo>
                  <a:lnTo>
                    <a:pt x="1214512" y="1439960"/>
                  </a:lnTo>
                  <a:lnTo>
                    <a:pt x="1214512" y="1449831"/>
                  </a:lnTo>
                  <a:lnTo>
                    <a:pt x="1210493" y="1453870"/>
                  </a:lnTo>
                  <a:lnTo>
                    <a:pt x="1200583" y="1453870"/>
                  </a:lnTo>
                  <a:lnTo>
                    <a:pt x="1196564" y="1449831"/>
                  </a:lnTo>
                  <a:lnTo>
                    <a:pt x="1196564" y="1439960"/>
                  </a:lnTo>
                  <a:close/>
                  <a:moveTo>
                    <a:pt x="961270" y="1435922"/>
                  </a:moveTo>
                  <a:lnTo>
                    <a:pt x="971181" y="1435922"/>
                  </a:lnTo>
                  <a:lnTo>
                    <a:pt x="975200" y="1439960"/>
                  </a:lnTo>
                  <a:lnTo>
                    <a:pt x="975200" y="1449831"/>
                  </a:lnTo>
                  <a:lnTo>
                    <a:pt x="971181" y="1453870"/>
                  </a:lnTo>
                  <a:lnTo>
                    <a:pt x="961270" y="1453870"/>
                  </a:lnTo>
                  <a:lnTo>
                    <a:pt x="957252" y="1449831"/>
                  </a:lnTo>
                  <a:lnTo>
                    <a:pt x="957252" y="1439960"/>
                  </a:lnTo>
                  <a:close/>
                  <a:moveTo>
                    <a:pt x="9572438" y="1435914"/>
                  </a:moveTo>
                  <a:lnTo>
                    <a:pt x="9582349" y="1435914"/>
                  </a:lnTo>
                  <a:lnTo>
                    <a:pt x="9586368" y="1439952"/>
                  </a:lnTo>
                  <a:lnTo>
                    <a:pt x="9586368" y="1449823"/>
                  </a:lnTo>
                  <a:lnTo>
                    <a:pt x="9582349" y="1453862"/>
                  </a:lnTo>
                  <a:lnTo>
                    <a:pt x="9572438" y="1453862"/>
                  </a:lnTo>
                  <a:lnTo>
                    <a:pt x="9568419" y="1449823"/>
                  </a:lnTo>
                  <a:lnTo>
                    <a:pt x="9568419" y="1439952"/>
                  </a:lnTo>
                  <a:close/>
                  <a:moveTo>
                    <a:pt x="1918514" y="1435912"/>
                  </a:moveTo>
                  <a:lnTo>
                    <a:pt x="1928424" y="1435912"/>
                  </a:lnTo>
                  <a:lnTo>
                    <a:pt x="1932443" y="1439950"/>
                  </a:lnTo>
                  <a:lnTo>
                    <a:pt x="1932443" y="1449821"/>
                  </a:lnTo>
                  <a:lnTo>
                    <a:pt x="1928424" y="1453860"/>
                  </a:lnTo>
                  <a:lnTo>
                    <a:pt x="1918514" y="1453860"/>
                  </a:lnTo>
                  <a:lnTo>
                    <a:pt x="1914494" y="1449821"/>
                  </a:lnTo>
                  <a:lnTo>
                    <a:pt x="1914494" y="1439950"/>
                  </a:lnTo>
                  <a:close/>
                  <a:moveTo>
                    <a:pt x="2157823" y="1435909"/>
                  </a:moveTo>
                  <a:lnTo>
                    <a:pt x="2167733" y="1435909"/>
                  </a:lnTo>
                  <a:lnTo>
                    <a:pt x="2171751" y="1439947"/>
                  </a:lnTo>
                  <a:lnTo>
                    <a:pt x="2171751" y="1449818"/>
                  </a:lnTo>
                  <a:lnTo>
                    <a:pt x="2167733" y="1453857"/>
                  </a:lnTo>
                  <a:lnTo>
                    <a:pt x="2157823" y="1453857"/>
                  </a:lnTo>
                  <a:lnTo>
                    <a:pt x="2153803" y="1449818"/>
                  </a:lnTo>
                  <a:lnTo>
                    <a:pt x="2153803" y="1439947"/>
                  </a:lnTo>
                  <a:close/>
                  <a:moveTo>
                    <a:pt x="243347" y="1435883"/>
                  </a:moveTo>
                  <a:lnTo>
                    <a:pt x="253257" y="1435883"/>
                  </a:lnTo>
                  <a:lnTo>
                    <a:pt x="257276" y="1439920"/>
                  </a:lnTo>
                  <a:lnTo>
                    <a:pt x="257276" y="1449791"/>
                  </a:lnTo>
                  <a:lnTo>
                    <a:pt x="253257" y="1453830"/>
                  </a:lnTo>
                  <a:lnTo>
                    <a:pt x="243347" y="1453830"/>
                  </a:lnTo>
                  <a:lnTo>
                    <a:pt x="239328" y="1449791"/>
                  </a:lnTo>
                  <a:lnTo>
                    <a:pt x="239328" y="1439920"/>
                  </a:lnTo>
                  <a:close/>
                  <a:moveTo>
                    <a:pt x="4034" y="1435883"/>
                  </a:moveTo>
                  <a:lnTo>
                    <a:pt x="13944" y="1435883"/>
                  </a:lnTo>
                  <a:lnTo>
                    <a:pt x="17964" y="1439920"/>
                  </a:lnTo>
                  <a:lnTo>
                    <a:pt x="17964" y="1449791"/>
                  </a:lnTo>
                  <a:lnTo>
                    <a:pt x="13944" y="1453830"/>
                  </a:lnTo>
                  <a:lnTo>
                    <a:pt x="4034" y="1453830"/>
                  </a:lnTo>
                  <a:lnTo>
                    <a:pt x="15" y="1449791"/>
                  </a:lnTo>
                  <a:lnTo>
                    <a:pt x="15" y="1439920"/>
                  </a:lnTo>
                  <a:close/>
                  <a:moveTo>
                    <a:pt x="721973" y="1435882"/>
                  </a:moveTo>
                  <a:lnTo>
                    <a:pt x="731883" y="1435882"/>
                  </a:lnTo>
                  <a:lnTo>
                    <a:pt x="735902" y="1439920"/>
                  </a:lnTo>
                  <a:lnTo>
                    <a:pt x="735902" y="1449791"/>
                  </a:lnTo>
                  <a:lnTo>
                    <a:pt x="731883" y="1453830"/>
                  </a:lnTo>
                  <a:lnTo>
                    <a:pt x="721973" y="1453830"/>
                  </a:lnTo>
                  <a:lnTo>
                    <a:pt x="717954" y="1449791"/>
                  </a:lnTo>
                  <a:lnTo>
                    <a:pt x="717954" y="1439920"/>
                  </a:lnTo>
                  <a:close/>
                  <a:moveTo>
                    <a:pt x="482661" y="1435882"/>
                  </a:moveTo>
                  <a:lnTo>
                    <a:pt x="492571" y="1435882"/>
                  </a:lnTo>
                  <a:lnTo>
                    <a:pt x="496590" y="1439920"/>
                  </a:lnTo>
                  <a:lnTo>
                    <a:pt x="496590" y="1449791"/>
                  </a:lnTo>
                  <a:lnTo>
                    <a:pt x="492571" y="1453830"/>
                  </a:lnTo>
                  <a:lnTo>
                    <a:pt x="482661" y="1453830"/>
                  </a:lnTo>
                  <a:lnTo>
                    <a:pt x="478642" y="1449791"/>
                  </a:lnTo>
                  <a:lnTo>
                    <a:pt x="478642" y="1439920"/>
                  </a:lnTo>
                  <a:close/>
                  <a:moveTo>
                    <a:pt x="3350359" y="1196701"/>
                  </a:moveTo>
                  <a:lnTo>
                    <a:pt x="3360268" y="1196701"/>
                  </a:lnTo>
                  <a:lnTo>
                    <a:pt x="3364287" y="1200738"/>
                  </a:lnTo>
                  <a:lnTo>
                    <a:pt x="3364287" y="1210610"/>
                  </a:lnTo>
                  <a:lnTo>
                    <a:pt x="3360268" y="1214650"/>
                  </a:lnTo>
                  <a:lnTo>
                    <a:pt x="3350359" y="1214650"/>
                  </a:lnTo>
                  <a:lnTo>
                    <a:pt x="3346340" y="1210610"/>
                  </a:lnTo>
                  <a:lnTo>
                    <a:pt x="3346340" y="1200738"/>
                  </a:lnTo>
                  <a:close/>
                  <a:moveTo>
                    <a:pt x="3111048" y="1196701"/>
                  </a:moveTo>
                  <a:lnTo>
                    <a:pt x="3120959" y="1196701"/>
                  </a:lnTo>
                  <a:lnTo>
                    <a:pt x="3124977" y="1200738"/>
                  </a:lnTo>
                  <a:lnTo>
                    <a:pt x="3124977" y="1210610"/>
                  </a:lnTo>
                  <a:lnTo>
                    <a:pt x="3120959" y="1214650"/>
                  </a:lnTo>
                  <a:lnTo>
                    <a:pt x="3111048" y="1214650"/>
                  </a:lnTo>
                  <a:lnTo>
                    <a:pt x="3107029" y="1210610"/>
                  </a:lnTo>
                  <a:lnTo>
                    <a:pt x="3107029" y="1200738"/>
                  </a:lnTo>
                  <a:close/>
                  <a:moveTo>
                    <a:pt x="2871737" y="1196701"/>
                  </a:moveTo>
                  <a:lnTo>
                    <a:pt x="2881646" y="1196701"/>
                  </a:lnTo>
                  <a:lnTo>
                    <a:pt x="2885666" y="1200738"/>
                  </a:lnTo>
                  <a:lnTo>
                    <a:pt x="2885666" y="1210610"/>
                  </a:lnTo>
                  <a:lnTo>
                    <a:pt x="2881646" y="1214650"/>
                  </a:lnTo>
                  <a:lnTo>
                    <a:pt x="2871737" y="1214650"/>
                  </a:lnTo>
                  <a:lnTo>
                    <a:pt x="2867717" y="1210610"/>
                  </a:lnTo>
                  <a:lnTo>
                    <a:pt x="2867717" y="1200738"/>
                  </a:lnTo>
                  <a:close/>
                  <a:moveTo>
                    <a:pt x="2632423" y="1196701"/>
                  </a:moveTo>
                  <a:lnTo>
                    <a:pt x="2642334" y="1196701"/>
                  </a:lnTo>
                  <a:lnTo>
                    <a:pt x="2646352" y="1200740"/>
                  </a:lnTo>
                  <a:lnTo>
                    <a:pt x="2646352" y="1210610"/>
                  </a:lnTo>
                  <a:lnTo>
                    <a:pt x="2642334" y="1214650"/>
                  </a:lnTo>
                  <a:lnTo>
                    <a:pt x="2632423" y="1214650"/>
                  </a:lnTo>
                  <a:lnTo>
                    <a:pt x="2628404" y="1210610"/>
                  </a:lnTo>
                  <a:lnTo>
                    <a:pt x="2628404" y="1200740"/>
                  </a:lnTo>
                  <a:close/>
                  <a:moveTo>
                    <a:pt x="2393104" y="1196701"/>
                  </a:moveTo>
                  <a:lnTo>
                    <a:pt x="2403015" y="1196701"/>
                  </a:lnTo>
                  <a:lnTo>
                    <a:pt x="2407034" y="1200740"/>
                  </a:lnTo>
                  <a:lnTo>
                    <a:pt x="2407034" y="1210610"/>
                  </a:lnTo>
                  <a:lnTo>
                    <a:pt x="2403015" y="1214650"/>
                  </a:lnTo>
                  <a:lnTo>
                    <a:pt x="2393104" y="1214650"/>
                  </a:lnTo>
                  <a:lnTo>
                    <a:pt x="2389087" y="1210610"/>
                  </a:lnTo>
                  <a:lnTo>
                    <a:pt x="2389087" y="1200740"/>
                  </a:lnTo>
                  <a:close/>
                  <a:moveTo>
                    <a:pt x="4546929" y="1196689"/>
                  </a:moveTo>
                  <a:lnTo>
                    <a:pt x="4556840" y="1196689"/>
                  </a:lnTo>
                  <a:lnTo>
                    <a:pt x="4560859" y="1200726"/>
                  </a:lnTo>
                  <a:lnTo>
                    <a:pt x="4560859" y="1210598"/>
                  </a:lnTo>
                  <a:lnTo>
                    <a:pt x="4556840" y="1214637"/>
                  </a:lnTo>
                  <a:lnTo>
                    <a:pt x="4546929" y="1214637"/>
                  </a:lnTo>
                  <a:lnTo>
                    <a:pt x="4542910" y="1210598"/>
                  </a:lnTo>
                  <a:lnTo>
                    <a:pt x="4542910" y="1200726"/>
                  </a:lnTo>
                  <a:close/>
                  <a:moveTo>
                    <a:pt x="4307612" y="1196689"/>
                  </a:moveTo>
                  <a:lnTo>
                    <a:pt x="4317523" y="1196689"/>
                  </a:lnTo>
                  <a:lnTo>
                    <a:pt x="4321543" y="1200726"/>
                  </a:lnTo>
                  <a:lnTo>
                    <a:pt x="4321543" y="1210598"/>
                  </a:lnTo>
                  <a:lnTo>
                    <a:pt x="4317523" y="1214637"/>
                  </a:lnTo>
                  <a:lnTo>
                    <a:pt x="4307612" y="1214637"/>
                  </a:lnTo>
                  <a:lnTo>
                    <a:pt x="4303595" y="1210598"/>
                  </a:lnTo>
                  <a:lnTo>
                    <a:pt x="4303595" y="1200726"/>
                  </a:lnTo>
                  <a:close/>
                  <a:moveTo>
                    <a:pt x="4068297" y="1196689"/>
                  </a:moveTo>
                  <a:lnTo>
                    <a:pt x="4078210" y="1196689"/>
                  </a:lnTo>
                  <a:lnTo>
                    <a:pt x="4082229" y="1200726"/>
                  </a:lnTo>
                  <a:lnTo>
                    <a:pt x="4082229" y="1210598"/>
                  </a:lnTo>
                  <a:lnTo>
                    <a:pt x="4078210" y="1214637"/>
                  </a:lnTo>
                  <a:lnTo>
                    <a:pt x="4068297" y="1214637"/>
                  </a:lnTo>
                  <a:lnTo>
                    <a:pt x="4064278" y="1210598"/>
                  </a:lnTo>
                  <a:lnTo>
                    <a:pt x="4064278" y="1200726"/>
                  </a:lnTo>
                  <a:close/>
                  <a:moveTo>
                    <a:pt x="3828990" y="1196689"/>
                  </a:moveTo>
                  <a:lnTo>
                    <a:pt x="3838899" y="1196689"/>
                  </a:lnTo>
                  <a:lnTo>
                    <a:pt x="3842917" y="1200728"/>
                  </a:lnTo>
                  <a:lnTo>
                    <a:pt x="3842917" y="1210598"/>
                  </a:lnTo>
                  <a:lnTo>
                    <a:pt x="3838899" y="1214637"/>
                  </a:lnTo>
                  <a:lnTo>
                    <a:pt x="3828990" y="1214637"/>
                  </a:lnTo>
                  <a:lnTo>
                    <a:pt x="3824971" y="1210598"/>
                  </a:lnTo>
                  <a:lnTo>
                    <a:pt x="3824971" y="1200728"/>
                  </a:lnTo>
                  <a:close/>
                  <a:moveTo>
                    <a:pt x="3589676" y="1196689"/>
                  </a:moveTo>
                  <a:lnTo>
                    <a:pt x="3599585" y="1196689"/>
                  </a:lnTo>
                  <a:lnTo>
                    <a:pt x="3603604" y="1200728"/>
                  </a:lnTo>
                  <a:lnTo>
                    <a:pt x="3603604" y="1210598"/>
                  </a:lnTo>
                  <a:lnTo>
                    <a:pt x="3599585" y="1214637"/>
                  </a:lnTo>
                  <a:lnTo>
                    <a:pt x="3589676" y="1214637"/>
                  </a:lnTo>
                  <a:lnTo>
                    <a:pt x="3585657" y="1210598"/>
                  </a:lnTo>
                  <a:lnTo>
                    <a:pt x="3585657" y="1200728"/>
                  </a:lnTo>
                  <a:close/>
                  <a:moveTo>
                    <a:pt x="5743412" y="1196676"/>
                  </a:moveTo>
                  <a:lnTo>
                    <a:pt x="5753323" y="1196676"/>
                  </a:lnTo>
                  <a:lnTo>
                    <a:pt x="5757342" y="1200714"/>
                  </a:lnTo>
                  <a:lnTo>
                    <a:pt x="5757342" y="1210586"/>
                  </a:lnTo>
                  <a:lnTo>
                    <a:pt x="5753323" y="1214625"/>
                  </a:lnTo>
                  <a:lnTo>
                    <a:pt x="5743412" y="1214625"/>
                  </a:lnTo>
                  <a:lnTo>
                    <a:pt x="5739393" y="1210586"/>
                  </a:lnTo>
                  <a:lnTo>
                    <a:pt x="5739393" y="1200714"/>
                  </a:lnTo>
                  <a:close/>
                  <a:moveTo>
                    <a:pt x="5504099" y="1196676"/>
                  </a:moveTo>
                  <a:lnTo>
                    <a:pt x="5514010" y="1196676"/>
                  </a:lnTo>
                  <a:lnTo>
                    <a:pt x="5518029" y="1200714"/>
                  </a:lnTo>
                  <a:lnTo>
                    <a:pt x="5518029" y="1210586"/>
                  </a:lnTo>
                  <a:lnTo>
                    <a:pt x="5514010" y="1214625"/>
                  </a:lnTo>
                  <a:lnTo>
                    <a:pt x="5504099" y="1214625"/>
                  </a:lnTo>
                  <a:lnTo>
                    <a:pt x="5500080" y="1210586"/>
                  </a:lnTo>
                  <a:lnTo>
                    <a:pt x="5500080" y="1200714"/>
                  </a:lnTo>
                  <a:close/>
                  <a:moveTo>
                    <a:pt x="5264784" y="1196676"/>
                  </a:moveTo>
                  <a:lnTo>
                    <a:pt x="5274694" y="1196676"/>
                  </a:lnTo>
                  <a:lnTo>
                    <a:pt x="5278713" y="1200714"/>
                  </a:lnTo>
                  <a:lnTo>
                    <a:pt x="5278713" y="1210586"/>
                  </a:lnTo>
                  <a:lnTo>
                    <a:pt x="5274694" y="1214625"/>
                  </a:lnTo>
                  <a:lnTo>
                    <a:pt x="5264784" y="1214625"/>
                  </a:lnTo>
                  <a:lnTo>
                    <a:pt x="5260765" y="1210586"/>
                  </a:lnTo>
                  <a:lnTo>
                    <a:pt x="5260765" y="1200714"/>
                  </a:lnTo>
                  <a:close/>
                  <a:moveTo>
                    <a:pt x="5025470" y="1196676"/>
                  </a:moveTo>
                  <a:lnTo>
                    <a:pt x="5035381" y="1196676"/>
                  </a:lnTo>
                  <a:lnTo>
                    <a:pt x="5039400" y="1200715"/>
                  </a:lnTo>
                  <a:lnTo>
                    <a:pt x="5039400" y="1210586"/>
                  </a:lnTo>
                  <a:lnTo>
                    <a:pt x="5035381" y="1214625"/>
                  </a:lnTo>
                  <a:lnTo>
                    <a:pt x="5025470" y="1214625"/>
                  </a:lnTo>
                  <a:lnTo>
                    <a:pt x="5021451" y="1210586"/>
                  </a:lnTo>
                  <a:lnTo>
                    <a:pt x="5021451" y="1200715"/>
                  </a:lnTo>
                  <a:close/>
                  <a:moveTo>
                    <a:pt x="4786241" y="1196676"/>
                  </a:moveTo>
                  <a:lnTo>
                    <a:pt x="4796152" y="1196676"/>
                  </a:lnTo>
                  <a:lnTo>
                    <a:pt x="4800171" y="1200715"/>
                  </a:lnTo>
                  <a:lnTo>
                    <a:pt x="4800171" y="1210586"/>
                  </a:lnTo>
                  <a:lnTo>
                    <a:pt x="4796152" y="1214625"/>
                  </a:lnTo>
                  <a:lnTo>
                    <a:pt x="4786241" y="1214625"/>
                  </a:lnTo>
                  <a:lnTo>
                    <a:pt x="4782224" y="1210586"/>
                  </a:lnTo>
                  <a:lnTo>
                    <a:pt x="4782224" y="1200715"/>
                  </a:lnTo>
                  <a:close/>
                  <a:moveTo>
                    <a:pt x="6222042" y="1196664"/>
                  </a:moveTo>
                  <a:lnTo>
                    <a:pt x="6231952" y="1196664"/>
                  </a:lnTo>
                  <a:lnTo>
                    <a:pt x="6235971" y="1200703"/>
                  </a:lnTo>
                  <a:lnTo>
                    <a:pt x="6235971" y="1210573"/>
                  </a:lnTo>
                  <a:lnTo>
                    <a:pt x="6231952" y="1214612"/>
                  </a:lnTo>
                  <a:lnTo>
                    <a:pt x="6222042" y="1214612"/>
                  </a:lnTo>
                  <a:lnTo>
                    <a:pt x="6218023" y="1210573"/>
                  </a:lnTo>
                  <a:lnTo>
                    <a:pt x="6218023" y="1200703"/>
                  </a:lnTo>
                  <a:close/>
                  <a:moveTo>
                    <a:pt x="5982729" y="1196664"/>
                  </a:moveTo>
                  <a:lnTo>
                    <a:pt x="5992639" y="1196664"/>
                  </a:lnTo>
                  <a:lnTo>
                    <a:pt x="5996658" y="1200703"/>
                  </a:lnTo>
                  <a:lnTo>
                    <a:pt x="5996658" y="1210573"/>
                  </a:lnTo>
                  <a:lnTo>
                    <a:pt x="5992639" y="1214612"/>
                  </a:lnTo>
                  <a:lnTo>
                    <a:pt x="5982729" y="1214612"/>
                  </a:lnTo>
                  <a:lnTo>
                    <a:pt x="5978710" y="1210573"/>
                  </a:lnTo>
                  <a:lnTo>
                    <a:pt x="5978710" y="1200703"/>
                  </a:lnTo>
                  <a:close/>
                  <a:moveTo>
                    <a:pt x="6939983" y="1196664"/>
                  </a:moveTo>
                  <a:lnTo>
                    <a:pt x="6949894" y="1196664"/>
                  </a:lnTo>
                  <a:lnTo>
                    <a:pt x="6953913" y="1200702"/>
                  </a:lnTo>
                  <a:lnTo>
                    <a:pt x="6953913" y="1210573"/>
                  </a:lnTo>
                  <a:lnTo>
                    <a:pt x="6949894" y="1214612"/>
                  </a:lnTo>
                  <a:lnTo>
                    <a:pt x="6939983" y="1214612"/>
                  </a:lnTo>
                  <a:lnTo>
                    <a:pt x="6935964" y="1210573"/>
                  </a:lnTo>
                  <a:lnTo>
                    <a:pt x="6935964" y="1200702"/>
                  </a:lnTo>
                  <a:close/>
                  <a:moveTo>
                    <a:pt x="6700670" y="1196664"/>
                  </a:moveTo>
                  <a:lnTo>
                    <a:pt x="6710581" y="1196664"/>
                  </a:lnTo>
                  <a:lnTo>
                    <a:pt x="6714600" y="1200702"/>
                  </a:lnTo>
                  <a:lnTo>
                    <a:pt x="6714600" y="1210573"/>
                  </a:lnTo>
                  <a:lnTo>
                    <a:pt x="6710581" y="1214612"/>
                  </a:lnTo>
                  <a:lnTo>
                    <a:pt x="6700670" y="1214612"/>
                  </a:lnTo>
                  <a:lnTo>
                    <a:pt x="6696651" y="1210573"/>
                  </a:lnTo>
                  <a:lnTo>
                    <a:pt x="6696651" y="1200702"/>
                  </a:lnTo>
                  <a:close/>
                  <a:moveTo>
                    <a:pt x="6461356" y="1196664"/>
                  </a:moveTo>
                  <a:lnTo>
                    <a:pt x="6471266" y="1196664"/>
                  </a:lnTo>
                  <a:lnTo>
                    <a:pt x="6475285" y="1200702"/>
                  </a:lnTo>
                  <a:lnTo>
                    <a:pt x="6475285" y="1210573"/>
                  </a:lnTo>
                  <a:lnTo>
                    <a:pt x="6471266" y="1214612"/>
                  </a:lnTo>
                  <a:lnTo>
                    <a:pt x="6461356" y="1214612"/>
                  </a:lnTo>
                  <a:lnTo>
                    <a:pt x="6457337" y="1210573"/>
                  </a:lnTo>
                  <a:lnTo>
                    <a:pt x="6457337" y="1200702"/>
                  </a:lnTo>
                  <a:close/>
                  <a:moveTo>
                    <a:pt x="7418611" y="1196652"/>
                  </a:moveTo>
                  <a:lnTo>
                    <a:pt x="7428521" y="1196652"/>
                  </a:lnTo>
                  <a:lnTo>
                    <a:pt x="7432540" y="1200690"/>
                  </a:lnTo>
                  <a:lnTo>
                    <a:pt x="7432540" y="1210561"/>
                  </a:lnTo>
                  <a:lnTo>
                    <a:pt x="7428521" y="1214600"/>
                  </a:lnTo>
                  <a:lnTo>
                    <a:pt x="7418611" y="1214600"/>
                  </a:lnTo>
                  <a:lnTo>
                    <a:pt x="7414592" y="1210561"/>
                  </a:lnTo>
                  <a:lnTo>
                    <a:pt x="7414592" y="1200690"/>
                  </a:lnTo>
                  <a:close/>
                  <a:moveTo>
                    <a:pt x="7179298" y="1196652"/>
                  </a:moveTo>
                  <a:lnTo>
                    <a:pt x="7189209" y="1196652"/>
                  </a:lnTo>
                  <a:lnTo>
                    <a:pt x="7193228" y="1200690"/>
                  </a:lnTo>
                  <a:lnTo>
                    <a:pt x="7193228" y="1210561"/>
                  </a:lnTo>
                  <a:lnTo>
                    <a:pt x="7189209" y="1214600"/>
                  </a:lnTo>
                  <a:lnTo>
                    <a:pt x="7179298" y="1214600"/>
                  </a:lnTo>
                  <a:lnTo>
                    <a:pt x="7175279" y="1210561"/>
                  </a:lnTo>
                  <a:lnTo>
                    <a:pt x="7175279" y="1200690"/>
                  </a:lnTo>
                  <a:close/>
                  <a:moveTo>
                    <a:pt x="8136553" y="1196651"/>
                  </a:moveTo>
                  <a:lnTo>
                    <a:pt x="8146464" y="1196651"/>
                  </a:lnTo>
                  <a:lnTo>
                    <a:pt x="8150483" y="1200689"/>
                  </a:lnTo>
                  <a:lnTo>
                    <a:pt x="8150483" y="1210561"/>
                  </a:lnTo>
                  <a:lnTo>
                    <a:pt x="8146464" y="1214600"/>
                  </a:lnTo>
                  <a:lnTo>
                    <a:pt x="8136553" y="1214600"/>
                  </a:lnTo>
                  <a:lnTo>
                    <a:pt x="8132534" y="1210561"/>
                  </a:lnTo>
                  <a:lnTo>
                    <a:pt x="8132534" y="1200689"/>
                  </a:lnTo>
                  <a:close/>
                  <a:moveTo>
                    <a:pt x="7897241" y="1196651"/>
                  </a:moveTo>
                  <a:lnTo>
                    <a:pt x="7907151" y="1196651"/>
                  </a:lnTo>
                  <a:lnTo>
                    <a:pt x="7911170" y="1200689"/>
                  </a:lnTo>
                  <a:lnTo>
                    <a:pt x="7911170" y="1210561"/>
                  </a:lnTo>
                  <a:lnTo>
                    <a:pt x="7907151" y="1214600"/>
                  </a:lnTo>
                  <a:lnTo>
                    <a:pt x="7897241" y="1214600"/>
                  </a:lnTo>
                  <a:lnTo>
                    <a:pt x="7893222" y="1210561"/>
                  </a:lnTo>
                  <a:lnTo>
                    <a:pt x="7893222" y="1200689"/>
                  </a:lnTo>
                  <a:close/>
                  <a:moveTo>
                    <a:pt x="7657926" y="1196651"/>
                  </a:moveTo>
                  <a:lnTo>
                    <a:pt x="7667836" y="1196651"/>
                  </a:lnTo>
                  <a:lnTo>
                    <a:pt x="7671855" y="1200689"/>
                  </a:lnTo>
                  <a:lnTo>
                    <a:pt x="7671855" y="1210561"/>
                  </a:lnTo>
                  <a:lnTo>
                    <a:pt x="7667836" y="1214600"/>
                  </a:lnTo>
                  <a:lnTo>
                    <a:pt x="7657926" y="1214600"/>
                  </a:lnTo>
                  <a:lnTo>
                    <a:pt x="7653906" y="1210561"/>
                  </a:lnTo>
                  <a:lnTo>
                    <a:pt x="7653906" y="1200689"/>
                  </a:lnTo>
                  <a:close/>
                  <a:moveTo>
                    <a:pt x="8615184" y="1196639"/>
                  </a:moveTo>
                  <a:lnTo>
                    <a:pt x="8625095" y="1196639"/>
                  </a:lnTo>
                  <a:lnTo>
                    <a:pt x="8629114" y="1200678"/>
                  </a:lnTo>
                  <a:lnTo>
                    <a:pt x="8629114" y="1210548"/>
                  </a:lnTo>
                  <a:lnTo>
                    <a:pt x="8625095" y="1214587"/>
                  </a:lnTo>
                  <a:lnTo>
                    <a:pt x="8615184" y="1214587"/>
                  </a:lnTo>
                  <a:lnTo>
                    <a:pt x="8611165" y="1210548"/>
                  </a:lnTo>
                  <a:lnTo>
                    <a:pt x="8611165" y="1200678"/>
                  </a:lnTo>
                  <a:close/>
                  <a:moveTo>
                    <a:pt x="8375869" y="1196639"/>
                  </a:moveTo>
                  <a:lnTo>
                    <a:pt x="8385779" y="1196639"/>
                  </a:lnTo>
                  <a:lnTo>
                    <a:pt x="8389799" y="1200678"/>
                  </a:lnTo>
                  <a:lnTo>
                    <a:pt x="8389799" y="1210549"/>
                  </a:lnTo>
                  <a:lnTo>
                    <a:pt x="8385779" y="1214587"/>
                  </a:lnTo>
                  <a:lnTo>
                    <a:pt x="8375869" y="1214587"/>
                  </a:lnTo>
                  <a:lnTo>
                    <a:pt x="8371850" y="1210549"/>
                  </a:lnTo>
                  <a:lnTo>
                    <a:pt x="8371850" y="1200678"/>
                  </a:lnTo>
                  <a:close/>
                  <a:moveTo>
                    <a:pt x="9333125" y="1196639"/>
                  </a:moveTo>
                  <a:lnTo>
                    <a:pt x="9343036" y="1196639"/>
                  </a:lnTo>
                  <a:lnTo>
                    <a:pt x="9347055" y="1200677"/>
                  </a:lnTo>
                  <a:lnTo>
                    <a:pt x="9347055" y="1210548"/>
                  </a:lnTo>
                  <a:lnTo>
                    <a:pt x="9343036" y="1214587"/>
                  </a:lnTo>
                  <a:lnTo>
                    <a:pt x="9333125" y="1214587"/>
                  </a:lnTo>
                  <a:lnTo>
                    <a:pt x="9329106" y="1210548"/>
                  </a:lnTo>
                  <a:lnTo>
                    <a:pt x="9329106" y="1200677"/>
                  </a:lnTo>
                  <a:close/>
                  <a:moveTo>
                    <a:pt x="9093811" y="1196639"/>
                  </a:moveTo>
                  <a:lnTo>
                    <a:pt x="9103722" y="1196639"/>
                  </a:lnTo>
                  <a:lnTo>
                    <a:pt x="9107741" y="1200677"/>
                  </a:lnTo>
                  <a:lnTo>
                    <a:pt x="9107741" y="1210548"/>
                  </a:lnTo>
                  <a:lnTo>
                    <a:pt x="9103722" y="1214587"/>
                  </a:lnTo>
                  <a:lnTo>
                    <a:pt x="9093811" y="1214587"/>
                  </a:lnTo>
                  <a:lnTo>
                    <a:pt x="9089792" y="1210548"/>
                  </a:lnTo>
                  <a:lnTo>
                    <a:pt x="9089792" y="1200677"/>
                  </a:lnTo>
                  <a:close/>
                  <a:moveTo>
                    <a:pt x="8854496" y="1196639"/>
                  </a:moveTo>
                  <a:lnTo>
                    <a:pt x="8864407" y="1196639"/>
                  </a:lnTo>
                  <a:lnTo>
                    <a:pt x="8868426" y="1200677"/>
                  </a:lnTo>
                  <a:lnTo>
                    <a:pt x="8868426" y="1210548"/>
                  </a:lnTo>
                  <a:lnTo>
                    <a:pt x="8864407" y="1214587"/>
                  </a:lnTo>
                  <a:lnTo>
                    <a:pt x="8854496" y="1214587"/>
                  </a:lnTo>
                  <a:lnTo>
                    <a:pt x="8850477" y="1210548"/>
                  </a:lnTo>
                  <a:lnTo>
                    <a:pt x="8850477" y="1200677"/>
                  </a:lnTo>
                  <a:close/>
                  <a:moveTo>
                    <a:pt x="9572438" y="1196627"/>
                  </a:moveTo>
                  <a:lnTo>
                    <a:pt x="9582349" y="1196627"/>
                  </a:lnTo>
                  <a:lnTo>
                    <a:pt x="9586368" y="1200665"/>
                  </a:lnTo>
                  <a:lnTo>
                    <a:pt x="9586368" y="1210536"/>
                  </a:lnTo>
                  <a:lnTo>
                    <a:pt x="9582349" y="1214575"/>
                  </a:lnTo>
                  <a:lnTo>
                    <a:pt x="9572438" y="1214575"/>
                  </a:lnTo>
                  <a:lnTo>
                    <a:pt x="9568419" y="1210536"/>
                  </a:lnTo>
                  <a:lnTo>
                    <a:pt x="9568419" y="1200665"/>
                  </a:lnTo>
                  <a:close/>
                  <a:moveTo>
                    <a:pt x="4035" y="1196600"/>
                  </a:moveTo>
                  <a:lnTo>
                    <a:pt x="13945" y="1196600"/>
                  </a:lnTo>
                  <a:lnTo>
                    <a:pt x="17964" y="1200638"/>
                  </a:lnTo>
                  <a:lnTo>
                    <a:pt x="17964" y="1210509"/>
                  </a:lnTo>
                  <a:lnTo>
                    <a:pt x="13945" y="1214548"/>
                  </a:lnTo>
                  <a:lnTo>
                    <a:pt x="4035" y="1214548"/>
                  </a:lnTo>
                  <a:lnTo>
                    <a:pt x="16" y="1210509"/>
                  </a:lnTo>
                  <a:lnTo>
                    <a:pt x="16" y="1200638"/>
                  </a:lnTo>
                  <a:close/>
                  <a:moveTo>
                    <a:pt x="721974" y="1196599"/>
                  </a:moveTo>
                  <a:lnTo>
                    <a:pt x="731884" y="1196599"/>
                  </a:lnTo>
                  <a:lnTo>
                    <a:pt x="735903" y="1200638"/>
                  </a:lnTo>
                  <a:lnTo>
                    <a:pt x="735903" y="1210509"/>
                  </a:lnTo>
                  <a:lnTo>
                    <a:pt x="731884" y="1214547"/>
                  </a:lnTo>
                  <a:lnTo>
                    <a:pt x="721974" y="1214547"/>
                  </a:lnTo>
                  <a:lnTo>
                    <a:pt x="717955" y="1210509"/>
                  </a:lnTo>
                  <a:lnTo>
                    <a:pt x="717955" y="1200638"/>
                  </a:lnTo>
                  <a:close/>
                  <a:moveTo>
                    <a:pt x="482661" y="1196599"/>
                  </a:moveTo>
                  <a:lnTo>
                    <a:pt x="492572" y="1196599"/>
                  </a:lnTo>
                  <a:lnTo>
                    <a:pt x="496591" y="1200638"/>
                  </a:lnTo>
                  <a:lnTo>
                    <a:pt x="496591" y="1210509"/>
                  </a:lnTo>
                  <a:lnTo>
                    <a:pt x="492572" y="1214548"/>
                  </a:lnTo>
                  <a:lnTo>
                    <a:pt x="482661" y="1214548"/>
                  </a:lnTo>
                  <a:lnTo>
                    <a:pt x="478642" y="1210509"/>
                  </a:lnTo>
                  <a:lnTo>
                    <a:pt x="478642" y="1200638"/>
                  </a:lnTo>
                  <a:close/>
                  <a:moveTo>
                    <a:pt x="243348" y="1196599"/>
                  </a:moveTo>
                  <a:lnTo>
                    <a:pt x="253258" y="1196599"/>
                  </a:lnTo>
                  <a:lnTo>
                    <a:pt x="257278" y="1200638"/>
                  </a:lnTo>
                  <a:lnTo>
                    <a:pt x="257278" y="1210509"/>
                  </a:lnTo>
                  <a:lnTo>
                    <a:pt x="253258" y="1214548"/>
                  </a:lnTo>
                  <a:lnTo>
                    <a:pt x="243348" y="1214548"/>
                  </a:lnTo>
                  <a:lnTo>
                    <a:pt x="239329" y="1210509"/>
                  </a:lnTo>
                  <a:lnTo>
                    <a:pt x="239329" y="1200638"/>
                  </a:lnTo>
                  <a:close/>
                  <a:moveTo>
                    <a:pt x="1439900" y="1196589"/>
                  </a:moveTo>
                  <a:lnTo>
                    <a:pt x="1449810" y="1196589"/>
                  </a:lnTo>
                  <a:lnTo>
                    <a:pt x="1453829" y="1200628"/>
                  </a:lnTo>
                  <a:lnTo>
                    <a:pt x="1453829" y="1210498"/>
                  </a:lnTo>
                  <a:lnTo>
                    <a:pt x="1449810" y="1214537"/>
                  </a:lnTo>
                  <a:lnTo>
                    <a:pt x="1439900" y="1214537"/>
                  </a:lnTo>
                  <a:lnTo>
                    <a:pt x="1435881" y="1210498"/>
                  </a:lnTo>
                  <a:lnTo>
                    <a:pt x="1435881" y="1200628"/>
                  </a:lnTo>
                  <a:close/>
                  <a:moveTo>
                    <a:pt x="1200584" y="1196589"/>
                  </a:moveTo>
                  <a:lnTo>
                    <a:pt x="1210494" y="1196589"/>
                  </a:lnTo>
                  <a:lnTo>
                    <a:pt x="1214512" y="1200628"/>
                  </a:lnTo>
                  <a:lnTo>
                    <a:pt x="1214512" y="1210498"/>
                  </a:lnTo>
                  <a:lnTo>
                    <a:pt x="1210494" y="1214537"/>
                  </a:lnTo>
                  <a:lnTo>
                    <a:pt x="1200584" y="1214537"/>
                  </a:lnTo>
                  <a:lnTo>
                    <a:pt x="1196565" y="1210498"/>
                  </a:lnTo>
                  <a:lnTo>
                    <a:pt x="1196565" y="1200628"/>
                  </a:lnTo>
                  <a:close/>
                  <a:moveTo>
                    <a:pt x="961271" y="1196589"/>
                  </a:moveTo>
                  <a:lnTo>
                    <a:pt x="971181" y="1196589"/>
                  </a:lnTo>
                  <a:lnTo>
                    <a:pt x="975200" y="1200628"/>
                  </a:lnTo>
                  <a:lnTo>
                    <a:pt x="975200" y="1210499"/>
                  </a:lnTo>
                  <a:lnTo>
                    <a:pt x="971181" y="1214537"/>
                  </a:lnTo>
                  <a:lnTo>
                    <a:pt x="961271" y="1214537"/>
                  </a:lnTo>
                  <a:lnTo>
                    <a:pt x="957253" y="1210499"/>
                  </a:lnTo>
                  <a:lnTo>
                    <a:pt x="957253" y="1200628"/>
                  </a:lnTo>
                  <a:close/>
                  <a:moveTo>
                    <a:pt x="1679217" y="1196589"/>
                  </a:moveTo>
                  <a:lnTo>
                    <a:pt x="1689127" y="1196589"/>
                  </a:lnTo>
                  <a:lnTo>
                    <a:pt x="1693146" y="1200627"/>
                  </a:lnTo>
                  <a:lnTo>
                    <a:pt x="1693146" y="1210498"/>
                  </a:lnTo>
                  <a:lnTo>
                    <a:pt x="1689127" y="1214537"/>
                  </a:lnTo>
                  <a:lnTo>
                    <a:pt x="1679217" y="1214537"/>
                  </a:lnTo>
                  <a:lnTo>
                    <a:pt x="1675198" y="1210498"/>
                  </a:lnTo>
                  <a:lnTo>
                    <a:pt x="1675198" y="1200627"/>
                  </a:lnTo>
                  <a:close/>
                  <a:moveTo>
                    <a:pt x="1918514" y="1196581"/>
                  </a:moveTo>
                  <a:lnTo>
                    <a:pt x="1928424" y="1196581"/>
                  </a:lnTo>
                  <a:lnTo>
                    <a:pt x="1932443" y="1200619"/>
                  </a:lnTo>
                  <a:lnTo>
                    <a:pt x="1932443" y="1210489"/>
                  </a:lnTo>
                  <a:lnTo>
                    <a:pt x="1928424" y="1214528"/>
                  </a:lnTo>
                  <a:lnTo>
                    <a:pt x="1918514" y="1214528"/>
                  </a:lnTo>
                  <a:lnTo>
                    <a:pt x="1914495" y="1210489"/>
                  </a:lnTo>
                  <a:lnTo>
                    <a:pt x="1914495" y="1200619"/>
                  </a:lnTo>
                  <a:close/>
                  <a:moveTo>
                    <a:pt x="2157823" y="1196578"/>
                  </a:moveTo>
                  <a:lnTo>
                    <a:pt x="2167733" y="1196578"/>
                  </a:lnTo>
                  <a:lnTo>
                    <a:pt x="2171751" y="1200617"/>
                  </a:lnTo>
                  <a:lnTo>
                    <a:pt x="2171751" y="1210488"/>
                  </a:lnTo>
                  <a:lnTo>
                    <a:pt x="2167733" y="1214526"/>
                  </a:lnTo>
                  <a:lnTo>
                    <a:pt x="2157823" y="1214526"/>
                  </a:lnTo>
                  <a:lnTo>
                    <a:pt x="2153803" y="1210488"/>
                  </a:lnTo>
                  <a:lnTo>
                    <a:pt x="2153803" y="1200617"/>
                  </a:lnTo>
                  <a:close/>
                  <a:moveTo>
                    <a:pt x="3350359" y="957358"/>
                  </a:moveTo>
                  <a:lnTo>
                    <a:pt x="3360268" y="957358"/>
                  </a:lnTo>
                  <a:lnTo>
                    <a:pt x="3364287" y="961396"/>
                  </a:lnTo>
                  <a:lnTo>
                    <a:pt x="3364287" y="971266"/>
                  </a:lnTo>
                  <a:lnTo>
                    <a:pt x="3360268" y="975304"/>
                  </a:lnTo>
                  <a:lnTo>
                    <a:pt x="3350359" y="975304"/>
                  </a:lnTo>
                  <a:lnTo>
                    <a:pt x="3346340" y="971266"/>
                  </a:lnTo>
                  <a:lnTo>
                    <a:pt x="3346340" y="961396"/>
                  </a:lnTo>
                  <a:close/>
                  <a:moveTo>
                    <a:pt x="3111048" y="957358"/>
                  </a:moveTo>
                  <a:lnTo>
                    <a:pt x="3120959" y="957358"/>
                  </a:lnTo>
                  <a:lnTo>
                    <a:pt x="3124977" y="961396"/>
                  </a:lnTo>
                  <a:lnTo>
                    <a:pt x="3124977" y="971266"/>
                  </a:lnTo>
                  <a:lnTo>
                    <a:pt x="3120959" y="975304"/>
                  </a:lnTo>
                  <a:lnTo>
                    <a:pt x="3111048" y="975304"/>
                  </a:lnTo>
                  <a:lnTo>
                    <a:pt x="3107029" y="971266"/>
                  </a:lnTo>
                  <a:lnTo>
                    <a:pt x="3107029" y="961396"/>
                  </a:lnTo>
                  <a:close/>
                  <a:moveTo>
                    <a:pt x="2871737" y="957358"/>
                  </a:moveTo>
                  <a:lnTo>
                    <a:pt x="2881646" y="957358"/>
                  </a:lnTo>
                  <a:lnTo>
                    <a:pt x="2885666" y="961396"/>
                  </a:lnTo>
                  <a:lnTo>
                    <a:pt x="2885666" y="971266"/>
                  </a:lnTo>
                  <a:lnTo>
                    <a:pt x="2881646" y="975304"/>
                  </a:lnTo>
                  <a:lnTo>
                    <a:pt x="2871737" y="975304"/>
                  </a:lnTo>
                  <a:lnTo>
                    <a:pt x="2867717" y="971266"/>
                  </a:lnTo>
                  <a:lnTo>
                    <a:pt x="2867717" y="961396"/>
                  </a:lnTo>
                  <a:close/>
                  <a:moveTo>
                    <a:pt x="2632423" y="957358"/>
                  </a:moveTo>
                  <a:lnTo>
                    <a:pt x="2642334" y="957358"/>
                  </a:lnTo>
                  <a:lnTo>
                    <a:pt x="2646352" y="961396"/>
                  </a:lnTo>
                  <a:lnTo>
                    <a:pt x="2646352" y="971266"/>
                  </a:lnTo>
                  <a:lnTo>
                    <a:pt x="2642334" y="975305"/>
                  </a:lnTo>
                  <a:lnTo>
                    <a:pt x="2632423" y="975305"/>
                  </a:lnTo>
                  <a:lnTo>
                    <a:pt x="2628404" y="971266"/>
                  </a:lnTo>
                  <a:lnTo>
                    <a:pt x="2628404" y="961396"/>
                  </a:lnTo>
                  <a:close/>
                  <a:moveTo>
                    <a:pt x="2393104" y="957358"/>
                  </a:moveTo>
                  <a:lnTo>
                    <a:pt x="2403015" y="957358"/>
                  </a:lnTo>
                  <a:lnTo>
                    <a:pt x="2407034" y="961396"/>
                  </a:lnTo>
                  <a:lnTo>
                    <a:pt x="2407034" y="971266"/>
                  </a:lnTo>
                  <a:lnTo>
                    <a:pt x="2403015" y="975305"/>
                  </a:lnTo>
                  <a:lnTo>
                    <a:pt x="2393104" y="975305"/>
                  </a:lnTo>
                  <a:lnTo>
                    <a:pt x="2389087" y="971266"/>
                  </a:lnTo>
                  <a:lnTo>
                    <a:pt x="2389087" y="961396"/>
                  </a:lnTo>
                  <a:close/>
                  <a:moveTo>
                    <a:pt x="4546929" y="957347"/>
                  </a:moveTo>
                  <a:lnTo>
                    <a:pt x="4556840" y="957347"/>
                  </a:lnTo>
                  <a:lnTo>
                    <a:pt x="4560859" y="961385"/>
                  </a:lnTo>
                  <a:lnTo>
                    <a:pt x="4560859" y="971255"/>
                  </a:lnTo>
                  <a:lnTo>
                    <a:pt x="4556840" y="975293"/>
                  </a:lnTo>
                  <a:lnTo>
                    <a:pt x="4546929" y="975293"/>
                  </a:lnTo>
                  <a:lnTo>
                    <a:pt x="4542910" y="971255"/>
                  </a:lnTo>
                  <a:lnTo>
                    <a:pt x="4542910" y="961385"/>
                  </a:lnTo>
                  <a:close/>
                  <a:moveTo>
                    <a:pt x="4307612" y="957347"/>
                  </a:moveTo>
                  <a:lnTo>
                    <a:pt x="4317523" y="957347"/>
                  </a:lnTo>
                  <a:lnTo>
                    <a:pt x="4321543" y="961385"/>
                  </a:lnTo>
                  <a:lnTo>
                    <a:pt x="4321543" y="971255"/>
                  </a:lnTo>
                  <a:lnTo>
                    <a:pt x="4317523" y="975293"/>
                  </a:lnTo>
                  <a:lnTo>
                    <a:pt x="4307612" y="975293"/>
                  </a:lnTo>
                  <a:lnTo>
                    <a:pt x="4303595" y="971255"/>
                  </a:lnTo>
                  <a:lnTo>
                    <a:pt x="4303595" y="961385"/>
                  </a:lnTo>
                  <a:close/>
                  <a:moveTo>
                    <a:pt x="4068297" y="957347"/>
                  </a:moveTo>
                  <a:lnTo>
                    <a:pt x="4078210" y="957347"/>
                  </a:lnTo>
                  <a:lnTo>
                    <a:pt x="4082229" y="961385"/>
                  </a:lnTo>
                  <a:lnTo>
                    <a:pt x="4082229" y="971255"/>
                  </a:lnTo>
                  <a:lnTo>
                    <a:pt x="4078210" y="975293"/>
                  </a:lnTo>
                  <a:lnTo>
                    <a:pt x="4068297" y="975293"/>
                  </a:lnTo>
                  <a:lnTo>
                    <a:pt x="4064278" y="971255"/>
                  </a:lnTo>
                  <a:lnTo>
                    <a:pt x="4064278" y="961385"/>
                  </a:lnTo>
                  <a:close/>
                  <a:moveTo>
                    <a:pt x="3828990" y="957347"/>
                  </a:moveTo>
                  <a:lnTo>
                    <a:pt x="3838899" y="957347"/>
                  </a:lnTo>
                  <a:lnTo>
                    <a:pt x="3842917" y="961385"/>
                  </a:lnTo>
                  <a:lnTo>
                    <a:pt x="3842917" y="971255"/>
                  </a:lnTo>
                  <a:lnTo>
                    <a:pt x="3838899" y="975293"/>
                  </a:lnTo>
                  <a:lnTo>
                    <a:pt x="3828990" y="975293"/>
                  </a:lnTo>
                  <a:lnTo>
                    <a:pt x="3824971" y="971255"/>
                  </a:lnTo>
                  <a:lnTo>
                    <a:pt x="3824971" y="961385"/>
                  </a:lnTo>
                  <a:close/>
                  <a:moveTo>
                    <a:pt x="3589676" y="957347"/>
                  </a:moveTo>
                  <a:lnTo>
                    <a:pt x="3599585" y="957347"/>
                  </a:lnTo>
                  <a:lnTo>
                    <a:pt x="3603604" y="961385"/>
                  </a:lnTo>
                  <a:lnTo>
                    <a:pt x="3603604" y="971255"/>
                  </a:lnTo>
                  <a:lnTo>
                    <a:pt x="3599585" y="975293"/>
                  </a:lnTo>
                  <a:lnTo>
                    <a:pt x="3589676" y="975293"/>
                  </a:lnTo>
                  <a:lnTo>
                    <a:pt x="3585657" y="971255"/>
                  </a:lnTo>
                  <a:lnTo>
                    <a:pt x="3585657" y="961385"/>
                  </a:lnTo>
                  <a:close/>
                  <a:moveTo>
                    <a:pt x="5743412" y="957335"/>
                  </a:moveTo>
                  <a:lnTo>
                    <a:pt x="5753323" y="957335"/>
                  </a:lnTo>
                  <a:lnTo>
                    <a:pt x="5757342" y="961373"/>
                  </a:lnTo>
                  <a:lnTo>
                    <a:pt x="5757342" y="971244"/>
                  </a:lnTo>
                  <a:lnTo>
                    <a:pt x="5753323" y="975282"/>
                  </a:lnTo>
                  <a:lnTo>
                    <a:pt x="5743412" y="975282"/>
                  </a:lnTo>
                  <a:lnTo>
                    <a:pt x="5739393" y="971244"/>
                  </a:lnTo>
                  <a:lnTo>
                    <a:pt x="5739393" y="961373"/>
                  </a:lnTo>
                  <a:close/>
                  <a:moveTo>
                    <a:pt x="5504099" y="957335"/>
                  </a:moveTo>
                  <a:lnTo>
                    <a:pt x="5514010" y="957335"/>
                  </a:lnTo>
                  <a:lnTo>
                    <a:pt x="5518029" y="961373"/>
                  </a:lnTo>
                  <a:lnTo>
                    <a:pt x="5518029" y="971244"/>
                  </a:lnTo>
                  <a:lnTo>
                    <a:pt x="5514010" y="975282"/>
                  </a:lnTo>
                  <a:lnTo>
                    <a:pt x="5504099" y="975282"/>
                  </a:lnTo>
                  <a:lnTo>
                    <a:pt x="5500080" y="971244"/>
                  </a:lnTo>
                  <a:lnTo>
                    <a:pt x="5500080" y="961373"/>
                  </a:lnTo>
                  <a:close/>
                  <a:moveTo>
                    <a:pt x="5264784" y="957335"/>
                  </a:moveTo>
                  <a:lnTo>
                    <a:pt x="5274694" y="957335"/>
                  </a:lnTo>
                  <a:lnTo>
                    <a:pt x="5278713" y="961373"/>
                  </a:lnTo>
                  <a:lnTo>
                    <a:pt x="5278713" y="971244"/>
                  </a:lnTo>
                  <a:lnTo>
                    <a:pt x="5274694" y="975282"/>
                  </a:lnTo>
                  <a:lnTo>
                    <a:pt x="5264784" y="975282"/>
                  </a:lnTo>
                  <a:lnTo>
                    <a:pt x="5260765" y="971244"/>
                  </a:lnTo>
                  <a:lnTo>
                    <a:pt x="5260765" y="961373"/>
                  </a:lnTo>
                  <a:close/>
                  <a:moveTo>
                    <a:pt x="5025470" y="957335"/>
                  </a:moveTo>
                  <a:lnTo>
                    <a:pt x="5035381" y="957335"/>
                  </a:lnTo>
                  <a:lnTo>
                    <a:pt x="5039400" y="961373"/>
                  </a:lnTo>
                  <a:lnTo>
                    <a:pt x="5039400" y="971244"/>
                  </a:lnTo>
                  <a:lnTo>
                    <a:pt x="5035381" y="975283"/>
                  </a:lnTo>
                  <a:lnTo>
                    <a:pt x="5025470" y="975283"/>
                  </a:lnTo>
                  <a:lnTo>
                    <a:pt x="5021451" y="971244"/>
                  </a:lnTo>
                  <a:lnTo>
                    <a:pt x="5021451" y="961373"/>
                  </a:lnTo>
                  <a:close/>
                  <a:moveTo>
                    <a:pt x="4786241" y="957335"/>
                  </a:moveTo>
                  <a:lnTo>
                    <a:pt x="4796152" y="957335"/>
                  </a:lnTo>
                  <a:lnTo>
                    <a:pt x="4800171" y="961374"/>
                  </a:lnTo>
                  <a:lnTo>
                    <a:pt x="4800171" y="971244"/>
                  </a:lnTo>
                  <a:lnTo>
                    <a:pt x="4796152" y="975283"/>
                  </a:lnTo>
                  <a:lnTo>
                    <a:pt x="4786241" y="975283"/>
                  </a:lnTo>
                  <a:lnTo>
                    <a:pt x="4782224" y="971244"/>
                  </a:lnTo>
                  <a:lnTo>
                    <a:pt x="4782224" y="961374"/>
                  </a:lnTo>
                  <a:close/>
                  <a:moveTo>
                    <a:pt x="6939983" y="957324"/>
                  </a:moveTo>
                  <a:lnTo>
                    <a:pt x="6949894" y="957324"/>
                  </a:lnTo>
                  <a:lnTo>
                    <a:pt x="6953913" y="961363"/>
                  </a:lnTo>
                  <a:lnTo>
                    <a:pt x="6953913" y="971232"/>
                  </a:lnTo>
                  <a:lnTo>
                    <a:pt x="6949894" y="975271"/>
                  </a:lnTo>
                  <a:lnTo>
                    <a:pt x="6939983" y="975271"/>
                  </a:lnTo>
                  <a:lnTo>
                    <a:pt x="6935964" y="971232"/>
                  </a:lnTo>
                  <a:lnTo>
                    <a:pt x="6935964" y="961363"/>
                  </a:lnTo>
                  <a:close/>
                  <a:moveTo>
                    <a:pt x="6700670" y="957324"/>
                  </a:moveTo>
                  <a:lnTo>
                    <a:pt x="6710581" y="957324"/>
                  </a:lnTo>
                  <a:lnTo>
                    <a:pt x="6714600" y="961363"/>
                  </a:lnTo>
                  <a:lnTo>
                    <a:pt x="6714600" y="971232"/>
                  </a:lnTo>
                  <a:lnTo>
                    <a:pt x="6710581" y="975271"/>
                  </a:lnTo>
                  <a:lnTo>
                    <a:pt x="6700670" y="975271"/>
                  </a:lnTo>
                  <a:lnTo>
                    <a:pt x="6696651" y="971232"/>
                  </a:lnTo>
                  <a:lnTo>
                    <a:pt x="6696651" y="961363"/>
                  </a:lnTo>
                  <a:close/>
                  <a:moveTo>
                    <a:pt x="6461356" y="957324"/>
                  </a:moveTo>
                  <a:lnTo>
                    <a:pt x="6471266" y="957324"/>
                  </a:lnTo>
                  <a:lnTo>
                    <a:pt x="6475285" y="961363"/>
                  </a:lnTo>
                  <a:lnTo>
                    <a:pt x="6475285" y="971232"/>
                  </a:lnTo>
                  <a:lnTo>
                    <a:pt x="6471266" y="975271"/>
                  </a:lnTo>
                  <a:lnTo>
                    <a:pt x="6461356" y="975271"/>
                  </a:lnTo>
                  <a:lnTo>
                    <a:pt x="6457337" y="971232"/>
                  </a:lnTo>
                  <a:lnTo>
                    <a:pt x="6457337" y="961363"/>
                  </a:lnTo>
                  <a:close/>
                  <a:moveTo>
                    <a:pt x="6222042" y="957324"/>
                  </a:moveTo>
                  <a:lnTo>
                    <a:pt x="6231952" y="957324"/>
                  </a:lnTo>
                  <a:lnTo>
                    <a:pt x="6235971" y="961363"/>
                  </a:lnTo>
                  <a:lnTo>
                    <a:pt x="6235971" y="971232"/>
                  </a:lnTo>
                  <a:lnTo>
                    <a:pt x="6231952" y="975271"/>
                  </a:lnTo>
                  <a:lnTo>
                    <a:pt x="6222042" y="975271"/>
                  </a:lnTo>
                  <a:lnTo>
                    <a:pt x="6218023" y="971232"/>
                  </a:lnTo>
                  <a:lnTo>
                    <a:pt x="6218023" y="961363"/>
                  </a:lnTo>
                  <a:close/>
                  <a:moveTo>
                    <a:pt x="5982729" y="957324"/>
                  </a:moveTo>
                  <a:lnTo>
                    <a:pt x="5992639" y="957324"/>
                  </a:lnTo>
                  <a:lnTo>
                    <a:pt x="5996658" y="961363"/>
                  </a:lnTo>
                  <a:lnTo>
                    <a:pt x="5996658" y="971232"/>
                  </a:lnTo>
                  <a:lnTo>
                    <a:pt x="5992639" y="975271"/>
                  </a:lnTo>
                  <a:lnTo>
                    <a:pt x="5982729" y="975271"/>
                  </a:lnTo>
                  <a:lnTo>
                    <a:pt x="5978710" y="971232"/>
                  </a:lnTo>
                  <a:lnTo>
                    <a:pt x="5978710" y="961363"/>
                  </a:lnTo>
                  <a:close/>
                  <a:moveTo>
                    <a:pt x="8136553" y="957313"/>
                  </a:moveTo>
                  <a:lnTo>
                    <a:pt x="8146464" y="957313"/>
                  </a:lnTo>
                  <a:lnTo>
                    <a:pt x="8150483" y="961351"/>
                  </a:lnTo>
                  <a:lnTo>
                    <a:pt x="8150483" y="971222"/>
                  </a:lnTo>
                  <a:lnTo>
                    <a:pt x="8146464" y="975260"/>
                  </a:lnTo>
                  <a:lnTo>
                    <a:pt x="8136553" y="975260"/>
                  </a:lnTo>
                  <a:lnTo>
                    <a:pt x="8132534" y="971222"/>
                  </a:lnTo>
                  <a:lnTo>
                    <a:pt x="8132534" y="961351"/>
                  </a:lnTo>
                  <a:close/>
                  <a:moveTo>
                    <a:pt x="7897241" y="957313"/>
                  </a:moveTo>
                  <a:lnTo>
                    <a:pt x="7907151" y="957313"/>
                  </a:lnTo>
                  <a:lnTo>
                    <a:pt x="7911170" y="961351"/>
                  </a:lnTo>
                  <a:lnTo>
                    <a:pt x="7911170" y="971222"/>
                  </a:lnTo>
                  <a:lnTo>
                    <a:pt x="7907151" y="975260"/>
                  </a:lnTo>
                  <a:lnTo>
                    <a:pt x="7897241" y="975260"/>
                  </a:lnTo>
                  <a:lnTo>
                    <a:pt x="7893222" y="971222"/>
                  </a:lnTo>
                  <a:lnTo>
                    <a:pt x="7893222" y="961351"/>
                  </a:lnTo>
                  <a:close/>
                  <a:moveTo>
                    <a:pt x="7657926" y="957313"/>
                  </a:moveTo>
                  <a:lnTo>
                    <a:pt x="7667836" y="957313"/>
                  </a:lnTo>
                  <a:lnTo>
                    <a:pt x="7671855" y="961351"/>
                  </a:lnTo>
                  <a:lnTo>
                    <a:pt x="7671855" y="971222"/>
                  </a:lnTo>
                  <a:lnTo>
                    <a:pt x="7667836" y="975260"/>
                  </a:lnTo>
                  <a:lnTo>
                    <a:pt x="7657926" y="975260"/>
                  </a:lnTo>
                  <a:lnTo>
                    <a:pt x="7653906" y="971222"/>
                  </a:lnTo>
                  <a:lnTo>
                    <a:pt x="7653906" y="961351"/>
                  </a:lnTo>
                  <a:close/>
                  <a:moveTo>
                    <a:pt x="7418611" y="957313"/>
                  </a:moveTo>
                  <a:lnTo>
                    <a:pt x="7428521" y="957313"/>
                  </a:lnTo>
                  <a:lnTo>
                    <a:pt x="7432540" y="961351"/>
                  </a:lnTo>
                  <a:lnTo>
                    <a:pt x="7432540" y="971222"/>
                  </a:lnTo>
                  <a:lnTo>
                    <a:pt x="7428521" y="975260"/>
                  </a:lnTo>
                  <a:lnTo>
                    <a:pt x="7418611" y="975260"/>
                  </a:lnTo>
                  <a:lnTo>
                    <a:pt x="7414592" y="971222"/>
                  </a:lnTo>
                  <a:lnTo>
                    <a:pt x="7414592" y="961351"/>
                  </a:lnTo>
                  <a:close/>
                  <a:moveTo>
                    <a:pt x="7179298" y="957313"/>
                  </a:moveTo>
                  <a:lnTo>
                    <a:pt x="7189209" y="957313"/>
                  </a:lnTo>
                  <a:lnTo>
                    <a:pt x="7193228" y="961351"/>
                  </a:lnTo>
                  <a:lnTo>
                    <a:pt x="7193228" y="971222"/>
                  </a:lnTo>
                  <a:lnTo>
                    <a:pt x="7189209" y="975260"/>
                  </a:lnTo>
                  <a:lnTo>
                    <a:pt x="7179298" y="975260"/>
                  </a:lnTo>
                  <a:lnTo>
                    <a:pt x="7175279" y="971222"/>
                  </a:lnTo>
                  <a:lnTo>
                    <a:pt x="7175279" y="961351"/>
                  </a:lnTo>
                  <a:close/>
                  <a:moveTo>
                    <a:pt x="1679217" y="957309"/>
                  </a:moveTo>
                  <a:lnTo>
                    <a:pt x="1689128" y="957309"/>
                  </a:lnTo>
                  <a:lnTo>
                    <a:pt x="1693147" y="961347"/>
                  </a:lnTo>
                  <a:lnTo>
                    <a:pt x="1693147" y="971217"/>
                  </a:lnTo>
                  <a:lnTo>
                    <a:pt x="1689128" y="975256"/>
                  </a:lnTo>
                  <a:lnTo>
                    <a:pt x="1679217" y="975256"/>
                  </a:lnTo>
                  <a:lnTo>
                    <a:pt x="1675199" y="971217"/>
                  </a:lnTo>
                  <a:lnTo>
                    <a:pt x="1675199" y="961347"/>
                  </a:lnTo>
                  <a:close/>
                  <a:moveTo>
                    <a:pt x="1439901" y="957309"/>
                  </a:moveTo>
                  <a:lnTo>
                    <a:pt x="1449811" y="957309"/>
                  </a:lnTo>
                  <a:lnTo>
                    <a:pt x="1453829" y="961347"/>
                  </a:lnTo>
                  <a:lnTo>
                    <a:pt x="1453829" y="971217"/>
                  </a:lnTo>
                  <a:lnTo>
                    <a:pt x="1449811" y="975256"/>
                  </a:lnTo>
                  <a:lnTo>
                    <a:pt x="1439901" y="975256"/>
                  </a:lnTo>
                  <a:lnTo>
                    <a:pt x="1435881" y="971217"/>
                  </a:lnTo>
                  <a:lnTo>
                    <a:pt x="1435881" y="961347"/>
                  </a:lnTo>
                  <a:close/>
                  <a:moveTo>
                    <a:pt x="1200584" y="957309"/>
                  </a:moveTo>
                  <a:lnTo>
                    <a:pt x="1210495" y="957309"/>
                  </a:lnTo>
                  <a:lnTo>
                    <a:pt x="1214513" y="961347"/>
                  </a:lnTo>
                  <a:lnTo>
                    <a:pt x="1214513" y="971217"/>
                  </a:lnTo>
                  <a:lnTo>
                    <a:pt x="1210495" y="975256"/>
                  </a:lnTo>
                  <a:lnTo>
                    <a:pt x="1200584" y="975256"/>
                  </a:lnTo>
                  <a:lnTo>
                    <a:pt x="1196566" y="971217"/>
                  </a:lnTo>
                  <a:lnTo>
                    <a:pt x="1196566" y="961347"/>
                  </a:lnTo>
                  <a:close/>
                  <a:moveTo>
                    <a:pt x="961271" y="957309"/>
                  </a:moveTo>
                  <a:lnTo>
                    <a:pt x="971182" y="957309"/>
                  </a:lnTo>
                  <a:lnTo>
                    <a:pt x="975201" y="961347"/>
                  </a:lnTo>
                  <a:lnTo>
                    <a:pt x="975201" y="971218"/>
                  </a:lnTo>
                  <a:lnTo>
                    <a:pt x="971182" y="975256"/>
                  </a:lnTo>
                  <a:lnTo>
                    <a:pt x="961271" y="975256"/>
                  </a:lnTo>
                  <a:lnTo>
                    <a:pt x="957253" y="971218"/>
                  </a:lnTo>
                  <a:lnTo>
                    <a:pt x="957253" y="961347"/>
                  </a:lnTo>
                  <a:close/>
                  <a:moveTo>
                    <a:pt x="9333125" y="957302"/>
                  </a:moveTo>
                  <a:lnTo>
                    <a:pt x="9343036" y="957302"/>
                  </a:lnTo>
                  <a:lnTo>
                    <a:pt x="9347055" y="961340"/>
                  </a:lnTo>
                  <a:lnTo>
                    <a:pt x="9347055" y="971210"/>
                  </a:lnTo>
                  <a:lnTo>
                    <a:pt x="9343036" y="975249"/>
                  </a:lnTo>
                  <a:lnTo>
                    <a:pt x="9333125" y="975249"/>
                  </a:lnTo>
                  <a:lnTo>
                    <a:pt x="9329106" y="971210"/>
                  </a:lnTo>
                  <a:lnTo>
                    <a:pt x="9329106" y="961340"/>
                  </a:lnTo>
                  <a:close/>
                  <a:moveTo>
                    <a:pt x="9093811" y="957302"/>
                  </a:moveTo>
                  <a:lnTo>
                    <a:pt x="9103722" y="957302"/>
                  </a:lnTo>
                  <a:lnTo>
                    <a:pt x="9107741" y="961340"/>
                  </a:lnTo>
                  <a:lnTo>
                    <a:pt x="9107741" y="971210"/>
                  </a:lnTo>
                  <a:lnTo>
                    <a:pt x="9103722" y="975249"/>
                  </a:lnTo>
                  <a:lnTo>
                    <a:pt x="9093811" y="975249"/>
                  </a:lnTo>
                  <a:lnTo>
                    <a:pt x="9089792" y="971210"/>
                  </a:lnTo>
                  <a:lnTo>
                    <a:pt x="9089792" y="961340"/>
                  </a:lnTo>
                  <a:close/>
                  <a:moveTo>
                    <a:pt x="8854496" y="957302"/>
                  </a:moveTo>
                  <a:lnTo>
                    <a:pt x="8864407" y="957302"/>
                  </a:lnTo>
                  <a:lnTo>
                    <a:pt x="8868426" y="961340"/>
                  </a:lnTo>
                  <a:lnTo>
                    <a:pt x="8868426" y="971210"/>
                  </a:lnTo>
                  <a:lnTo>
                    <a:pt x="8864407" y="975249"/>
                  </a:lnTo>
                  <a:lnTo>
                    <a:pt x="8854496" y="975249"/>
                  </a:lnTo>
                  <a:lnTo>
                    <a:pt x="8850477" y="971210"/>
                  </a:lnTo>
                  <a:lnTo>
                    <a:pt x="8850477" y="961340"/>
                  </a:lnTo>
                  <a:close/>
                  <a:moveTo>
                    <a:pt x="8615184" y="957302"/>
                  </a:moveTo>
                  <a:lnTo>
                    <a:pt x="8625095" y="957302"/>
                  </a:lnTo>
                  <a:lnTo>
                    <a:pt x="8629114" y="961340"/>
                  </a:lnTo>
                  <a:lnTo>
                    <a:pt x="8629114" y="971210"/>
                  </a:lnTo>
                  <a:lnTo>
                    <a:pt x="8625095" y="975249"/>
                  </a:lnTo>
                  <a:lnTo>
                    <a:pt x="8615184" y="975249"/>
                  </a:lnTo>
                  <a:lnTo>
                    <a:pt x="8611165" y="971210"/>
                  </a:lnTo>
                  <a:lnTo>
                    <a:pt x="8611165" y="961340"/>
                  </a:lnTo>
                  <a:close/>
                  <a:moveTo>
                    <a:pt x="8375869" y="957302"/>
                  </a:moveTo>
                  <a:lnTo>
                    <a:pt x="8385779" y="957302"/>
                  </a:lnTo>
                  <a:lnTo>
                    <a:pt x="8389799" y="961340"/>
                  </a:lnTo>
                  <a:lnTo>
                    <a:pt x="8389799" y="971210"/>
                  </a:lnTo>
                  <a:lnTo>
                    <a:pt x="8385779" y="975249"/>
                  </a:lnTo>
                  <a:lnTo>
                    <a:pt x="8375869" y="975249"/>
                  </a:lnTo>
                  <a:lnTo>
                    <a:pt x="8371850" y="971210"/>
                  </a:lnTo>
                  <a:lnTo>
                    <a:pt x="8371850" y="961340"/>
                  </a:lnTo>
                  <a:close/>
                  <a:moveTo>
                    <a:pt x="1918514" y="957301"/>
                  </a:moveTo>
                  <a:lnTo>
                    <a:pt x="1928424" y="957301"/>
                  </a:lnTo>
                  <a:lnTo>
                    <a:pt x="1932444" y="961339"/>
                  </a:lnTo>
                  <a:lnTo>
                    <a:pt x="1932444" y="971210"/>
                  </a:lnTo>
                  <a:lnTo>
                    <a:pt x="1928424" y="975249"/>
                  </a:lnTo>
                  <a:lnTo>
                    <a:pt x="1918514" y="975249"/>
                  </a:lnTo>
                  <a:lnTo>
                    <a:pt x="1914495" y="971210"/>
                  </a:lnTo>
                  <a:lnTo>
                    <a:pt x="1914495" y="961339"/>
                  </a:lnTo>
                  <a:close/>
                  <a:moveTo>
                    <a:pt x="2157823" y="957299"/>
                  </a:moveTo>
                  <a:lnTo>
                    <a:pt x="2167733" y="957299"/>
                  </a:lnTo>
                  <a:lnTo>
                    <a:pt x="2171751" y="961337"/>
                  </a:lnTo>
                  <a:lnTo>
                    <a:pt x="2171751" y="971207"/>
                  </a:lnTo>
                  <a:lnTo>
                    <a:pt x="2167733" y="975246"/>
                  </a:lnTo>
                  <a:lnTo>
                    <a:pt x="2157823" y="975246"/>
                  </a:lnTo>
                  <a:lnTo>
                    <a:pt x="2153804" y="971207"/>
                  </a:lnTo>
                  <a:lnTo>
                    <a:pt x="2153804" y="961337"/>
                  </a:lnTo>
                  <a:close/>
                  <a:moveTo>
                    <a:pt x="9572438" y="957291"/>
                  </a:moveTo>
                  <a:lnTo>
                    <a:pt x="9582349" y="957291"/>
                  </a:lnTo>
                  <a:lnTo>
                    <a:pt x="9586368" y="961329"/>
                  </a:lnTo>
                  <a:lnTo>
                    <a:pt x="9586368" y="971199"/>
                  </a:lnTo>
                  <a:lnTo>
                    <a:pt x="9582349" y="975238"/>
                  </a:lnTo>
                  <a:lnTo>
                    <a:pt x="9572438" y="975238"/>
                  </a:lnTo>
                  <a:lnTo>
                    <a:pt x="9568419" y="971199"/>
                  </a:lnTo>
                  <a:lnTo>
                    <a:pt x="9568419" y="961329"/>
                  </a:lnTo>
                  <a:close/>
                  <a:moveTo>
                    <a:pt x="721974" y="957266"/>
                  </a:moveTo>
                  <a:lnTo>
                    <a:pt x="731884" y="957266"/>
                  </a:lnTo>
                  <a:lnTo>
                    <a:pt x="735903" y="961305"/>
                  </a:lnTo>
                  <a:lnTo>
                    <a:pt x="735903" y="971175"/>
                  </a:lnTo>
                  <a:lnTo>
                    <a:pt x="731884" y="975214"/>
                  </a:lnTo>
                  <a:lnTo>
                    <a:pt x="721974" y="975214"/>
                  </a:lnTo>
                  <a:lnTo>
                    <a:pt x="717956" y="971175"/>
                  </a:lnTo>
                  <a:lnTo>
                    <a:pt x="717956" y="961305"/>
                  </a:lnTo>
                  <a:close/>
                  <a:moveTo>
                    <a:pt x="482662" y="957266"/>
                  </a:moveTo>
                  <a:lnTo>
                    <a:pt x="492572" y="957266"/>
                  </a:lnTo>
                  <a:lnTo>
                    <a:pt x="496591" y="961305"/>
                  </a:lnTo>
                  <a:lnTo>
                    <a:pt x="496591" y="971175"/>
                  </a:lnTo>
                  <a:lnTo>
                    <a:pt x="492572" y="975214"/>
                  </a:lnTo>
                  <a:lnTo>
                    <a:pt x="482662" y="975214"/>
                  </a:lnTo>
                  <a:lnTo>
                    <a:pt x="478643" y="971175"/>
                  </a:lnTo>
                  <a:lnTo>
                    <a:pt x="478643" y="961305"/>
                  </a:lnTo>
                  <a:close/>
                  <a:moveTo>
                    <a:pt x="243349" y="957266"/>
                  </a:moveTo>
                  <a:lnTo>
                    <a:pt x="253259" y="957266"/>
                  </a:lnTo>
                  <a:lnTo>
                    <a:pt x="257278" y="961305"/>
                  </a:lnTo>
                  <a:lnTo>
                    <a:pt x="257278" y="971175"/>
                  </a:lnTo>
                  <a:lnTo>
                    <a:pt x="253259" y="975214"/>
                  </a:lnTo>
                  <a:lnTo>
                    <a:pt x="243349" y="975214"/>
                  </a:lnTo>
                  <a:lnTo>
                    <a:pt x="239330" y="971175"/>
                  </a:lnTo>
                  <a:lnTo>
                    <a:pt x="239330" y="961305"/>
                  </a:lnTo>
                  <a:close/>
                  <a:moveTo>
                    <a:pt x="4036" y="957266"/>
                  </a:moveTo>
                  <a:lnTo>
                    <a:pt x="13946" y="957266"/>
                  </a:lnTo>
                  <a:lnTo>
                    <a:pt x="17965" y="961305"/>
                  </a:lnTo>
                  <a:lnTo>
                    <a:pt x="17965" y="971176"/>
                  </a:lnTo>
                  <a:lnTo>
                    <a:pt x="13946" y="975214"/>
                  </a:lnTo>
                  <a:lnTo>
                    <a:pt x="4036" y="975214"/>
                  </a:lnTo>
                  <a:lnTo>
                    <a:pt x="16" y="971176"/>
                  </a:lnTo>
                  <a:lnTo>
                    <a:pt x="16" y="961305"/>
                  </a:lnTo>
                  <a:close/>
                  <a:moveTo>
                    <a:pt x="3350359" y="718040"/>
                  </a:moveTo>
                  <a:lnTo>
                    <a:pt x="3360268" y="718040"/>
                  </a:lnTo>
                  <a:lnTo>
                    <a:pt x="3364287" y="722078"/>
                  </a:lnTo>
                  <a:lnTo>
                    <a:pt x="3364287" y="731948"/>
                  </a:lnTo>
                  <a:lnTo>
                    <a:pt x="3360268" y="735987"/>
                  </a:lnTo>
                  <a:lnTo>
                    <a:pt x="3350359" y="735987"/>
                  </a:lnTo>
                  <a:lnTo>
                    <a:pt x="3346340" y="731948"/>
                  </a:lnTo>
                  <a:lnTo>
                    <a:pt x="3346340" y="722078"/>
                  </a:lnTo>
                  <a:close/>
                  <a:moveTo>
                    <a:pt x="3111048" y="718040"/>
                  </a:moveTo>
                  <a:lnTo>
                    <a:pt x="3120959" y="718040"/>
                  </a:lnTo>
                  <a:lnTo>
                    <a:pt x="3124977" y="722078"/>
                  </a:lnTo>
                  <a:lnTo>
                    <a:pt x="3124977" y="731949"/>
                  </a:lnTo>
                  <a:lnTo>
                    <a:pt x="3120959" y="735987"/>
                  </a:lnTo>
                  <a:lnTo>
                    <a:pt x="3111048" y="735987"/>
                  </a:lnTo>
                  <a:lnTo>
                    <a:pt x="3107029" y="731949"/>
                  </a:lnTo>
                  <a:lnTo>
                    <a:pt x="3107029" y="722078"/>
                  </a:lnTo>
                  <a:close/>
                  <a:moveTo>
                    <a:pt x="2871737" y="718040"/>
                  </a:moveTo>
                  <a:lnTo>
                    <a:pt x="2881646" y="718040"/>
                  </a:lnTo>
                  <a:lnTo>
                    <a:pt x="2885666" y="722078"/>
                  </a:lnTo>
                  <a:lnTo>
                    <a:pt x="2885666" y="731949"/>
                  </a:lnTo>
                  <a:lnTo>
                    <a:pt x="2881646" y="735987"/>
                  </a:lnTo>
                  <a:lnTo>
                    <a:pt x="2871737" y="735987"/>
                  </a:lnTo>
                  <a:lnTo>
                    <a:pt x="2867717" y="731949"/>
                  </a:lnTo>
                  <a:lnTo>
                    <a:pt x="2867717" y="722078"/>
                  </a:lnTo>
                  <a:close/>
                  <a:moveTo>
                    <a:pt x="2632423" y="718040"/>
                  </a:moveTo>
                  <a:lnTo>
                    <a:pt x="2642334" y="718040"/>
                  </a:lnTo>
                  <a:lnTo>
                    <a:pt x="2646352" y="722078"/>
                  </a:lnTo>
                  <a:lnTo>
                    <a:pt x="2646352" y="731949"/>
                  </a:lnTo>
                  <a:lnTo>
                    <a:pt x="2642334" y="735988"/>
                  </a:lnTo>
                  <a:lnTo>
                    <a:pt x="2632423" y="735988"/>
                  </a:lnTo>
                  <a:lnTo>
                    <a:pt x="2628404" y="731949"/>
                  </a:lnTo>
                  <a:lnTo>
                    <a:pt x="2628404" y="722078"/>
                  </a:lnTo>
                  <a:close/>
                  <a:moveTo>
                    <a:pt x="2393104" y="718040"/>
                  </a:moveTo>
                  <a:lnTo>
                    <a:pt x="2403015" y="718040"/>
                  </a:lnTo>
                  <a:lnTo>
                    <a:pt x="2407034" y="722078"/>
                  </a:lnTo>
                  <a:lnTo>
                    <a:pt x="2407034" y="731949"/>
                  </a:lnTo>
                  <a:lnTo>
                    <a:pt x="2403015" y="735988"/>
                  </a:lnTo>
                  <a:lnTo>
                    <a:pt x="2393104" y="735988"/>
                  </a:lnTo>
                  <a:lnTo>
                    <a:pt x="2389087" y="731949"/>
                  </a:lnTo>
                  <a:lnTo>
                    <a:pt x="2389087" y="722078"/>
                  </a:lnTo>
                  <a:close/>
                  <a:moveTo>
                    <a:pt x="4546929" y="718028"/>
                  </a:moveTo>
                  <a:lnTo>
                    <a:pt x="4556840" y="718028"/>
                  </a:lnTo>
                  <a:lnTo>
                    <a:pt x="4560859" y="722066"/>
                  </a:lnTo>
                  <a:lnTo>
                    <a:pt x="4560859" y="731935"/>
                  </a:lnTo>
                  <a:lnTo>
                    <a:pt x="4556840" y="735975"/>
                  </a:lnTo>
                  <a:lnTo>
                    <a:pt x="4546929" y="735975"/>
                  </a:lnTo>
                  <a:lnTo>
                    <a:pt x="4542910" y="731935"/>
                  </a:lnTo>
                  <a:lnTo>
                    <a:pt x="4542910" y="722066"/>
                  </a:lnTo>
                  <a:close/>
                  <a:moveTo>
                    <a:pt x="4307612" y="718028"/>
                  </a:moveTo>
                  <a:lnTo>
                    <a:pt x="4317523" y="718028"/>
                  </a:lnTo>
                  <a:lnTo>
                    <a:pt x="4321543" y="722066"/>
                  </a:lnTo>
                  <a:lnTo>
                    <a:pt x="4321543" y="731936"/>
                  </a:lnTo>
                  <a:lnTo>
                    <a:pt x="4317523" y="735975"/>
                  </a:lnTo>
                  <a:lnTo>
                    <a:pt x="4307612" y="735975"/>
                  </a:lnTo>
                  <a:lnTo>
                    <a:pt x="4303595" y="731936"/>
                  </a:lnTo>
                  <a:lnTo>
                    <a:pt x="4303595" y="722066"/>
                  </a:lnTo>
                  <a:close/>
                  <a:moveTo>
                    <a:pt x="4068297" y="718028"/>
                  </a:moveTo>
                  <a:lnTo>
                    <a:pt x="4078210" y="718028"/>
                  </a:lnTo>
                  <a:lnTo>
                    <a:pt x="4082229" y="722066"/>
                  </a:lnTo>
                  <a:lnTo>
                    <a:pt x="4082229" y="731936"/>
                  </a:lnTo>
                  <a:lnTo>
                    <a:pt x="4078210" y="735975"/>
                  </a:lnTo>
                  <a:lnTo>
                    <a:pt x="4068297" y="735975"/>
                  </a:lnTo>
                  <a:lnTo>
                    <a:pt x="4064278" y="731936"/>
                  </a:lnTo>
                  <a:lnTo>
                    <a:pt x="4064278" y="722066"/>
                  </a:lnTo>
                  <a:close/>
                  <a:moveTo>
                    <a:pt x="3828990" y="718028"/>
                  </a:moveTo>
                  <a:lnTo>
                    <a:pt x="3838899" y="718028"/>
                  </a:lnTo>
                  <a:lnTo>
                    <a:pt x="3842917" y="722066"/>
                  </a:lnTo>
                  <a:lnTo>
                    <a:pt x="3842917" y="731936"/>
                  </a:lnTo>
                  <a:lnTo>
                    <a:pt x="3838899" y="735975"/>
                  </a:lnTo>
                  <a:lnTo>
                    <a:pt x="3828990" y="735975"/>
                  </a:lnTo>
                  <a:lnTo>
                    <a:pt x="3824971" y="731936"/>
                  </a:lnTo>
                  <a:lnTo>
                    <a:pt x="3824971" y="722066"/>
                  </a:lnTo>
                  <a:close/>
                  <a:moveTo>
                    <a:pt x="3589676" y="718028"/>
                  </a:moveTo>
                  <a:lnTo>
                    <a:pt x="3599585" y="718028"/>
                  </a:lnTo>
                  <a:lnTo>
                    <a:pt x="3603604" y="722066"/>
                  </a:lnTo>
                  <a:lnTo>
                    <a:pt x="3603604" y="731936"/>
                  </a:lnTo>
                  <a:lnTo>
                    <a:pt x="3599585" y="735975"/>
                  </a:lnTo>
                  <a:lnTo>
                    <a:pt x="3589676" y="735975"/>
                  </a:lnTo>
                  <a:lnTo>
                    <a:pt x="3585657" y="731936"/>
                  </a:lnTo>
                  <a:lnTo>
                    <a:pt x="3585657" y="722066"/>
                  </a:lnTo>
                  <a:close/>
                  <a:moveTo>
                    <a:pt x="5743412" y="718015"/>
                  </a:moveTo>
                  <a:lnTo>
                    <a:pt x="5753323" y="718015"/>
                  </a:lnTo>
                  <a:lnTo>
                    <a:pt x="5757342" y="722053"/>
                  </a:lnTo>
                  <a:lnTo>
                    <a:pt x="5757342" y="731924"/>
                  </a:lnTo>
                  <a:lnTo>
                    <a:pt x="5753323" y="735963"/>
                  </a:lnTo>
                  <a:lnTo>
                    <a:pt x="5743412" y="735963"/>
                  </a:lnTo>
                  <a:lnTo>
                    <a:pt x="5739393" y="731924"/>
                  </a:lnTo>
                  <a:lnTo>
                    <a:pt x="5739393" y="722053"/>
                  </a:lnTo>
                  <a:close/>
                  <a:moveTo>
                    <a:pt x="5504099" y="718015"/>
                  </a:moveTo>
                  <a:lnTo>
                    <a:pt x="5514010" y="718015"/>
                  </a:lnTo>
                  <a:lnTo>
                    <a:pt x="5518029" y="722053"/>
                  </a:lnTo>
                  <a:lnTo>
                    <a:pt x="5518029" y="731924"/>
                  </a:lnTo>
                  <a:lnTo>
                    <a:pt x="5514010" y="735963"/>
                  </a:lnTo>
                  <a:lnTo>
                    <a:pt x="5504099" y="735963"/>
                  </a:lnTo>
                  <a:lnTo>
                    <a:pt x="5500080" y="731924"/>
                  </a:lnTo>
                  <a:lnTo>
                    <a:pt x="5500080" y="722053"/>
                  </a:lnTo>
                  <a:close/>
                  <a:moveTo>
                    <a:pt x="5264784" y="718015"/>
                  </a:moveTo>
                  <a:lnTo>
                    <a:pt x="5274694" y="718015"/>
                  </a:lnTo>
                  <a:lnTo>
                    <a:pt x="5278713" y="722053"/>
                  </a:lnTo>
                  <a:lnTo>
                    <a:pt x="5278713" y="731924"/>
                  </a:lnTo>
                  <a:lnTo>
                    <a:pt x="5274694" y="735963"/>
                  </a:lnTo>
                  <a:lnTo>
                    <a:pt x="5264784" y="735963"/>
                  </a:lnTo>
                  <a:lnTo>
                    <a:pt x="5260765" y="731924"/>
                  </a:lnTo>
                  <a:lnTo>
                    <a:pt x="5260765" y="722053"/>
                  </a:lnTo>
                  <a:close/>
                  <a:moveTo>
                    <a:pt x="5025470" y="718015"/>
                  </a:moveTo>
                  <a:lnTo>
                    <a:pt x="5035381" y="718015"/>
                  </a:lnTo>
                  <a:lnTo>
                    <a:pt x="5039400" y="722053"/>
                  </a:lnTo>
                  <a:lnTo>
                    <a:pt x="5039400" y="731924"/>
                  </a:lnTo>
                  <a:lnTo>
                    <a:pt x="5035381" y="735963"/>
                  </a:lnTo>
                  <a:lnTo>
                    <a:pt x="5025470" y="735963"/>
                  </a:lnTo>
                  <a:lnTo>
                    <a:pt x="5021451" y="731924"/>
                  </a:lnTo>
                  <a:lnTo>
                    <a:pt x="5021451" y="722053"/>
                  </a:lnTo>
                  <a:close/>
                  <a:moveTo>
                    <a:pt x="4786241" y="718015"/>
                  </a:moveTo>
                  <a:lnTo>
                    <a:pt x="4796152" y="718015"/>
                  </a:lnTo>
                  <a:lnTo>
                    <a:pt x="4800171" y="722053"/>
                  </a:lnTo>
                  <a:lnTo>
                    <a:pt x="4800171" y="731924"/>
                  </a:lnTo>
                  <a:lnTo>
                    <a:pt x="4796152" y="735963"/>
                  </a:lnTo>
                  <a:lnTo>
                    <a:pt x="4786241" y="735963"/>
                  </a:lnTo>
                  <a:lnTo>
                    <a:pt x="4782224" y="731924"/>
                  </a:lnTo>
                  <a:lnTo>
                    <a:pt x="4782224" y="722053"/>
                  </a:lnTo>
                  <a:close/>
                  <a:moveTo>
                    <a:pt x="6939983" y="718003"/>
                  </a:moveTo>
                  <a:lnTo>
                    <a:pt x="6949894" y="718003"/>
                  </a:lnTo>
                  <a:lnTo>
                    <a:pt x="6953913" y="722041"/>
                  </a:lnTo>
                  <a:lnTo>
                    <a:pt x="6953913" y="731911"/>
                  </a:lnTo>
                  <a:lnTo>
                    <a:pt x="6949894" y="735950"/>
                  </a:lnTo>
                  <a:lnTo>
                    <a:pt x="6939983" y="735950"/>
                  </a:lnTo>
                  <a:lnTo>
                    <a:pt x="6935964" y="731911"/>
                  </a:lnTo>
                  <a:lnTo>
                    <a:pt x="6935964" y="722041"/>
                  </a:lnTo>
                  <a:close/>
                  <a:moveTo>
                    <a:pt x="6700670" y="718003"/>
                  </a:moveTo>
                  <a:lnTo>
                    <a:pt x="6710581" y="718003"/>
                  </a:lnTo>
                  <a:lnTo>
                    <a:pt x="6714600" y="722041"/>
                  </a:lnTo>
                  <a:lnTo>
                    <a:pt x="6714600" y="731912"/>
                  </a:lnTo>
                  <a:lnTo>
                    <a:pt x="6710581" y="735950"/>
                  </a:lnTo>
                  <a:lnTo>
                    <a:pt x="6700670" y="735950"/>
                  </a:lnTo>
                  <a:lnTo>
                    <a:pt x="6696651" y="731912"/>
                  </a:lnTo>
                  <a:lnTo>
                    <a:pt x="6696651" y="722041"/>
                  </a:lnTo>
                  <a:close/>
                  <a:moveTo>
                    <a:pt x="6461356" y="718003"/>
                  </a:moveTo>
                  <a:lnTo>
                    <a:pt x="6471266" y="718003"/>
                  </a:lnTo>
                  <a:lnTo>
                    <a:pt x="6475285" y="722041"/>
                  </a:lnTo>
                  <a:lnTo>
                    <a:pt x="6475285" y="731912"/>
                  </a:lnTo>
                  <a:lnTo>
                    <a:pt x="6471266" y="735950"/>
                  </a:lnTo>
                  <a:lnTo>
                    <a:pt x="6461356" y="735950"/>
                  </a:lnTo>
                  <a:lnTo>
                    <a:pt x="6457337" y="731912"/>
                  </a:lnTo>
                  <a:lnTo>
                    <a:pt x="6457337" y="722041"/>
                  </a:lnTo>
                  <a:close/>
                  <a:moveTo>
                    <a:pt x="6222042" y="718003"/>
                  </a:moveTo>
                  <a:lnTo>
                    <a:pt x="6231952" y="718003"/>
                  </a:lnTo>
                  <a:lnTo>
                    <a:pt x="6235971" y="722041"/>
                  </a:lnTo>
                  <a:lnTo>
                    <a:pt x="6235971" y="731912"/>
                  </a:lnTo>
                  <a:lnTo>
                    <a:pt x="6231952" y="735951"/>
                  </a:lnTo>
                  <a:lnTo>
                    <a:pt x="6222042" y="735951"/>
                  </a:lnTo>
                  <a:lnTo>
                    <a:pt x="6218023" y="731912"/>
                  </a:lnTo>
                  <a:lnTo>
                    <a:pt x="6218023" y="722041"/>
                  </a:lnTo>
                  <a:close/>
                  <a:moveTo>
                    <a:pt x="5982729" y="718003"/>
                  </a:moveTo>
                  <a:lnTo>
                    <a:pt x="5992639" y="718003"/>
                  </a:lnTo>
                  <a:lnTo>
                    <a:pt x="5996658" y="722041"/>
                  </a:lnTo>
                  <a:lnTo>
                    <a:pt x="5996658" y="731912"/>
                  </a:lnTo>
                  <a:lnTo>
                    <a:pt x="5992639" y="735951"/>
                  </a:lnTo>
                  <a:lnTo>
                    <a:pt x="5982729" y="735951"/>
                  </a:lnTo>
                  <a:lnTo>
                    <a:pt x="5978710" y="731912"/>
                  </a:lnTo>
                  <a:lnTo>
                    <a:pt x="5978710" y="722041"/>
                  </a:lnTo>
                  <a:close/>
                  <a:moveTo>
                    <a:pt x="8136553" y="717990"/>
                  </a:moveTo>
                  <a:lnTo>
                    <a:pt x="8146464" y="717990"/>
                  </a:lnTo>
                  <a:lnTo>
                    <a:pt x="8150483" y="722028"/>
                  </a:lnTo>
                  <a:lnTo>
                    <a:pt x="8150483" y="731899"/>
                  </a:lnTo>
                  <a:lnTo>
                    <a:pt x="8146464" y="735938"/>
                  </a:lnTo>
                  <a:lnTo>
                    <a:pt x="8136553" y="735938"/>
                  </a:lnTo>
                  <a:lnTo>
                    <a:pt x="8132534" y="731899"/>
                  </a:lnTo>
                  <a:lnTo>
                    <a:pt x="8132534" y="722028"/>
                  </a:lnTo>
                  <a:close/>
                  <a:moveTo>
                    <a:pt x="7897241" y="717990"/>
                  </a:moveTo>
                  <a:lnTo>
                    <a:pt x="7907151" y="717990"/>
                  </a:lnTo>
                  <a:lnTo>
                    <a:pt x="7911170" y="722029"/>
                  </a:lnTo>
                  <a:lnTo>
                    <a:pt x="7911170" y="731899"/>
                  </a:lnTo>
                  <a:lnTo>
                    <a:pt x="7907151" y="735938"/>
                  </a:lnTo>
                  <a:lnTo>
                    <a:pt x="7897241" y="735938"/>
                  </a:lnTo>
                  <a:lnTo>
                    <a:pt x="7893222" y="731899"/>
                  </a:lnTo>
                  <a:lnTo>
                    <a:pt x="7893222" y="722029"/>
                  </a:lnTo>
                  <a:close/>
                  <a:moveTo>
                    <a:pt x="7657926" y="717990"/>
                  </a:moveTo>
                  <a:lnTo>
                    <a:pt x="7667836" y="717990"/>
                  </a:lnTo>
                  <a:lnTo>
                    <a:pt x="7671855" y="722029"/>
                  </a:lnTo>
                  <a:lnTo>
                    <a:pt x="7671855" y="731899"/>
                  </a:lnTo>
                  <a:lnTo>
                    <a:pt x="7667836" y="735938"/>
                  </a:lnTo>
                  <a:lnTo>
                    <a:pt x="7657926" y="735938"/>
                  </a:lnTo>
                  <a:lnTo>
                    <a:pt x="7653906" y="731899"/>
                  </a:lnTo>
                  <a:lnTo>
                    <a:pt x="7653906" y="722029"/>
                  </a:lnTo>
                  <a:close/>
                  <a:moveTo>
                    <a:pt x="7418611" y="717990"/>
                  </a:moveTo>
                  <a:lnTo>
                    <a:pt x="7428521" y="717990"/>
                  </a:lnTo>
                  <a:lnTo>
                    <a:pt x="7432540" y="722029"/>
                  </a:lnTo>
                  <a:lnTo>
                    <a:pt x="7432540" y="731899"/>
                  </a:lnTo>
                  <a:lnTo>
                    <a:pt x="7428521" y="735938"/>
                  </a:lnTo>
                  <a:lnTo>
                    <a:pt x="7418611" y="735938"/>
                  </a:lnTo>
                  <a:lnTo>
                    <a:pt x="7414592" y="731899"/>
                  </a:lnTo>
                  <a:lnTo>
                    <a:pt x="7414592" y="722029"/>
                  </a:lnTo>
                  <a:close/>
                  <a:moveTo>
                    <a:pt x="7179298" y="717990"/>
                  </a:moveTo>
                  <a:lnTo>
                    <a:pt x="7189209" y="717990"/>
                  </a:lnTo>
                  <a:lnTo>
                    <a:pt x="7193228" y="722029"/>
                  </a:lnTo>
                  <a:lnTo>
                    <a:pt x="7193228" y="731899"/>
                  </a:lnTo>
                  <a:lnTo>
                    <a:pt x="7189209" y="735938"/>
                  </a:lnTo>
                  <a:lnTo>
                    <a:pt x="7179298" y="735938"/>
                  </a:lnTo>
                  <a:lnTo>
                    <a:pt x="7175279" y="731899"/>
                  </a:lnTo>
                  <a:lnTo>
                    <a:pt x="7175279" y="722029"/>
                  </a:lnTo>
                  <a:close/>
                  <a:moveTo>
                    <a:pt x="961272" y="717980"/>
                  </a:moveTo>
                  <a:lnTo>
                    <a:pt x="971182" y="717980"/>
                  </a:lnTo>
                  <a:lnTo>
                    <a:pt x="975202" y="722018"/>
                  </a:lnTo>
                  <a:lnTo>
                    <a:pt x="975202" y="731889"/>
                  </a:lnTo>
                  <a:lnTo>
                    <a:pt x="971182" y="735928"/>
                  </a:lnTo>
                  <a:lnTo>
                    <a:pt x="961272" y="735928"/>
                  </a:lnTo>
                  <a:lnTo>
                    <a:pt x="957254" y="731889"/>
                  </a:lnTo>
                  <a:lnTo>
                    <a:pt x="957254" y="722018"/>
                  </a:lnTo>
                  <a:close/>
                  <a:moveTo>
                    <a:pt x="1679219" y="717979"/>
                  </a:moveTo>
                  <a:lnTo>
                    <a:pt x="1689128" y="717979"/>
                  </a:lnTo>
                  <a:lnTo>
                    <a:pt x="1693149" y="722018"/>
                  </a:lnTo>
                  <a:lnTo>
                    <a:pt x="1693149" y="731889"/>
                  </a:lnTo>
                  <a:lnTo>
                    <a:pt x="1689128" y="735927"/>
                  </a:lnTo>
                  <a:lnTo>
                    <a:pt x="1679219" y="735927"/>
                  </a:lnTo>
                  <a:lnTo>
                    <a:pt x="1675200" y="731889"/>
                  </a:lnTo>
                  <a:lnTo>
                    <a:pt x="1675200" y="722018"/>
                  </a:lnTo>
                  <a:close/>
                  <a:moveTo>
                    <a:pt x="1439901" y="717979"/>
                  </a:moveTo>
                  <a:lnTo>
                    <a:pt x="1449811" y="717979"/>
                  </a:lnTo>
                  <a:lnTo>
                    <a:pt x="1453831" y="722018"/>
                  </a:lnTo>
                  <a:lnTo>
                    <a:pt x="1453831" y="731889"/>
                  </a:lnTo>
                  <a:lnTo>
                    <a:pt x="1449811" y="735927"/>
                  </a:lnTo>
                  <a:lnTo>
                    <a:pt x="1439901" y="735927"/>
                  </a:lnTo>
                  <a:lnTo>
                    <a:pt x="1435883" y="731889"/>
                  </a:lnTo>
                  <a:lnTo>
                    <a:pt x="1435883" y="722018"/>
                  </a:lnTo>
                  <a:close/>
                  <a:moveTo>
                    <a:pt x="1200585" y="717979"/>
                  </a:moveTo>
                  <a:lnTo>
                    <a:pt x="1210495" y="717979"/>
                  </a:lnTo>
                  <a:lnTo>
                    <a:pt x="1214513" y="722018"/>
                  </a:lnTo>
                  <a:lnTo>
                    <a:pt x="1214513" y="731889"/>
                  </a:lnTo>
                  <a:lnTo>
                    <a:pt x="1210495" y="735927"/>
                  </a:lnTo>
                  <a:lnTo>
                    <a:pt x="1200585" y="735927"/>
                  </a:lnTo>
                  <a:lnTo>
                    <a:pt x="1196566" y="731889"/>
                  </a:lnTo>
                  <a:lnTo>
                    <a:pt x="1196566" y="722018"/>
                  </a:lnTo>
                  <a:close/>
                  <a:moveTo>
                    <a:pt x="9333125" y="717978"/>
                  </a:moveTo>
                  <a:lnTo>
                    <a:pt x="9343036" y="717978"/>
                  </a:lnTo>
                  <a:lnTo>
                    <a:pt x="9347055" y="722016"/>
                  </a:lnTo>
                  <a:lnTo>
                    <a:pt x="9347055" y="731887"/>
                  </a:lnTo>
                  <a:lnTo>
                    <a:pt x="9343036" y="735926"/>
                  </a:lnTo>
                  <a:lnTo>
                    <a:pt x="9333125" y="735926"/>
                  </a:lnTo>
                  <a:lnTo>
                    <a:pt x="9329106" y="731887"/>
                  </a:lnTo>
                  <a:lnTo>
                    <a:pt x="9329106" y="722016"/>
                  </a:lnTo>
                  <a:close/>
                  <a:moveTo>
                    <a:pt x="9093811" y="717978"/>
                  </a:moveTo>
                  <a:lnTo>
                    <a:pt x="9103722" y="717978"/>
                  </a:lnTo>
                  <a:lnTo>
                    <a:pt x="9107741" y="722016"/>
                  </a:lnTo>
                  <a:lnTo>
                    <a:pt x="9107741" y="731887"/>
                  </a:lnTo>
                  <a:lnTo>
                    <a:pt x="9103722" y="735926"/>
                  </a:lnTo>
                  <a:lnTo>
                    <a:pt x="9093811" y="735926"/>
                  </a:lnTo>
                  <a:lnTo>
                    <a:pt x="9089792" y="731887"/>
                  </a:lnTo>
                  <a:lnTo>
                    <a:pt x="9089792" y="722016"/>
                  </a:lnTo>
                  <a:close/>
                  <a:moveTo>
                    <a:pt x="8854496" y="717978"/>
                  </a:moveTo>
                  <a:lnTo>
                    <a:pt x="8864407" y="717978"/>
                  </a:lnTo>
                  <a:lnTo>
                    <a:pt x="8868426" y="722016"/>
                  </a:lnTo>
                  <a:lnTo>
                    <a:pt x="8868426" y="731887"/>
                  </a:lnTo>
                  <a:lnTo>
                    <a:pt x="8864407" y="735926"/>
                  </a:lnTo>
                  <a:lnTo>
                    <a:pt x="8854496" y="735926"/>
                  </a:lnTo>
                  <a:lnTo>
                    <a:pt x="8850477" y="731887"/>
                  </a:lnTo>
                  <a:lnTo>
                    <a:pt x="8850477" y="722016"/>
                  </a:lnTo>
                  <a:close/>
                  <a:moveTo>
                    <a:pt x="8615184" y="717978"/>
                  </a:moveTo>
                  <a:lnTo>
                    <a:pt x="8625095" y="717978"/>
                  </a:lnTo>
                  <a:lnTo>
                    <a:pt x="8629114" y="722016"/>
                  </a:lnTo>
                  <a:lnTo>
                    <a:pt x="8629114" y="731887"/>
                  </a:lnTo>
                  <a:lnTo>
                    <a:pt x="8625095" y="735926"/>
                  </a:lnTo>
                  <a:lnTo>
                    <a:pt x="8615184" y="735926"/>
                  </a:lnTo>
                  <a:lnTo>
                    <a:pt x="8611165" y="731887"/>
                  </a:lnTo>
                  <a:lnTo>
                    <a:pt x="8611165" y="722016"/>
                  </a:lnTo>
                  <a:close/>
                  <a:moveTo>
                    <a:pt x="8375869" y="717978"/>
                  </a:moveTo>
                  <a:lnTo>
                    <a:pt x="8385779" y="717978"/>
                  </a:lnTo>
                  <a:lnTo>
                    <a:pt x="8389799" y="722016"/>
                  </a:lnTo>
                  <a:lnTo>
                    <a:pt x="8389799" y="731887"/>
                  </a:lnTo>
                  <a:lnTo>
                    <a:pt x="8385779" y="735926"/>
                  </a:lnTo>
                  <a:lnTo>
                    <a:pt x="8375869" y="735926"/>
                  </a:lnTo>
                  <a:lnTo>
                    <a:pt x="8371850" y="731887"/>
                  </a:lnTo>
                  <a:lnTo>
                    <a:pt x="8371850" y="722016"/>
                  </a:lnTo>
                  <a:close/>
                  <a:moveTo>
                    <a:pt x="1918514" y="717970"/>
                  </a:moveTo>
                  <a:lnTo>
                    <a:pt x="1928424" y="717970"/>
                  </a:lnTo>
                  <a:lnTo>
                    <a:pt x="1932444" y="722009"/>
                  </a:lnTo>
                  <a:lnTo>
                    <a:pt x="1932444" y="731879"/>
                  </a:lnTo>
                  <a:lnTo>
                    <a:pt x="1928424" y="735918"/>
                  </a:lnTo>
                  <a:lnTo>
                    <a:pt x="1918514" y="735918"/>
                  </a:lnTo>
                  <a:lnTo>
                    <a:pt x="1914495" y="731879"/>
                  </a:lnTo>
                  <a:lnTo>
                    <a:pt x="1914495" y="722009"/>
                  </a:lnTo>
                  <a:close/>
                  <a:moveTo>
                    <a:pt x="2157823" y="717968"/>
                  </a:moveTo>
                  <a:lnTo>
                    <a:pt x="2167733" y="717968"/>
                  </a:lnTo>
                  <a:lnTo>
                    <a:pt x="2171753" y="722006"/>
                  </a:lnTo>
                  <a:lnTo>
                    <a:pt x="2171753" y="731877"/>
                  </a:lnTo>
                  <a:lnTo>
                    <a:pt x="2167733" y="735916"/>
                  </a:lnTo>
                  <a:lnTo>
                    <a:pt x="2157823" y="735916"/>
                  </a:lnTo>
                  <a:lnTo>
                    <a:pt x="2153804" y="731877"/>
                  </a:lnTo>
                  <a:lnTo>
                    <a:pt x="2153804" y="722006"/>
                  </a:lnTo>
                  <a:close/>
                  <a:moveTo>
                    <a:pt x="9572438" y="717966"/>
                  </a:moveTo>
                  <a:lnTo>
                    <a:pt x="9582349" y="717966"/>
                  </a:lnTo>
                  <a:lnTo>
                    <a:pt x="9586368" y="722004"/>
                  </a:lnTo>
                  <a:lnTo>
                    <a:pt x="9586368" y="731875"/>
                  </a:lnTo>
                  <a:lnTo>
                    <a:pt x="9582349" y="735914"/>
                  </a:lnTo>
                  <a:lnTo>
                    <a:pt x="9572438" y="735914"/>
                  </a:lnTo>
                  <a:lnTo>
                    <a:pt x="9568419" y="731875"/>
                  </a:lnTo>
                  <a:lnTo>
                    <a:pt x="9568419" y="722004"/>
                  </a:lnTo>
                  <a:close/>
                  <a:moveTo>
                    <a:pt x="243349" y="717939"/>
                  </a:moveTo>
                  <a:lnTo>
                    <a:pt x="253260" y="717939"/>
                  </a:lnTo>
                  <a:lnTo>
                    <a:pt x="257279" y="721977"/>
                  </a:lnTo>
                  <a:lnTo>
                    <a:pt x="257279" y="731847"/>
                  </a:lnTo>
                  <a:lnTo>
                    <a:pt x="253260" y="735886"/>
                  </a:lnTo>
                  <a:lnTo>
                    <a:pt x="243349" y="735886"/>
                  </a:lnTo>
                  <a:lnTo>
                    <a:pt x="239330" y="731847"/>
                  </a:lnTo>
                  <a:lnTo>
                    <a:pt x="239330" y="721977"/>
                  </a:lnTo>
                  <a:close/>
                  <a:moveTo>
                    <a:pt x="4036" y="717939"/>
                  </a:moveTo>
                  <a:lnTo>
                    <a:pt x="13947" y="717939"/>
                  </a:lnTo>
                  <a:lnTo>
                    <a:pt x="17965" y="721978"/>
                  </a:lnTo>
                  <a:lnTo>
                    <a:pt x="17965" y="731848"/>
                  </a:lnTo>
                  <a:lnTo>
                    <a:pt x="13947" y="735886"/>
                  </a:lnTo>
                  <a:lnTo>
                    <a:pt x="4036" y="735886"/>
                  </a:lnTo>
                  <a:lnTo>
                    <a:pt x="17" y="731848"/>
                  </a:lnTo>
                  <a:lnTo>
                    <a:pt x="17" y="721978"/>
                  </a:lnTo>
                  <a:close/>
                  <a:moveTo>
                    <a:pt x="721975" y="717939"/>
                  </a:moveTo>
                  <a:lnTo>
                    <a:pt x="731885" y="717939"/>
                  </a:lnTo>
                  <a:lnTo>
                    <a:pt x="735904" y="721977"/>
                  </a:lnTo>
                  <a:lnTo>
                    <a:pt x="735904" y="731847"/>
                  </a:lnTo>
                  <a:lnTo>
                    <a:pt x="731885" y="735886"/>
                  </a:lnTo>
                  <a:lnTo>
                    <a:pt x="721975" y="735886"/>
                  </a:lnTo>
                  <a:lnTo>
                    <a:pt x="717956" y="731847"/>
                  </a:lnTo>
                  <a:lnTo>
                    <a:pt x="717956" y="721977"/>
                  </a:lnTo>
                  <a:close/>
                  <a:moveTo>
                    <a:pt x="482663" y="717939"/>
                  </a:moveTo>
                  <a:lnTo>
                    <a:pt x="492573" y="717939"/>
                  </a:lnTo>
                  <a:lnTo>
                    <a:pt x="496593" y="721977"/>
                  </a:lnTo>
                  <a:lnTo>
                    <a:pt x="496593" y="731847"/>
                  </a:lnTo>
                  <a:lnTo>
                    <a:pt x="492573" y="735886"/>
                  </a:lnTo>
                  <a:lnTo>
                    <a:pt x="482663" y="735886"/>
                  </a:lnTo>
                  <a:lnTo>
                    <a:pt x="478643" y="731847"/>
                  </a:lnTo>
                  <a:lnTo>
                    <a:pt x="478643" y="721977"/>
                  </a:lnTo>
                  <a:close/>
                  <a:moveTo>
                    <a:pt x="3350359" y="478760"/>
                  </a:moveTo>
                  <a:lnTo>
                    <a:pt x="3360268" y="478760"/>
                  </a:lnTo>
                  <a:lnTo>
                    <a:pt x="3364287" y="482801"/>
                  </a:lnTo>
                  <a:lnTo>
                    <a:pt x="3364287" y="492670"/>
                  </a:lnTo>
                  <a:lnTo>
                    <a:pt x="3360268" y="496707"/>
                  </a:lnTo>
                  <a:lnTo>
                    <a:pt x="3350359" y="496707"/>
                  </a:lnTo>
                  <a:lnTo>
                    <a:pt x="3346340" y="492670"/>
                  </a:lnTo>
                  <a:lnTo>
                    <a:pt x="3346340" y="482801"/>
                  </a:lnTo>
                  <a:close/>
                  <a:moveTo>
                    <a:pt x="3111048" y="478760"/>
                  </a:moveTo>
                  <a:lnTo>
                    <a:pt x="3120959" y="478760"/>
                  </a:lnTo>
                  <a:lnTo>
                    <a:pt x="3124977" y="482801"/>
                  </a:lnTo>
                  <a:lnTo>
                    <a:pt x="3124977" y="492670"/>
                  </a:lnTo>
                  <a:lnTo>
                    <a:pt x="3120959" y="496707"/>
                  </a:lnTo>
                  <a:lnTo>
                    <a:pt x="3111048" y="496707"/>
                  </a:lnTo>
                  <a:lnTo>
                    <a:pt x="3107029" y="492670"/>
                  </a:lnTo>
                  <a:lnTo>
                    <a:pt x="3107029" y="482801"/>
                  </a:lnTo>
                  <a:close/>
                  <a:moveTo>
                    <a:pt x="2871737" y="478760"/>
                  </a:moveTo>
                  <a:lnTo>
                    <a:pt x="2881646" y="478760"/>
                  </a:lnTo>
                  <a:lnTo>
                    <a:pt x="2885666" y="482801"/>
                  </a:lnTo>
                  <a:lnTo>
                    <a:pt x="2885666" y="492670"/>
                  </a:lnTo>
                  <a:lnTo>
                    <a:pt x="2881646" y="496707"/>
                  </a:lnTo>
                  <a:lnTo>
                    <a:pt x="2871737" y="496707"/>
                  </a:lnTo>
                  <a:lnTo>
                    <a:pt x="2867717" y="492670"/>
                  </a:lnTo>
                  <a:lnTo>
                    <a:pt x="2867717" y="482801"/>
                  </a:lnTo>
                  <a:close/>
                  <a:moveTo>
                    <a:pt x="2632423" y="478760"/>
                  </a:moveTo>
                  <a:lnTo>
                    <a:pt x="2642334" y="478760"/>
                  </a:lnTo>
                  <a:lnTo>
                    <a:pt x="2646352" y="482801"/>
                  </a:lnTo>
                  <a:lnTo>
                    <a:pt x="2646352" y="492670"/>
                  </a:lnTo>
                  <a:lnTo>
                    <a:pt x="2642334" y="496707"/>
                  </a:lnTo>
                  <a:lnTo>
                    <a:pt x="2632423" y="496707"/>
                  </a:lnTo>
                  <a:lnTo>
                    <a:pt x="2628404" y="492670"/>
                  </a:lnTo>
                  <a:lnTo>
                    <a:pt x="2628404" y="482801"/>
                  </a:lnTo>
                  <a:close/>
                  <a:moveTo>
                    <a:pt x="2393104" y="478760"/>
                  </a:moveTo>
                  <a:lnTo>
                    <a:pt x="2403015" y="478760"/>
                  </a:lnTo>
                  <a:lnTo>
                    <a:pt x="2407034" y="482801"/>
                  </a:lnTo>
                  <a:lnTo>
                    <a:pt x="2407034" y="492670"/>
                  </a:lnTo>
                  <a:lnTo>
                    <a:pt x="2403015" y="496707"/>
                  </a:lnTo>
                  <a:lnTo>
                    <a:pt x="2393104" y="496707"/>
                  </a:lnTo>
                  <a:lnTo>
                    <a:pt x="2389087" y="492670"/>
                  </a:lnTo>
                  <a:lnTo>
                    <a:pt x="2389087" y="482801"/>
                  </a:lnTo>
                  <a:close/>
                  <a:moveTo>
                    <a:pt x="4546929" y="478748"/>
                  </a:moveTo>
                  <a:lnTo>
                    <a:pt x="4556840" y="478748"/>
                  </a:lnTo>
                  <a:lnTo>
                    <a:pt x="4560859" y="482789"/>
                  </a:lnTo>
                  <a:lnTo>
                    <a:pt x="4560859" y="492657"/>
                  </a:lnTo>
                  <a:lnTo>
                    <a:pt x="4556840" y="496695"/>
                  </a:lnTo>
                  <a:lnTo>
                    <a:pt x="4546929" y="496695"/>
                  </a:lnTo>
                  <a:lnTo>
                    <a:pt x="4542910" y="492657"/>
                  </a:lnTo>
                  <a:lnTo>
                    <a:pt x="4542910" y="482789"/>
                  </a:lnTo>
                  <a:close/>
                  <a:moveTo>
                    <a:pt x="4307612" y="478748"/>
                  </a:moveTo>
                  <a:lnTo>
                    <a:pt x="4317523" y="478748"/>
                  </a:lnTo>
                  <a:lnTo>
                    <a:pt x="4321543" y="482789"/>
                  </a:lnTo>
                  <a:lnTo>
                    <a:pt x="4321543" y="492657"/>
                  </a:lnTo>
                  <a:lnTo>
                    <a:pt x="4317523" y="496695"/>
                  </a:lnTo>
                  <a:lnTo>
                    <a:pt x="4307612" y="496695"/>
                  </a:lnTo>
                  <a:lnTo>
                    <a:pt x="4303595" y="492657"/>
                  </a:lnTo>
                  <a:lnTo>
                    <a:pt x="4303595" y="482789"/>
                  </a:lnTo>
                  <a:close/>
                  <a:moveTo>
                    <a:pt x="4068297" y="478748"/>
                  </a:moveTo>
                  <a:lnTo>
                    <a:pt x="4078210" y="478748"/>
                  </a:lnTo>
                  <a:lnTo>
                    <a:pt x="4082229" y="482789"/>
                  </a:lnTo>
                  <a:lnTo>
                    <a:pt x="4082229" y="492657"/>
                  </a:lnTo>
                  <a:lnTo>
                    <a:pt x="4078210" y="496695"/>
                  </a:lnTo>
                  <a:lnTo>
                    <a:pt x="4068297" y="496695"/>
                  </a:lnTo>
                  <a:lnTo>
                    <a:pt x="4064278" y="492657"/>
                  </a:lnTo>
                  <a:lnTo>
                    <a:pt x="4064278" y="482789"/>
                  </a:lnTo>
                  <a:close/>
                  <a:moveTo>
                    <a:pt x="3828990" y="478748"/>
                  </a:moveTo>
                  <a:lnTo>
                    <a:pt x="3838899" y="478748"/>
                  </a:lnTo>
                  <a:lnTo>
                    <a:pt x="3842917" y="482789"/>
                  </a:lnTo>
                  <a:lnTo>
                    <a:pt x="3842917" y="492657"/>
                  </a:lnTo>
                  <a:lnTo>
                    <a:pt x="3838899" y="496695"/>
                  </a:lnTo>
                  <a:lnTo>
                    <a:pt x="3828990" y="496695"/>
                  </a:lnTo>
                  <a:lnTo>
                    <a:pt x="3824971" y="492657"/>
                  </a:lnTo>
                  <a:lnTo>
                    <a:pt x="3824971" y="482789"/>
                  </a:lnTo>
                  <a:close/>
                  <a:moveTo>
                    <a:pt x="3589676" y="478748"/>
                  </a:moveTo>
                  <a:lnTo>
                    <a:pt x="3599585" y="478748"/>
                  </a:lnTo>
                  <a:lnTo>
                    <a:pt x="3603604" y="482789"/>
                  </a:lnTo>
                  <a:lnTo>
                    <a:pt x="3603604" y="492657"/>
                  </a:lnTo>
                  <a:lnTo>
                    <a:pt x="3599585" y="496695"/>
                  </a:lnTo>
                  <a:lnTo>
                    <a:pt x="3589676" y="496695"/>
                  </a:lnTo>
                  <a:lnTo>
                    <a:pt x="3585657" y="492657"/>
                  </a:lnTo>
                  <a:lnTo>
                    <a:pt x="3585657" y="482789"/>
                  </a:lnTo>
                  <a:close/>
                  <a:moveTo>
                    <a:pt x="5743412" y="478736"/>
                  </a:moveTo>
                  <a:lnTo>
                    <a:pt x="5753323" y="478736"/>
                  </a:lnTo>
                  <a:lnTo>
                    <a:pt x="5757342" y="482776"/>
                  </a:lnTo>
                  <a:lnTo>
                    <a:pt x="5757342" y="492645"/>
                  </a:lnTo>
                  <a:lnTo>
                    <a:pt x="5753323" y="496683"/>
                  </a:lnTo>
                  <a:lnTo>
                    <a:pt x="5743412" y="496683"/>
                  </a:lnTo>
                  <a:lnTo>
                    <a:pt x="5739393" y="492645"/>
                  </a:lnTo>
                  <a:lnTo>
                    <a:pt x="5739393" y="482776"/>
                  </a:lnTo>
                  <a:close/>
                  <a:moveTo>
                    <a:pt x="5504099" y="478736"/>
                  </a:moveTo>
                  <a:lnTo>
                    <a:pt x="5514010" y="478736"/>
                  </a:lnTo>
                  <a:lnTo>
                    <a:pt x="5518029" y="482776"/>
                  </a:lnTo>
                  <a:lnTo>
                    <a:pt x="5518029" y="492645"/>
                  </a:lnTo>
                  <a:lnTo>
                    <a:pt x="5514010" y="496683"/>
                  </a:lnTo>
                  <a:lnTo>
                    <a:pt x="5504099" y="496683"/>
                  </a:lnTo>
                  <a:lnTo>
                    <a:pt x="5500080" y="492645"/>
                  </a:lnTo>
                  <a:lnTo>
                    <a:pt x="5500080" y="482776"/>
                  </a:lnTo>
                  <a:close/>
                  <a:moveTo>
                    <a:pt x="5264784" y="478736"/>
                  </a:moveTo>
                  <a:lnTo>
                    <a:pt x="5274694" y="478736"/>
                  </a:lnTo>
                  <a:lnTo>
                    <a:pt x="5278713" y="482776"/>
                  </a:lnTo>
                  <a:lnTo>
                    <a:pt x="5278713" y="492645"/>
                  </a:lnTo>
                  <a:lnTo>
                    <a:pt x="5274694" y="496683"/>
                  </a:lnTo>
                  <a:lnTo>
                    <a:pt x="5264784" y="496683"/>
                  </a:lnTo>
                  <a:lnTo>
                    <a:pt x="5260765" y="492645"/>
                  </a:lnTo>
                  <a:lnTo>
                    <a:pt x="5260765" y="482776"/>
                  </a:lnTo>
                  <a:close/>
                  <a:moveTo>
                    <a:pt x="5025470" y="478736"/>
                  </a:moveTo>
                  <a:lnTo>
                    <a:pt x="5035381" y="478736"/>
                  </a:lnTo>
                  <a:lnTo>
                    <a:pt x="5039400" y="482776"/>
                  </a:lnTo>
                  <a:lnTo>
                    <a:pt x="5039400" y="492645"/>
                  </a:lnTo>
                  <a:lnTo>
                    <a:pt x="5035381" y="496683"/>
                  </a:lnTo>
                  <a:lnTo>
                    <a:pt x="5025470" y="496683"/>
                  </a:lnTo>
                  <a:lnTo>
                    <a:pt x="5021451" y="492645"/>
                  </a:lnTo>
                  <a:lnTo>
                    <a:pt x="5021451" y="482776"/>
                  </a:lnTo>
                  <a:close/>
                  <a:moveTo>
                    <a:pt x="4786241" y="478736"/>
                  </a:moveTo>
                  <a:lnTo>
                    <a:pt x="4796152" y="478736"/>
                  </a:lnTo>
                  <a:lnTo>
                    <a:pt x="4800171" y="482776"/>
                  </a:lnTo>
                  <a:lnTo>
                    <a:pt x="4800171" y="492645"/>
                  </a:lnTo>
                  <a:lnTo>
                    <a:pt x="4796152" y="496683"/>
                  </a:lnTo>
                  <a:lnTo>
                    <a:pt x="4786241" y="496683"/>
                  </a:lnTo>
                  <a:lnTo>
                    <a:pt x="4782224" y="492645"/>
                  </a:lnTo>
                  <a:lnTo>
                    <a:pt x="4782224" y="482776"/>
                  </a:lnTo>
                  <a:close/>
                  <a:moveTo>
                    <a:pt x="6939983" y="478724"/>
                  </a:moveTo>
                  <a:lnTo>
                    <a:pt x="6949894" y="478724"/>
                  </a:lnTo>
                  <a:lnTo>
                    <a:pt x="6953913" y="482764"/>
                  </a:lnTo>
                  <a:lnTo>
                    <a:pt x="6953913" y="492633"/>
                  </a:lnTo>
                  <a:lnTo>
                    <a:pt x="6949894" y="496671"/>
                  </a:lnTo>
                  <a:lnTo>
                    <a:pt x="6939983" y="496671"/>
                  </a:lnTo>
                  <a:lnTo>
                    <a:pt x="6935964" y="492633"/>
                  </a:lnTo>
                  <a:lnTo>
                    <a:pt x="6935964" y="482764"/>
                  </a:lnTo>
                  <a:close/>
                  <a:moveTo>
                    <a:pt x="6700670" y="478724"/>
                  </a:moveTo>
                  <a:lnTo>
                    <a:pt x="6710581" y="478724"/>
                  </a:lnTo>
                  <a:lnTo>
                    <a:pt x="6714600" y="482764"/>
                  </a:lnTo>
                  <a:lnTo>
                    <a:pt x="6714600" y="492633"/>
                  </a:lnTo>
                  <a:lnTo>
                    <a:pt x="6710581" y="496671"/>
                  </a:lnTo>
                  <a:lnTo>
                    <a:pt x="6700670" y="496671"/>
                  </a:lnTo>
                  <a:lnTo>
                    <a:pt x="6696651" y="492633"/>
                  </a:lnTo>
                  <a:lnTo>
                    <a:pt x="6696651" y="482764"/>
                  </a:lnTo>
                  <a:close/>
                  <a:moveTo>
                    <a:pt x="6461356" y="478724"/>
                  </a:moveTo>
                  <a:lnTo>
                    <a:pt x="6471266" y="478724"/>
                  </a:lnTo>
                  <a:lnTo>
                    <a:pt x="6475285" y="482764"/>
                  </a:lnTo>
                  <a:lnTo>
                    <a:pt x="6475285" y="492633"/>
                  </a:lnTo>
                  <a:lnTo>
                    <a:pt x="6471266" y="496671"/>
                  </a:lnTo>
                  <a:lnTo>
                    <a:pt x="6461356" y="496671"/>
                  </a:lnTo>
                  <a:lnTo>
                    <a:pt x="6457337" y="492633"/>
                  </a:lnTo>
                  <a:lnTo>
                    <a:pt x="6457337" y="482764"/>
                  </a:lnTo>
                  <a:close/>
                  <a:moveTo>
                    <a:pt x="6222042" y="478724"/>
                  </a:moveTo>
                  <a:lnTo>
                    <a:pt x="6231952" y="478724"/>
                  </a:lnTo>
                  <a:lnTo>
                    <a:pt x="6235971" y="482764"/>
                  </a:lnTo>
                  <a:lnTo>
                    <a:pt x="6235971" y="492633"/>
                  </a:lnTo>
                  <a:lnTo>
                    <a:pt x="6231952" y="496671"/>
                  </a:lnTo>
                  <a:lnTo>
                    <a:pt x="6222042" y="496671"/>
                  </a:lnTo>
                  <a:lnTo>
                    <a:pt x="6218023" y="492633"/>
                  </a:lnTo>
                  <a:lnTo>
                    <a:pt x="6218023" y="482764"/>
                  </a:lnTo>
                  <a:close/>
                  <a:moveTo>
                    <a:pt x="5982729" y="478724"/>
                  </a:moveTo>
                  <a:lnTo>
                    <a:pt x="5992639" y="478724"/>
                  </a:lnTo>
                  <a:lnTo>
                    <a:pt x="5996658" y="482764"/>
                  </a:lnTo>
                  <a:lnTo>
                    <a:pt x="5996658" y="492633"/>
                  </a:lnTo>
                  <a:lnTo>
                    <a:pt x="5992639" y="496671"/>
                  </a:lnTo>
                  <a:lnTo>
                    <a:pt x="5982729" y="496671"/>
                  </a:lnTo>
                  <a:lnTo>
                    <a:pt x="5978710" y="492633"/>
                  </a:lnTo>
                  <a:lnTo>
                    <a:pt x="5978710" y="482764"/>
                  </a:lnTo>
                  <a:close/>
                  <a:moveTo>
                    <a:pt x="7897241" y="478712"/>
                  </a:moveTo>
                  <a:lnTo>
                    <a:pt x="7907151" y="478712"/>
                  </a:lnTo>
                  <a:lnTo>
                    <a:pt x="7911170" y="482751"/>
                  </a:lnTo>
                  <a:lnTo>
                    <a:pt x="7911170" y="492620"/>
                  </a:lnTo>
                  <a:lnTo>
                    <a:pt x="7907151" y="496658"/>
                  </a:lnTo>
                  <a:lnTo>
                    <a:pt x="7897241" y="496658"/>
                  </a:lnTo>
                  <a:lnTo>
                    <a:pt x="7893222" y="492620"/>
                  </a:lnTo>
                  <a:lnTo>
                    <a:pt x="7893222" y="482751"/>
                  </a:lnTo>
                  <a:close/>
                  <a:moveTo>
                    <a:pt x="7657926" y="478712"/>
                  </a:moveTo>
                  <a:lnTo>
                    <a:pt x="7667836" y="478712"/>
                  </a:lnTo>
                  <a:lnTo>
                    <a:pt x="7671855" y="482751"/>
                  </a:lnTo>
                  <a:lnTo>
                    <a:pt x="7671855" y="492620"/>
                  </a:lnTo>
                  <a:lnTo>
                    <a:pt x="7667836" y="496659"/>
                  </a:lnTo>
                  <a:lnTo>
                    <a:pt x="7657926" y="496659"/>
                  </a:lnTo>
                  <a:lnTo>
                    <a:pt x="7653906" y="492620"/>
                  </a:lnTo>
                  <a:lnTo>
                    <a:pt x="7653906" y="482751"/>
                  </a:lnTo>
                  <a:close/>
                  <a:moveTo>
                    <a:pt x="7418611" y="478712"/>
                  </a:moveTo>
                  <a:lnTo>
                    <a:pt x="7428521" y="478712"/>
                  </a:lnTo>
                  <a:lnTo>
                    <a:pt x="7432540" y="482751"/>
                  </a:lnTo>
                  <a:lnTo>
                    <a:pt x="7432540" y="492620"/>
                  </a:lnTo>
                  <a:lnTo>
                    <a:pt x="7428521" y="496659"/>
                  </a:lnTo>
                  <a:lnTo>
                    <a:pt x="7418611" y="496659"/>
                  </a:lnTo>
                  <a:lnTo>
                    <a:pt x="7414592" y="492620"/>
                  </a:lnTo>
                  <a:lnTo>
                    <a:pt x="7414592" y="482751"/>
                  </a:lnTo>
                  <a:close/>
                  <a:moveTo>
                    <a:pt x="7179298" y="478712"/>
                  </a:moveTo>
                  <a:lnTo>
                    <a:pt x="7189209" y="478712"/>
                  </a:lnTo>
                  <a:lnTo>
                    <a:pt x="7193228" y="482751"/>
                  </a:lnTo>
                  <a:lnTo>
                    <a:pt x="7193228" y="492620"/>
                  </a:lnTo>
                  <a:lnTo>
                    <a:pt x="7189209" y="496659"/>
                  </a:lnTo>
                  <a:lnTo>
                    <a:pt x="7179298" y="496659"/>
                  </a:lnTo>
                  <a:lnTo>
                    <a:pt x="7175279" y="492620"/>
                  </a:lnTo>
                  <a:lnTo>
                    <a:pt x="7175279" y="482751"/>
                  </a:lnTo>
                  <a:close/>
                  <a:moveTo>
                    <a:pt x="8136553" y="478711"/>
                  </a:moveTo>
                  <a:lnTo>
                    <a:pt x="8146464" y="478711"/>
                  </a:lnTo>
                  <a:lnTo>
                    <a:pt x="8150483" y="482751"/>
                  </a:lnTo>
                  <a:lnTo>
                    <a:pt x="8150483" y="492620"/>
                  </a:lnTo>
                  <a:lnTo>
                    <a:pt x="8146464" y="496658"/>
                  </a:lnTo>
                  <a:lnTo>
                    <a:pt x="8136553" y="496658"/>
                  </a:lnTo>
                  <a:lnTo>
                    <a:pt x="8132534" y="492620"/>
                  </a:lnTo>
                  <a:lnTo>
                    <a:pt x="8132534" y="482751"/>
                  </a:lnTo>
                  <a:close/>
                  <a:moveTo>
                    <a:pt x="9093811" y="478699"/>
                  </a:moveTo>
                  <a:lnTo>
                    <a:pt x="9103722" y="478699"/>
                  </a:lnTo>
                  <a:lnTo>
                    <a:pt x="9107741" y="482738"/>
                  </a:lnTo>
                  <a:lnTo>
                    <a:pt x="9107741" y="492608"/>
                  </a:lnTo>
                  <a:lnTo>
                    <a:pt x="9103722" y="496646"/>
                  </a:lnTo>
                  <a:lnTo>
                    <a:pt x="9093811" y="496646"/>
                  </a:lnTo>
                  <a:lnTo>
                    <a:pt x="9089792" y="492608"/>
                  </a:lnTo>
                  <a:lnTo>
                    <a:pt x="9089792" y="482738"/>
                  </a:lnTo>
                  <a:close/>
                  <a:moveTo>
                    <a:pt x="8854496" y="478699"/>
                  </a:moveTo>
                  <a:lnTo>
                    <a:pt x="8864407" y="478699"/>
                  </a:lnTo>
                  <a:lnTo>
                    <a:pt x="8868426" y="482738"/>
                  </a:lnTo>
                  <a:lnTo>
                    <a:pt x="8868426" y="492608"/>
                  </a:lnTo>
                  <a:lnTo>
                    <a:pt x="8864407" y="496647"/>
                  </a:lnTo>
                  <a:lnTo>
                    <a:pt x="8854496" y="496647"/>
                  </a:lnTo>
                  <a:lnTo>
                    <a:pt x="8850477" y="492608"/>
                  </a:lnTo>
                  <a:lnTo>
                    <a:pt x="8850477" y="482738"/>
                  </a:lnTo>
                  <a:close/>
                  <a:moveTo>
                    <a:pt x="8615184" y="478699"/>
                  </a:moveTo>
                  <a:lnTo>
                    <a:pt x="8625095" y="478699"/>
                  </a:lnTo>
                  <a:lnTo>
                    <a:pt x="8629114" y="482739"/>
                  </a:lnTo>
                  <a:lnTo>
                    <a:pt x="8629114" y="492608"/>
                  </a:lnTo>
                  <a:lnTo>
                    <a:pt x="8625095" y="496647"/>
                  </a:lnTo>
                  <a:lnTo>
                    <a:pt x="8615184" y="496647"/>
                  </a:lnTo>
                  <a:lnTo>
                    <a:pt x="8611165" y="492608"/>
                  </a:lnTo>
                  <a:lnTo>
                    <a:pt x="8611165" y="482739"/>
                  </a:lnTo>
                  <a:close/>
                  <a:moveTo>
                    <a:pt x="8375869" y="478699"/>
                  </a:moveTo>
                  <a:lnTo>
                    <a:pt x="8385779" y="478699"/>
                  </a:lnTo>
                  <a:lnTo>
                    <a:pt x="8389799" y="482739"/>
                  </a:lnTo>
                  <a:lnTo>
                    <a:pt x="8389799" y="492608"/>
                  </a:lnTo>
                  <a:lnTo>
                    <a:pt x="8385779" y="496647"/>
                  </a:lnTo>
                  <a:lnTo>
                    <a:pt x="8375869" y="496647"/>
                  </a:lnTo>
                  <a:lnTo>
                    <a:pt x="8371850" y="492608"/>
                  </a:lnTo>
                  <a:lnTo>
                    <a:pt x="8371850" y="482739"/>
                  </a:lnTo>
                  <a:close/>
                  <a:moveTo>
                    <a:pt x="9333125" y="478698"/>
                  </a:moveTo>
                  <a:lnTo>
                    <a:pt x="9343036" y="478698"/>
                  </a:lnTo>
                  <a:lnTo>
                    <a:pt x="9347055" y="482738"/>
                  </a:lnTo>
                  <a:lnTo>
                    <a:pt x="9347055" y="492608"/>
                  </a:lnTo>
                  <a:lnTo>
                    <a:pt x="9343036" y="496646"/>
                  </a:lnTo>
                  <a:lnTo>
                    <a:pt x="9333125" y="496646"/>
                  </a:lnTo>
                  <a:lnTo>
                    <a:pt x="9329106" y="492608"/>
                  </a:lnTo>
                  <a:lnTo>
                    <a:pt x="9329106" y="482738"/>
                  </a:lnTo>
                  <a:close/>
                  <a:moveTo>
                    <a:pt x="9572438" y="478687"/>
                  </a:moveTo>
                  <a:lnTo>
                    <a:pt x="9582349" y="478687"/>
                  </a:lnTo>
                  <a:lnTo>
                    <a:pt x="9586368" y="482726"/>
                  </a:lnTo>
                  <a:lnTo>
                    <a:pt x="9586368" y="492596"/>
                  </a:lnTo>
                  <a:lnTo>
                    <a:pt x="9582349" y="496634"/>
                  </a:lnTo>
                  <a:lnTo>
                    <a:pt x="9572438" y="496634"/>
                  </a:lnTo>
                  <a:lnTo>
                    <a:pt x="9568419" y="492596"/>
                  </a:lnTo>
                  <a:lnTo>
                    <a:pt x="9568419" y="482726"/>
                  </a:lnTo>
                  <a:close/>
                  <a:moveTo>
                    <a:pt x="721976" y="478660"/>
                  </a:moveTo>
                  <a:lnTo>
                    <a:pt x="731886" y="478660"/>
                  </a:lnTo>
                  <a:lnTo>
                    <a:pt x="735905" y="482698"/>
                  </a:lnTo>
                  <a:lnTo>
                    <a:pt x="735905" y="492569"/>
                  </a:lnTo>
                  <a:lnTo>
                    <a:pt x="731886" y="496608"/>
                  </a:lnTo>
                  <a:lnTo>
                    <a:pt x="721976" y="496608"/>
                  </a:lnTo>
                  <a:lnTo>
                    <a:pt x="717957" y="492569"/>
                  </a:lnTo>
                  <a:lnTo>
                    <a:pt x="717957" y="482698"/>
                  </a:lnTo>
                  <a:close/>
                  <a:moveTo>
                    <a:pt x="482664" y="478660"/>
                  </a:moveTo>
                  <a:lnTo>
                    <a:pt x="492574" y="478660"/>
                  </a:lnTo>
                  <a:lnTo>
                    <a:pt x="496593" y="482698"/>
                  </a:lnTo>
                  <a:lnTo>
                    <a:pt x="496593" y="492569"/>
                  </a:lnTo>
                  <a:lnTo>
                    <a:pt x="492574" y="496608"/>
                  </a:lnTo>
                  <a:lnTo>
                    <a:pt x="482664" y="496608"/>
                  </a:lnTo>
                  <a:lnTo>
                    <a:pt x="478645" y="492569"/>
                  </a:lnTo>
                  <a:lnTo>
                    <a:pt x="478645" y="482698"/>
                  </a:lnTo>
                  <a:close/>
                  <a:moveTo>
                    <a:pt x="243350" y="478660"/>
                  </a:moveTo>
                  <a:lnTo>
                    <a:pt x="253260" y="478660"/>
                  </a:lnTo>
                  <a:lnTo>
                    <a:pt x="257279" y="482698"/>
                  </a:lnTo>
                  <a:lnTo>
                    <a:pt x="257279" y="492569"/>
                  </a:lnTo>
                  <a:lnTo>
                    <a:pt x="253260" y="496608"/>
                  </a:lnTo>
                  <a:lnTo>
                    <a:pt x="243350" y="496608"/>
                  </a:lnTo>
                  <a:lnTo>
                    <a:pt x="239331" y="492569"/>
                  </a:lnTo>
                  <a:lnTo>
                    <a:pt x="239331" y="482698"/>
                  </a:lnTo>
                  <a:close/>
                  <a:moveTo>
                    <a:pt x="4037" y="478660"/>
                  </a:moveTo>
                  <a:lnTo>
                    <a:pt x="13947" y="478660"/>
                  </a:lnTo>
                  <a:lnTo>
                    <a:pt x="17966" y="482698"/>
                  </a:lnTo>
                  <a:lnTo>
                    <a:pt x="17966" y="492569"/>
                  </a:lnTo>
                  <a:lnTo>
                    <a:pt x="13947" y="496608"/>
                  </a:lnTo>
                  <a:lnTo>
                    <a:pt x="4037" y="496608"/>
                  </a:lnTo>
                  <a:lnTo>
                    <a:pt x="18" y="492569"/>
                  </a:lnTo>
                  <a:lnTo>
                    <a:pt x="18" y="482698"/>
                  </a:lnTo>
                  <a:close/>
                  <a:moveTo>
                    <a:pt x="1679220" y="478650"/>
                  </a:moveTo>
                  <a:lnTo>
                    <a:pt x="1689130" y="478650"/>
                  </a:lnTo>
                  <a:lnTo>
                    <a:pt x="1693149" y="482688"/>
                  </a:lnTo>
                  <a:lnTo>
                    <a:pt x="1693149" y="492559"/>
                  </a:lnTo>
                  <a:lnTo>
                    <a:pt x="1689130" y="496598"/>
                  </a:lnTo>
                  <a:lnTo>
                    <a:pt x="1679220" y="496598"/>
                  </a:lnTo>
                  <a:lnTo>
                    <a:pt x="1675200" y="492559"/>
                  </a:lnTo>
                  <a:lnTo>
                    <a:pt x="1675200" y="482688"/>
                  </a:lnTo>
                  <a:close/>
                  <a:moveTo>
                    <a:pt x="1439902" y="478650"/>
                  </a:moveTo>
                  <a:lnTo>
                    <a:pt x="1449812" y="478650"/>
                  </a:lnTo>
                  <a:lnTo>
                    <a:pt x="1453831" y="482688"/>
                  </a:lnTo>
                  <a:lnTo>
                    <a:pt x="1453831" y="492559"/>
                  </a:lnTo>
                  <a:lnTo>
                    <a:pt x="1449812" y="496598"/>
                  </a:lnTo>
                  <a:lnTo>
                    <a:pt x="1439902" y="496598"/>
                  </a:lnTo>
                  <a:lnTo>
                    <a:pt x="1435883" y="492559"/>
                  </a:lnTo>
                  <a:lnTo>
                    <a:pt x="1435883" y="482688"/>
                  </a:lnTo>
                  <a:close/>
                  <a:moveTo>
                    <a:pt x="1200585" y="478650"/>
                  </a:moveTo>
                  <a:lnTo>
                    <a:pt x="1210496" y="478650"/>
                  </a:lnTo>
                  <a:lnTo>
                    <a:pt x="1214515" y="482689"/>
                  </a:lnTo>
                  <a:lnTo>
                    <a:pt x="1214515" y="492559"/>
                  </a:lnTo>
                  <a:lnTo>
                    <a:pt x="1210496" y="496598"/>
                  </a:lnTo>
                  <a:lnTo>
                    <a:pt x="1200585" y="496598"/>
                  </a:lnTo>
                  <a:lnTo>
                    <a:pt x="1196567" y="492559"/>
                  </a:lnTo>
                  <a:lnTo>
                    <a:pt x="1196567" y="482689"/>
                  </a:lnTo>
                  <a:close/>
                  <a:moveTo>
                    <a:pt x="961273" y="478650"/>
                  </a:moveTo>
                  <a:lnTo>
                    <a:pt x="971183" y="478650"/>
                  </a:lnTo>
                  <a:lnTo>
                    <a:pt x="975202" y="482689"/>
                  </a:lnTo>
                  <a:lnTo>
                    <a:pt x="975202" y="492559"/>
                  </a:lnTo>
                  <a:lnTo>
                    <a:pt x="971183" y="496598"/>
                  </a:lnTo>
                  <a:lnTo>
                    <a:pt x="961273" y="496598"/>
                  </a:lnTo>
                  <a:lnTo>
                    <a:pt x="957254" y="492559"/>
                  </a:lnTo>
                  <a:lnTo>
                    <a:pt x="957254" y="482689"/>
                  </a:lnTo>
                  <a:close/>
                  <a:moveTo>
                    <a:pt x="1918515" y="478641"/>
                  </a:moveTo>
                  <a:lnTo>
                    <a:pt x="1928425" y="478641"/>
                  </a:lnTo>
                  <a:lnTo>
                    <a:pt x="1932444" y="482679"/>
                  </a:lnTo>
                  <a:lnTo>
                    <a:pt x="1932444" y="492550"/>
                  </a:lnTo>
                  <a:lnTo>
                    <a:pt x="1928425" y="496589"/>
                  </a:lnTo>
                  <a:lnTo>
                    <a:pt x="1918515" y="496589"/>
                  </a:lnTo>
                  <a:lnTo>
                    <a:pt x="1914495" y="492550"/>
                  </a:lnTo>
                  <a:lnTo>
                    <a:pt x="1914495" y="482679"/>
                  </a:lnTo>
                  <a:close/>
                  <a:moveTo>
                    <a:pt x="2157823" y="478638"/>
                  </a:moveTo>
                  <a:lnTo>
                    <a:pt x="2167734" y="478638"/>
                  </a:lnTo>
                  <a:lnTo>
                    <a:pt x="2171753" y="482677"/>
                  </a:lnTo>
                  <a:lnTo>
                    <a:pt x="2171753" y="492548"/>
                  </a:lnTo>
                  <a:lnTo>
                    <a:pt x="2167734" y="496587"/>
                  </a:lnTo>
                  <a:lnTo>
                    <a:pt x="2157823" y="496587"/>
                  </a:lnTo>
                  <a:lnTo>
                    <a:pt x="2153804" y="492548"/>
                  </a:lnTo>
                  <a:lnTo>
                    <a:pt x="2153804" y="482677"/>
                  </a:lnTo>
                  <a:close/>
                  <a:moveTo>
                    <a:pt x="2632423" y="239432"/>
                  </a:moveTo>
                  <a:lnTo>
                    <a:pt x="2642334" y="239432"/>
                  </a:lnTo>
                  <a:lnTo>
                    <a:pt x="2646352" y="243470"/>
                  </a:lnTo>
                  <a:lnTo>
                    <a:pt x="2646352" y="253341"/>
                  </a:lnTo>
                  <a:lnTo>
                    <a:pt x="2642334" y="257380"/>
                  </a:lnTo>
                  <a:lnTo>
                    <a:pt x="2632423" y="257380"/>
                  </a:lnTo>
                  <a:lnTo>
                    <a:pt x="2628404" y="253341"/>
                  </a:lnTo>
                  <a:lnTo>
                    <a:pt x="2628404" y="243470"/>
                  </a:lnTo>
                  <a:close/>
                  <a:moveTo>
                    <a:pt x="2393104" y="239432"/>
                  </a:moveTo>
                  <a:lnTo>
                    <a:pt x="2403015" y="239432"/>
                  </a:lnTo>
                  <a:lnTo>
                    <a:pt x="2407034" y="243470"/>
                  </a:lnTo>
                  <a:lnTo>
                    <a:pt x="2407034" y="253341"/>
                  </a:lnTo>
                  <a:lnTo>
                    <a:pt x="2403015" y="257380"/>
                  </a:lnTo>
                  <a:lnTo>
                    <a:pt x="2393104" y="257380"/>
                  </a:lnTo>
                  <a:lnTo>
                    <a:pt x="2389087" y="253341"/>
                  </a:lnTo>
                  <a:lnTo>
                    <a:pt x="2389087" y="243470"/>
                  </a:lnTo>
                  <a:close/>
                  <a:moveTo>
                    <a:pt x="3350359" y="239432"/>
                  </a:moveTo>
                  <a:lnTo>
                    <a:pt x="3360268" y="239432"/>
                  </a:lnTo>
                  <a:lnTo>
                    <a:pt x="3364287" y="243470"/>
                  </a:lnTo>
                  <a:lnTo>
                    <a:pt x="3364287" y="253341"/>
                  </a:lnTo>
                  <a:lnTo>
                    <a:pt x="3360268" y="257380"/>
                  </a:lnTo>
                  <a:lnTo>
                    <a:pt x="3350359" y="257380"/>
                  </a:lnTo>
                  <a:lnTo>
                    <a:pt x="3346340" y="253341"/>
                  </a:lnTo>
                  <a:lnTo>
                    <a:pt x="3346340" y="243470"/>
                  </a:lnTo>
                  <a:close/>
                  <a:moveTo>
                    <a:pt x="3111048" y="239432"/>
                  </a:moveTo>
                  <a:lnTo>
                    <a:pt x="3120959" y="239432"/>
                  </a:lnTo>
                  <a:lnTo>
                    <a:pt x="3124977" y="243470"/>
                  </a:lnTo>
                  <a:lnTo>
                    <a:pt x="3124977" y="253341"/>
                  </a:lnTo>
                  <a:lnTo>
                    <a:pt x="3120959" y="257380"/>
                  </a:lnTo>
                  <a:lnTo>
                    <a:pt x="3111048" y="257380"/>
                  </a:lnTo>
                  <a:lnTo>
                    <a:pt x="3107029" y="253341"/>
                  </a:lnTo>
                  <a:lnTo>
                    <a:pt x="3107029" y="243470"/>
                  </a:lnTo>
                  <a:close/>
                  <a:moveTo>
                    <a:pt x="2871737" y="239432"/>
                  </a:moveTo>
                  <a:lnTo>
                    <a:pt x="2881646" y="239432"/>
                  </a:lnTo>
                  <a:lnTo>
                    <a:pt x="2885666" y="243470"/>
                  </a:lnTo>
                  <a:lnTo>
                    <a:pt x="2885666" y="253341"/>
                  </a:lnTo>
                  <a:lnTo>
                    <a:pt x="2881646" y="257380"/>
                  </a:lnTo>
                  <a:lnTo>
                    <a:pt x="2871737" y="257380"/>
                  </a:lnTo>
                  <a:lnTo>
                    <a:pt x="2867717" y="253341"/>
                  </a:lnTo>
                  <a:lnTo>
                    <a:pt x="2867717" y="243470"/>
                  </a:lnTo>
                  <a:close/>
                  <a:moveTo>
                    <a:pt x="3828990" y="239420"/>
                  </a:moveTo>
                  <a:lnTo>
                    <a:pt x="3838899" y="239420"/>
                  </a:lnTo>
                  <a:lnTo>
                    <a:pt x="3842917" y="243457"/>
                  </a:lnTo>
                  <a:lnTo>
                    <a:pt x="3842917" y="253328"/>
                  </a:lnTo>
                  <a:lnTo>
                    <a:pt x="3838899" y="257367"/>
                  </a:lnTo>
                  <a:lnTo>
                    <a:pt x="3828990" y="257367"/>
                  </a:lnTo>
                  <a:lnTo>
                    <a:pt x="3824971" y="253328"/>
                  </a:lnTo>
                  <a:lnTo>
                    <a:pt x="3824971" y="243457"/>
                  </a:lnTo>
                  <a:close/>
                  <a:moveTo>
                    <a:pt x="3589676" y="239420"/>
                  </a:moveTo>
                  <a:lnTo>
                    <a:pt x="3599585" y="239420"/>
                  </a:lnTo>
                  <a:lnTo>
                    <a:pt x="3603604" y="243457"/>
                  </a:lnTo>
                  <a:lnTo>
                    <a:pt x="3603604" y="253328"/>
                  </a:lnTo>
                  <a:lnTo>
                    <a:pt x="3599585" y="257367"/>
                  </a:lnTo>
                  <a:lnTo>
                    <a:pt x="3589676" y="257367"/>
                  </a:lnTo>
                  <a:lnTo>
                    <a:pt x="3585657" y="253328"/>
                  </a:lnTo>
                  <a:lnTo>
                    <a:pt x="3585657" y="243457"/>
                  </a:lnTo>
                  <a:close/>
                  <a:moveTo>
                    <a:pt x="4546929" y="239419"/>
                  </a:moveTo>
                  <a:lnTo>
                    <a:pt x="4556840" y="239419"/>
                  </a:lnTo>
                  <a:lnTo>
                    <a:pt x="4560859" y="243457"/>
                  </a:lnTo>
                  <a:lnTo>
                    <a:pt x="4560859" y="253328"/>
                  </a:lnTo>
                  <a:lnTo>
                    <a:pt x="4556840" y="257367"/>
                  </a:lnTo>
                  <a:lnTo>
                    <a:pt x="4546929" y="257367"/>
                  </a:lnTo>
                  <a:lnTo>
                    <a:pt x="4542910" y="253328"/>
                  </a:lnTo>
                  <a:lnTo>
                    <a:pt x="4542910" y="243457"/>
                  </a:lnTo>
                  <a:close/>
                  <a:moveTo>
                    <a:pt x="4307612" y="239419"/>
                  </a:moveTo>
                  <a:lnTo>
                    <a:pt x="4317523" y="239419"/>
                  </a:lnTo>
                  <a:lnTo>
                    <a:pt x="4321543" y="243457"/>
                  </a:lnTo>
                  <a:lnTo>
                    <a:pt x="4321543" y="253328"/>
                  </a:lnTo>
                  <a:lnTo>
                    <a:pt x="4317523" y="257367"/>
                  </a:lnTo>
                  <a:lnTo>
                    <a:pt x="4307612" y="257367"/>
                  </a:lnTo>
                  <a:lnTo>
                    <a:pt x="4303595" y="253328"/>
                  </a:lnTo>
                  <a:lnTo>
                    <a:pt x="4303595" y="243457"/>
                  </a:lnTo>
                  <a:close/>
                  <a:moveTo>
                    <a:pt x="4068297" y="239419"/>
                  </a:moveTo>
                  <a:lnTo>
                    <a:pt x="4078210" y="239419"/>
                  </a:lnTo>
                  <a:lnTo>
                    <a:pt x="4082229" y="243457"/>
                  </a:lnTo>
                  <a:lnTo>
                    <a:pt x="4082229" y="253328"/>
                  </a:lnTo>
                  <a:lnTo>
                    <a:pt x="4078210" y="257367"/>
                  </a:lnTo>
                  <a:lnTo>
                    <a:pt x="4068297" y="257367"/>
                  </a:lnTo>
                  <a:lnTo>
                    <a:pt x="4064278" y="253328"/>
                  </a:lnTo>
                  <a:lnTo>
                    <a:pt x="4064278" y="243457"/>
                  </a:lnTo>
                  <a:close/>
                  <a:moveTo>
                    <a:pt x="5025470" y="239407"/>
                  </a:moveTo>
                  <a:lnTo>
                    <a:pt x="5035381" y="239407"/>
                  </a:lnTo>
                  <a:lnTo>
                    <a:pt x="5039400" y="243445"/>
                  </a:lnTo>
                  <a:lnTo>
                    <a:pt x="5039400" y="253316"/>
                  </a:lnTo>
                  <a:lnTo>
                    <a:pt x="5035381" y="257355"/>
                  </a:lnTo>
                  <a:lnTo>
                    <a:pt x="5025470" y="257355"/>
                  </a:lnTo>
                  <a:lnTo>
                    <a:pt x="5021451" y="253316"/>
                  </a:lnTo>
                  <a:lnTo>
                    <a:pt x="5021451" y="243445"/>
                  </a:lnTo>
                  <a:close/>
                  <a:moveTo>
                    <a:pt x="4786241" y="239407"/>
                  </a:moveTo>
                  <a:lnTo>
                    <a:pt x="4796152" y="239407"/>
                  </a:lnTo>
                  <a:lnTo>
                    <a:pt x="4800171" y="243445"/>
                  </a:lnTo>
                  <a:lnTo>
                    <a:pt x="4800171" y="253316"/>
                  </a:lnTo>
                  <a:lnTo>
                    <a:pt x="4796152" y="257355"/>
                  </a:lnTo>
                  <a:lnTo>
                    <a:pt x="4786241" y="257355"/>
                  </a:lnTo>
                  <a:lnTo>
                    <a:pt x="4782224" y="253316"/>
                  </a:lnTo>
                  <a:lnTo>
                    <a:pt x="4782224" y="243445"/>
                  </a:lnTo>
                  <a:close/>
                  <a:moveTo>
                    <a:pt x="5743412" y="239407"/>
                  </a:moveTo>
                  <a:lnTo>
                    <a:pt x="5753323" y="239407"/>
                  </a:lnTo>
                  <a:lnTo>
                    <a:pt x="5757342" y="243445"/>
                  </a:lnTo>
                  <a:lnTo>
                    <a:pt x="5757342" y="253316"/>
                  </a:lnTo>
                  <a:lnTo>
                    <a:pt x="5753323" y="257355"/>
                  </a:lnTo>
                  <a:lnTo>
                    <a:pt x="5743412" y="257355"/>
                  </a:lnTo>
                  <a:lnTo>
                    <a:pt x="5739393" y="253316"/>
                  </a:lnTo>
                  <a:lnTo>
                    <a:pt x="5739393" y="243445"/>
                  </a:lnTo>
                  <a:close/>
                  <a:moveTo>
                    <a:pt x="5504099" y="239407"/>
                  </a:moveTo>
                  <a:lnTo>
                    <a:pt x="5514010" y="239407"/>
                  </a:lnTo>
                  <a:lnTo>
                    <a:pt x="5518029" y="243445"/>
                  </a:lnTo>
                  <a:lnTo>
                    <a:pt x="5518029" y="253316"/>
                  </a:lnTo>
                  <a:lnTo>
                    <a:pt x="5514010" y="257355"/>
                  </a:lnTo>
                  <a:lnTo>
                    <a:pt x="5504099" y="257355"/>
                  </a:lnTo>
                  <a:lnTo>
                    <a:pt x="5500080" y="253316"/>
                  </a:lnTo>
                  <a:lnTo>
                    <a:pt x="5500080" y="243445"/>
                  </a:lnTo>
                  <a:close/>
                  <a:moveTo>
                    <a:pt x="5264784" y="239407"/>
                  </a:moveTo>
                  <a:lnTo>
                    <a:pt x="5274694" y="239407"/>
                  </a:lnTo>
                  <a:lnTo>
                    <a:pt x="5278713" y="243445"/>
                  </a:lnTo>
                  <a:lnTo>
                    <a:pt x="5278713" y="253316"/>
                  </a:lnTo>
                  <a:lnTo>
                    <a:pt x="5274694" y="257355"/>
                  </a:lnTo>
                  <a:lnTo>
                    <a:pt x="5264784" y="257355"/>
                  </a:lnTo>
                  <a:lnTo>
                    <a:pt x="5260765" y="253316"/>
                  </a:lnTo>
                  <a:lnTo>
                    <a:pt x="5260765" y="243445"/>
                  </a:lnTo>
                  <a:close/>
                  <a:moveTo>
                    <a:pt x="6222042" y="239395"/>
                  </a:moveTo>
                  <a:lnTo>
                    <a:pt x="6231952" y="239395"/>
                  </a:lnTo>
                  <a:lnTo>
                    <a:pt x="6235971" y="243432"/>
                  </a:lnTo>
                  <a:lnTo>
                    <a:pt x="6235971" y="253303"/>
                  </a:lnTo>
                  <a:lnTo>
                    <a:pt x="6231952" y="257342"/>
                  </a:lnTo>
                  <a:lnTo>
                    <a:pt x="6222042" y="257342"/>
                  </a:lnTo>
                  <a:lnTo>
                    <a:pt x="6218023" y="253303"/>
                  </a:lnTo>
                  <a:lnTo>
                    <a:pt x="6218023" y="243432"/>
                  </a:lnTo>
                  <a:close/>
                  <a:moveTo>
                    <a:pt x="5982729" y="239395"/>
                  </a:moveTo>
                  <a:lnTo>
                    <a:pt x="5992639" y="239395"/>
                  </a:lnTo>
                  <a:lnTo>
                    <a:pt x="5996658" y="243433"/>
                  </a:lnTo>
                  <a:lnTo>
                    <a:pt x="5996658" y="253303"/>
                  </a:lnTo>
                  <a:lnTo>
                    <a:pt x="5992639" y="257342"/>
                  </a:lnTo>
                  <a:lnTo>
                    <a:pt x="5982729" y="257342"/>
                  </a:lnTo>
                  <a:lnTo>
                    <a:pt x="5978710" y="253303"/>
                  </a:lnTo>
                  <a:lnTo>
                    <a:pt x="5978710" y="243433"/>
                  </a:lnTo>
                  <a:close/>
                  <a:moveTo>
                    <a:pt x="6939983" y="239394"/>
                  </a:moveTo>
                  <a:lnTo>
                    <a:pt x="6949894" y="239394"/>
                  </a:lnTo>
                  <a:lnTo>
                    <a:pt x="6953913" y="243432"/>
                  </a:lnTo>
                  <a:lnTo>
                    <a:pt x="6953913" y="253303"/>
                  </a:lnTo>
                  <a:lnTo>
                    <a:pt x="6949894" y="257342"/>
                  </a:lnTo>
                  <a:lnTo>
                    <a:pt x="6939983" y="257342"/>
                  </a:lnTo>
                  <a:lnTo>
                    <a:pt x="6935964" y="253303"/>
                  </a:lnTo>
                  <a:lnTo>
                    <a:pt x="6935964" y="243432"/>
                  </a:lnTo>
                  <a:close/>
                  <a:moveTo>
                    <a:pt x="6700670" y="239394"/>
                  </a:moveTo>
                  <a:lnTo>
                    <a:pt x="6710581" y="239394"/>
                  </a:lnTo>
                  <a:lnTo>
                    <a:pt x="6714600" y="243432"/>
                  </a:lnTo>
                  <a:lnTo>
                    <a:pt x="6714600" y="253303"/>
                  </a:lnTo>
                  <a:lnTo>
                    <a:pt x="6710581" y="257342"/>
                  </a:lnTo>
                  <a:lnTo>
                    <a:pt x="6700670" y="257342"/>
                  </a:lnTo>
                  <a:lnTo>
                    <a:pt x="6696651" y="253303"/>
                  </a:lnTo>
                  <a:lnTo>
                    <a:pt x="6696651" y="243432"/>
                  </a:lnTo>
                  <a:close/>
                  <a:moveTo>
                    <a:pt x="6461356" y="239394"/>
                  </a:moveTo>
                  <a:lnTo>
                    <a:pt x="6471266" y="239394"/>
                  </a:lnTo>
                  <a:lnTo>
                    <a:pt x="6475285" y="243432"/>
                  </a:lnTo>
                  <a:lnTo>
                    <a:pt x="6475285" y="253303"/>
                  </a:lnTo>
                  <a:lnTo>
                    <a:pt x="6471266" y="257342"/>
                  </a:lnTo>
                  <a:lnTo>
                    <a:pt x="6461356" y="257342"/>
                  </a:lnTo>
                  <a:lnTo>
                    <a:pt x="6457337" y="253303"/>
                  </a:lnTo>
                  <a:lnTo>
                    <a:pt x="6457337" y="243432"/>
                  </a:lnTo>
                  <a:close/>
                  <a:moveTo>
                    <a:pt x="7418611" y="239382"/>
                  </a:moveTo>
                  <a:lnTo>
                    <a:pt x="7428521" y="239382"/>
                  </a:lnTo>
                  <a:lnTo>
                    <a:pt x="7432540" y="243420"/>
                  </a:lnTo>
                  <a:lnTo>
                    <a:pt x="7432540" y="253291"/>
                  </a:lnTo>
                  <a:lnTo>
                    <a:pt x="7428521" y="257330"/>
                  </a:lnTo>
                  <a:lnTo>
                    <a:pt x="7418611" y="257330"/>
                  </a:lnTo>
                  <a:lnTo>
                    <a:pt x="7414592" y="253291"/>
                  </a:lnTo>
                  <a:lnTo>
                    <a:pt x="7414592" y="243420"/>
                  </a:lnTo>
                  <a:close/>
                  <a:moveTo>
                    <a:pt x="7179298" y="239382"/>
                  </a:moveTo>
                  <a:lnTo>
                    <a:pt x="7189209" y="239382"/>
                  </a:lnTo>
                  <a:lnTo>
                    <a:pt x="7193228" y="243421"/>
                  </a:lnTo>
                  <a:lnTo>
                    <a:pt x="7193228" y="253292"/>
                  </a:lnTo>
                  <a:lnTo>
                    <a:pt x="7189209" y="257330"/>
                  </a:lnTo>
                  <a:lnTo>
                    <a:pt x="7179298" y="257330"/>
                  </a:lnTo>
                  <a:lnTo>
                    <a:pt x="7175279" y="253292"/>
                  </a:lnTo>
                  <a:lnTo>
                    <a:pt x="7175279" y="243421"/>
                  </a:lnTo>
                  <a:close/>
                  <a:moveTo>
                    <a:pt x="8136553" y="239382"/>
                  </a:moveTo>
                  <a:lnTo>
                    <a:pt x="8146464" y="239382"/>
                  </a:lnTo>
                  <a:lnTo>
                    <a:pt x="8150483" y="243420"/>
                  </a:lnTo>
                  <a:lnTo>
                    <a:pt x="8150483" y="253291"/>
                  </a:lnTo>
                  <a:lnTo>
                    <a:pt x="8146464" y="257330"/>
                  </a:lnTo>
                  <a:lnTo>
                    <a:pt x="8136553" y="257330"/>
                  </a:lnTo>
                  <a:lnTo>
                    <a:pt x="8132534" y="253291"/>
                  </a:lnTo>
                  <a:lnTo>
                    <a:pt x="8132534" y="243420"/>
                  </a:lnTo>
                  <a:close/>
                  <a:moveTo>
                    <a:pt x="7897241" y="239382"/>
                  </a:moveTo>
                  <a:lnTo>
                    <a:pt x="7907151" y="239382"/>
                  </a:lnTo>
                  <a:lnTo>
                    <a:pt x="7911170" y="243420"/>
                  </a:lnTo>
                  <a:lnTo>
                    <a:pt x="7911170" y="253291"/>
                  </a:lnTo>
                  <a:lnTo>
                    <a:pt x="7907151" y="257330"/>
                  </a:lnTo>
                  <a:lnTo>
                    <a:pt x="7897241" y="257330"/>
                  </a:lnTo>
                  <a:lnTo>
                    <a:pt x="7893222" y="253291"/>
                  </a:lnTo>
                  <a:lnTo>
                    <a:pt x="7893222" y="243420"/>
                  </a:lnTo>
                  <a:close/>
                  <a:moveTo>
                    <a:pt x="7657926" y="239382"/>
                  </a:moveTo>
                  <a:lnTo>
                    <a:pt x="7667836" y="239382"/>
                  </a:lnTo>
                  <a:lnTo>
                    <a:pt x="7671855" y="243420"/>
                  </a:lnTo>
                  <a:lnTo>
                    <a:pt x="7671855" y="253291"/>
                  </a:lnTo>
                  <a:lnTo>
                    <a:pt x="7667836" y="257330"/>
                  </a:lnTo>
                  <a:lnTo>
                    <a:pt x="7657926" y="257330"/>
                  </a:lnTo>
                  <a:lnTo>
                    <a:pt x="7653906" y="253291"/>
                  </a:lnTo>
                  <a:lnTo>
                    <a:pt x="7653906" y="243420"/>
                  </a:lnTo>
                  <a:close/>
                  <a:moveTo>
                    <a:pt x="1679220" y="239371"/>
                  </a:moveTo>
                  <a:lnTo>
                    <a:pt x="1689131" y="239371"/>
                  </a:lnTo>
                  <a:lnTo>
                    <a:pt x="1693150" y="243409"/>
                  </a:lnTo>
                  <a:lnTo>
                    <a:pt x="1693150" y="253280"/>
                  </a:lnTo>
                  <a:lnTo>
                    <a:pt x="1689131" y="257319"/>
                  </a:lnTo>
                  <a:lnTo>
                    <a:pt x="1679220" y="257319"/>
                  </a:lnTo>
                  <a:lnTo>
                    <a:pt x="1675202" y="253280"/>
                  </a:lnTo>
                  <a:lnTo>
                    <a:pt x="1675202" y="243409"/>
                  </a:lnTo>
                  <a:close/>
                  <a:moveTo>
                    <a:pt x="1439902" y="239371"/>
                  </a:moveTo>
                  <a:lnTo>
                    <a:pt x="1449813" y="239371"/>
                  </a:lnTo>
                  <a:lnTo>
                    <a:pt x="1453832" y="243409"/>
                  </a:lnTo>
                  <a:lnTo>
                    <a:pt x="1453832" y="253280"/>
                  </a:lnTo>
                  <a:lnTo>
                    <a:pt x="1449813" y="257319"/>
                  </a:lnTo>
                  <a:lnTo>
                    <a:pt x="1439902" y="257319"/>
                  </a:lnTo>
                  <a:lnTo>
                    <a:pt x="1435884" y="253280"/>
                  </a:lnTo>
                  <a:lnTo>
                    <a:pt x="1435884" y="243409"/>
                  </a:lnTo>
                  <a:close/>
                  <a:moveTo>
                    <a:pt x="1200587" y="239371"/>
                  </a:moveTo>
                  <a:lnTo>
                    <a:pt x="1210496" y="239371"/>
                  </a:lnTo>
                  <a:lnTo>
                    <a:pt x="1214515" y="243409"/>
                  </a:lnTo>
                  <a:lnTo>
                    <a:pt x="1214515" y="253280"/>
                  </a:lnTo>
                  <a:lnTo>
                    <a:pt x="1210496" y="257319"/>
                  </a:lnTo>
                  <a:lnTo>
                    <a:pt x="1200587" y="257319"/>
                  </a:lnTo>
                  <a:lnTo>
                    <a:pt x="1196567" y="253280"/>
                  </a:lnTo>
                  <a:lnTo>
                    <a:pt x="1196567" y="243409"/>
                  </a:lnTo>
                  <a:close/>
                  <a:moveTo>
                    <a:pt x="961273" y="239371"/>
                  </a:moveTo>
                  <a:lnTo>
                    <a:pt x="971184" y="239371"/>
                  </a:lnTo>
                  <a:lnTo>
                    <a:pt x="975203" y="243409"/>
                  </a:lnTo>
                  <a:lnTo>
                    <a:pt x="975203" y="253280"/>
                  </a:lnTo>
                  <a:lnTo>
                    <a:pt x="971184" y="257319"/>
                  </a:lnTo>
                  <a:lnTo>
                    <a:pt x="961273" y="257319"/>
                  </a:lnTo>
                  <a:lnTo>
                    <a:pt x="957255" y="253280"/>
                  </a:lnTo>
                  <a:lnTo>
                    <a:pt x="957255" y="243409"/>
                  </a:lnTo>
                  <a:close/>
                  <a:moveTo>
                    <a:pt x="8615184" y="239370"/>
                  </a:moveTo>
                  <a:lnTo>
                    <a:pt x="8625095" y="239370"/>
                  </a:lnTo>
                  <a:lnTo>
                    <a:pt x="8629114" y="243408"/>
                  </a:lnTo>
                  <a:lnTo>
                    <a:pt x="8629114" y="253278"/>
                  </a:lnTo>
                  <a:lnTo>
                    <a:pt x="8625095" y="257317"/>
                  </a:lnTo>
                  <a:lnTo>
                    <a:pt x="8615184" y="257317"/>
                  </a:lnTo>
                  <a:lnTo>
                    <a:pt x="8611165" y="253278"/>
                  </a:lnTo>
                  <a:lnTo>
                    <a:pt x="8611165" y="243408"/>
                  </a:lnTo>
                  <a:close/>
                  <a:moveTo>
                    <a:pt x="8375869" y="239370"/>
                  </a:moveTo>
                  <a:lnTo>
                    <a:pt x="8385779" y="239370"/>
                  </a:lnTo>
                  <a:lnTo>
                    <a:pt x="8389799" y="243408"/>
                  </a:lnTo>
                  <a:lnTo>
                    <a:pt x="8389799" y="253279"/>
                  </a:lnTo>
                  <a:lnTo>
                    <a:pt x="8385779" y="257318"/>
                  </a:lnTo>
                  <a:lnTo>
                    <a:pt x="8375869" y="257318"/>
                  </a:lnTo>
                  <a:lnTo>
                    <a:pt x="8371850" y="253279"/>
                  </a:lnTo>
                  <a:lnTo>
                    <a:pt x="8371850" y="243408"/>
                  </a:lnTo>
                  <a:close/>
                  <a:moveTo>
                    <a:pt x="9333125" y="239369"/>
                  </a:moveTo>
                  <a:lnTo>
                    <a:pt x="9343036" y="239369"/>
                  </a:lnTo>
                  <a:lnTo>
                    <a:pt x="9347055" y="243407"/>
                  </a:lnTo>
                  <a:lnTo>
                    <a:pt x="9347055" y="253278"/>
                  </a:lnTo>
                  <a:lnTo>
                    <a:pt x="9343036" y="257317"/>
                  </a:lnTo>
                  <a:lnTo>
                    <a:pt x="9333125" y="257317"/>
                  </a:lnTo>
                  <a:lnTo>
                    <a:pt x="9329106" y="253278"/>
                  </a:lnTo>
                  <a:lnTo>
                    <a:pt x="9329106" y="243407"/>
                  </a:lnTo>
                  <a:close/>
                  <a:moveTo>
                    <a:pt x="9093811" y="239369"/>
                  </a:moveTo>
                  <a:lnTo>
                    <a:pt x="9103722" y="239369"/>
                  </a:lnTo>
                  <a:lnTo>
                    <a:pt x="9107741" y="243407"/>
                  </a:lnTo>
                  <a:lnTo>
                    <a:pt x="9107741" y="253278"/>
                  </a:lnTo>
                  <a:lnTo>
                    <a:pt x="9103722" y="257317"/>
                  </a:lnTo>
                  <a:lnTo>
                    <a:pt x="9093811" y="257317"/>
                  </a:lnTo>
                  <a:lnTo>
                    <a:pt x="9089792" y="253278"/>
                  </a:lnTo>
                  <a:lnTo>
                    <a:pt x="9089792" y="243407"/>
                  </a:lnTo>
                  <a:close/>
                  <a:moveTo>
                    <a:pt x="8854496" y="239369"/>
                  </a:moveTo>
                  <a:lnTo>
                    <a:pt x="8864407" y="239369"/>
                  </a:lnTo>
                  <a:lnTo>
                    <a:pt x="8868426" y="243407"/>
                  </a:lnTo>
                  <a:lnTo>
                    <a:pt x="8868426" y="253278"/>
                  </a:lnTo>
                  <a:lnTo>
                    <a:pt x="8864407" y="257317"/>
                  </a:lnTo>
                  <a:lnTo>
                    <a:pt x="8854496" y="257317"/>
                  </a:lnTo>
                  <a:lnTo>
                    <a:pt x="8850477" y="253278"/>
                  </a:lnTo>
                  <a:lnTo>
                    <a:pt x="8850477" y="243407"/>
                  </a:lnTo>
                  <a:close/>
                  <a:moveTo>
                    <a:pt x="1918515" y="239361"/>
                  </a:moveTo>
                  <a:lnTo>
                    <a:pt x="1928425" y="239361"/>
                  </a:lnTo>
                  <a:lnTo>
                    <a:pt x="1932444" y="243400"/>
                  </a:lnTo>
                  <a:lnTo>
                    <a:pt x="1932444" y="253271"/>
                  </a:lnTo>
                  <a:lnTo>
                    <a:pt x="1928425" y="257310"/>
                  </a:lnTo>
                  <a:lnTo>
                    <a:pt x="1918515" y="257310"/>
                  </a:lnTo>
                  <a:lnTo>
                    <a:pt x="1914495" y="253271"/>
                  </a:lnTo>
                  <a:lnTo>
                    <a:pt x="1914495" y="243400"/>
                  </a:lnTo>
                  <a:close/>
                  <a:moveTo>
                    <a:pt x="2157824" y="239359"/>
                  </a:moveTo>
                  <a:lnTo>
                    <a:pt x="2167734" y="239359"/>
                  </a:lnTo>
                  <a:lnTo>
                    <a:pt x="2171753" y="243397"/>
                  </a:lnTo>
                  <a:lnTo>
                    <a:pt x="2171753" y="253268"/>
                  </a:lnTo>
                  <a:lnTo>
                    <a:pt x="2167734" y="257307"/>
                  </a:lnTo>
                  <a:lnTo>
                    <a:pt x="2157824" y="257307"/>
                  </a:lnTo>
                  <a:lnTo>
                    <a:pt x="2153804" y="253268"/>
                  </a:lnTo>
                  <a:lnTo>
                    <a:pt x="2153804" y="243397"/>
                  </a:lnTo>
                  <a:close/>
                  <a:moveTo>
                    <a:pt x="9572438" y="239357"/>
                  </a:moveTo>
                  <a:lnTo>
                    <a:pt x="9582349" y="239357"/>
                  </a:lnTo>
                  <a:lnTo>
                    <a:pt x="9586368" y="243395"/>
                  </a:lnTo>
                  <a:lnTo>
                    <a:pt x="9586368" y="253267"/>
                  </a:lnTo>
                  <a:lnTo>
                    <a:pt x="9582349" y="257306"/>
                  </a:lnTo>
                  <a:lnTo>
                    <a:pt x="9572438" y="257306"/>
                  </a:lnTo>
                  <a:lnTo>
                    <a:pt x="9568419" y="253267"/>
                  </a:lnTo>
                  <a:lnTo>
                    <a:pt x="9568419" y="243395"/>
                  </a:lnTo>
                  <a:close/>
                  <a:moveTo>
                    <a:pt x="721976" y="239330"/>
                  </a:moveTo>
                  <a:lnTo>
                    <a:pt x="731887" y="239330"/>
                  </a:lnTo>
                  <a:lnTo>
                    <a:pt x="735906" y="243368"/>
                  </a:lnTo>
                  <a:lnTo>
                    <a:pt x="735906" y="253239"/>
                  </a:lnTo>
                  <a:lnTo>
                    <a:pt x="731887" y="257278"/>
                  </a:lnTo>
                  <a:lnTo>
                    <a:pt x="721976" y="257278"/>
                  </a:lnTo>
                  <a:lnTo>
                    <a:pt x="717958" y="253239"/>
                  </a:lnTo>
                  <a:lnTo>
                    <a:pt x="717958" y="243368"/>
                  </a:lnTo>
                  <a:close/>
                  <a:moveTo>
                    <a:pt x="482664" y="239330"/>
                  </a:moveTo>
                  <a:lnTo>
                    <a:pt x="492575" y="239330"/>
                  </a:lnTo>
                  <a:lnTo>
                    <a:pt x="496594" y="243368"/>
                  </a:lnTo>
                  <a:lnTo>
                    <a:pt x="496594" y="253239"/>
                  </a:lnTo>
                  <a:lnTo>
                    <a:pt x="492575" y="257278"/>
                  </a:lnTo>
                  <a:lnTo>
                    <a:pt x="482664" y="257278"/>
                  </a:lnTo>
                  <a:lnTo>
                    <a:pt x="478645" y="253239"/>
                  </a:lnTo>
                  <a:lnTo>
                    <a:pt x="478645" y="243368"/>
                  </a:lnTo>
                  <a:close/>
                  <a:moveTo>
                    <a:pt x="243350" y="239330"/>
                  </a:moveTo>
                  <a:lnTo>
                    <a:pt x="253261" y="239330"/>
                  </a:lnTo>
                  <a:lnTo>
                    <a:pt x="257280" y="243368"/>
                  </a:lnTo>
                  <a:lnTo>
                    <a:pt x="257280" y="253239"/>
                  </a:lnTo>
                  <a:lnTo>
                    <a:pt x="253261" y="257278"/>
                  </a:lnTo>
                  <a:lnTo>
                    <a:pt x="243350" y="257278"/>
                  </a:lnTo>
                  <a:lnTo>
                    <a:pt x="239332" y="253239"/>
                  </a:lnTo>
                  <a:lnTo>
                    <a:pt x="239332" y="243368"/>
                  </a:lnTo>
                  <a:close/>
                  <a:moveTo>
                    <a:pt x="4037" y="239330"/>
                  </a:moveTo>
                  <a:lnTo>
                    <a:pt x="13948" y="239330"/>
                  </a:lnTo>
                  <a:lnTo>
                    <a:pt x="17967" y="243368"/>
                  </a:lnTo>
                  <a:lnTo>
                    <a:pt x="17967" y="253239"/>
                  </a:lnTo>
                  <a:lnTo>
                    <a:pt x="13948" y="257278"/>
                  </a:lnTo>
                  <a:lnTo>
                    <a:pt x="4037" y="257278"/>
                  </a:lnTo>
                  <a:lnTo>
                    <a:pt x="18" y="253239"/>
                  </a:lnTo>
                  <a:lnTo>
                    <a:pt x="18" y="243368"/>
                  </a:lnTo>
                  <a:close/>
                  <a:moveTo>
                    <a:pt x="3111048" y="106"/>
                  </a:moveTo>
                  <a:lnTo>
                    <a:pt x="3120959" y="106"/>
                  </a:lnTo>
                  <a:lnTo>
                    <a:pt x="3124977" y="4144"/>
                  </a:lnTo>
                  <a:lnTo>
                    <a:pt x="3124977" y="14015"/>
                  </a:lnTo>
                  <a:lnTo>
                    <a:pt x="3120959" y="18054"/>
                  </a:lnTo>
                  <a:lnTo>
                    <a:pt x="3111048" y="18054"/>
                  </a:lnTo>
                  <a:lnTo>
                    <a:pt x="3107029" y="14015"/>
                  </a:lnTo>
                  <a:lnTo>
                    <a:pt x="3107029" y="4144"/>
                  </a:lnTo>
                  <a:close/>
                  <a:moveTo>
                    <a:pt x="2871737" y="106"/>
                  </a:moveTo>
                  <a:lnTo>
                    <a:pt x="2881646" y="106"/>
                  </a:lnTo>
                  <a:lnTo>
                    <a:pt x="2885666" y="4145"/>
                  </a:lnTo>
                  <a:lnTo>
                    <a:pt x="2885666" y="14015"/>
                  </a:lnTo>
                  <a:lnTo>
                    <a:pt x="2881646" y="18054"/>
                  </a:lnTo>
                  <a:lnTo>
                    <a:pt x="2871737" y="18054"/>
                  </a:lnTo>
                  <a:lnTo>
                    <a:pt x="2867717" y="14015"/>
                  </a:lnTo>
                  <a:lnTo>
                    <a:pt x="2867717" y="4145"/>
                  </a:lnTo>
                  <a:close/>
                  <a:moveTo>
                    <a:pt x="2632423" y="106"/>
                  </a:moveTo>
                  <a:lnTo>
                    <a:pt x="2642334" y="106"/>
                  </a:lnTo>
                  <a:lnTo>
                    <a:pt x="2646352" y="4145"/>
                  </a:lnTo>
                  <a:lnTo>
                    <a:pt x="2646352" y="14016"/>
                  </a:lnTo>
                  <a:lnTo>
                    <a:pt x="2642334" y="18055"/>
                  </a:lnTo>
                  <a:lnTo>
                    <a:pt x="2632423" y="18055"/>
                  </a:lnTo>
                  <a:lnTo>
                    <a:pt x="2628404" y="14016"/>
                  </a:lnTo>
                  <a:lnTo>
                    <a:pt x="2628404" y="4145"/>
                  </a:lnTo>
                  <a:close/>
                  <a:moveTo>
                    <a:pt x="2393104" y="106"/>
                  </a:moveTo>
                  <a:lnTo>
                    <a:pt x="2403015" y="106"/>
                  </a:lnTo>
                  <a:lnTo>
                    <a:pt x="2407034" y="4145"/>
                  </a:lnTo>
                  <a:lnTo>
                    <a:pt x="2407034" y="14016"/>
                  </a:lnTo>
                  <a:lnTo>
                    <a:pt x="2403015" y="18055"/>
                  </a:lnTo>
                  <a:lnTo>
                    <a:pt x="2393104" y="18055"/>
                  </a:lnTo>
                  <a:lnTo>
                    <a:pt x="2389087" y="14016"/>
                  </a:lnTo>
                  <a:lnTo>
                    <a:pt x="2389087" y="4145"/>
                  </a:lnTo>
                  <a:close/>
                  <a:moveTo>
                    <a:pt x="3350359" y="106"/>
                  </a:moveTo>
                  <a:lnTo>
                    <a:pt x="3360268" y="106"/>
                  </a:lnTo>
                  <a:lnTo>
                    <a:pt x="3364287" y="4144"/>
                  </a:lnTo>
                  <a:lnTo>
                    <a:pt x="3364287" y="14015"/>
                  </a:lnTo>
                  <a:lnTo>
                    <a:pt x="3360268" y="18054"/>
                  </a:lnTo>
                  <a:lnTo>
                    <a:pt x="3350359" y="18054"/>
                  </a:lnTo>
                  <a:lnTo>
                    <a:pt x="3346340" y="14015"/>
                  </a:lnTo>
                  <a:lnTo>
                    <a:pt x="3346340" y="4144"/>
                  </a:lnTo>
                  <a:close/>
                  <a:moveTo>
                    <a:pt x="4546929" y="93"/>
                  </a:moveTo>
                  <a:lnTo>
                    <a:pt x="4556840" y="93"/>
                  </a:lnTo>
                  <a:lnTo>
                    <a:pt x="4560859" y="4132"/>
                  </a:lnTo>
                  <a:lnTo>
                    <a:pt x="4560859" y="14002"/>
                  </a:lnTo>
                  <a:lnTo>
                    <a:pt x="4556840" y="18041"/>
                  </a:lnTo>
                  <a:lnTo>
                    <a:pt x="4546929" y="18041"/>
                  </a:lnTo>
                  <a:lnTo>
                    <a:pt x="4542910" y="14002"/>
                  </a:lnTo>
                  <a:lnTo>
                    <a:pt x="4542910" y="4132"/>
                  </a:lnTo>
                  <a:close/>
                  <a:moveTo>
                    <a:pt x="4307612" y="93"/>
                  </a:moveTo>
                  <a:lnTo>
                    <a:pt x="4317523" y="93"/>
                  </a:lnTo>
                  <a:lnTo>
                    <a:pt x="4321543" y="4132"/>
                  </a:lnTo>
                  <a:lnTo>
                    <a:pt x="4321543" y="14003"/>
                  </a:lnTo>
                  <a:lnTo>
                    <a:pt x="4317523" y="18042"/>
                  </a:lnTo>
                  <a:lnTo>
                    <a:pt x="4307612" y="18042"/>
                  </a:lnTo>
                  <a:lnTo>
                    <a:pt x="4303595" y="14003"/>
                  </a:lnTo>
                  <a:lnTo>
                    <a:pt x="4303595" y="4132"/>
                  </a:lnTo>
                  <a:close/>
                  <a:moveTo>
                    <a:pt x="4068297" y="93"/>
                  </a:moveTo>
                  <a:lnTo>
                    <a:pt x="4078210" y="93"/>
                  </a:lnTo>
                  <a:lnTo>
                    <a:pt x="4082229" y="4132"/>
                  </a:lnTo>
                  <a:lnTo>
                    <a:pt x="4082229" y="14003"/>
                  </a:lnTo>
                  <a:lnTo>
                    <a:pt x="4078210" y="18042"/>
                  </a:lnTo>
                  <a:lnTo>
                    <a:pt x="4068297" y="18042"/>
                  </a:lnTo>
                  <a:lnTo>
                    <a:pt x="4064278" y="14003"/>
                  </a:lnTo>
                  <a:lnTo>
                    <a:pt x="4064278" y="4132"/>
                  </a:lnTo>
                  <a:close/>
                  <a:moveTo>
                    <a:pt x="3828990" y="93"/>
                  </a:moveTo>
                  <a:lnTo>
                    <a:pt x="3838899" y="93"/>
                  </a:lnTo>
                  <a:lnTo>
                    <a:pt x="3842917" y="4132"/>
                  </a:lnTo>
                  <a:lnTo>
                    <a:pt x="3842917" y="14003"/>
                  </a:lnTo>
                  <a:lnTo>
                    <a:pt x="3838899" y="18042"/>
                  </a:lnTo>
                  <a:lnTo>
                    <a:pt x="3828990" y="18042"/>
                  </a:lnTo>
                  <a:lnTo>
                    <a:pt x="3824971" y="14003"/>
                  </a:lnTo>
                  <a:lnTo>
                    <a:pt x="3824971" y="4132"/>
                  </a:lnTo>
                  <a:close/>
                  <a:moveTo>
                    <a:pt x="3589676" y="93"/>
                  </a:moveTo>
                  <a:lnTo>
                    <a:pt x="3599585" y="93"/>
                  </a:lnTo>
                  <a:lnTo>
                    <a:pt x="3603604" y="4132"/>
                  </a:lnTo>
                  <a:lnTo>
                    <a:pt x="3603604" y="14003"/>
                  </a:lnTo>
                  <a:lnTo>
                    <a:pt x="3599585" y="18042"/>
                  </a:lnTo>
                  <a:lnTo>
                    <a:pt x="3589676" y="18042"/>
                  </a:lnTo>
                  <a:lnTo>
                    <a:pt x="3585657" y="14003"/>
                  </a:lnTo>
                  <a:lnTo>
                    <a:pt x="3585657" y="4132"/>
                  </a:lnTo>
                  <a:close/>
                  <a:moveTo>
                    <a:pt x="4786241" y="81"/>
                  </a:moveTo>
                  <a:lnTo>
                    <a:pt x="4796152" y="81"/>
                  </a:lnTo>
                  <a:lnTo>
                    <a:pt x="4800171" y="4119"/>
                  </a:lnTo>
                  <a:lnTo>
                    <a:pt x="4800171" y="13990"/>
                  </a:lnTo>
                  <a:lnTo>
                    <a:pt x="4796152" y="18029"/>
                  </a:lnTo>
                  <a:lnTo>
                    <a:pt x="4786241" y="18029"/>
                  </a:lnTo>
                  <a:lnTo>
                    <a:pt x="4782224" y="13990"/>
                  </a:lnTo>
                  <a:lnTo>
                    <a:pt x="4782224" y="4119"/>
                  </a:lnTo>
                  <a:close/>
                  <a:moveTo>
                    <a:pt x="5743412" y="80"/>
                  </a:moveTo>
                  <a:lnTo>
                    <a:pt x="5753323" y="80"/>
                  </a:lnTo>
                  <a:lnTo>
                    <a:pt x="5757342" y="4119"/>
                  </a:lnTo>
                  <a:lnTo>
                    <a:pt x="5757342" y="13990"/>
                  </a:lnTo>
                  <a:lnTo>
                    <a:pt x="5753323" y="18029"/>
                  </a:lnTo>
                  <a:lnTo>
                    <a:pt x="5743412" y="18029"/>
                  </a:lnTo>
                  <a:lnTo>
                    <a:pt x="5739393" y="13990"/>
                  </a:lnTo>
                  <a:lnTo>
                    <a:pt x="5739393" y="4119"/>
                  </a:lnTo>
                  <a:close/>
                  <a:moveTo>
                    <a:pt x="5504099" y="80"/>
                  </a:moveTo>
                  <a:lnTo>
                    <a:pt x="5514010" y="80"/>
                  </a:lnTo>
                  <a:lnTo>
                    <a:pt x="5518029" y="4119"/>
                  </a:lnTo>
                  <a:lnTo>
                    <a:pt x="5518029" y="13990"/>
                  </a:lnTo>
                  <a:lnTo>
                    <a:pt x="5514010" y="18029"/>
                  </a:lnTo>
                  <a:lnTo>
                    <a:pt x="5504099" y="18029"/>
                  </a:lnTo>
                  <a:lnTo>
                    <a:pt x="5500080" y="13990"/>
                  </a:lnTo>
                  <a:lnTo>
                    <a:pt x="5500080" y="4119"/>
                  </a:lnTo>
                  <a:close/>
                  <a:moveTo>
                    <a:pt x="5264784" y="80"/>
                  </a:moveTo>
                  <a:lnTo>
                    <a:pt x="5274694" y="80"/>
                  </a:lnTo>
                  <a:lnTo>
                    <a:pt x="5278713" y="4119"/>
                  </a:lnTo>
                  <a:lnTo>
                    <a:pt x="5278713" y="13990"/>
                  </a:lnTo>
                  <a:lnTo>
                    <a:pt x="5274694" y="18029"/>
                  </a:lnTo>
                  <a:lnTo>
                    <a:pt x="5264784" y="18029"/>
                  </a:lnTo>
                  <a:lnTo>
                    <a:pt x="5260765" y="13990"/>
                  </a:lnTo>
                  <a:lnTo>
                    <a:pt x="5260765" y="4119"/>
                  </a:lnTo>
                  <a:close/>
                  <a:moveTo>
                    <a:pt x="5025470" y="80"/>
                  </a:moveTo>
                  <a:lnTo>
                    <a:pt x="5035381" y="80"/>
                  </a:lnTo>
                  <a:lnTo>
                    <a:pt x="5039400" y="4119"/>
                  </a:lnTo>
                  <a:lnTo>
                    <a:pt x="5039400" y="13990"/>
                  </a:lnTo>
                  <a:lnTo>
                    <a:pt x="5035381" y="18029"/>
                  </a:lnTo>
                  <a:lnTo>
                    <a:pt x="5025470" y="18029"/>
                  </a:lnTo>
                  <a:lnTo>
                    <a:pt x="5021451" y="13990"/>
                  </a:lnTo>
                  <a:lnTo>
                    <a:pt x="5021451" y="4119"/>
                  </a:lnTo>
                  <a:close/>
                  <a:moveTo>
                    <a:pt x="6461356" y="68"/>
                  </a:moveTo>
                  <a:lnTo>
                    <a:pt x="6471266" y="68"/>
                  </a:lnTo>
                  <a:lnTo>
                    <a:pt x="6475285" y="4106"/>
                  </a:lnTo>
                  <a:lnTo>
                    <a:pt x="6475285" y="13976"/>
                  </a:lnTo>
                  <a:lnTo>
                    <a:pt x="6471266" y="18015"/>
                  </a:lnTo>
                  <a:lnTo>
                    <a:pt x="6461356" y="18015"/>
                  </a:lnTo>
                  <a:lnTo>
                    <a:pt x="6457337" y="13976"/>
                  </a:lnTo>
                  <a:lnTo>
                    <a:pt x="6457337" y="4106"/>
                  </a:lnTo>
                  <a:close/>
                  <a:moveTo>
                    <a:pt x="6222042" y="68"/>
                  </a:moveTo>
                  <a:lnTo>
                    <a:pt x="6231952" y="68"/>
                  </a:lnTo>
                  <a:lnTo>
                    <a:pt x="6235971" y="4106"/>
                  </a:lnTo>
                  <a:lnTo>
                    <a:pt x="6235971" y="13977"/>
                  </a:lnTo>
                  <a:lnTo>
                    <a:pt x="6231952" y="18016"/>
                  </a:lnTo>
                  <a:lnTo>
                    <a:pt x="6222042" y="18016"/>
                  </a:lnTo>
                  <a:lnTo>
                    <a:pt x="6218023" y="13977"/>
                  </a:lnTo>
                  <a:lnTo>
                    <a:pt x="6218023" y="4106"/>
                  </a:lnTo>
                  <a:close/>
                  <a:moveTo>
                    <a:pt x="5982729" y="68"/>
                  </a:moveTo>
                  <a:lnTo>
                    <a:pt x="5992639" y="68"/>
                  </a:lnTo>
                  <a:lnTo>
                    <a:pt x="5996658" y="4106"/>
                  </a:lnTo>
                  <a:lnTo>
                    <a:pt x="5996658" y="13977"/>
                  </a:lnTo>
                  <a:lnTo>
                    <a:pt x="5992639" y="18016"/>
                  </a:lnTo>
                  <a:lnTo>
                    <a:pt x="5982729" y="18016"/>
                  </a:lnTo>
                  <a:lnTo>
                    <a:pt x="5978710" y="13977"/>
                  </a:lnTo>
                  <a:lnTo>
                    <a:pt x="5978710" y="4106"/>
                  </a:lnTo>
                  <a:close/>
                  <a:moveTo>
                    <a:pt x="6939983" y="67"/>
                  </a:moveTo>
                  <a:lnTo>
                    <a:pt x="6949894" y="67"/>
                  </a:lnTo>
                  <a:lnTo>
                    <a:pt x="6953913" y="4105"/>
                  </a:lnTo>
                  <a:lnTo>
                    <a:pt x="6953913" y="13976"/>
                  </a:lnTo>
                  <a:lnTo>
                    <a:pt x="6949894" y="18015"/>
                  </a:lnTo>
                  <a:lnTo>
                    <a:pt x="6939983" y="18015"/>
                  </a:lnTo>
                  <a:lnTo>
                    <a:pt x="6935964" y="13976"/>
                  </a:lnTo>
                  <a:lnTo>
                    <a:pt x="6935964" y="4105"/>
                  </a:lnTo>
                  <a:close/>
                  <a:moveTo>
                    <a:pt x="6700670" y="67"/>
                  </a:moveTo>
                  <a:lnTo>
                    <a:pt x="6710581" y="67"/>
                  </a:lnTo>
                  <a:lnTo>
                    <a:pt x="6714600" y="4105"/>
                  </a:lnTo>
                  <a:lnTo>
                    <a:pt x="6714600" y="13976"/>
                  </a:lnTo>
                  <a:lnTo>
                    <a:pt x="6710581" y="18015"/>
                  </a:lnTo>
                  <a:lnTo>
                    <a:pt x="6700670" y="18015"/>
                  </a:lnTo>
                  <a:lnTo>
                    <a:pt x="6696651" y="13976"/>
                  </a:lnTo>
                  <a:lnTo>
                    <a:pt x="6696651" y="4105"/>
                  </a:lnTo>
                  <a:close/>
                  <a:moveTo>
                    <a:pt x="8136553" y="54"/>
                  </a:moveTo>
                  <a:lnTo>
                    <a:pt x="8146464" y="54"/>
                  </a:lnTo>
                  <a:lnTo>
                    <a:pt x="8150483" y="4093"/>
                  </a:lnTo>
                  <a:lnTo>
                    <a:pt x="8150483" y="13963"/>
                  </a:lnTo>
                  <a:lnTo>
                    <a:pt x="8146464" y="18002"/>
                  </a:lnTo>
                  <a:lnTo>
                    <a:pt x="8136553" y="18002"/>
                  </a:lnTo>
                  <a:lnTo>
                    <a:pt x="8132534" y="13963"/>
                  </a:lnTo>
                  <a:lnTo>
                    <a:pt x="8132534" y="4093"/>
                  </a:lnTo>
                  <a:close/>
                  <a:moveTo>
                    <a:pt x="7897241" y="54"/>
                  </a:moveTo>
                  <a:lnTo>
                    <a:pt x="7907151" y="54"/>
                  </a:lnTo>
                  <a:lnTo>
                    <a:pt x="7911170" y="4093"/>
                  </a:lnTo>
                  <a:lnTo>
                    <a:pt x="7911170" y="13964"/>
                  </a:lnTo>
                  <a:lnTo>
                    <a:pt x="7907151" y="18003"/>
                  </a:lnTo>
                  <a:lnTo>
                    <a:pt x="7897241" y="18003"/>
                  </a:lnTo>
                  <a:lnTo>
                    <a:pt x="7893222" y="13964"/>
                  </a:lnTo>
                  <a:lnTo>
                    <a:pt x="7893222" y="4093"/>
                  </a:lnTo>
                  <a:close/>
                  <a:moveTo>
                    <a:pt x="7657926" y="54"/>
                  </a:moveTo>
                  <a:lnTo>
                    <a:pt x="7667836" y="54"/>
                  </a:lnTo>
                  <a:lnTo>
                    <a:pt x="7671855" y="4093"/>
                  </a:lnTo>
                  <a:lnTo>
                    <a:pt x="7671855" y="13964"/>
                  </a:lnTo>
                  <a:lnTo>
                    <a:pt x="7667836" y="18003"/>
                  </a:lnTo>
                  <a:lnTo>
                    <a:pt x="7657926" y="18003"/>
                  </a:lnTo>
                  <a:lnTo>
                    <a:pt x="7653906" y="13964"/>
                  </a:lnTo>
                  <a:lnTo>
                    <a:pt x="7653906" y="4093"/>
                  </a:lnTo>
                  <a:close/>
                  <a:moveTo>
                    <a:pt x="7418611" y="54"/>
                  </a:moveTo>
                  <a:lnTo>
                    <a:pt x="7428521" y="54"/>
                  </a:lnTo>
                  <a:lnTo>
                    <a:pt x="7432540" y="4093"/>
                  </a:lnTo>
                  <a:lnTo>
                    <a:pt x="7432540" y="13964"/>
                  </a:lnTo>
                  <a:lnTo>
                    <a:pt x="7428521" y="18003"/>
                  </a:lnTo>
                  <a:lnTo>
                    <a:pt x="7418611" y="18003"/>
                  </a:lnTo>
                  <a:lnTo>
                    <a:pt x="7414592" y="13964"/>
                  </a:lnTo>
                  <a:lnTo>
                    <a:pt x="7414592" y="4093"/>
                  </a:lnTo>
                  <a:close/>
                  <a:moveTo>
                    <a:pt x="7179298" y="54"/>
                  </a:moveTo>
                  <a:lnTo>
                    <a:pt x="7189209" y="54"/>
                  </a:lnTo>
                  <a:lnTo>
                    <a:pt x="7193228" y="4093"/>
                  </a:lnTo>
                  <a:lnTo>
                    <a:pt x="7193228" y="13964"/>
                  </a:lnTo>
                  <a:lnTo>
                    <a:pt x="7189209" y="18003"/>
                  </a:lnTo>
                  <a:lnTo>
                    <a:pt x="7179298" y="18003"/>
                  </a:lnTo>
                  <a:lnTo>
                    <a:pt x="7175279" y="13964"/>
                  </a:lnTo>
                  <a:lnTo>
                    <a:pt x="7175279" y="4093"/>
                  </a:lnTo>
                  <a:close/>
                  <a:moveTo>
                    <a:pt x="8375869" y="42"/>
                  </a:moveTo>
                  <a:lnTo>
                    <a:pt x="8385779" y="42"/>
                  </a:lnTo>
                  <a:lnTo>
                    <a:pt x="8389799" y="4080"/>
                  </a:lnTo>
                  <a:lnTo>
                    <a:pt x="8389799" y="13951"/>
                  </a:lnTo>
                  <a:lnTo>
                    <a:pt x="8385779" y="17990"/>
                  </a:lnTo>
                  <a:lnTo>
                    <a:pt x="8375869" y="17990"/>
                  </a:lnTo>
                  <a:lnTo>
                    <a:pt x="8371850" y="13951"/>
                  </a:lnTo>
                  <a:lnTo>
                    <a:pt x="8371850" y="4080"/>
                  </a:lnTo>
                  <a:close/>
                  <a:moveTo>
                    <a:pt x="9333125" y="41"/>
                  </a:moveTo>
                  <a:lnTo>
                    <a:pt x="9343036" y="41"/>
                  </a:lnTo>
                  <a:lnTo>
                    <a:pt x="9347055" y="4080"/>
                  </a:lnTo>
                  <a:lnTo>
                    <a:pt x="9347055" y="13951"/>
                  </a:lnTo>
                  <a:lnTo>
                    <a:pt x="9343036" y="17990"/>
                  </a:lnTo>
                  <a:lnTo>
                    <a:pt x="9333125" y="17990"/>
                  </a:lnTo>
                  <a:lnTo>
                    <a:pt x="9329106" y="13951"/>
                  </a:lnTo>
                  <a:lnTo>
                    <a:pt x="9329106" y="4080"/>
                  </a:lnTo>
                  <a:close/>
                  <a:moveTo>
                    <a:pt x="9093811" y="41"/>
                  </a:moveTo>
                  <a:lnTo>
                    <a:pt x="9103722" y="41"/>
                  </a:lnTo>
                  <a:lnTo>
                    <a:pt x="9107741" y="4080"/>
                  </a:lnTo>
                  <a:lnTo>
                    <a:pt x="9107741" y="13951"/>
                  </a:lnTo>
                  <a:lnTo>
                    <a:pt x="9103722" y="17990"/>
                  </a:lnTo>
                  <a:lnTo>
                    <a:pt x="9093811" y="17990"/>
                  </a:lnTo>
                  <a:lnTo>
                    <a:pt x="9089792" y="13951"/>
                  </a:lnTo>
                  <a:lnTo>
                    <a:pt x="9089792" y="4080"/>
                  </a:lnTo>
                  <a:close/>
                  <a:moveTo>
                    <a:pt x="8854496" y="41"/>
                  </a:moveTo>
                  <a:lnTo>
                    <a:pt x="8864407" y="41"/>
                  </a:lnTo>
                  <a:lnTo>
                    <a:pt x="8868426" y="4080"/>
                  </a:lnTo>
                  <a:lnTo>
                    <a:pt x="8868426" y="13951"/>
                  </a:lnTo>
                  <a:lnTo>
                    <a:pt x="8864407" y="17990"/>
                  </a:lnTo>
                  <a:lnTo>
                    <a:pt x="8854496" y="17990"/>
                  </a:lnTo>
                  <a:lnTo>
                    <a:pt x="8850477" y="13951"/>
                  </a:lnTo>
                  <a:lnTo>
                    <a:pt x="8850477" y="4080"/>
                  </a:lnTo>
                  <a:close/>
                  <a:moveTo>
                    <a:pt x="8615184" y="41"/>
                  </a:moveTo>
                  <a:lnTo>
                    <a:pt x="8625095" y="41"/>
                  </a:lnTo>
                  <a:lnTo>
                    <a:pt x="8629114" y="4080"/>
                  </a:lnTo>
                  <a:lnTo>
                    <a:pt x="8629114" y="13951"/>
                  </a:lnTo>
                  <a:lnTo>
                    <a:pt x="8625095" y="17990"/>
                  </a:lnTo>
                  <a:lnTo>
                    <a:pt x="8615184" y="17990"/>
                  </a:lnTo>
                  <a:lnTo>
                    <a:pt x="8611165" y="13951"/>
                  </a:lnTo>
                  <a:lnTo>
                    <a:pt x="8611165" y="4080"/>
                  </a:lnTo>
                  <a:close/>
                  <a:moveTo>
                    <a:pt x="961275" y="41"/>
                  </a:moveTo>
                  <a:lnTo>
                    <a:pt x="971184" y="41"/>
                  </a:lnTo>
                  <a:lnTo>
                    <a:pt x="975204" y="4080"/>
                  </a:lnTo>
                  <a:lnTo>
                    <a:pt x="975204" y="13951"/>
                  </a:lnTo>
                  <a:lnTo>
                    <a:pt x="971184" y="17990"/>
                  </a:lnTo>
                  <a:lnTo>
                    <a:pt x="961275" y="17990"/>
                  </a:lnTo>
                  <a:lnTo>
                    <a:pt x="957256" y="13951"/>
                  </a:lnTo>
                  <a:lnTo>
                    <a:pt x="957256" y="4080"/>
                  </a:lnTo>
                  <a:close/>
                  <a:moveTo>
                    <a:pt x="1679221" y="41"/>
                  </a:moveTo>
                  <a:lnTo>
                    <a:pt x="1689131" y="41"/>
                  </a:lnTo>
                  <a:lnTo>
                    <a:pt x="1693151" y="4079"/>
                  </a:lnTo>
                  <a:lnTo>
                    <a:pt x="1693151" y="13950"/>
                  </a:lnTo>
                  <a:lnTo>
                    <a:pt x="1689131" y="17989"/>
                  </a:lnTo>
                  <a:lnTo>
                    <a:pt x="1679221" y="17989"/>
                  </a:lnTo>
                  <a:lnTo>
                    <a:pt x="1675203" y="13950"/>
                  </a:lnTo>
                  <a:lnTo>
                    <a:pt x="1675203" y="4079"/>
                  </a:lnTo>
                  <a:close/>
                  <a:moveTo>
                    <a:pt x="1439904" y="41"/>
                  </a:moveTo>
                  <a:lnTo>
                    <a:pt x="1449813" y="41"/>
                  </a:lnTo>
                  <a:lnTo>
                    <a:pt x="1453833" y="4079"/>
                  </a:lnTo>
                  <a:lnTo>
                    <a:pt x="1453833" y="13950"/>
                  </a:lnTo>
                  <a:lnTo>
                    <a:pt x="1449813" y="17989"/>
                  </a:lnTo>
                  <a:lnTo>
                    <a:pt x="1439904" y="17989"/>
                  </a:lnTo>
                  <a:lnTo>
                    <a:pt x="1435885" y="13950"/>
                  </a:lnTo>
                  <a:lnTo>
                    <a:pt x="1435885" y="4079"/>
                  </a:lnTo>
                  <a:close/>
                  <a:moveTo>
                    <a:pt x="1200587" y="41"/>
                  </a:moveTo>
                  <a:lnTo>
                    <a:pt x="1210497" y="41"/>
                  </a:lnTo>
                  <a:lnTo>
                    <a:pt x="1214516" y="4080"/>
                  </a:lnTo>
                  <a:lnTo>
                    <a:pt x="1214516" y="13951"/>
                  </a:lnTo>
                  <a:lnTo>
                    <a:pt x="1210497" y="17989"/>
                  </a:lnTo>
                  <a:lnTo>
                    <a:pt x="1200587" y="17989"/>
                  </a:lnTo>
                  <a:lnTo>
                    <a:pt x="1196568" y="13951"/>
                  </a:lnTo>
                  <a:lnTo>
                    <a:pt x="1196568" y="4080"/>
                  </a:lnTo>
                  <a:close/>
                  <a:moveTo>
                    <a:pt x="1918515" y="31"/>
                  </a:moveTo>
                  <a:lnTo>
                    <a:pt x="1928425" y="31"/>
                  </a:lnTo>
                  <a:lnTo>
                    <a:pt x="1932444" y="4069"/>
                  </a:lnTo>
                  <a:lnTo>
                    <a:pt x="1932444" y="13940"/>
                  </a:lnTo>
                  <a:lnTo>
                    <a:pt x="1928425" y="17979"/>
                  </a:lnTo>
                  <a:lnTo>
                    <a:pt x="1918515" y="17979"/>
                  </a:lnTo>
                  <a:lnTo>
                    <a:pt x="1914497" y="13940"/>
                  </a:lnTo>
                  <a:lnTo>
                    <a:pt x="1914497" y="4069"/>
                  </a:lnTo>
                  <a:close/>
                  <a:moveTo>
                    <a:pt x="9572438" y="29"/>
                  </a:moveTo>
                  <a:lnTo>
                    <a:pt x="9582349" y="29"/>
                  </a:lnTo>
                  <a:lnTo>
                    <a:pt x="9586368" y="4067"/>
                  </a:lnTo>
                  <a:lnTo>
                    <a:pt x="9586368" y="13938"/>
                  </a:lnTo>
                  <a:lnTo>
                    <a:pt x="9582349" y="17977"/>
                  </a:lnTo>
                  <a:lnTo>
                    <a:pt x="9572438" y="17977"/>
                  </a:lnTo>
                  <a:lnTo>
                    <a:pt x="9568419" y="13938"/>
                  </a:lnTo>
                  <a:lnTo>
                    <a:pt x="9568419" y="4067"/>
                  </a:lnTo>
                  <a:close/>
                  <a:moveTo>
                    <a:pt x="2157824" y="28"/>
                  </a:moveTo>
                  <a:lnTo>
                    <a:pt x="2167734" y="28"/>
                  </a:lnTo>
                  <a:lnTo>
                    <a:pt x="2171753" y="4067"/>
                  </a:lnTo>
                  <a:lnTo>
                    <a:pt x="2171753" y="13938"/>
                  </a:lnTo>
                  <a:lnTo>
                    <a:pt x="2167734" y="17977"/>
                  </a:lnTo>
                  <a:lnTo>
                    <a:pt x="2157824" y="17977"/>
                  </a:lnTo>
                  <a:lnTo>
                    <a:pt x="2153804" y="13938"/>
                  </a:lnTo>
                  <a:lnTo>
                    <a:pt x="2153804" y="4067"/>
                  </a:lnTo>
                  <a:close/>
                  <a:moveTo>
                    <a:pt x="721977" y="0"/>
                  </a:moveTo>
                  <a:lnTo>
                    <a:pt x="731887" y="0"/>
                  </a:lnTo>
                  <a:lnTo>
                    <a:pt x="735906" y="4039"/>
                  </a:lnTo>
                  <a:lnTo>
                    <a:pt x="735906" y="13910"/>
                  </a:lnTo>
                  <a:lnTo>
                    <a:pt x="731887" y="17949"/>
                  </a:lnTo>
                  <a:lnTo>
                    <a:pt x="721977" y="17949"/>
                  </a:lnTo>
                  <a:lnTo>
                    <a:pt x="717959" y="13910"/>
                  </a:lnTo>
                  <a:lnTo>
                    <a:pt x="717959" y="4039"/>
                  </a:lnTo>
                  <a:close/>
                  <a:moveTo>
                    <a:pt x="482665" y="0"/>
                  </a:moveTo>
                  <a:lnTo>
                    <a:pt x="492575" y="0"/>
                  </a:lnTo>
                  <a:lnTo>
                    <a:pt x="496594" y="4039"/>
                  </a:lnTo>
                  <a:lnTo>
                    <a:pt x="496594" y="13910"/>
                  </a:lnTo>
                  <a:lnTo>
                    <a:pt x="492575" y="17949"/>
                  </a:lnTo>
                  <a:lnTo>
                    <a:pt x="482665" y="17949"/>
                  </a:lnTo>
                  <a:lnTo>
                    <a:pt x="478646" y="13910"/>
                  </a:lnTo>
                  <a:lnTo>
                    <a:pt x="478646" y="4039"/>
                  </a:lnTo>
                  <a:close/>
                  <a:moveTo>
                    <a:pt x="243351" y="0"/>
                  </a:moveTo>
                  <a:lnTo>
                    <a:pt x="253261" y="0"/>
                  </a:lnTo>
                  <a:lnTo>
                    <a:pt x="257281" y="4039"/>
                  </a:lnTo>
                  <a:lnTo>
                    <a:pt x="257281" y="13910"/>
                  </a:lnTo>
                  <a:lnTo>
                    <a:pt x="253261" y="17949"/>
                  </a:lnTo>
                  <a:lnTo>
                    <a:pt x="243351" y="17949"/>
                  </a:lnTo>
                  <a:lnTo>
                    <a:pt x="239332" y="13910"/>
                  </a:lnTo>
                  <a:lnTo>
                    <a:pt x="239332" y="4039"/>
                  </a:lnTo>
                  <a:close/>
                  <a:moveTo>
                    <a:pt x="4039" y="0"/>
                  </a:moveTo>
                  <a:lnTo>
                    <a:pt x="13948" y="0"/>
                  </a:lnTo>
                  <a:lnTo>
                    <a:pt x="17967" y="4039"/>
                  </a:lnTo>
                  <a:lnTo>
                    <a:pt x="17967" y="13910"/>
                  </a:lnTo>
                  <a:lnTo>
                    <a:pt x="13948" y="17949"/>
                  </a:lnTo>
                  <a:lnTo>
                    <a:pt x="4039" y="17949"/>
                  </a:lnTo>
                  <a:lnTo>
                    <a:pt x="19" y="13910"/>
                  </a:lnTo>
                  <a:lnTo>
                    <a:pt x="19" y="4039"/>
                  </a:lnTo>
                  <a:close/>
                </a:path>
              </a:pathLst>
            </a:custGeom>
            <a:solidFill>
              <a:srgbClr val="30373B">
                <a:alpha val="29998"/>
              </a:srgbClr>
            </a:solidFill>
          </p:spPr>
          <p:txBody>
            <a:bodyPr wrap="square" lIns="0" tIns="0" rIns="0" bIns="0" rtlCol="0">
              <a:noAutofit/>
            </a:bodyPr>
            <a:lstStyle/>
            <a:p>
              <a:endParaRPr lang="en-GB" dirty="0">
                <a:solidFill>
                  <a:srgbClr val="1F2023"/>
                </a:solidFill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7687E9C5-7867-450F-B7D3-7F14202E697D}"/>
                </a:ext>
              </a:extLst>
            </p:cNvPr>
            <p:cNvSpPr txBox="1"/>
            <p:nvPr userDrawn="1"/>
          </p:nvSpPr>
          <p:spPr>
            <a:xfrm>
              <a:off x="9276000" y="0"/>
              <a:ext cx="630000" cy="1620000"/>
            </a:xfrm>
            <a:prstGeom prst="rect">
              <a:avLst/>
            </a:prstGeom>
            <a:solidFill>
              <a:schemeClr val="bg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>
                <a:defRPr sz="1100">
                  <a:solidFill>
                    <a:srgbClr val="2F363B"/>
                  </a:solidFill>
                </a:defRPr>
              </a:lvl1pPr>
              <a:lvl2pPr marL="0" lvl="1" indent="0">
                <a:buSzPct val="100000"/>
                <a:buChar char="​"/>
                <a:defRPr sz="1100">
                  <a:solidFill>
                    <a:srgbClr val="2F363B"/>
                  </a:solidFill>
                  <a:latin typeface="Arial" panose="020B0604020202020204" pitchFamily="34" charset="0"/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</a:defRPr>
              </a:lvl9pPr>
            </a:lstStyle>
            <a:p>
              <a:pPr lvl="1">
                <a:buNone/>
              </a:pPr>
              <a:endParaRPr lang="de-DE">
                <a:sym typeface="Arial" panose="020B0604020202020204" pitchFamily="34" charset="0"/>
              </a:endParaRP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5A51B767-8122-46EE-A61C-6F1D4EA90A0C}"/>
              </a:ext>
            </a:extLst>
          </p:cNvPr>
          <p:cNvSpPr txBox="1"/>
          <p:nvPr userDrawn="1"/>
        </p:nvSpPr>
        <p:spPr>
          <a:xfrm>
            <a:off x="-1" y="962024"/>
            <a:ext cx="7776000" cy="5895976"/>
          </a:xfrm>
          <a:prstGeom prst="rect">
            <a:avLst/>
          </a:prstGeom>
          <a:solidFill>
            <a:srgbClr val="9A6E3A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>
              <a:defRPr sz="1100">
                <a:solidFill>
                  <a:srgbClr val="2F363B"/>
                </a:solidFill>
              </a:defRPr>
            </a:lvl1pPr>
            <a:lvl2pPr marL="0" lvl="1" indent="0">
              <a:buSzPct val="100000"/>
              <a:buChar char="​"/>
              <a:defRPr sz="1100">
                <a:solidFill>
                  <a:srgbClr val="2F363B"/>
                </a:solidFill>
                <a:latin typeface="Arial" panose="020B0604020202020204" pitchFamily="34" charset="0"/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lvl="1">
              <a:buNone/>
            </a:pPr>
            <a:endParaRPr lang="de-DE">
              <a:sym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3637FDB-F8B7-4F0A-9D10-989B9490783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8413" y="2153514"/>
            <a:ext cx="6300000" cy="2160000"/>
          </a:xfrm>
        </p:spPr>
        <p:txBody>
          <a:bodyPr vert="horz" anchor="t" anchorCtr="0">
            <a:noAutofit/>
          </a:bodyPr>
          <a:lstStyle>
            <a:lvl1pPr algn="l">
              <a:lnSpc>
                <a:spcPct val="83000"/>
              </a:lnSpc>
              <a:defRPr sz="6000" cap="all" baseline="0">
                <a:solidFill>
                  <a:srgbClr val="1F2023"/>
                </a:solidFill>
                <a:latin typeface="Impact" panose="020B080603090205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8412" y="1523514"/>
            <a:ext cx="6300000" cy="426851"/>
          </a:xfrm>
        </p:spPr>
        <p:txBody>
          <a:bodyPr rIns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600">
                <a:solidFill>
                  <a:srgbClr val="1F2023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894">
                <a:solidFill>
                  <a:srgbClr val="2F363B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1D3067F-1962-46D9-86B7-08FC94B365B1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 rot="5400000">
            <a:off x="8861146" y="788544"/>
            <a:ext cx="1258889" cy="287891"/>
          </a:xfrm>
          <a:custGeom>
            <a:avLst/>
            <a:gdLst>
              <a:gd name="connsiteX0" fmla="*/ 6778122 w 9905999"/>
              <a:gd name="connsiteY0" fmla="*/ 2222531 h 2265361"/>
              <a:gd name="connsiteX1" fmla="*/ 7135812 w 9905999"/>
              <a:gd name="connsiteY1" fmla="*/ 2222531 h 2265361"/>
              <a:gd name="connsiteX2" fmla="*/ 7135812 w 9905999"/>
              <a:gd name="connsiteY2" fmla="*/ 2265361 h 2265361"/>
              <a:gd name="connsiteX3" fmla="*/ 6778122 w 9905999"/>
              <a:gd name="connsiteY3" fmla="*/ 2265361 h 2265361"/>
              <a:gd name="connsiteX4" fmla="*/ 6778122 w 9905999"/>
              <a:gd name="connsiteY4" fmla="*/ 2222531 h 2265361"/>
              <a:gd name="connsiteX5" fmla="*/ 6449676 w 9905999"/>
              <a:gd name="connsiteY5" fmla="*/ 1769427 h 2265361"/>
              <a:gd name="connsiteX6" fmla="*/ 6449676 w 9905999"/>
              <a:gd name="connsiteY6" fmla="*/ 1965546 h 2265361"/>
              <a:gd name="connsiteX7" fmla="*/ 6575655 w 9905999"/>
              <a:gd name="connsiteY7" fmla="*/ 1965546 h 2265361"/>
              <a:gd name="connsiteX8" fmla="*/ 6679138 w 9905999"/>
              <a:gd name="connsiteY8" fmla="*/ 1864105 h 2265361"/>
              <a:gd name="connsiteX9" fmla="*/ 6575655 w 9905999"/>
              <a:gd name="connsiteY9" fmla="*/ 1769427 h 2265361"/>
              <a:gd name="connsiteX10" fmla="*/ 6449676 w 9905999"/>
              <a:gd name="connsiteY10" fmla="*/ 1769427 h 2265361"/>
              <a:gd name="connsiteX11" fmla="*/ 5021164 w 9905999"/>
              <a:gd name="connsiteY11" fmla="*/ 1769427 h 2265361"/>
              <a:gd name="connsiteX12" fmla="*/ 5021164 w 9905999"/>
              <a:gd name="connsiteY12" fmla="*/ 1949767 h 2265361"/>
              <a:gd name="connsiteX13" fmla="*/ 5158391 w 9905999"/>
              <a:gd name="connsiteY13" fmla="*/ 1949767 h 2265361"/>
              <a:gd name="connsiteX14" fmla="*/ 5261874 w 9905999"/>
              <a:gd name="connsiteY14" fmla="*/ 1859597 h 2265361"/>
              <a:gd name="connsiteX15" fmla="*/ 5158391 w 9905999"/>
              <a:gd name="connsiteY15" fmla="*/ 1769427 h 2265361"/>
              <a:gd name="connsiteX16" fmla="*/ 5021164 w 9905999"/>
              <a:gd name="connsiteY16" fmla="*/ 1769427 h 2265361"/>
              <a:gd name="connsiteX17" fmla="*/ 5597068 w 9905999"/>
              <a:gd name="connsiteY17" fmla="*/ 1762664 h 2265361"/>
              <a:gd name="connsiteX18" fmla="*/ 5504834 w 9905999"/>
              <a:gd name="connsiteY18" fmla="*/ 1800986 h 2265361"/>
              <a:gd name="connsiteX19" fmla="*/ 5459841 w 9905999"/>
              <a:gd name="connsiteY19" fmla="*/ 1967800 h 2265361"/>
              <a:gd name="connsiteX20" fmla="*/ 5504834 w 9905999"/>
              <a:gd name="connsiteY20" fmla="*/ 2132361 h 2265361"/>
              <a:gd name="connsiteX21" fmla="*/ 5597068 w 9905999"/>
              <a:gd name="connsiteY21" fmla="*/ 2170683 h 2265361"/>
              <a:gd name="connsiteX22" fmla="*/ 5691552 w 9905999"/>
              <a:gd name="connsiteY22" fmla="*/ 2132361 h 2265361"/>
              <a:gd name="connsiteX23" fmla="*/ 5734295 w 9905999"/>
              <a:gd name="connsiteY23" fmla="*/ 1967800 h 2265361"/>
              <a:gd name="connsiteX24" fmla="*/ 5691552 w 9905999"/>
              <a:gd name="connsiteY24" fmla="*/ 1800986 h 2265361"/>
              <a:gd name="connsiteX25" fmla="*/ 5597068 w 9905999"/>
              <a:gd name="connsiteY25" fmla="*/ 1762664 h 2265361"/>
              <a:gd name="connsiteX26" fmla="*/ 654642 w 9905999"/>
              <a:gd name="connsiteY26" fmla="*/ 1762664 h 2265361"/>
              <a:gd name="connsiteX27" fmla="*/ 560157 w 9905999"/>
              <a:gd name="connsiteY27" fmla="*/ 1800986 h 2265361"/>
              <a:gd name="connsiteX28" fmla="*/ 517414 w 9905999"/>
              <a:gd name="connsiteY28" fmla="*/ 1967800 h 2265361"/>
              <a:gd name="connsiteX29" fmla="*/ 560157 w 9905999"/>
              <a:gd name="connsiteY29" fmla="*/ 2132361 h 2265361"/>
              <a:gd name="connsiteX30" fmla="*/ 654642 w 9905999"/>
              <a:gd name="connsiteY30" fmla="*/ 2170683 h 2265361"/>
              <a:gd name="connsiteX31" fmla="*/ 746876 w 9905999"/>
              <a:gd name="connsiteY31" fmla="*/ 2132361 h 2265361"/>
              <a:gd name="connsiteX32" fmla="*/ 791868 w 9905999"/>
              <a:gd name="connsiteY32" fmla="*/ 1967800 h 2265361"/>
              <a:gd name="connsiteX33" fmla="*/ 746876 w 9905999"/>
              <a:gd name="connsiteY33" fmla="*/ 1800986 h 2265361"/>
              <a:gd name="connsiteX34" fmla="*/ 654642 w 9905999"/>
              <a:gd name="connsiteY34" fmla="*/ 1762664 h 2265361"/>
              <a:gd name="connsiteX35" fmla="*/ 6386687 w 9905999"/>
              <a:gd name="connsiteY35" fmla="*/ 1710816 h 2265361"/>
              <a:gd name="connsiteX36" fmla="*/ 6575655 w 9905999"/>
              <a:gd name="connsiteY36" fmla="*/ 1710816 h 2265361"/>
              <a:gd name="connsiteX37" fmla="*/ 6706134 w 9905999"/>
              <a:gd name="connsiteY37" fmla="*/ 1755901 h 2265361"/>
              <a:gd name="connsiteX38" fmla="*/ 6744377 w 9905999"/>
              <a:gd name="connsiteY38" fmla="*/ 1864105 h 2265361"/>
              <a:gd name="connsiteX39" fmla="*/ 6701634 w 9905999"/>
              <a:gd name="connsiteY39" fmla="*/ 1981326 h 2265361"/>
              <a:gd name="connsiteX40" fmla="*/ 6577905 w 9905999"/>
              <a:gd name="connsiteY40" fmla="*/ 2024157 h 2265361"/>
              <a:gd name="connsiteX41" fmla="*/ 6449676 w 9905999"/>
              <a:gd name="connsiteY41" fmla="*/ 2024157 h 2265361"/>
              <a:gd name="connsiteX42" fmla="*/ 6449676 w 9905999"/>
              <a:gd name="connsiteY42" fmla="*/ 2222531 h 2265361"/>
              <a:gd name="connsiteX43" fmla="*/ 6386687 w 9905999"/>
              <a:gd name="connsiteY43" fmla="*/ 2222531 h 2265361"/>
              <a:gd name="connsiteX44" fmla="*/ 6386687 w 9905999"/>
              <a:gd name="connsiteY44" fmla="*/ 1710816 h 2265361"/>
              <a:gd name="connsiteX45" fmla="*/ 5889520 w 9905999"/>
              <a:gd name="connsiteY45" fmla="*/ 1710816 h 2265361"/>
              <a:gd name="connsiteX46" fmla="*/ 5954759 w 9905999"/>
              <a:gd name="connsiteY46" fmla="*/ 1710816 h 2265361"/>
              <a:gd name="connsiteX47" fmla="*/ 5954759 w 9905999"/>
              <a:gd name="connsiteY47" fmla="*/ 2035428 h 2265361"/>
              <a:gd name="connsiteX48" fmla="*/ 6076239 w 9905999"/>
              <a:gd name="connsiteY48" fmla="*/ 2172937 h 2265361"/>
              <a:gd name="connsiteX49" fmla="*/ 6199968 w 9905999"/>
              <a:gd name="connsiteY49" fmla="*/ 2035428 h 2265361"/>
              <a:gd name="connsiteX50" fmla="*/ 6199968 w 9905999"/>
              <a:gd name="connsiteY50" fmla="*/ 1710816 h 2265361"/>
              <a:gd name="connsiteX51" fmla="*/ 6262957 w 9905999"/>
              <a:gd name="connsiteY51" fmla="*/ 1710816 h 2265361"/>
              <a:gd name="connsiteX52" fmla="*/ 6262957 w 9905999"/>
              <a:gd name="connsiteY52" fmla="*/ 2035428 h 2265361"/>
              <a:gd name="connsiteX53" fmla="*/ 6076239 w 9905999"/>
              <a:gd name="connsiteY53" fmla="*/ 2231547 h 2265361"/>
              <a:gd name="connsiteX54" fmla="*/ 5889520 w 9905999"/>
              <a:gd name="connsiteY54" fmla="*/ 2035428 h 2265361"/>
              <a:gd name="connsiteX55" fmla="*/ 5889520 w 9905999"/>
              <a:gd name="connsiteY55" fmla="*/ 1710816 h 2265361"/>
              <a:gd name="connsiteX56" fmla="*/ 4958174 w 9905999"/>
              <a:gd name="connsiteY56" fmla="*/ 1710816 h 2265361"/>
              <a:gd name="connsiteX57" fmla="*/ 5158391 w 9905999"/>
              <a:gd name="connsiteY57" fmla="*/ 1710816 h 2265361"/>
              <a:gd name="connsiteX58" fmla="*/ 5288869 w 9905999"/>
              <a:gd name="connsiteY58" fmla="*/ 1755901 h 2265361"/>
              <a:gd name="connsiteX59" fmla="*/ 5329363 w 9905999"/>
              <a:gd name="connsiteY59" fmla="*/ 1859597 h 2265361"/>
              <a:gd name="connsiteX60" fmla="*/ 5288869 w 9905999"/>
              <a:gd name="connsiteY60" fmla="*/ 1961038 h 2265361"/>
              <a:gd name="connsiteX61" fmla="*/ 5228130 w 9905999"/>
              <a:gd name="connsiteY61" fmla="*/ 1997106 h 2265361"/>
              <a:gd name="connsiteX62" fmla="*/ 5331612 w 9905999"/>
              <a:gd name="connsiteY62" fmla="*/ 2222531 h 2265361"/>
              <a:gd name="connsiteX63" fmla="*/ 5259624 w 9905999"/>
              <a:gd name="connsiteY63" fmla="*/ 2222531 h 2265361"/>
              <a:gd name="connsiteX64" fmla="*/ 5162890 w 9905999"/>
              <a:gd name="connsiteY64" fmla="*/ 2010631 h 2265361"/>
              <a:gd name="connsiteX65" fmla="*/ 5021164 w 9905999"/>
              <a:gd name="connsiteY65" fmla="*/ 2010631 h 2265361"/>
              <a:gd name="connsiteX66" fmla="*/ 5021164 w 9905999"/>
              <a:gd name="connsiteY66" fmla="*/ 2222531 h 2265361"/>
              <a:gd name="connsiteX67" fmla="*/ 4958174 w 9905999"/>
              <a:gd name="connsiteY67" fmla="*/ 2222531 h 2265361"/>
              <a:gd name="connsiteX68" fmla="*/ 4958174 w 9905999"/>
              <a:gd name="connsiteY68" fmla="*/ 1710816 h 2265361"/>
              <a:gd name="connsiteX69" fmla="*/ 3309199 w 9905999"/>
              <a:gd name="connsiteY69" fmla="*/ 1710816 h 2265361"/>
              <a:gd name="connsiteX70" fmla="*/ 3381187 w 9905999"/>
              <a:gd name="connsiteY70" fmla="*/ 1710816 h 2265361"/>
              <a:gd name="connsiteX71" fmla="*/ 3633145 w 9905999"/>
              <a:gd name="connsiteY71" fmla="*/ 2123344 h 2265361"/>
              <a:gd name="connsiteX72" fmla="*/ 3633145 w 9905999"/>
              <a:gd name="connsiteY72" fmla="*/ 1710816 h 2265361"/>
              <a:gd name="connsiteX73" fmla="*/ 3693885 w 9905999"/>
              <a:gd name="connsiteY73" fmla="*/ 1710816 h 2265361"/>
              <a:gd name="connsiteX74" fmla="*/ 3693885 w 9905999"/>
              <a:gd name="connsiteY74" fmla="*/ 2222531 h 2265361"/>
              <a:gd name="connsiteX75" fmla="*/ 3621897 w 9905999"/>
              <a:gd name="connsiteY75" fmla="*/ 2222531 h 2265361"/>
              <a:gd name="connsiteX76" fmla="*/ 3372188 w 9905999"/>
              <a:gd name="connsiteY76" fmla="*/ 1810003 h 2265361"/>
              <a:gd name="connsiteX77" fmla="*/ 3372188 w 9905999"/>
              <a:gd name="connsiteY77" fmla="*/ 2222531 h 2265361"/>
              <a:gd name="connsiteX78" fmla="*/ 3309199 w 9905999"/>
              <a:gd name="connsiteY78" fmla="*/ 2222531 h 2265361"/>
              <a:gd name="connsiteX79" fmla="*/ 3309199 w 9905999"/>
              <a:gd name="connsiteY79" fmla="*/ 1710816 h 2265361"/>
              <a:gd name="connsiteX80" fmla="*/ 3106732 w 9905999"/>
              <a:gd name="connsiteY80" fmla="*/ 1710816 h 2265361"/>
              <a:gd name="connsiteX81" fmla="*/ 3171971 w 9905999"/>
              <a:gd name="connsiteY81" fmla="*/ 1710816 h 2265361"/>
              <a:gd name="connsiteX82" fmla="*/ 3171971 w 9905999"/>
              <a:gd name="connsiteY82" fmla="*/ 2222531 h 2265361"/>
              <a:gd name="connsiteX83" fmla="*/ 3106732 w 9905999"/>
              <a:gd name="connsiteY83" fmla="*/ 2222531 h 2265361"/>
              <a:gd name="connsiteX84" fmla="*/ 3106732 w 9905999"/>
              <a:gd name="connsiteY84" fmla="*/ 1710816 h 2265361"/>
              <a:gd name="connsiteX85" fmla="*/ 2663557 w 9905999"/>
              <a:gd name="connsiteY85" fmla="*/ 1710816 h 2265361"/>
              <a:gd name="connsiteX86" fmla="*/ 3032495 w 9905999"/>
              <a:gd name="connsiteY86" fmla="*/ 1710816 h 2265361"/>
              <a:gd name="connsiteX87" fmla="*/ 3032495 w 9905999"/>
              <a:gd name="connsiteY87" fmla="*/ 1769427 h 2265361"/>
              <a:gd name="connsiteX88" fmla="*/ 2879521 w 9905999"/>
              <a:gd name="connsiteY88" fmla="*/ 1769427 h 2265361"/>
              <a:gd name="connsiteX89" fmla="*/ 2879521 w 9905999"/>
              <a:gd name="connsiteY89" fmla="*/ 2222531 h 2265361"/>
              <a:gd name="connsiteX90" fmla="*/ 2814282 w 9905999"/>
              <a:gd name="connsiteY90" fmla="*/ 2222531 h 2265361"/>
              <a:gd name="connsiteX91" fmla="*/ 2814282 w 9905999"/>
              <a:gd name="connsiteY91" fmla="*/ 1769427 h 2265361"/>
              <a:gd name="connsiteX92" fmla="*/ 2663557 w 9905999"/>
              <a:gd name="connsiteY92" fmla="*/ 1769427 h 2265361"/>
              <a:gd name="connsiteX93" fmla="*/ 2663557 w 9905999"/>
              <a:gd name="connsiteY93" fmla="*/ 1710816 h 2265361"/>
              <a:gd name="connsiteX94" fmla="*/ 2416099 w 9905999"/>
              <a:gd name="connsiteY94" fmla="*/ 1710816 h 2265361"/>
              <a:gd name="connsiteX95" fmla="*/ 2481338 w 9905999"/>
              <a:gd name="connsiteY95" fmla="*/ 1710816 h 2265361"/>
              <a:gd name="connsiteX96" fmla="*/ 2481338 w 9905999"/>
              <a:gd name="connsiteY96" fmla="*/ 2163920 h 2265361"/>
              <a:gd name="connsiteX97" fmla="*/ 2726547 w 9905999"/>
              <a:gd name="connsiteY97" fmla="*/ 2163920 h 2265361"/>
              <a:gd name="connsiteX98" fmla="*/ 2726547 w 9905999"/>
              <a:gd name="connsiteY98" fmla="*/ 2222531 h 2265361"/>
              <a:gd name="connsiteX99" fmla="*/ 2416099 w 9905999"/>
              <a:gd name="connsiteY99" fmla="*/ 2222531 h 2265361"/>
              <a:gd name="connsiteX100" fmla="*/ 2416099 w 9905999"/>
              <a:gd name="connsiteY100" fmla="*/ 1710816 h 2265361"/>
              <a:gd name="connsiteX101" fmla="*/ 1918931 w 9905999"/>
              <a:gd name="connsiteY101" fmla="*/ 1710816 h 2265361"/>
              <a:gd name="connsiteX102" fmla="*/ 1984171 w 9905999"/>
              <a:gd name="connsiteY102" fmla="*/ 1710816 h 2265361"/>
              <a:gd name="connsiteX103" fmla="*/ 1984171 w 9905999"/>
              <a:gd name="connsiteY103" fmla="*/ 2035428 h 2265361"/>
              <a:gd name="connsiteX104" fmla="*/ 2105651 w 9905999"/>
              <a:gd name="connsiteY104" fmla="*/ 2172937 h 2265361"/>
              <a:gd name="connsiteX105" fmla="*/ 2229380 w 9905999"/>
              <a:gd name="connsiteY105" fmla="*/ 2035428 h 2265361"/>
              <a:gd name="connsiteX106" fmla="*/ 2229380 w 9905999"/>
              <a:gd name="connsiteY106" fmla="*/ 1710816 h 2265361"/>
              <a:gd name="connsiteX107" fmla="*/ 2292369 w 9905999"/>
              <a:gd name="connsiteY107" fmla="*/ 1710816 h 2265361"/>
              <a:gd name="connsiteX108" fmla="*/ 2292369 w 9905999"/>
              <a:gd name="connsiteY108" fmla="*/ 2035428 h 2265361"/>
              <a:gd name="connsiteX109" fmla="*/ 2105651 w 9905999"/>
              <a:gd name="connsiteY109" fmla="*/ 2231547 h 2265361"/>
              <a:gd name="connsiteX110" fmla="*/ 1918931 w 9905999"/>
              <a:gd name="connsiteY110" fmla="*/ 2035428 h 2265361"/>
              <a:gd name="connsiteX111" fmla="*/ 1918931 w 9905999"/>
              <a:gd name="connsiteY111" fmla="*/ 1710816 h 2265361"/>
              <a:gd name="connsiteX112" fmla="*/ 960591 w 9905999"/>
              <a:gd name="connsiteY112" fmla="*/ 1710816 h 2265361"/>
              <a:gd name="connsiteX113" fmla="*/ 1032578 w 9905999"/>
              <a:gd name="connsiteY113" fmla="*/ 1710816 h 2265361"/>
              <a:gd name="connsiteX114" fmla="*/ 1284537 w 9905999"/>
              <a:gd name="connsiteY114" fmla="*/ 2123344 h 2265361"/>
              <a:gd name="connsiteX115" fmla="*/ 1284537 w 9905999"/>
              <a:gd name="connsiteY115" fmla="*/ 1710816 h 2265361"/>
              <a:gd name="connsiteX116" fmla="*/ 1345276 w 9905999"/>
              <a:gd name="connsiteY116" fmla="*/ 1710816 h 2265361"/>
              <a:gd name="connsiteX117" fmla="*/ 1345276 w 9905999"/>
              <a:gd name="connsiteY117" fmla="*/ 2222531 h 2265361"/>
              <a:gd name="connsiteX118" fmla="*/ 1273289 w 9905999"/>
              <a:gd name="connsiteY118" fmla="*/ 2222531 h 2265361"/>
              <a:gd name="connsiteX119" fmla="*/ 1023580 w 9905999"/>
              <a:gd name="connsiteY119" fmla="*/ 1810003 h 2265361"/>
              <a:gd name="connsiteX120" fmla="*/ 1023580 w 9905999"/>
              <a:gd name="connsiteY120" fmla="*/ 2222531 h 2265361"/>
              <a:gd name="connsiteX121" fmla="*/ 960591 w 9905999"/>
              <a:gd name="connsiteY121" fmla="*/ 2222531 h 2265361"/>
              <a:gd name="connsiteX122" fmla="*/ 960591 w 9905999"/>
              <a:gd name="connsiteY122" fmla="*/ 1710816 h 2265361"/>
              <a:gd name="connsiteX123" fmla="*/ 5597068 w 9905999"/>
              <a:gd name="connsiteY123" fmla="*/ 1701799 h 2265361"/>
              <a:gd name="connsiteX124" fmla="*/ 5736545 w 9905999"/>
              <a:gd name="connsiteY124" fmla="*/ 1755901 h 2265361"/>
              <a:gd name="connsiteX125" fmla="*/ 5801784 w 9905999"/>
              <a:gd name="connsiteY125" fmla="*/ 1967800 h 2265361"/>
              <a:gd name="connsiteX126" fmla="*/ 5736545 w 9905999"/>
              <a:gd name="connsiteY126" fmla="*/ 2177446 h 2265361"/>
              <a:gd name="connsiteX127" fmla="*/ 5597068 w 9905999"/>
              <a:gd name="connsiteY127" fmla="*/ 2233802 h 2265361"/>
              <a:gd name="connsiteX128" fmla="*/ 5459841 w 9905999"/>
              <a:gd name="connsiteY128" fmla="*/ 2177446 h 2265361"/>
              <a:gd name="connsiteX129" fmla="*/ 5394602 w 9905999"/>
              <a:gd name="connsiteY129" fmla="*/ 1967800 h 2265361"/>
              <a:gd name="connsiteX130" fmla="*/ 5459841 w 9905999"/>
              <a:gd name="connsiteY130" fmla="*/ 1755901 h 2265361"/>
              <a:gd name="connsiteX131" fmla="*/ 5597068 w 9905999"/>
              <a:gd name="connsiteY131" fmla="*/ 1701799 h 2265361"/>
              <a:gd name="connsiteX132" fmla="*/ 4645477 w 9905999"/>
              <a:gd name="connsiteY132" fmla="*/ 1701799 h 2265361"/>
              <a:gd name="connsiteX133" fmla="*/ 4791702 w 9905999"/>
              <a:gd name="connsiteY133" fmla="*/ 1758155 h 2265361"/>
              <a:gd name="connsiteX134" fmla="*/ 4834445 w 9905999"/>
              <a:gd name="connsiteY134" fmla="*/ 1859597 h 2265361"/>
              <a:gd name="connsiteX135" fmla="*/ 4766956 w 9905999"/>
              <a:gd name="connsiteY135" fmla="*/ 1859597 h 2265361"/>
              <a:gd name="connsiteX136" fmla="*/ 4744460 w 9905999"/>
              <a:gd name="connsiteY136" fmla="*/ 1803240 h 2265361"/>
              <a:gd name="connsiteX137" fmla="*/ 4645477 w 9905999"/>
              <a:gd name="connsiteY137" fmla="*/ 1762664 h 2265361"/>
              <a:gd name="connsiteX138" fmla="*/ 4550992 w 9905999"/>
              <a:gd name="connsiteY138" fmla="*/ 1800986 h 2265361"/>
              <a:gd name="connsiteX139" fmla="*/ 4506000 w 9905999"/>
              <a:gd name="connsiteY139" fmla="*/ 1967800 h 2265361"/>
              <a:gd name="connsiteX140" fmla="*/ 4553242 w 9905999"/>
              <a:gd name="connsiteY140" fmla="*/ 2134615 h 2265361"/>
              <a:gd name="connsiteX141" fmla="*/ 4645477 w 9905999"/>
              <a:gd name="connsiteY141" fmla="*/ 2172937 h 2265361"/>
              <a:gd name="connsiteX142" fmla="*/ 4737711 w 9905999"/>
              <a:gd name="connsiteY142" fmla="*/ 2136869 h 2265361"/>
              <a:gd name="connsiteX143" fmla="*/ 4780454 w 9905999"/>
              <a:gd name="connsiteY143" fmla="*/ 2006123 h 2265361"/>
              <a:gd name="connsiteX144" fmla="*/ 4645477 w 9905999"/>
              <a:gd name="connsiteY144" fmla="*/ 2006123 h 2265361"/>
              <a:gd name="connsiteX145" fmla="*/ 4645477 w 9905999"/>
              <a:gd name="connsiteY145" fmla="*/ 1947512 h 2265361"/>
              <a:gd name="connsiteX146" fmla="*/ 4838944 w 9905999"/>
              <a:gd name="connsiteY146" fmla="*/ 1947512 h 2265361"/>
              <a:gd name="connsiteX147" fmla="*/ 4838944 w 9905999"/>
              <a:gd name="connsiteY147" fmla="*/ 2222531 h 2265361"/>
              <a:gd name="connsiteX148" fmla="*/ 4793952 w 9905999"/>
              <a:gd name="connsiteY148" fmla="*/ 2222531 h 2265361"/>
              <a:gd name="connsiteX149" fmla="*/ 4782704 w 9905999"/>
              <a:gd name="connsiteY149" fmla="*/ 2161666 h 2265361"/>
              <a:gd name="connsiteX150" fmla="*/ 4645477 w 9905999"/>
              <a:gd name="connsiteY150" fmla="*/ 2233802 h 2265361"/>
              <a:gd name="connsiteX151" fmla="*/ 4506000 w 9905999"/>
              <a:gd name="connsiteY151" fmla="*/ 2179700 h 2265361"/>
              <a:gd name="connsiteX152" fmla="*/ 4440761 w 9905999"/>
              <a:gd name="connsiteY152" fmla="*/ 1967800 h 2265361"/>
              <a:gd name="connsiteX153" fmla="*/ 4506000 w 9905999"/>
              <a:gd name="connsiteY153" fmla="*/ 1755901 h 2265361"/>
              <a:gd name="connsiteX154" fmla="*/ 4645477 w 9905999"/>
              <a:gd name="connsiteY154" fmla="*/ 1701799 h 2265361"/>
              <a:gd name="connsiteX155" fmla="*/ 4002083 w 9905999"/>
              <a:gd name="connsiteY155" fmla="*/ 1701799 h 2265361"/>
              <a:gd name="connsiteX156" fmla="*/ 4148309 w 9905999"/>
              <a:gd name="connsiteY156" fmla="*/ 1758155 h 2265361"/>
              <a:gd name="connsiteX157" fmla="*/ 4193302 w 9905999"/>
              <a:gd name="connsiteY157" fmla="*/ 1859597 h 2265361"/>
              <a:gd name="connsiteX158" fmla="*/ 4125813 w 9905999"/>
              <a:gd name="connsiteY158" fmla="*/ 1859597 h 2265361"/>
              <a:gd name="connsiteX159" fmla="*/ 4103317 w 9905999"/>
              <a:gd name="connsiteY159" fmla="*/ 1803240 h 2265361"/>
              <a:gd name="connsiteX160" fmla="*/ 4002083 w 9905999"/>
              <a:gd name="connsiteY160" fmla="*/ 1762664 h 2265361"/>
              <a:gd name="connsiteX161" fmla="*/ 3909849 w 9905999"/>
              <a:gd name="connsiteY161" fmla="*/ 1800986 h 2265361"/>
              <a:gd name="connsiteX162" fmla="*/ 3864856 w 9905999"/>
              <a:gd name="connsiteY162" fmla="*/ 1967800 h 2265361"/>
              <a:gd name="connsiteX163" fmla="*/ 3909849 w 9905999"/>
              <a:gd name="connsiteY163" fmla="*/ 2134615 h 2265361"/>
              <a:gd name="connsiteX164" fmla="*/ 4002083 w 9905999"/>
              <a:gd name="connsiteY164" fmla="*/ 2172937 h 2265361"/>
              <a:gd name="connsiteX165" fmla="*/ 4094318 w 9905999"/>
              <a:gd name="connsiteY165" fmla="*/ 2136869 h 2265361"/>
              <a:gd name="connsiteX166" fmla="*/ 4139311 w 9905999"/>
              <a:gd name="connsiteY166" fmla="*/ 2006123 h 2265361"/>
              <a:gd name="connsiteX167" fmla="*/ 4002083 w 9905999"/>
              <a:gd name="connsiteY167" fmla="*/ 2006123 h 2265361"/>
              <a:gd name="connsiteX168" fmla="*/ 4002083 w 9905999"/>
              <a:gd name="connsiteY168" fmla="*/ 1947512 h 2265361"/>
              <a:gd name="connsiteX169" fmla="*/ 4197801 w 9905999"/>
              <a:gd name="connsiteY169" fmla="*/ 1947512 h 2265361"/>
              <a:gd name="connsiteX170" fmla="*/ 4197801 w 9905999"/>
              <a:gd name="connsiteY170" fmla="*/ 2222531 h 2265361"/>
              <a:gd name="connsiteX171" fmla="*/ 4152808 w 9905999"/>
              <a:gd name="connsiteY171" fmla="*/ 2222531 h 2265361"/>
              <a:gd name="connsiteX172" fmla="*/ 4141560 w 9905999"/>
              <a:gd name="connsiteY172" fmla="*/ 2161666 h 2265361"/>
              <a:gd name="connsiteX173" fmla="*/ 4002083 w 9905999"/>
              <a:gd name="connsiteY173" fmla="*/ 2233802 h 2265361"/>
              <a:gd name="connsiteX174" fmla="*/ 3864856 w 9905999"/>
              <a:gd name="connsiteY174" fmla="*/ 2179700 h 2265361"/>
              <a:gd name="connsiteX175" fmla="*/ 3797367 w 9905999"/>
              <a:gd name="connsiteY175" fmla="*/ 1967800 h 2265361"/>
              <a:gd name="connsiteX176" fmla="*/ 3864856 w 9905999"/>
              <a:gd name="connsiteY176" fmla="*/ 1755901 h 2265361"/>
              <a:gd name="connsiteX177" fmla="*/ 4002083 w 9905999"/>
              <a:gd name="connsiteY177" fmla="*/ 1701799 h 2265361"/>
              <a:gd name="connsiteX178" fmla="*/ 1642228 w 9905999"/>
              <a:gd name="connsiteY178" fmla="*/ 1701799 h 2265361"/>
              <a:gd name="connsiteX179" fmla="*/ 1774955 w 9905999"/>
              <a:gd name="connsiteY179" fmla="*/ 1749138 h 2265361"/>
              <a:gd name="connsiteX180" fmla="*/ 1824447 w 9905999"/>
              <a:gd name="connsiteY180" fmla="*/ 1859597 h 2265361"/>
              <a:gd name="connsiteX181" fmla="*/ 1756958 w 9905999"/>
              <a:gd name="connsiteY181" fmla="*/ 1859597 h 2265361"/>
              <a:gd name="connsiteX182" fmla="*/ 1732212 w 9905999"/>
              <a:gd name="connsiteY182" fmla="*/ 1796478 h 2265361"/>
              <a:gd name="connsiteX183" fmla="*/ 1639978 w 9905999"/>
              <a:gd name="connsiteY183" fmla="*/ 1760410 h 2265361"/>
              <a:gd name="connsiteX184" fmla="*/ 1549993 w 9905999"/>
              <a:gd name="connsiteY184" fmla="*/ 1796478 h 2265361"/>
              <a:gd name="connsiteX185" fmla="*/ 1529746 w 9905999"/>
              <a:gd name="connsiteY185" fmla="*/ 1850580 h 2265361"/>
              <a:gd name="connsiteX186" fmla="*/ 1606234 w 9905999"/>
              <a:gd name="connsiteY186" fmla="*/ 1922716 h 2265361"/>
              <a:gd name="connsiteX187" fmla="*/ 1691719 w 9905999"/>
              <a:gd name="connsiteY187" fmla="*/ 1936241 h 2265361"/>
              <a:gd name="connsiteX188" fmla="*/ 1833445 w 9905999"/>
              <a:gd name="connsiteY188" fmla="*/ 2082767 h 2265361"/>
              <a:gd name="connsiteX189" fmla="*/ 1790703 w 9905999"/>
              <a:gd name="connsiteY189" fmla="*/ 2181954 h 2265361"/>
              <a:gd name="connsiteX190" fmla="*/ 1644477 w 9905999"/>
              <a:gd name="connsiteY190" fmla="*/ 2231547 h 2265361"/>
              <a:gd name="connsiteX191" fmla="*/ 1498251 w 9905999"/>
              <a:gd name="connsiteY191" fmla="*/ 2184208 h 2265361"/>
              <a:gd name="connsiteX192" fmla="*/ 1444260 w 9905999"/>
              <a:gd name="connsiteY192" fmla="*/ 2060225 h 2265361"/>
              <a:gd name="connsiteX193" fmla="*/ 1509499 w 9905999"/>
              <a:gd name="connsiteY193" fmla="*/ 2060225 h 2265361"/>
              <a:gd name="connsiteX194" fmla="*/ 1545494 w 9905999"/>
              <a:gd name="connsiteY194" fmla="*/ 2141378 h 2265361"/>
              <a:gd name="connsiteX195" fmla="*/ 1644477 w 9905999"/>
              <a:gd name="connsiteY195" fmla="*/ 2172937 h 2265361"/>
              <a:gd name="connsiteX196" fmla="*/ 1738962 w 9905999"/>
              <a:gd name="connsiteY196" fmla="*/ 2143632 h 2265361"/>
              <a:gd name="connsiteX197" fmla="*/ 1765956 w 9905999"/>
              <a:gd name="connsiteY197" fmla="*/ 2082767 h 2265361"/>
              <a:gd name="connsiteX198" fmla="*/ 1680471 w 9905999"/>
              <a:gd name="connsiteY198" fmla="*/ 2001614 h 2265361"/>
              <a:gd name="connsiteX199" fmla="*/ 1599484 w 9905999"/>
              <a:gd name="connsiteY199" fmla="*/ 1988089 h 2265361"/>
              <a:gd name="connsiteX200" fmla="*/ 1462257 w 9905999"/>
              <a:gd name="connsiteY200" fmla="*/ 1852834 h 2265361"/>
              <a:gd name="connsiteX201" fmla="*/ 1507249 w 9905999"/>
              <a:gd name="connsiteY201" fmla="*/ 1751393 h 2265361"/>
              <a:gd name="connsiteX202" fmla="*/ 1642228 w 9905999"/>
              <a:gd name="connsiteY202" fmla="*/ 1701799 h 2265361"/>
              <a:gd name="connsiteX203" fmla="*/ 654642 w 9905999"/>
              <a:gd name="connsiteY203" fmla="*/ 1701799 h 2265361"/>
              <a:gd name="connsiteX204" fmla="*/ 791868 w 9905999"/>
              <a:gd name="connsiteY204" fmla="*/ 1755901 h 2265361"/>
              <a:gd name="connsiteX205" fmla="*/ 857108 w 9905999"/>
              <a:gd name="connsiteY205" fmla="*/ 1967800 h 2265361"/>
              <a:gd name="connsiteX206" fmla="*/ 791868 w 9905999"/>
              <a:gd name="connsiteY206" fmla="*/ 2177446 h 2265361"/>
              <a:gd name="connsiteX207" fmla="*/ 654642 w 9905999"/>
              <a:gd name="connsiteY207" fmla="*/ 2233802 h 2265361"/>
              <a:gd name="connsiteX208" fmla="*/ 515164 w 9905999"/>
              <a:gd name="connsiteY208" fmla="*/ 2177446 h 2265361"/>
              <a:gd name="connsiteX209" fmla="*/ 449925 w 9905999"/>
              <a:gd name="connsiteY209" fmla="*/ 1967800 h 2265361"/>
              <a:gd name="connsiteX210" fmla="*/ 515164 w 9905999"/>
              <a:gd name="connsiteY210" fmla="*/ 1755901 h 2265361"/>
              <a:gd name="connsiteX211" fmla="*/ 654642 w 9905999"/>
              <a:gd name="connsiteY211" fmla="*/ 1701799 h 2265361"/>
              <a:gd name="connsiteX212" fmla="*/ 202466 w 9905999"/>
              <a:gd name="connsiteY212" fmla="*/ 1701799 h 2265361"/>
              <a:gd name="connsiteX213" fmla="*/ 339693 w 9905999"/>
              <a:gd name="connsiteY213" fmla="*/ 1753647 h 2265361"/>
              <a:gd name="connsiteX214" fmla="*/ 389185 w 9905999"/>
              <a:gd name="connsiteY214" fmla="*/ 1870868 h 2265361"/>
              <a:gd name="connsiteX215" fmla="*/ 323946 w 9905999"/>
              <a:gd name="connsiteY215" fmla="*/ 1870868 h 2265361"/>
              <a:gd name="connsiteX216" fmla="*/ 294701 w 9905999"/>
              <a:gd name="connsiteY216" fmla="*/ 1798732 h 2265361"/>
              <a:gd name="connsiteX217" fmla="*/ 202466 w 9905999"/>
              <a:gd name="connsiteY217" fmla="*/ 1762664 h 2265361"/>
              <a:gd name="connsiteX218" fmla="*/ 110232 w 9905999"/>
              <a:gd name="connsiteY218" fmla="*/ 1800986 h 2265361"/>
              <a:gd name="connsiteX219" fmla="*/ 67489 w 9905999"/>
              <a:gd name="connsiteY219" fmla="*/ 1967800 h 2265361"/>
              <a:gd name="connsiteX220" fmla="*/ 110232 w 9905999"/>
              <a:gd name="connsiteY220" fmla="*/ 2132361 h 2265361"/>
              <a:gd name="connsiteX221" fmla="*/ 202466 w 9905999"/>
              <a:gd name="connsiteY221" fmla="*/ 2172937 h 2265361"/>
              <a:gd name="connsiteX222" fmla="*/ 296951 w 9905999"/>
              <a:gd name="connsiteY222" fmla="*/ 2132361 h 2265361"/>
              <a:gd name="connsiteX223" fmla="*/ 323946 w 9905999"/>
              <a:gd name="connsiteY223" fmla="*/ 2060225 h 2265361"/>
              <a:gd name="connsiteX224" fmla="*/ 391435 w 9905999"/>
              <a:gd name="connsiteY224" fmla="*/ 2060225 h 2265361"/>
              <a:gd name="connsiteX225" fmla="*/ 339693 w 9905999"/>
              <a:gd name="connsiteY225" fmla="*/ 2177446 h 2265361"/>
              <a:gd name="connsiteX226" fmla="*/ 202466 w 9905999"/>
              <a:gd name="connsiteY226" fmla="*/ 2233802 h 2265361"/>
              <a:gd name="connsiteX227" fmla="*/ 65239 w 9905999"/>
              <a:gd name="connsiteY227" fmla="*/ 2177446 h 2265361"/>
              <a:gd name="connsiteX228" fmla="*/ 0 w 9905999"/>
              <a:gd name="connsiteY228" fmla="*/ 1967800 h 2265361"/>
              <a:gd name="connsiteX229" fmla="*/ 65239 w 9905999"/>
              <a:gd name="connsiteY229" fmla="*/ 1755901 h 2265361"/>
              <a:gd name="connsiteX230" fmla="*/ 202466 w 9905999"/>
              <a:gd name="connsiteY230" fmla="*/ 1701799 h 2265361"/>
              <a:gd name="connsiteX231" fmla="*/ 2227389 w 9905999"/>
              <a:gd name="connsiteY231" fmla="*/ 214047 h 2265361"/>
              <a:gd name="connsiteX232" fmla="*/ 2227389 w 9905999"/>
              <a:gd name="connsiteY232" fmla="*/ 574548 h 2265361"/>
              <a:gd name="connsiteX233" fmla="*/ 2456649 w 9905999"/>
              <a:gd name="connsiteY233" fmla="*/ 574548 h 2265361"/>
              <a:gd name="connsiteX234" fmla="*/ 2654442 w 9905999"/>
              <a:gd name="connsiteY234" fmla="*/ 394298 h 2265361"/>
              <a:gd name="connsiteX235" fmla="*/ 2456649 w 9905999"/>
              <a:gd name="connsiteY235" fmla="*/ 214047 h 2265361"/>
              <a:gd name="connsiteX236" fmla="*/ 2227389 w 9905999"/>
              <a:gd name="connsiteY236" fmla="*/ 214047 h 2265361"/>
              <a:gd name="connsiteX237" fmla="*/ 8961436 w 9905999"/>
              <a:gd name="connsiteY237" fmla="*/ 0 h 2265361"/>
              <a:gd name="connsiteX238" fmla="*/ 9905999 w 9905999"/>
              <a:gd name="connsiteY238" fmla="*/ 0 h 2265361"/>
              <a:gd name="connsiteX239" fmla="*/ 9905999 w 9905999"/>
              <a:gd name="connsiteY239" fmla="*/ 225425 h 2265361"/>
              <a:gd name="connsiteX240" fmla="*/ 9555161 w 9905999"/>
              <a:gd name="connsiteY240" fmla="*/ 225425 h 2265361"/>
              <a:gd name="connsiteX241" fmla="*/ 9555161 w 9905999"/>
              <a:gd name="connsiteY241" fmla="*/ 1214437 h 2265361"/>
              <a:gd name="connsiteX242" fmla="*/ 9315449 w 9905999"/>
              <a:gd name="connsiteY242" fmla="*/ 1214437 h 2265361"/>
              <a:gd name="connsiteX243" fmla="*/ 9315449 w 9905999"/>
              <a:gd name="connsiteY243" fmla="*/ 225425 h 2265361"/>
              <a:gd name="connsiteX244" fmla="*/ 8961436 w 9905999"/>
              <a:gd name="connsiteY244" fmla="*/ 225425 h 2265361"/>
              <a:gd name="connsiteX245" fmla="*/ 7785099 w 9905999"/>
              <a:gd name="connsiteY245" fmla="*/ 0 h 2265361"/>
              <a:gd name="connsiteX246" fmla="*/ 8035924 w 9905999"/>
              <a:gd name="connsiteY246" fmla="*/ 0 h 2265361"/>
              <a:gd name="connsiteX247" fmla="*/ 8037512 w 9905999"/>
              <a:gd name="connsiteY247" fmla="*/ 3175 h 2265361"/>
              <a:gd name="connsiteX248" fmla="*/ 8523286 w 9905999"/>
              <a:gd name="connsiteY248" fmla="*/ 774700 h 2265361"/>
              <a:gd name="connsiteX249" fmla="*/ 8523286 w 9905999"/>
              <a:gd name="connsiteY249" fmla="*/ 0 h 2265361"/>
              <a:gd name="connsiteX250" fmla="*/ 8759824 w 9905999"/>
              <a:gd name="connsiteY250" fmla="*/ 0 h 2265361"/>
              <a:gd name="connsiteX251" fmla="*/ 8759824 w 9905999"/>
              <a:gd name="connsiteY251" fmla="*/ 1214437 h 2265361"/>
              <a:gd name="connsiteX252" fmla="*/ 8518524 w 9905999"/>
              <a:gd name="connsiteY252" fmla="*/ 1214437 h 2265361"/>
              <a:gd name="connsiteX253" fmla="*/ 8024812 w 9905999"/>
              <a:gd name="connsiteY253" fmla="*/ 425450 h 2265361"/>
              <a:gd name="connsiteX254" fmla="*/ 8024812 w 9905999"/>
              <a:gd name="connsiteY254" fmla="*/ 1214437 h 2265361"/>
              <a:gd name="connsiteX255" fmla="*/ 7785099 w 9905999"/>
              <a:gd name="connsiteY255" fmla="*/ 1214437 h 2265361"/>
              <a:gd name="connsiteX256" fmla="*/ 6665911 w 9905999"/>
              <a:gd name="connsiteY256" fmla="*/ 0 h 2265361"/>
              <a:gd name="connsiteX257" fmla="*/ 7535861 w 9905999"/>
              <a:gd name="connsiteY257" fmla="*/ 0 h 2265361"/>
              <a:gd name="connsiteX258" fmla="*/ 7535861 w 9905999"/>
              <a:gd name="connsiteY258" fmla="*/ 220663 h 2265361"/>
              <a:gd name="connsiteX259" fmla="*/ 6905624 w 9905999"/>
              <a:gd name="connsiteY259" fmla="*/ 220663 h 2265361"/>
              <a:gd name="connsiteX260" fmla="*/ 6905624 w 9905999"/>
              <a:gd name="connsiteY260" fmla="*/ 473075 h 2265361"/>
              <a:gd name="connsiteX261" fmla="*/ 7459661 w 9905999"/>
              <a:gd name="connsiteY261" fmla="*/ 473075 h 2265361"/>
              <a:gd name="connsiteX262" fmla="*/ 7459661 w 9905999"/>
              <a:gd name="connsiteY262" fmla="*/ 690562 h 2265361"/>
              <a:gd name="connsiteX263" fmla="*/ 6905624 w 9905999"/>
              <a:gd name="connsiteY263" fmla="*/ 690562 h 2265361"/>
              <a:gd name="connsiteX264" fmla="*/ 6905624 w 9905999"/>
              <a:gd name="connsiteY264" fmla="*/ 993775 h 2265361"/>
              <a:gd name="connsiteX265" fmla="*/ 7535861 w 9905999"/>
              <a:gd name="connsiteY265" fmla="*/ 993775 h 2265361"/>
              <a:gd name="connsiteX266" fmla="*/ 7535861 w 9905999"/>
              <a:gd name="connsiteY266" fmla="*/ 1214437 h 2265361"/>
              <a:gd name="connsiteX267" fmla="*/ 6665911 w 9905999"/>
              <a:gd name="connsiteY267" fmla="*/ 1214437 h 2265361"/>
              <a:gd name="connsiteX268" fmla="*/ 5221286 w 9905999"/>
              <a:gd name="connsiteY268" fmla="*/ 0 h 2265361"/>
              <a:gd name="connsiteX269" fmla="*/ 5534024 w 9905999"/>
              <a:gd name="connsiteY269" fmla="*/ 0 h 2265361"/>
              <a:gd name="connsiteX270" fmla="*/ 5835649 w 9905999"/>
              <a:gd name="connsiteY270" fmla="*/ 823912 h 2265361"/>
              <a:gd name="connsiteX271" fmla="*/ 6142037 w 9905999"/>
              <a:gd name="connsiteY271" fmla="*/ 0 h 2265361"/>
              <a:gd name="connsiteX272" fmla="*/ 6438899 w 9905999"/>
              <a:gd name="connsiteY272" fmla="*/ 0 h 2265361"/>
              <a:gd name="connsiteX273" fmla="*/ 6438899 w 9905999"/>
              <a:gd name="connsiteY273" fmla="*/ 1214437 h 2265361"/>
              <a:gd name="connsiteX274" fmla="*/ 6203949 w 9905999"/>
              <a:gd name="connsiteY274" fmla="*/ 1214437 h 2265361"/>
              <a:gd name="connsiteX275" fmla="*/ 6203949 w 9905999"/>
              <a:gd name="connsiteY275" fmla="*/ 419100 h 2265361"/>
              <a:gd name="connsiteX276" fmla="*/ 5916612 w 9905999"/>
              <a:gd name="connsiteY276" fmla="*/ 1196975 h 2265361"/>
              <a:gd name="connsiteX277" fmla="*/ 5740399 w 9905999"/>
              <a:gd name="connsiteY277" fmla="*/ 1196975 h 2265361"/>
              <a:gd name="connsiteX278" fmla="*/ 5454649 w 9905999"/>
              <a:gd name="connsiteY278" fmla="*/ 409575 h 2265361"/>
              <a:gd name="connsiteX279" fmla="*/ 5454649 w 9905999"/>
              <a:gd name="connsiteY279" fmla="*/ 1214437 h 2265361"/>
              <a:gd name="connsiteX280" fmla="*/ 5221286 w 9905999"/>
              <a:gd name="connsiteY280" fmla="*/ 1214437 h 2265361"/>
              <a:gd name="connsiteX281" fmla="*/ 4098924 w 9905999"/>
              <a:gd name="connsiteY281" fmla="*/ 0 h 2265361"/>
              <a:gd name="connsiteX282" fmla="*/ 4968874 w 9905999"/>
              <a:gd name="connsiteY282" fmla="*/ 0 h 2265361"/>
              <a:gd name="connsiteX283" fmla="*/ 4968874 w 9905999"/>
              <a:gd name="connsiteY283" fmla="*/ 220663 h 2265361"/>
              <a:gd name="connsiteX284" fmla="*/ 4340224 w 9905999"/>
              <a:gd name="connsiteY284" fmla="*/ 220663 h 2265361"/>
              <a:gd name="connsiteX285" fmla="*/ 4340224 w 9905999"/>
              <a:gd name="connsiteY285" fmla="*/ 473075 h 2265361"/>
              <a:gd name="connsiteX286" fmla="*/ 4895849 w 9905999"/>
              <a:gd name="connsiteY286" fmla="*/ 473075 h 2265361"/>
              <a:gd name="connsiteX287" fmla="*/ 4895849 w 9905999"/>
              <a:gd name="connsiteY287" fmla="*/ 690562 h 2265361"/>
              <a:gd name="connsiteX288" fmla="*/ 4340224 w 9905999"/>
              <a:gd name="connsiteY288" fmla="*/ 690562 h 2265361"/>
              <a:gd name="connsiteX289" fmla="*/ 4340224 w 9905999"/>
              <a:gd name="connsiteY289" fmla="*/ 993775 h 2265361"/>
              <a:gd name="connsiteX290" fmla="*/ 4968874 w 9905999"/>
              <a:gd name="connsiteY290" fmla="*/ 993775 h 2265361"/>
              <a:gd name="connsiteX291" fmla="*/ 4968874 w 9905999"/>
              <a:gd name="connsiteY291" fmla="*/ 1214437 h 2265361"/>
              <a:gd name="connsiteX292" fmla="*/ 4098924 w 9905999"/>
              <a:gd name="connsiteY292" fmla="*/ 1214437 h 2265361"/>
              <a:gd name="connsiteX293" fmla="*/ 3079749 w 9905999"/>
              <a:gd name="connsiteY293" fmla="*/ 0 h 2265361"/>
              <a:gd name="connsiteX294" fmla="*/ 3321049 w 9905999"/>
              <a:gd name="connsiteY294" fmla="*/ 0 h 2265361"/>
              <a:gd name="connsiteX295" fmla="*/ 3321049 w 9905999"/>
              <a:gd name="connsiteY295" fmla="*/ 984250 h 2265361"/>
              <a:gd name="connsiteX296" fmla="*/ 3871912 w 9905999"/>
              <a:gd name="connsiteY296" fmla="*/ 984250 h 2265361"/>
              <a:gd name="connsiteX297" fmla="*/ 3871912 w 9905999"/>
              <a:gd name="connsiteY297" fmla="*/ 1214437 h 2265361"/>
              <a:gd name="connsiteX298" fmla="*/ 3079749 w 9905999"/>
              <a:gd name="connsiteY298" fmla="*/ 1214437 h 2265361"/>
              <a:gd name="connsiteX299" fmla="*/ 1989138 w 9905999"/>
              <a:gd name="connsiteY299" fmla="*/ 0 h 2265361"/>
              <a:gd name="connsiteX300" fmla="*/ 2465639 w 9905999"/>
              <a:gd name="connsiteY300" fmla="*/ 0 h 2265361"/>
              <a:gd name="connsiteX301" fmla="*/ 2897188 w 9905999"/>
              <a:gd name="connsiteY301" fmla="*/ 392045 h 2265361"/>
              <a:gd name="connsiteX302" fmla="*/ 2465639 w 9905999"/>
              <a:gd name="connsiteY302" fmla="*/ 786342 h 2265361"/>
              <a:gd name="connsiteX303" fmla="*/ 2227389 w 9905999"/>
              <a:gd name="connsiteY303" fmla="*/ 786342 h 2265361"/>
              <a:gd name="connsiteX304" fmla="*/ 2227389 w 9905999"/>
              <a:gd name="connsiteY304" fmla="*/ 1214437 h 2265361"/>
              <a:gd name="connsiteX305" fmla="*/ 1989138 w 9905999"/>
              <a:gd name="connsiteY305" fmla="*/ 1214437 h 2265361"/>
              <a:gd name="connsiteX306" fmla="*/ 1989138 w 9905999"/>
              <a:gd name="connsiteY306" fmla="*/ 0 h 2265361"/>
              <a:gd name="connsiteX307" fmla="*/ 520699 w 9905999"/>
              <a:gd name="connsiteY307" fmla="*/ 0 h 2265361"/>
              <a:gd name="connsiteX308" fmla="*/ 833436 w 9905999"/>
              <a:gd name="connsiteY308" fmla="*/ 0 h 2265361"/>
              <a:gd name="connsiteX309" fmla="*/ 1135061 w 9905999"/>
              <a:gd name="connsiteY309" fmla="*/ 823912 h 2265361"/>
              <a:gd name="connsiteX310" fmla="*/ 1439862 w 9905999"/>
              <a:gd name="connsiteY310" fmla="*/ 0 h 2265361"/>
              <a:gd name="connsiteX311" fmla="*/ 1736724 w 9905999"/>
              <a:gd name="connsiteY311" fmla="*/ 0 h 2265361"/>
              <a:gd name="connsiteX312" fmla="*/ 1736724 w 9905999"/>
              <a:gd name="connsiteY312" fmla="*/ 1214437 h 2265361"/>
              <a:gd name="connsiteX313" fmla="*/ 1503362 w 9905999"/>
              <a:gd name="connsiteY313" fmla="*/ 1214437 h 2265361"/>
              <a:gd name="connsiteX314" fmla="*/ 1503362 w 9905999"/>
              <a:gd name="connsiteY314" fmla="*/ 419100 h 2265361"/>
              <a:gd name="connsiteX315" fmla="*/ 1216024 w 9905999"/>
              <a:gd name="connsiteY315" fmla="*/ 1196975 h 2265361"/>
              <a:gd name="connsiteX316" fmla="*/ 1039812 w 9905999"/>
              <a:gd name="connsiteY316" fmla="*/ 1196975 h 2265361"/>
              <a:gd name="connsiteX317" fmla="*/ 754062 w 9905999"/>
              <a:gd name="connsiteY317" fmla="*/ 409575 h 2265361"/>
              <a:gd name="connsiteX318" fmla="*/ 754062 w 9905999"/>
              <a:gd name="connsiteY318" fmla="*/ 1214437 h 2265361"/>
              <a:gd name="connsiteX319" fmla="*/ 520699 w 9905999"/>
              <a:gd name="connsiteY319" fmla="*/ 1214437 h 2265361"/>
              <a:gd name="connsiteX320" fmla="*/ 25400 w 9905999"/>
              <a:gd name="connsiteY320" fmla="*/ 0 h 2265361"/>
              <a:gd name="connsiteX321" fmla="*/ 268288 w 9905999"/>
              <a:gd name="connsiteY321" fmla="*/ 0 h 2265361"/>
              <a:gd name="connsiteX322" fmla="*/ 268288 w 9905999"/>
              <a:gd name="connsiteY322" fmla="*/ 1214437 h 2265361"/>
              <a:gd name="connsiteX323" fmla="*/ 25400 w 9905999"/>
              <a:gd name="connsiteY323" fmla="*/ 1214437 h 22653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</a:cxnLst>
            <a:rect l="l" t="t" r="r" b="b"/>
            <a:pathLst>
              <a:path w="9905999" h="2265361">
                <a:moveTo>
                  <a:pt x="6778122" y="2222531"/>
                </a:moveTo>
                <a:cubicBezTo>
                  <a:pt x="6778122" y="2222531"/>
                  <a:pt x="6778122" y="2222531"/>
                  <a:pt x="7135812" y="2222531"/>
                </a:cubicBezTo>
                <a:lnTo>
                  <a:pt x="7135812" y="2265361"/>
                </a:lnTo>
                <a:cubicBezTo>
                  <a:pt x="7135812" y="2265361"/>
                  <a:pt x="7135812" y="2265361"/>
                  <a:pt x="6778122" y="2265361"/>
                </a:cubicBezTo>
                <a:cubicBezTo>
                  <a:pt x="6778122" y="2265361"/>
                  <a:pt x="6778122" y="2265361"/>
                  <a:pt x="6778122" y="2222531"/>
                </a:cubicBezTo>
                <a:close/>
                <a:moveTo>
                  <a:pt x="6449676" y="1769427"/>
                </a:moveTo>
                <a:cubicBezTo>
                  <a:pt x="6449676" y="1769427"/>
                  <a:pt x="6449676" y="1769427"/>
                  <a:pt x="6449676" y="1965546"/>
                </a:cubicBezTo>
                <a:cubicBezTo>
                  <a:pt x="6449676" y="1965546"/>
                  <a:pt x="6449676" y="1965546"/>
                  <a:pt x="6575655" y="1965546"/>
                </a:cubicBezTo>
                <a:cubicBezTo>
                  <a:pt x="6643144" y="1965546"/>
                  <a:pt x="6679138" y="1933987"/>
                  <a:pt x="6679138" y="1864105"/>
                </a:cubicBezTo>
                <a:cubicBezTo>
                  <a:pt x="6679138" y="1800986"/>
                  <a:pt x="6638645" y="1769427"/>
                  <a:pt x="6575655" y="1769427"/>
                </a:cubicBezTo>
                <a:cubicBezTo>
                  <a:pt x="6575655" y="1769427"/>
                  <a:pt x="6575655" y="1769427"/>
                  <a:pt x="6449676" y="1769427"/>
                </a:cubicBezTo>
                <a:close/>
                <a:moveTo>
                  <a:pt x="5021164" y="1769427"/>
                </a:moveTo>
                <a:cubicBezTo>
                  <a:pt x="5021164" y="1769427"/>
                  <a:pt x="5021164" y="1769427"/>
                  <a:pt x="5021164" y="1949767"/>
                </a:cubicBezTo>
                <a:cubicBezTo>
                  <a:pt x="5021164" y="1949767"/>
                  <a:pt x="5021164" y="1949767"/>
                  <a:pt x="5158391" y="1949767"/>
                </a:cubicBezTo>
                <a:cubicBezTo>
                  <a:pt x="5219131" y="1949767"/>
                  <a:pt x="5261874" y="1924970"/>
                  <a:pt x="5261874" y="1859597"/>
                </a:cubicBezTo>
                <a:cubicBezTo>
                  <a:pt x="5261874" y="1794223"/>
                  <a:pt x="5219131" y="1769427"/>
                  <a:pt x="5158391" y="1769427"/>
                </a:cubicBezTo>
                <a:cubicBezTo>
                  <a:pt x="5158391" y="1769427"/>
                  <a:pt x="5158391" y="1769427"/>
                  <a:pt x="5021164" y="1769427"/>
                </a:cubicBezTo>
                <a:close/>
                <a:moveTo>
                  <a:pt x="5597068" y="1762664"/>
                </a:moveTo>
                <a:cubicBezTo>
                  <a:pt x="5563324" y="1762664"/>
                  <a:pt x="5529579" y="1776189"/>
                  <a:pt x="5504834" y="1800986"/>
                </a:cubicBezTo>
                <a:cubicBezTo>
                  <a:pt x="5462091" y="1843817"/>
                  <a:pt x="5459841" y="1913699"/>
                  <a:pt x="5459841" y="1967800"/>
                </a:cubicBezTo>
                <a:cubicBezTo>
                  <a:pt x="5459841" y="2019648"/>
                  <a:pt x="5462091" y="2089530"/>
                  <a:pt x="5504834" y="2132361"/>
                </a:cubicBezTo>
                <a:cubicBezTo>
                  <a:pt x="5529579" y="2159412"/>
                  <a:pt x="5563324" y="2170683"/>
                  <a:pt x="5597068" y="2170683"/>
                </a:cubicBezTo>
                <a:cubicBezTo>
                  <a:pt x="5633062" y="2170683"/>
                  <a:pt x="5666807" y="2159412"/>
                  <a:pt x="5691552" y="2132361"/>
                </a:cubicBezTo>
                <a:cubicBezTo>
                  <a:pt x="5732046" y="2089530"/>
                  <a:pt x="5734295" y="2019648"/>
                  <a:pt x="5734295" y="1967800"/>
                </a:cubicBezTo>
                <a:cubicBezTo>
                  <a:pt x="5734295" y="1913699"/>
                  <a:pt x="5732046" y="1843817"/>
                  <a:pt x="5691552" y="1800986"/>
                </a:cubicBezTo>
                <a:cubicBezTo>
                  <a:pt x="5666807" y="1776189"/>
                  <a:pt x="5633062" y="1762664"/>
                  <a:pt x="5597068" y="1762664"/>
                </a:cubicBezTo>
                <a:close/>
                <a:moveTo>
                  <a:pt x="654642" y="1762664"/>
                </a:moveTo>
                <a:cubicBezTo>
                  <a:pt x="618647" y="1762664"/>
                  <a:pt x="584903" y="1776189"/>
                  <a:pt x="560157" y="1800986"/>
                </a:cubicBezTo>
                <a:cubicBezTo>
                  <a:pt x="519664" y="1843817"/>
                  <a:pt x="517414" y="1913699"/>
                  <a:pt x="517414" y="1967800"/>
                </a:cubicBezTo>
                <a:cubicBezTo>
                  <a:pt x="517414" y="2019648"/>
                  <a:pt x="519664" y="2089530"/>
                  <a:pt x="560157" y="2132361"/>
                </a:cubicBezTo>
                <a:cubicBezTo>
                  <a:pt x="584903" y="2159412"/>
                  <a:pt x="618647" y="2170683"/>
                  <a:pt x="654642" y="2170683"/>
                </a:cubicBezTo>
                <a:cubicBezTo>
                  <a:pt x="688386" y="2170683"/>
                  <a:pt x="722130" y="2159412"/>
                  <a:pt x="746876" y="2132361"/>
                </a:cubicBezTo>
                <a:cubicBezTo>
                  <a:pt x="789619" y="2089530"/>
                  <a:pt x="791868" y="2019648"/>
                  <a:pt x="791868" y="1967800"/>
                </a:cubicBezTo>
                <a:cubicBezTo>
                  <a:pt x="791868" y="1913699"/>
                  <a:pt x="789619" y="1843817"/>
                  <a:pt x="746876" y="1800986"/>
                </a:cubicBezTo>
                <a:cubicBezTo>
                  <a:pt x="722130" y="1776189"/>
                  <a:pt x="688386" y="1762664"/>
                  <a:pt x="654642" y="1762664"/>
                </a:cubicBezTo>
                <a:close/>
                <a:moveTo>
                  <a:pt x="6386687" y="1710816"/>
                </a:moveTo>
                <a:cubicBezTo>
                  <a:pt x="6386687" y="1710816"/>
                  <a:pt x="6386687" y="1710816"/>
                  <a:pt x="6575655" y="1710816"/>
                </a:cubicBezTo>
                <a:cubicBezTo>
                  <a:pt x="6636395" y="1710816"/>
                  <a:pt x="6679138" y="1726596"/>
                  <a:pt x="6706134" y="1755901"/>
                </a:cubicBezTo>
                <a:cubicBezTo>
                  <a:pt x="6730880" y="1782952"/>
                  <a:pt x="6744377" y="1821274"/>
                  <a:pt x="6744377" y="1864105"/>
                </a:cubicBezTo>
                <a:cubicBezTo>
                  <a:pt x="6744377" y="1915953"/>
                  <a:pt x="6730880" y="1954275"/>
                  <a:pt x="6701634" y="1981326"/>
                </a:cubicBezTo>
                <a:cubicBezTo>
                  <a:pt x="6674639" y="2008377"/>
                  <a:pt x="6634146" y="2024157"/>
                  <a:pt x="6577905" y="2024157"/>
                </a:cubicBezTo>
                <a:cubicBezTo>
                  <a:pt x="6577905" y="2024157"/>
                  <a:pt x="6577905" y="2024157"/>
                  <a:pt x="6449676" y="2024157"/>
                </a:cubicBezTo>
                <a:cubicBezTo>
                  <a:pt x="6449676" y="2024157"/>
                  <a:pt x="6449676" y="2024157"/>
                  <a:pt x="6449676" y="2222531"/>
                </a:cubicBezTo>
                <a:cubicBezTo>
                  <a:pt x="6449676" y="2222531"/>
                  <a:pt x="6449676" y="2222531"/>
                  <a:pt x="6386687" y="2222531"/>
                </a:cubicBezTo>
                <a:cubicBezTo>
                  <a:pt x="6386687" y="2222531"/>
                  <a:pt x="6386687" y="2222531"/>
                  <a:pt x="6386687" y="1710816"/>
                </a:cubicBezTo>
                <a:close/>
                <a:moveTo>
                  <a:pt x="5889520" y="1710816"/>
                </a:moveTo>
                <a:cubicBezTo>
                  <a:pt x="5889520" y="1710816"/>
                  <a:pt x="5889520" y="1710816"/>
                  <a:pt x="5954759" y="1710816"/>
                </a:cubicBezTo>
                <a:cubicBezTo>
                  <a:pt x="5954759" y="1710816"/>
                  <a:pt x="5954759" y="1710816"/>
                  <a:pt x="5954759" y="2035428"/>
                </a:cubicBezTo>
                <a:cubicBezTo>
                  <a:pt x="5954759" y="2118835"/>
                  <a:pt x="5988503" y="2172937"/>
                  <a:pt x="6076239" y="2172937"/>
                </a:cubicBezTo>
                <a:cubicBezTo>
                  <a:pt x="6166224" y="2172937"/>
                  <a:pt x="6199968" y="2118835"/>
                  <a:pt x="6199968" y="2035428"/>
                </a:cubicBezTo>
                <a:cubicBezTo>
                  <a:pt x="6199968" y="2035428"/>
                  <a:pt x="6199968" y="2035428"/>
                  <a:pt x="6199968" y="1710816"/>
                </a:cubicBezTo>
                <a:cubicBezTo>
                  <a:pt x="6199968" y="1710816"/>
                  <a:pt x="6199968" y="1710816"/>
                  <a:pt x="6262957" y="1710816"/>
                </a:cubicBezTo>
                <a:cubicBezTo>
                  <a:pt x="6262957" y="1710816"/>
                  <a:pt x="6262957" y="1710816"/>
                  <a:pt x="6262957" y="2035428"/>
                </a:cubicBezTo>
                <a:cubicBezTo>
                  <a:pt x="6262957" y="2163920"/>
                  <a:pt x="6190969" y="2231547"/>
                  <a:pt x="6076239" y="2231547"/>
                </a:cubicBezTo>
                <a:cubicBezTo>
                  <a:pt x="5961508" y="2231547"/>
                  <a:pt x="5889520" y="2163920"/>
                  <a:pt x="5889520" y="2035428"/>
                </a:cubicBezTo>
                <a:cubicBezTo>
                  <a:pt x="5889520" y="2035428"/>
                  <a:pt x="5889520" y="2035428"/>
                  <a:pt x="5889520" y="1710816"/>
                </a:cubicBezTo>
                <a:close/>
                <a:moveTo>
                  <a:pt x="4958174" y="1710816"/>
                </a:moveTo>
                <a:cubicBezTo>
                  <a:pt x="4958174" y="1710816"/>
                  <a:pt x="4958174" y="1710816"/>
                  <a:pt x="5158391" y="1710816"/>
                </a:cubicBezTo>
                <a:cubicBezTo>
                  <a:pt x="5219131" y="1710816"/>
                  <a:pt x="5259624" y="1726596"/>
                  <a:pt x="5288869" y="1755901"/>
                </a:cubicBezTo>
                <a:cubicBezTo>
                  <a:pt x="5313615" y="1782952"/>
                  <a:pt x="5329363" y="1814512"/>
                  <a:pt x="5329363" y="1859597"/>
                </a:cubicBezTo>
                <a:cubicBezTo>
                  <a:pt x="5329363" y="1904682"/>
                  <a:pt x="5313615" y="1936241"/>
                  <a:pt x="5288869" y="1961038"/>
                </a:cubicBezTo>
                <a:cubicBezTo>
                  <a:pt x="5275372" y="1976817"/>
                  <a:pt x="5252875" y="1990343"/>
                  <a:pt x="5228130" y="1997106"/>
                </a:cubicBezTo>
                <a:cubicBezTo>
                  <a:pt x="5228130" y="1997106"/>
                  <a:pt x="5228130" y="1997106"/>
                  <a:pt x="5331612" y="2222531"/>
                </a:cubicBezTo>
                <a:lnTo>
                  <a:pt x="5259624" y="2222531"/>
                </a:lnTo>
                <a:cubicBezTo>
                  <a:pt x="5259624" y="2222531"/>
                  <a:pt x="5259624" y="2222531"/>
                  <a:pt x="5162890" y="2010631"/>
                </a:cubicBezTo>
                <a:cubicBezTo>
                  <a:pt x="5162890" y="2010631"/>
                  <a:pt x="5162890" y="2010631"/>
                  <a:pt x="5021164" y="2010631"/>
                </a:cubicBezTo>
                <a:cubicBezTo>
                  <a:pt x="5021164" y="2010631"/>
                  <a:pt x="5021164" y="2010631"/>
                  <a:pt x="5021164" y="2222531"/>
                </a:cubicBezTo>
                <a:cubicBezTo>
                  <a:pt x="5021164" y="2222531"/>
                  <a:pt x="5021164" y="2222531"/>
                  <a:pt x="4958174" y="2222531"/>
                </a:cubicBezTo>
                <a:cubicBezTo>
                  <a:pt x="4958174" y="2222531"/>
                  <a:pt x="4958174" y="2222531"/>
                  <a:pt x="4958174" y="1710816"/>
                </a:cubicBezTo>
                <a:close/>
                <a:moveTo>
                  <a:pt x="3309199" y="1710816"/>
                </a:moveTo>
                <a:cubicBezTo>
                  <a:pt x="3309199" y="1710816"/>
                  <a:pt x="3309199" y="1710816"/>
                  <a:pt x="3381187" y="1710816"/>
                </a:cubicBezTo>
                <a:cubicBezTo>
                  <a:pt x="3381187" y="1710816"/>
                  <a:pt x="3381187" y="1710816"/>
                  <a:pt x="3633145" y="2123344"/>
                </a:cubicBezTo>
                <a:cubicBezTo>
                  <a:pt x="3633145" y="2123344"/>
                  <a:pt x="3633145" y="2123344"/>
                  <a:pt x="3633145" y="1710816"/>
                </a:cubicBezTo>
                <a:cubicBezTo>
                  <a:pt x="3633145" y="1710816"/>
                  <a:pt x="3633145" y="1710816"/>
                  <a:pt x="3693885" y="1710816"/>
                </a:cubicBezTo>
                <a:cubicBezTo>
                  <a:pt x="3693885" y="1710816"/>
                  <a:pt x="3693885" y="1710816"/>
                  <a:pt x="3693885" y="2222531"/>
                </a:cubicBezTo>
                <a:lnTo>
                  <a:pt x="3621897" y="2222531"/>
                </a:lnTo>
                <a:cubicBezTo>
                  <a:pt x="3621897" y="2222531"/>
                  <a:pt x="3621897" y="2222531"/>
                  <a:pt x="3372188" y="1810003"/>
                </a:cubicBezTo>
                <a:cubicBezTo>
                  <a:pt x="3372188" y="1810003"/>
                  <a:pt x="3372188" y="1810003"/>
                  <a:pt x="3372188" y="2222531"/>
                </a:cubicBezTo>
                <a:cubicBezTo>
                  <a:pt x="3372188" y="2222531"/>
                  <a:pt x="3372188" y="2222531"/>
                  <a:pt x="3309199" y="2222531"/>
                </a:cubicBezTo>
                <a:cubicBezTo>
                  <a:pt x="3309199" y="2222531"/>
                  <a:pt x="3309199" y="2222531"/>
                  <a:pt x="3309199" y="1710816"/>
                </a:cubicBezTo>
                <a:close/>
                <a:moveTo>
                  <a:pt x="3106732" y="1710816"/>
                </a:moveTo>
                <a:cubicBezTo>
                  <a:pt x="3106732" y="1710816"/>
                  <a:pt x="3106732" y="1710816"/>
                  <a:pt x="3171971" y="1710816"/>
                </a:cubicBezTo>
                <a:lnTo>
                  <a:pt x="3171971" y="2222531"/>
                </a:lnTo>
                <a:cubicBezTo>
                  <a:pt x="3171971" y="2222531"/>
                  <a:pt x="3171971" y="2222531"/>
                  <a:pt x="3106732" y="2222531"/>
                </a:cubicBezTo>
                <a:cubicBezTo>
                  <a:pt x="3106732" y="2222531"/>
                  <a:pt x="3106732" y="2222531"/>
                  <a:pt x="3106732" y="1710816"/>
                </a:cubicBezTo>
                <a:close/>
                <a:moveTo>
                  <a:pt x="2663557" y="1710816"/>
                </a:moveTo>
                <a:cubicBezTo>
                  <a:pt x="2663557" y="1710816"/>
                  <a:pt x="2663557" y="1710816"/>
                  <a:pt x="3032495" y="1710816"/>
                </a:cubicBezTo>
                <a:cubicBezTo>
                  <a:pt x="3032495" y="1710816"/>
                  <a:pt x="3032495" y="1710816"/>
                  <a:pt x="3032495" y="1769427"/>
                </a:cubicBezTo>
                <a:lnTo>
                  <a:pt x="2879521" y="1769427"/>
                </a:lnTo>
                <a:cubicBezTo>
                  <a:pt x="2879521" y="1769427"/>
                  <a:pt x="2879521" y="1769427"/>
                  <a:pt x="2879521" y="2222531"/>
                </a:cubicBezTo>
                <a:cubicBezTo>
                  <a:pt x="2879521" y="2222531"/>
                  <a:pt x="2879521" y="2222531"/>
                  <a:pt x="2814282" y="2222531"/>
                </a:cubicBezTo>
                <a:cubicBezTo>
                  <a:pt x="2814282" y="2222531"/>
                  <a:pt x="2814282" y="2222531"/>
                  <a:pt x="2814282" y="1769427"/>
                </a:cubicBezTo>
                <a:cubicBezTo>
                  <a:pt x="2814282" y="1769427"/>
                  <a:pt x="2814282" y="1769427"/>
                  <a:pt x="2663557" y="1769427"/>
                </a:cubicBezTo>
                <a:cubicBezTo>
                  <a:pt x="2663557" y="1769427"/>
                  <a:pt x="2663557" y="1769427"/>
                  <a:pt x="2663557" y="1710816"/>
                </a:cubicBezTo>
                <a:close/>
                <a:moveTo>
                  <a:pt x="2416099" y="1710816"/>
                </a:moveTo>
                <a:cubicBezTo>
                  <a:pt x="2416099" y="1710816"/>
                  <a:pt x="2416099" y="1710816"/>
                  <a:pt x="2481338" y="1710816"/>
                </a:cubicBezTo>
                <a:cubicBezTo>
                  <a:pt x="2481338" y="1710816"/>
                  <a:pt x="2481338" y="1710816"/>
                  <a:pt x="2481338" y="2163920"/>
                </a:cubicBezTo>
                <a:cubicBezTo>
                  <a:pt x="2481338" y="2163920"/>
                  <a:pt x="2481338" y="2163920"/>
                  <a:pt x="2726547" y="2163920"/>
                </a:cubicBezTo>
                <a:cubicBezTo>
                  <a:pt x="2726547" y="2163920"/>
                  <a:pt x="2726547" y="2163920"/>
                  <a:pt x="2726547" y="2222531"/>
                </a:cubicBezTo>
                <a:lnTo>
                  <a:pt x="2416099" y="2222531"/>
                </a:lnTo>
                <a:cubicBezTo>
                  <a:pt x="2416099" y="2222531"/>
                  <a:pt x="2416099" y="2222531"/>
                  <a:pt x="2416099" y="1710816"/>
                </a:cubicBezTo>
                <a:close/>
                <a:moveTo>
                  <a:pt x="1918931" y="1710816"/>
                </a:moveTo>
                <a:cubicBezTo>
                  <a:pt x="1918931" y="1710816"/>
                  <a:pt x="1918931" y="1710816"/>
                  <a:pt x="1984171" y="1710816"/>
                </a:cubicBezTo>
                <a:cubicBezTo>
                  <a:pt x="1984171" y="1710816"/>
                  <a:pt x="1984171" y="1710816"/>
                  <a:pt x="1984171" y="2035428"/>
                </a:cubicBezTo>
                <a:cubicBezTo>
                  <a:pt x="1984171" y="2118835"/>
                  <a:pt x="2017916" y="2172937"/>
                  <a:pt x="2105651" y="2172937"/>
                </a:cubicBezTo>
                <a:cubicBezTo>
                  <a:pt x="2195636" y="2172937"/>
                  <a:pt x="2229380" y="2118835"/>
                  <a:pt x="2229380" y="2035428"/>
                </a:cubicBezTo>
                <a:cubicBezTo>
                  <a:pt x="2229380" y="2035428"/>
                  <a:pt x="2229380" y="2035428"/>
                  <a:pt x="2229380" y="1710816"/>
                </a:cubicBezTo>
                <a:cubicBezTo>
                  <a:pt x="2229380" y="1710816"/>
                  <a:pt x="2229380" y="1710816"/>
                  <a:pt x="2292369" y="1710816"/>
                </a:cubicBezTo>
                <a:cubicBezTo>
                  <a:pt x="2292369" y="1710816"/>
                  <a:pt x="2292369" y="1710816"/>
                  <a:pt x="2292369" y="2035428"/>
                </a:cubicBezTo>
                <a:cubicBezTo>
                  <a:pt x="2292369" y="2163920"/>
                  <a:pt x="2220382" y="2231547"/>
                  <a:pt x="2105651" y="2231547"/>
                </a:cubicBezTo>
                <a:cubicBezTo>
                  <a:pt x="1990920" y="2231547"/>
                  <a:pt x="1918931" y="2163920"/>
                  <a:pt x="1918931" y="2035428"/>
                </a:cubicBezTo>
                <a:cubicBezTo>
                  <a:pt x="1918931" y="2035428"/>
                  <a:pt x="1918931" y="2035428"/>
                  <a:pt x="1918931" y="1710816"/>
                </a:cubicBezTo>
                <a:close/>
                <a:moveTo>
                  <a:pt x="960591" y="1710816"/>
                </a:moveTo>
                <a:cubicBezTo>
                  <a:pt x="960591" y="1710816"/>
                  <a:pt x="960591" y="1710816"/>
                  <a:pt x="1032578" y="1710816"/>
                </a:cubicBezTo>
                <a:cubicBezTo>
                  <a:pt x="1032578" y="1710816"/>
                  <a:pt x="1032578" y="1710816"/>
                  <a:pt x="1284537" y="2123344"/>
                </a:cubicBezTo>
                <a:cubicBezTo>
                  <a:pt x="1284537" y="2123344"/>
                  <a:pt x="1284537" y="2123344"/>
                  <a:pt x="1284537" y="1710816"/>
                </a:cubicBezTo>
                <a:cubicBezTo>
                  <a:pt x="1284537" y="1710816"/>
                  <a:pt x="1284537" y="1710816"/>
                  <a:pt x="1345276" y="1710816"/>
                </a:cubicBezTo>
                <a:cubicBezTo>
                  <a:pt x="1345276" y="1710816"/>
                  <a:pt x="1345276" y="1710816"/>
                  <a:pt x="1345276" y="2222531"/>
                </a:cubicBezTo>
                <a:lnTo>
                  <a:pt x="1273289" y="2222531"/>
                </a:lnTo>
                <a:cubicBezTo>
                  <a:pt x="1273289" y="2222531"/>
                  <a:pt x="1273289" y="2222531"/>
                  <a:pt x="1023580" y="1810003"/>
                </a:cubicBezTo>
                <a:cubicBezTo>
                  <a:pt x="1023580" y="1810003"/>
                  <a:pt x="1023580" y="1810003"/>
                  <a:pt x="1023580" y="2222531"/>
                </a:cubicBezTo>
                <a:cubicBezTo>
                  <a:pt x="1023580" y="2222531"/>
                  <a:pt x="1023580" y="2222531"/>
                  <a:pt x="960591" y="2222531"/>
                </a:cubicBezTo>
                <a:cubicBezTo>
                  <a:pt x="960591" y="2222531"/>
                  <a:pt x="960591" y="2222531"/>
                  <a:pt x="960591" y="1710816"/>
                </a:cubicBezTo>
                <a:close/>
                <a:moveTo>
                  <a:pt x="5597068" y="1701799"/>
                </a:moveTo>
                <a:cubicBezTo>
                  <a:pt x="5648810" y="1701799"/>
                  <a:pt x="5698301" y="1719833"/>
                  <a:pt x="5736545" y="1755901"/>
                </a:cubicBezTo>
                <a:cubicBezTo>
                  <a:pt x="5790536" y="1810003"/>
                  <a:pt x="5801784" y="1884393"/>
                  <a:pt x="5801784" y="1967800"/>
                </a:cubicBezTo>
                <a:cubicBezTo>
                  <a:pt x="5801784" y="2048953"/>
                  <a:pt x="5790536" y="2123344"/>
                  <a:pt x="5736545" y="2177446"/>
                </a:cubicBezTo>
                <a:cubicBezTo>
                  <a:pt x="5698301" y="2213514"/>
                  <a:pt x="5648810" y="2233802"/>
                  <a:pt x="5597068" y="2233802"/>
                </a:cubicBezTo>
                <a:cubicBezTo>
                  <a:pt x="5547576" y="2233802"/>
                  <a:pt x="5495835" y="2213514"/>
                  <a:pt x="5459841" y="2177446"/>
                </a:cubicBezTo>
                <a:cubicBezTo>
                  <a:pt x="5403600" y="2123344"/>
                  <a:pt x="5394602" y="2048953"/>
                  <a:pt x="5394602" y="1967800"/>
                </a:cubicBezTo>
                <a:cubicBezTo>
                  <a:pt x="5394602" y="1884393"/>
                  <a:pt x="5403600" y="1810003"/>
                  <a:pt x="5459841" y="1755901"/>
                </a:cubicBezTo>
                <a:cubicBezTo>
                  <a:pt x="5495835" y="1719833"/>
                  <a:pt x="5547576" y="1701799"/>
                  <a:pt x="5597068" y="1701799"/>
                </a:cubicBezTo>
                <a:close/>
                <a:moveTo>
                  <a:pt x="4645477" y="1701799"/>
                </a:moveTo>
                <a:cubicBezTo>
                  <a:pt x="4701717" y="1701799"/>
                  <a:pt x="4755708" y="1722087"/>
                  <a:pt x="4791702" y="1758155"/>
                </a:cubicBezTo>
                <a:cubicBezTo>
                  <a:pt x="4816448" y="1785206"/>
                  <a:pt x="4832195" y="1816766"/>
                  <a:pt x="4834445" y="1859597"/>
                </a:cubicBezTo>
                <a:cubicBezTo>
                  <a:pt x="4834445" y="1859597"/>
                  <a:pt x="4834445" y="1859597"/>
                  <a:pt x="4766956" y="1859597"/>
                </a:cubicBezTo>
                <a:cubicBezTo>
                  <a:pt x="4764707" y="1834800"/>
                  <a:pt x="4757958" y="1819020"/>
                  <a:pt x="4744460" y="1803240"/>
                </a:cubicBezTo>
                <a:cubicBezTo>
                  <a:pt x="4721964" y="1773935"/>
                  <a:pt x="4685970" y="1762664"/>
                  <a:pt x="4645477" y="1762664"/>
                </a:cubicBezTo>
                <a:cubicBezTo>
                  <a:pt x="4609482" y="1762664"/>
                  <a:pt x="4575738" y="1776189"/>
                  <a:pt x="4550992" y="1800986"/>
                </a:cubicBezTo>
                <a:cubicBezTo>
                  <a:pt x="4510499" y="1843817"/>
                  <a:pt x="4506000" y="1913699"/>
                  <a:pt x="4506000" y="1967800"/>
                </a:cubicBezTo>
                <a:cubicBezTo>
                  <a:pt x="4506000" y="2017394"/>
                  <a:pt x="4510499" y="2091784"/>
                  <a:pt x="4553242" y="2134615"/>
                </a:cubicBezTo>
                <a:cubicBezTo>
                  <a:pt x="4577988" y="2161666"/>
                  <a:pt x="4609482" y="2172937"/>
                  <a:pt x="4645477" y="2172937"/>
                </a:cubicBezTo>
                <a:cubicBezTo>
                  <a:pt x="4681471" y="2172937"/>
                  <a:pt x="4715215" y="2159412"/>
                  <a:pt x="4737711" y="2136869"/>
                </a:cubicBezTo>
                <a:cubicBezTo>
                  <a:pt x="4771456" y="2103055"/>
                  <a:pt x="4780454" y="2053462"/>
                  <a:pt x="4780454" y="2006123"/>
                </a:cubicBezTo>
                <a:cubicBezTo>
                  <a:pt x="4780454" y="2006123"/>
                  <a:pt x="4780454" y="2006123"/>
                  <a:pt x="4645477" y="2006123"/>
                </a:cubicBezTo>
                <a:cubicBezTo>
                  <a:pt x="4645477" y="2006123"/>
                  <a:pt x="4645477" y="2006123"/>
                  <a:pt x="4645477" y="1947512"/>
                </a:cubicBezTo>
                <a:cubicBezTo>
                  <a:pt x="4645477" y="1947512"/>
                  <a:pt x="4645477" y="1947512"/>
                  <a:pt x="4838944" y="1947512"/>
                </a:cubicBezTo>
                <a:cubicBezTo>
                  <a:pt x="4838944" y="1947512"/>
                  <a:pt x="4838944" y="1947512"/>
                  <a:pt x="4838944" y="2222531"/>
                </a:cubicBezTo>
                <a:lnTo>
                  <a:pt x="4793952" y="2222531"/>
                </a:lnTo>
                <a:cubicBezTo>
                  <a:pt x="4793952" y="2222531"/>
                  <a:pt x="4793952" y="2222531"/>
                  <a:pt x="4782704" y="2161666"/>
                </a:cubicBezTo>
                <a:cubicBezTo>
                  <a:pt x="4757958" y="2204497"/>
                  <a:pt x="4701717" y="2233802"/>
                  <a:pt x="4645477" y="2233802"/>
                </a:cubicBezTo>
                <a:cubicBezTo>
                  <a:pt x="4593735" y="2233802"/>
                  <a:pt x="4544243" y="2215768"/>
                  <a:pt x="4506000" y="2179700"/>
                </a:cubicBezTo>
                <a:cubicBezTo>
                  <a:pt x="4454258" y="2130106"/>
                  <a:pt x="4440761" y="2057970"/>
                  <a:pt x="4440761" y="1967800"/>
                </a:cubicBezTo>
                <a:cubicBezTo>
                  <a:pt x="4440761" y="1884393"/>
                  <a:pt x="4452009" y="1810003"/>
                  <a:pt x="4506000" y="1755901"/>
                </a:cubicBezTo>
                <a:cubicBezTo>
                  <a:pt x="4544243" y="1719833"/>
                  <a:pt x="4593735" y="1701799"/>
                  <a:pt x="4645477" y="1701799"/>
                </a:cubicBezTo>
                <a:close/>
                <a:moveTo>
                  <a:pt x="4002083" y="1701799"/>
                </a:moveTo>
                <a:cubicBezTo>
                  <a:pt x="4060574" y="1701799"/>
                  <a:pt x="4112315" y="1722087"/>
                  <a:pt x="4148309" y="1758155"/>
                </a:cubicBezTo>
                <a:cubicBezTo>
                  <a:pt x="4173055" y="1785206"/>
                  <a:pt x="4191052" y="1816766"/>
                  <a:pt x="4193302" y="1859597"/>
                </a:cubicBezTo>
                <a:cubicBezTo>
                  <a:pt x="4193302" y="1859597"/>
                  <a:pt x="4193302" y="1859597"/>
                  <a:pt x="4125813" y="1859597"/>
                </a:cubicBezTo>
                <a:cubicBezTo>
                  <a:pt x="4123563" y="1834800"/>
                  <a:pt x="4114565" y="1819020"/>
                  <a:pt x="4103317" y="1803240"/>
                </a:cubicBezTo>
                <a:cubicBezTo>
                  <a:pt x="4078571" y="1773935"/>
                  <a:pt x="4044826" y="1762664"/>
                  <a:pt x="4002083" y="1762664"/>
                </a:cubicBezTo>
                <a:cubicBezTo>
                  <a:pt x="3968339" y="1762664"/>
                  <a:pt x="3934595" y="1776189"/>
                  <a:pt x="3909849" y="1800986"/>
                </a:cubicBezTo>
                <a:cubicBezTo>
                  <a:pt x="3867106" y="1843817"/>
                  <a:pt x="3864856" y="1913699"/>
                  <a:pt x="3864856" y="1967800"/>
                </a:cubicBezTo>
                <a:cubicBezTo>
                  <a:pt x="3864856" y="2017394"/>
                  <a:pt x="3867106" y="2091784"/>
                  <a:pt x="3909849" y="2134615"/>
                </a:cubicBezTo>
                <a:cubicBezTo>
                  <a:pt x="3934595" y="2161666"/>
                  <a:pt x="3968339" y="2172937"/>
                  <a:pt x="4002083" y="2172937"/>
                </a:cubicBezTo>
                <a:cubicBezTo>
                  <a:pt x="4038077" y="2172937"/>
                  <a:pt x="4071822" y="2159412"/>
                  <a:pt x="4094318" y="2136869"/>
                </a:cubicBezTo>
                <a:cubicBezTo>
                  <a:pt x="4130312" y="2103055"/>
                  <a:pt x="4139311" y="2053462"/>
                  <a:pt x="4139311" y="2006123"/>
                </a:cubicBezTo>
                <a:cubicBezTo>
                  <a:pt x="4139311" y="2006123"/>
                  <a:pt x="4139311" y="2006123"/>
                  <a:pt x="4002083" y="2006123"/>
                </a:cubicBezTo>
                <a:cubicBezTo>
                  <a:pt x="4002083" y="2006123"/>
                  <a:pt x="4002083" y="2006123"/>
                  <a:pt x="4002083" y="1947512"/>
                </a:cubicBezTo>
                <a:cubicBezTo>
                  <a:pt x="4002083" y="1947512"/>
                  <a:pt x="4002083" y="1947512"/>
                  <a:pt x="4197801" y="1947512"/>
                </a:cubicBezTo>
                <a:cubicBezTo>
                  <a:pt x="4197801" y="1947512"/>
                  <a:pt x="4197801" y="1947512"/>
                  <a:pt x="4197801" y="2222531"/>
                </a:cubicBezTo>
                <a:lnTo>
                  <a:pt x="4152808" y="2222531"/>
                </a:lnTo>
                <a:cubicBezTo>
                  <a:pt x="4152808" y="2222531"/>
                  <a:pt x="4152808" y="2222531"/>
                  <a:pt x="4141560" y="2161666"/>
                </a:cubicBezTo>
                <a:cubicBezTo>
                  <a:pt x="4116814" y="2204497"/>
                  <a:pt x="4060574" y="2233802"/>
                  <a:pt x="4002083" y="2233802"/>
                </a:cubicBezTo>
                <a:cubicBezTo>
                  <a:pt x="3950342" y="2233802"/>
                  <a:pt x="3900850" y="2215768"/>
                  <a:pt x="3864856" y="2179700"/>
                </a:cubicBezTo>
                <a:cubicBezTo>
                  <a:pt x="3813115" y="2130106"/>
                  <a:pt x="3797367" y="2057970"/>
                  <a:pt x="3797367" y="1967800"/>
                </a:cubicBezTo>
                <a:cubicBezTo>
                  <a:pt x="3797367" y="1884393"/>
                  <a:pt x="3808616" y="1810003"/>
                  <a:pt x="3864856" y="1755901"/>
                </a:cubicBezTo>
                <a:cubicBezTo>
                  <a:pt x="3900850" y="1719833"/>
                  <a:pt x="3950342" y="1701799"/>
                  <a:pt x="4002083" y="1701799"/>
                </a:cubicBezTo>
                <a:close/>
                <a:moveTo>
                  <a:pt x="1642228" y="1701799"/>
                </a:moveTo>
                <a:cubicBezTo>
                  <a:pt x="1691719" y="1701799"/>
                  <a:pt x="1741211" y="1717579"/>
                  <a:pt x="1774955" y="1749138"/>
                </a:cubicBezTo>
                <a:cubicBezTo>
                  <a:pt x="1806450" y="1780698"/>
                  <a:pt x="1822198" y="1816766"/>
                  <a:pt x="1824447" y="1859597"/>
                </a:cubicBezTo>
                <a:cubicBezTo>
                  <a:pt x="1824447" y="1859597"/>
                  <a:pt x="1824447" y="1859597"/>
                  <a:pt x="1756958" y="1859597"/>
                </a:cubicBezTo>
                <a:cubicBezTo>
                  <a:pt x="1754708" y="1834800"/>
                  <a:pt x="1745710" y="1812257"/>
                  <a:pt x="1732212" y="1796478"/>
                </a:cubicBezTo>
                <a:cubicBezTo>
                  <a:pt x="1711966" y="1773935"/>
                  <a:pt x="1680471" y="1760410"/>
                  <a:pt x="1639978" y="1760410"/>
                </a:cubicBezTo>
                <a:cubicBezTo>
                  <a:pt x="1603983" y="1760410"/>
                  <a:pt x="1572489" y="1769427"/>
                  <a:pt x="1549993" y="1796478"/>
                </a:cubicBezTo>
                <a:cubicBezTo>
                  <a:pt x="1536494" y="1810003"/>
                  <a:pt x="1529746" y="1828037"/>
                  <a:pt x="1529746" y="1850580"/>
                </a:cubicBezTo>
                <a:cubicBezTo>
                  <a:pt x="1529746" y="1897919"/>
                  <a:pt x="1567989" y="1918207"/>
                  <a:pt x="1606234" y="1922716"/>
                </a:cubicBezTo>
                <a:cubicBezTo>
                  <a:pt x="1635478" y="1927224"/>
                  <a:pt x="1662474" y="1931733"/>
                  <a:pt x="1691719" y="1936241"/>
                </a:cubicBezTo>
                <a:cubicBezTo>
                  <a:pt x="1774955" y="1949767"/>
                  <a:pt x="1833445" y="2001614"/>
                  <a:pt x="1833445" y="2082767"/>
                </a:cubicBezTo>
                <a:cubicBezTo>
                  <a:pt x="1833445" y="2125598"/>
                  <a:pt x="1815448" y="2157157"/>
                  <a:pt x="1790703" y="2181954"/>
                </a:cubicBezTo>
                <a:cubicBezTo>
                  <a:pt x="1754708" y="2215768"/>
                  <a:pt x="1698468" y="2231547"/>
                  <a:pt x="1644477" y="2231547"/>
                </a:cubicBezTo>
                <a:cubicBezTo>
                  <a:pt x="1581488" y="2231547"/>
                  <a:pt x="1531996" y="2215768"/>
                  <a:pt x="1498251" y="2184208"/>
                </a:cubicBezTo>
                <a:cubicBezTo>
                  <a:pt x="1466757" y="2152649"/>
                  <a:pt x="1444260" y="2109818"/>
                  <a:pt x="1444260" y="2060225"/>
                </a:cubicBezTo>
                <a:cubicBezTo>
                  <a:pt x="1444260" y="2060225"/>
                  <a:pt x="1444260" y="2060225"/>
                  <a:pt x="1509499" y="2060225"/>
                </a:cubicBezTo>
                <a:cubicBezTo>
                  <a:pt x="1509499" y="2091784"/>
                  <a:pt x="1525247" y="2121089"/>
                  <a:pt x="1545494" y="2141378"/>
                </a:cubicBezTo>
                <a:cubicBezTo>
                  <a:pt x="1570239" y="2163920"/>
                  <a:pt x="1608483" y="2172937"/>
                  <a:pt x="1644477" y="2172937"/>
                </a:cubicBezTo>
                <a:cubicBezTo>
                  <a:pt x="1682720" y="2172937"/>
                  <a:pt x="1716465" y="2166174"/>
                  <a:pt x="1738962" y="2143632"/>
                </a:cubicBezTo>
                <a:cubicBezTo>
                  <a:pt x="1754708" y="2130106"/>
                  <a:pt x="1765956" y="2109818"/>
                  <a:pt x="1765956" y="2082767"/>
                </a:cubicBezTo>
                <a:cubicBezTo>
                  <a:pt x="1765956" y="2044445"/>
                  <a:pt x="1741211" y="2010631"/>
                  <a:pt x="1680471" y="2001614"/>
                </a:cubicBezTo>
                <a:cubicBezTo>
                  <a:pt x="1680471" y="2001614"/>
                  <a:pt x="1680471" y="2001614"/>
                  <a:pt x="1599484" y="1988089"/>
                </a:cubicBezTo>
                <a:cubicBezTo>
                  <a:pt x="1522997" y="1976817"/>
                  <a:pt x="1462257" y="1933987"/>
                  <a:pt x="1462257" y="1852834"/>
                </a:cubicBezTo>
                <a:cubicBezTo>
                  <a:pt x="1462257" y="1814512"/>
                  <a:pt x="1480254" y="1778444"/>
                  <a:pt x="1507249" y="1751393"/>
                </a:cubicBezTo>
                <a:cubicBezTo>
                  <a:pt x="1543244" y="1717579"/>
                  <a:pt x="1588236" y="1701799"/>
                  <a:pt x="1642228" y="1701799"/>
                </a:cubicBezTo>
                <a:close/>
                <a:moveTo>
                  <a:pt x="654642" y="1701799"/>
                </a:moveTo>
                <a:cubicBezTo>
                  <a:pt x="704133" y="1701799"/>
                  <a:pt x="755874" y="1719833"/>
                  <a:pt x="791868" y="1755901"/>
                </a:cubicBezTo>
                <a:cubicBezTo>
                  <a:pt x="848110" y="1810003"/>
                  <a:pt x="857108" y="1884393"/>
                  <a:pt x="857108" y="1967800"/>
                </a:cubicBezTo>
                <a:cubicBezTo>
                  <a:pt x="857108" y="2048953"/>
                  <a:pt x="848110" y="2123344"/>
                  <a:pt x="791868" y="2177446"/>
                </a:cubicBezTo>
                <a:cubicBezTo>
                  <a:pt x="755874" y="2213514"/>
                  <a:pt x="704133" y="2233802"/>
                  <a:pt x="654642" y="2233802"/>
                </a:cubicBezTo>
                <a:cubicBezTo>
                  <a:pt x="602900" y="2233802"/>
                  <a:pt x="553408" y="2213514"/>
                  <a:pt x="515164" y="2177446"/>
                </a:cubicBezTo>
                <a:cubicBezTo>
                  <a:pt x="461173" y="2123344"/>
                  <a:pt x="449925" y="2048953"/>
                  <a:pt x="449925" y="1967800"/>
                </a:cubicBezTo>
                <a:cubicBezTo>
                  <a:pt x="449925" y="1884393"/>
                  <a:pt x="461173" y="1810003"/>
                  <a:pt x="515164" y="1755901"/>
                </a:cubicBezTo>
                <a:cubicBezTo>
                  <a:pt x="553408" y="1719833"/>
                  <a:pt x="602900" y="1701799"/>
                  <a:pt x="654642" y="1701799"/>
                </a:cubicBezTo>
                <a:close/>
                <a:moveTo>
                  <a:pt x="202466" y="1701799"/>
                </a:moveTo>
                <a:cubicBezTo>
                  <a:pt x="258707" y="1701799"/>
                  <a:pt x="308199" y="1722087"/>
                  <a:pt x="339693" y="1753647"/>
                </a:cubicBezTo>
                <a:cubicBezTo>
                  <a:pt x="368939" y="1782952"/>
                  <a:pt x="386936" y="1823529"/>
                  <a:pt x="389185" y="1870868"/>
                </a:cubicBezTo>
                <a:cubicBezTo>
                  <a:pt x="389185" y="1870868"/>
                  <a:pt x="389185" y="1870868"/>
                  <a:pt x="323946" y="1870868"/>
                </a:cubicBezTo>
                <a:cubicBezTo>
                  <a:pt x="321697" y="1841563"/>
                  <a:pt x="312698" y="1819020"/>
                  <a:pt x="294701" y="1798732"/>
                </a:cubicBezTo>
                <a:cubicBezTo>
                  <a:pt x="274454" y="1776189"/>
                  <a:pt x="240710" y="1762664"/>
                  <a:pt x="202466" y="1762664"/>
                </a:cubicBezTo>
                <a:cubicBezTo>
                  <a:pt x="168722" y="1762664"/>
                  <a:pt x="134978" y="1776189"/>
                  <a:pt x="110232" y="1800986"/>
                </a:cubicBezTo>
                <a:cubicBezTo>
                  <a:pt x="67489" y="1843817"/>
                  <a:pt x="67489" y="1913699"/>
                  <a:pt x="67489" y="1967800"/>
                </a:cubicBezTo>
                <a:cubicBezTo>
                  <a:pt x="67489" y="2019648"/>
                  <a:pt x="67489" y="2089530"/>
                  <a:pt x="110232" y="2132361"/>
                </a:cubicBezTo>
                <a:cubicBezTo>
                  <a:pt x="134978" y="2159412"/>
                  <a:pt x="168722" y="2172937"/>
                  <a:pt x="202466" y="2172937"/>
                </a:cubicBezTo>
                <a:cubicBezTo>
                  <a:pt x="240710" y="2172937"/>
                  <a:pt x="276704" y="2154903"/>
                  <a:pt x="296951" y="2132361"/>
                </a:cubicBezTo>
                <a:cubicBezTo>
                  <a:pt x="312698" y="2114327"/>
                  <a:pt x="323946" y="2087276"/>
                  <a:pt x="323946" y="2060225"/>
                </a:cubicBezTo>
                <a:cubicBezTo>
                  <a:pt x="323946" y="2060225"/>
                  <a:pt x="323946" y="2060225"/>
                  <a:pt x="391435" y="2060225"/>
                </a:cubicBezTo>
                <a:cubicBezTo>
                  <a:pt x="389185" y="2107564"/>
                  <a:pt x="368939" y="2148140"/>
                  <a:pt x="339693" y="2177446"/>
                </a:cubicBezTo>
                <a:cubicBezTo>
                  <a:pt x="308199" y="2209005"/>
                  <a:pt x="258707" y="2233802"/>
                  <a:pt x="202466" y="2233802"/>
                </a:cubicBezTo>
                <a:cubicBezTo>
                  <a:pt x="150725" y="2233802"/>
                  <a:pt x="101233" y="2213514"/>
                  <a:pt x="65239" y="2177446"/>
                </a:cubicBezTo>
                <a:cubicBezTo>
                  <a:pt x="8999" y="2123344"/>
                  <a:pt x="0" y="2048953"/>
                  <a:pt x="0" y="1967800"/>
                </a:cubicBezTo>
                <a:cubicBezTo>
                  <a:pt x="0" y="1884393"/>
                  <a:pt x="8999" y="1810003"/>
                  <a:pt x="65239" y="1755901"/>
                </a:cubicBezTo>
                <a:cubicBezTo>
                  <a:pt x="101233" y="1719833"/>
                  <a:pt x="150725" y="1701799"/>
                  <a:pt x="202466" y="1701799"/>
                </a:cubicBezTo>
                <a:close/>
                <a:moveTo>
                  <a:pt x="2227389" y="214047"/>
                </a:moveTo>
                <a:cubicBezTo>
                  <a:pt x="2227389" y="214047"/>
                  <a:pt x="2227389" y="214047"/>
                  <a:pt x="2227389" y="574548"/>
                </a:cubicBezTo>
                <a:cubicBezTo>
                  <a:pt x="2227389" y="574548"/>
                  <a:pt x="2227389" y="574548"/>
                  <a:pt x="2456649" y="574548"/>
                </a:cubicBezTo>
                <a:cubicBezTo>
                  <a:pt x="2584765" y="574548"/>
                  <a:pt x="2654442" y="509207"/>
                  <a:pt x="2654442" y="394298"/>
                </a:cubicBezTo>
                <a:cubicBezTo>
                  <a:pt x="2654442" y="277135"/>
                  <a:pt x="2584765" y="214047"/>
                  <a:pt x="2456649" y="214047"/>
                </a:cubicBezTo>
                <a:cubicBezTo>
                  <a:pt x="2456649" y="214047"/>
                  <a:pt x="2456649" y="214047"/>
                  <a:pt x="2227389" y="214047"/>
                </a:cubicBezTo>
                <a:close/>
                <a:moveTo>
                  <a:pt x="8961436" y="0"/>
                </a:moveTo>
                <a:lnTo>
                  <a:pt x="9905999" y="0"/>
                </a:lnTo>
                <a:lnTo>
                  <a:pt x="9905999" y="225425"/>
                </a:lnTo>
                <a:lnTo>
                  <a:pt x="9555161" y="225425"/>
                </a:lnTo>
                <a:lnTo>
                  <a:pt x="9555161" y="1214437"/>
                </a:lnTo>
                <a:lnTo>
                  <a:pt x="9315449" y="1214437"/>
                </a:lnTo>
                <a:lnTo>
                  <a:pt x="9315449" y="225425"/>
                </a:lnTo>
                <a:lnTo>
                  <a:pt x="8961436" y="225425"/>
                </a:lnTo>
                <a:close/>
                <a:moveTo>
                  <a:pt x="7785099" y="0"/>
                </a:moveTo>
                <a:lnTo>
                  <a:pt x="8035924" y="0"/>
                </a:lnTo>
                <a:lnTo>
                  <a:pt x="8037512" y="3175"/>
                </a:lnTo>
                <a:lnTo>
                  <a:pt x="8523286" y="774700"/>
                </a:lnTo>
                <a:lnTo>
                  <a:pt x="8523286" y="0"/>
                </a:lnTo>
                <a:lnTo>
                  <a:pt x="8759824" y="0"/>
                </a:lnTo>
                <a:lnTo>
                  <a:pt x="8759824" y="1214437"/>
                </a:lnTo>
                <a:lnTo>
                  <a:pt x="8518524" y="1214437"/>
                </a:lnTo>
                <a:lnTo>
                  <a:pt x="8024812" y="425450"/>
                </a:lnTo>
                <a:lnTo>
                  <a:pt x="8024812" y="1214437"/>
                </a:lnTo>
                <a:lnTo>
                  <a:pt x="7785099" y="1214437"/>
                </a:lnTo>
                <a:close/>
                <a:moveTo>
                  <a:pt x="6665911" y="0"/>
                </a:moveTo>
                <a:lnTo>
                  <a:pt x="7535861" y="0"/>
                </a:lnTo>
                <a:lnTo>
                  <a:pt x="7535861" y="220663"/>
                </a:lnTo>
                <a:lnTo>
                  <a:pt x="6905624" y="220663"/>
                </a:lnTo>
                <a:lnTo>
                  <a:pt x="6905624" y="473075"/>
                </a:lnTo>
                <a:lnTo>
                  <a:pt x="7459661" y="473075"/>
                </a:lnTo>
                <a:lnTo>
                  <a:pt x="7459661" y="690562"/>
                </a:lnTo>
                <a:lnTo>
                  <a:pt x="6905624" y="690562"/>
                </a:lnTo>
                <a:lnTo>
                  <a:pt x="6905624" y="993775"/>
                </a:lnTo>
                <a:lnTo>
                  <a:pt x="7535861" y="993775"/>
                </a:lnTo>
                <a:lnTo>
                  <a:pt x="7535861" y="1214437"/>
                </a:lnTo>
                <a:lnTo>
                  <a:pt x="6665911" y="1214437"/>
                </a:lnTo>
                <a:close/>
                <a:moveTo>
                  <a:pt x="5221286" y="0"/>
                </a:moveTo>
                <a:lnTo>
                  <a:pt x="5534024" y="0"/>
                </a:lnTo>
                <a:lnTo>
                  <a:pt x="5835649" y="823912"/>
                </a:lnTo>
                <a:lnTo>
                  <a:pt x="6142037" y="0"/>
                </a:lnTo>
                <a:lnTo>
                  <a:pt x="6438899" y="0"/>
                </a:lnTo>
                <a:lnTo>
                  <a:pt x="6438899" y="1214437"/>
                </a:lnTo>
                <a:lnTo>
                  <a:pt x="6203949" y="1214437"/>
                </a:lnTo>
                <a:lnTo>
                  <a:pt x="6203949" y="419100"/>
                </a:lnTo>
                <a:lnTo>
                  <a:pt x="5916612" y="1196975"/>
                </a:lnTo>
                <a:lnTo>
                  <a:pt x="5740399" y="1196975"/>
                </a:lnTo>
                <a:lnTo>
                  <a:pt x="5454649" y="409575"/>
                </a:lnTo>
                <a:lnTo>
                  <a:pt x="5454649" y="1214437"/>
                </a:lnTo>
                <a:lnTo>
                  <a:pt x="5221286" y="1214437"/>
                </a:lnTo>
                <a:close/>
                <a:moveTo>
                  <a:pt x="4098924" y="0"/>
                </a:moveTo>
                <a:lnTo>
                  <a:pt x="4968874" y="0"/>
                </a:lnTo>
                <a:lnTo>
                  <a:pt x="4968874" y="220663"/>
                </a:lnTo>
                <a:lnTo>
                  <a:pt x="4340224" y="220663"/>
                </a:lnTo>
                <a:lnTo>
                  <a:pt x="4340224" y="473075"/>
                </a:lnTo>
                <a:lnTo>
                  <a:pt x="4895849" y="473075"/>
                </a:lnTo>
                <a:lnTo>
                  <a:pt x="4895849" y="690562"/>
                </a:lnTo>
                <a:lnTo>
                  <a:pt x="4340224" y="690562"/>
                </a:lnTo>
                <a:lnTo>
                  <a:pt x="4340224" y="993775"/>
                </a:lnTo>
                <a:lnTo>
                  <a:pt x="4968874" y="993775"/>
                </a:lnTo>
                <a:lnTo>
                  <a:pt x="4968874" y="1214437"/>
                </a:lnTo>
                <a:lnTo>
                  <a:pt x="4098924" y="1214437"/>
                </a:lnTo>
                <a:close/>
                <a:moveTo>
                  <a:pt x="3079749" y="0"/>
                </a:moveTo>
                <a:lnTo>
                  <a:pt x="3321049" y="0"/>
                </a:lnTo>
                <a:lnTo>
                  <a:pt x="3321049" y="984250"/>
                </a:lnTo>
                <a:lnTo>
                  <a:pt x="3871912" y="984250"/>
                </a:lnTo>
                <a:lnTo>
                  <a:pt x="3871912" y="1214437"/>
                </a:lnTo>
                <a:lnTo>
                  <a:pt x="3079749" y="1214437"/>
                </a:lnTo>
                <a:close/>
                <a:moveTo>
                  <a:pt x="1989138" y="0"/>
                </a:moveTo>
                <a:cubicBezTo>
                  <a:pt x="1989138" y="0"/>
                  <a:pt x="1989138" y="0"/>
                  <a:pt x="2465639" y="0"/>
                </a:cubicBezTo>
                <a:cubicBezTo>
                  <a:pt x="2735357" y="0"/>
                  <a:pt x="2897188" y="146454"/>
                  <a:pt x="2897188" y="392045"/>
                </a:cubicBezTo>
                <a:cubicBezTo>
                  <a:pt x="2897188" y="639889"/>
                  <a:pt x="2735357" y="786342"/>
                  <a:pt x="2465639" y="786342"/>
                </a:cubicBezTo>
                <a:cubicBezTo>
                  <a:pt x="2465639" y="786342"/>
                  <a:pt x="2465639" y="786342"/>
                  <a:pt x="2227389" y="786342"/>
                </a:cubicBezTo>
                <a:cubicBezTo>
                  <a:pt x="2227389" y="786342"/>
                  <a:pt x="2227389" y="786342"/>
                  <a:pt x="2227389" y="1214437"/>
                </a:cubicBezTo>
                <a:cubicBezTo>
                  <a:pt x="2227389" y="1214437"/>
                  <a:pt x="2227389" y="1214437"/>
                  <a:pt x="1989138" y="1214437"/>
                </a:cubicBezTo>
                <a:cubicBezTo>
                  <a:pt x="1989138" y="1214437"/>
                  <a:pt x="1989138" y="1214437"/>
                  <a:pt x="1989138" y="0"/>
                </a:cubicBezTo>
                <a:close/>
                <a:moveTo>
                  <a:pt x="520699" y="0"/>
                </a:moveTo>
                <a:lnTo>
                  <a:pt x="833436" y="0"/>
                </a:lnTo>
                <a:lnTo>
                  <a:pt x="1135061" y="823912"/>
                </a:lnTo>
                <a:lnTo>
                  <a:pt x="1439862" y="0"/>
                </a:lnTo>
                <a:lnTo>
                  <a:pt x="1736724" y="0"/>
                </a:lnTo>
                <a:lnTo>
                  <a:pt x="1736724" y="1214437"/>
                </a:lnTo>
                <a:lnTo>
                  <a:pt x="1503362" y="1214437"/>
                </a:lnTo>
                <a:lnTo>
                  <a:pt x="1503362" y="419100"/>
                </a:lnTo>
                <a:lnTo>
                  <a:pt x="1216024" y="1196975"/>
                </a:lnTo>
                <a:lnTo>
                  <a:pt x="1039812" y="1196975"/>
                </a:lnTo>
                <a:lnTo>
                  <a:pt x="754062" y="409575"/>
                </a:lnTo>
                <a:lnTo>
                  <a:pt x="754062" y="1214437"/>
                </a:lnTo>
                <a:lnTo>
                  <a:pt x="520699" y="1214437"/>
                </a:lnTo>
                <a:close/>
                <a:moveTo>
                  <a:pt x="25400" y="0"/>
                </a:moveTo>
                <a:lnTo>
                  <a:pt x="268288" y="0"/>
                </a:lnTo>
                <a:lnTo>
                  <a:pt x="268288" y="1214437"/>
                </a:lnTo>
                <a:lnTo>
                  <a:pt x="25400" y="121443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GB" dirty="0">
                <a:solidFill>
                  <a:srgbClr val="1F2023"/>
                </a:solidFill>
              </a:rPr>
              <a:t> </a:t>
            </a:r>
          </a:p>
        </p:txBody>
      </p:sp>
      <p:sp>
        <p:nvSpPr>
          <p:cNvPr id="14" name="Date_GeneralDate" hidden="1">
            <a:extLst>
              <a:ext uri="{FF2B5EF4-FFF2-40B4-BE49-F238E27FC236}">
                <a16:creationId xmlns:a16="http://schemas.microsoft.com/office/drawing/2014/main" id="{36AF7DCB-7B08-4B67-89C6-197E386CB34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E4825E0E-4A71-47F2-8004-51666FB492B3}" type="datetime1">
              <a:rPr lang="en-US" smtClean="0"/>
              <a:t>2/25/2022</a:t>
            </a:fld>
            <a:endParaRPr lang="en-GB" dirty="0"/>
          </a:p>
        </p:txBody>
      </p:sp>
      <p:sp>
        <p:nvSpPr>
          <p:cNvPr id="16" name="FLD_PresentationTitle" hidden="1">
            <a:extLst>
              <a:ext uri="{FF2B5EF4-FFF2-40B4-BE49-F238E27FC236}">
                <a16:creationId xmlns:a16="http://schemas.microsoft.com/office/drawing/2014/main" id="{2CD592E1-AE74-4CC3-838F-BCDDFF7EC8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 anchor="t" anchorCtr="0"/>
          <a:lstStyle>
            <a:lvl1pPr algn="l">
              <a:defRPr sz="100">
                <a:noFill/>
              </a:defRPr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19" name="Slide Number Placeholder 5" hidden="1">
            <a:extLst>
              <a:ext uri="{FF2B5EF4-FFF2-40B4-BE49-F238E27FC236}">
                <a16:creationId xmlns:a16="http://schemas.microsoft.com/office/drawing/2014/main" id="{BD316983-99AE-467A-81A9-261F469719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anchor="t" anchorCtr="0"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544118-FA16-4191-91F3-CD66F29D0D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9999" y="4516663"/>
            <a:ext cx="3600000" cy="1800000"/>
          </a:xfrm>
        </p:spPr>
        <p:txBody>
          <a:bodyPr rIns="0" anchor="b"/>
          <a:lstStyle>
            <a:lvl1pPr>
              <a:spcAft>
                <a:spcPts val="300"/>
              </a:spcAft>
              <a:defRPr sz="1300">
                <a:solidFill>
                  <a:srgbClr val="1F2023"/>
                </a:solidFill>
              </a:defRPr>
            </a:lvl1pPr>
            <a:lvl2pPr>
              <a:defRPr>
                <a:solidFill>
                  <a:srgbClr val="F8F5E7"/>
                </a:solidFill>
              </a:defRPr>
            </a:lvl2pPr>
            <a:lvl3pPr>
              <a:defRPr>
                <a:solidFill>
                  <a:srgbClr val="F8F5E7"/>
                </a:solidFill>
              </a:defRPr>
            </a:lvl3pPr>
            <a:lvl4pPr>
              <a:defRPr>
                <a:solidFill>
                  <a:srgbClr val="F8F5E7"/>
                </a:solidFill>
              </a:defRPr>
            </a:lvl4pPr>
            <a:lvl5pPr>
              <a:defRPr>
                <a:solidFill>
                  <a:srgbClr val="F8F5E7"/>
                </a:solidFill>
              </a:defRPr>
            </a:lvl5pPr>
          </a:lstStyle>
          <a:p>
            <a:pPr lvl="0"/>
            <a:r>
              <a:rPr lang="en-US" dirty="0"/>
              <a:t>Click to edit master name style</a:t>
            </a:r>
            <a:endParaRPr lang="de-DE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815C104-8646-46A8-BF2D-EC29839A31CC}"/>
              </a:ext>
            </a:extLst>
          </p:cNvPr>
          <p:cNvSpPr/>
          <p:nvPr userDrawn="1"/>
        </p:nvSpPr>
        <p:spPr>
          <a:xfrm>
            <a:off x="-1273461" y="5839295"/>
            <a:ext cx="1069656" cy="522808"/>
          </a:xfrm>
          <a:prstGeom prst="rect">
            <a:avLst/>
          </a:prstGeom>
          <a:solidFill>
            <a:srgbClr val="E2DE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spAutoFit/>
          </a:bodyPr>
          <a:lstStyle/>
          <a:p>
            <a:pPr algn="l">
              <a:spcAft>
                <a:spcPts val="0"/>
              </a:spcAft>
              <a:buNone/>
            </a:pPr>
            <a:r>
              <a:rPr lang="da-DK" sz="1100" noProof="0" dirty="0" err="1">
                <a:solidFill>
                  <a:srgbClr val="2F363B"/>
                </a:solidFill>
              </a:rPr>
              <a:t>Fill</a:t>
            </a:r>
            <a:r>
              <a:rPr lang="da-DK" sz="1100" noProof="0" dirty="0">
                <a:solidFill>
                  <a:srgbClr val="2F363B"/>
                </a:solidFill>
              </a:rPr>
              <a:t> in:</a:t>
            </a:r>
          </a:p>
          <a:p>
            <a:pPr algn="l">
              <a:spcAft>
                <a:spcPts val="0"/>
              </a:spcAft>
            </a:pPr>
            <a:r>
              <a:rPr lang="da-DK" sz="1100" noProof="0" dirty="0">
                <a:solidFill>
                  <a:srgbClr val="2F363B"/>
                </a:solidFill>
              </a:rPr>
              <a:t>Authors </a:t>
            </a:r>
            <a:r>
              <a:rPr lang="da-DK" sz="1100" noProof="0" dirty="0">
                <a:solidFill>
                  <a:srgbClr val="2F363B"/>
                </a:solidFill>
                <a:sym typeface="Wingdings" panose="05000000000000000000" pitchFamily="2" charset="2"/>
              </a:rPr>
              <a:t></a:t>
            </a:r>
            <a:endParaRPr lang="da-DK" sz="1100" noProof="0" dirty="0">
              <a:solidFill>
                <a:srgbClr val="2F363B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5FA66EF-DAB2-4F98-A44E-D0D8DBEE66E6}"/>
              </a:ext>
            </a:extLst>
          </p:cNvPr>
          <p:cNvSpPr/>
          <p:nvPr userDrawn="1"/>
        </p:nvSpPr>
        <p:spPr>
          <a:xfrm>
            <a:off x="10055648" y="4364127"/>
            <a:ext cx="1100032" cy="522808"/>
          </a:xfrm>
          <a:prstGeom prst="rect">
            <a:avLst/>
          </a:prstGeom>
          <a:solidFill>
            <a:srgbClr val="E2DE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spAutoFit/>
          </a:bodyPr>
          <a:lstStyle/>
          <a:p>
            <a:pPr algn="r">
              <a:spcAft>
                <a:spcPts val="0"/>
              </a:spcAft>
              <a:buNone/>
            </a:pPr>
            <a:r>
              <a:rPr lang="da-DK" sz="1100" noProof="0" dirty="0" err="1">
                <a:solidFill>
                  <a:srgbClr val="2F363B"/>
                </a:solidFill>
              </a:rPr>
              <a:t>Fill</a:t>
            </a:r>
            <a:r>
              <a:rPr lang="da-DK" sz="1100" noProof="0" dirty="0">
                <a:solidFill>
                  <a:srgbClr val="2F363B"/>
                </a:solidFill>
              </a:rPr>
              <a:t> in:</a:t>
            </a:r>
          </a:p>
          <a:p>
            <a:pPr algn="r">
              <a:spcAft>
                <a:spcPts val="0"/>
              </a:spcAft>
            </a:pPr>
            <a:r>
              <a:rPr lang="da-DK" sz="1100" noProof="0" dirty="0">
                <a:solidFill>
                  <a:srgbClr val="2F363B"/>
                </a:solidFill>
                <a:sym typeface="Wingdings" panose="05000000000000000000" pitchFamily="2" charset="2"/>
              </a:rPr>
              <a:t> </a:t>
            </a:r>
            <a:r>
              <a:rPr lang="da-DK" sz="1100" noProof="0" dirty="0" err="1">
                <a:solidFill>
                  <a:srgbClr val="2F363B"/>
                </a:solidFill>
              </a:rPr>
              <a:t>Month</a:t>
            </a:r>
            <a:r>
              <a:rPr lang="da-DK" sz="1100" noProof="0" dirty="0">
                <a:solidFill>
                  <a:srgbClr val="2F363B"/>
                </a:solidFill>
              </a:rPr>
              <a:t>/</a:t>
            </a:r>
            <a:r>
              <a:rPr lang="da-DK" sz="1100" noProof="0" dirty="0" err="1">
                <a:solidFill>
                  <a:srgbClr val="2F363B"/>
                </a:solidFill>
              </a:rPr>
              <a:t>year</a:t>
            </a:r>
            <a:endParaRPr lang="da-DK" sz="1100" noProof="0" dirty="0">
              <a:solidFill>
                <a:srgbClr val="2F363B"/>
              </a:solidFill>
            </a:endParaRP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533BD4BF-5BA7-4D76-866E-FE127CF6B29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774411" y="4774579"/>
            <a:ext cx="1856953" cy="197361"/>
          </a:xfrm>
        </p:spPr>
        <p:txBody>
          <a:bodyPr lIns="270002" tIns="0" rIns="270002" anchor="ctr" anchorCtr="0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ID: XXXXX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039ECFE7-CB66-442C-8BBE-172862213C3D}"/>
              </a:ext>
            </a:extLst>
          </p:cNvPr>
          <p:cNvSpPr/>
          <p:nvPr userDrawn="1"/>
        </p:nvSpPr>
        <p:spPr>
          <a:xfrm>
            <a:off x="5668358" y="6971796"/>
            <a:ext cx="1364901" cy="522808"/>
          </a:xfrm>
          <a:prstGeom prst="rect">
            <a:avLst/>
          </a:prstGeom>
          <a:solidFill>
            <a:srgbClr val="E2DE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spAutoFit/>
          </a:bodyPr>
          <a:lstStyle/>
          <a:p>
            <a:pPr algn="l">
              <a:spcAft>
                <a:spcPts val="0"/>
              </a:spcAft>
              <a:buNone/>
            </a:pPr>
            <a:r>
              <a:rPr lang="da-DK" sz="1100" noProof="0" dirty="0">
                <a:solidFill>
                  <a:srgbClr val="2F363B"/>
                </a:solidFill>
              </a:rPr>
              <a:t>Place </a:t>
            </a:r>
            <a:r>
              <a:rPr lang="da-DK" sz="1100" noProof="0" dirty="0" err="1">
                <a:solidFill>
                  <a:srgbClr val="2F363B"/>
                </a:solidFill>
              </a:rPr>
              <a:t>picture</a:t>
            </a:r>
            <a:r>
              <a:rPr lang="da-DK" sz="1100" noProof="0" dirty="0">
                <a:solidFill>
                  <a:srgbClr val="2F363B"/>
                </a:solidFill>
              </a:rPr>
              <a:t> from unsplash.com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61BEBE6-7FC3-49A8-8284-B9BA29F2E871}"/>
              </a:ext>
            </a:extLst>
          </p:cNvPr>
          <p:cNvSpPr txBox="1"/>
          <p:nvPr userDrawn="1"/>
        </p:nvSpPr>
        <p:spPr>
          <a:xfrm>
            <a:off x="7780742" y="5031441"/>
            <a:ext cx="1857375" cy="1285222"/>
          </a:xfrm>
          <a:prstGeom prst="rect">
            <a:avLst/>
          </a:prstGeom>
          <a:noFill/>
          <a:ln w="6350">
            <a:noFill/>
            <a:prstDash val="sysDash"/>
          </a:ln>
        </p:spPr>
        <p:txBody>
          <a:bodyPr wrap="square" lIns="270000" tIns="270000" rIns="270000" bIns="0" rtlCol="0" anchor="b" anchorCtr="0">
            <a:spAutoFit/>
          </a:bodyPr>
          <a:lstStyle/>
          <a:p>
            <a:pPr marL="0" marR="0" lvl="0" indent="0" algn="l" defTabSz="74295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0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resentation may contain detailed notes to the slides.</a:t>
            </a:r>
          </a:p>
          <a:p>
            <a:pPr marL="0" marR="0" lvl="0" indent="0" algn="l" defTabSz="74295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GB" dirty="0"/>
          </a:p>
          <a:p>
            <a:pPr marL="0" indent="0" algn="l" defTabSz="742950" rtl="0" eaLnBrk="1" latinLnBrk="0" hangingPunct="1">
              <a:lnSpc>
                <a:spcPct val="93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GB" sz="10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onfidential. </a:t>
            </a:r>
            <a:r>
              <a:rPr lang="en-GB" sz="10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Not</a:t>
            </a:r>
            <a:r>
              <a:rPr lang="en-GB" sz="100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for further distribution.</a:t>
            </a:r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F4B0D7C9-DFE1-4885-986A-AD9DCD020DE3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087937" y="3768064"/>
            <a:ext cx="2688061" cy="3089936"/>
          </a:xfrm>
          <a:solidFill>
            <a:srgbClr val="E2DED9"/>
          </a:solidFill>
        </p:spPr>
        <p:txBody>
          <a:bodyPr rIns="0" anchor="ctr" anchorCtr="0"/>
          <a:lstStyle>
            <a:lvl1pPr marL="0" indent="0" algn="ctr">
              <a:buNone/>
              <a:defRPr>
                <a:solidFill>
                  <a:srgbClr val="1F2023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06001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D93A0F2-2304-434C-A961-0C38887666A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4393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408" imgH="408" progId="TCLayout.ActiveDocument.1">
                  <p:embed/>
                </p:oleObj>
              </mc:Choice>
              <mc:Fallback>
                <p:oleObj name="think-cell Slide" r:id="rId5" imgW="408" imgH="40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D93A0F2-2304-434C-A961-0C38887666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object 2">
            <a:extLst>
              <a:ext uri="{FF2B5EF4-FFF2-40B4-BE49-F238E27FC236}">
                <a16:creationId xmlns:a16="http://schemas.microsoft.com/office/drawing/2014/main" id="{A81EE220-AC53-4153-A0FE-1F2219FBF428}"/>
              </a:ext>
            </a:extLst>
          </p:cNvPr>
          <p:cNvSpPr/>
          <p:nvPr userDrawn="1"/>
        </p:nvSpPr>
        <p:spPr>
          <a:xfrm>
            <a:off x="7171530" y="0"/>
            <a:ext cx="2734469" cy="6858000"/>
          </a:xfrm>
          <a:custGeom>
            <a:avLst/>
            <a:gdLst/>
            <a:ahLst/>
            <a:cxnLst/>
            <a:rect l="l" t="t" r="r" b="b"/>
            <a:pathLst>
              <a:path w="20104100" h="11308715">
                <a:moveTo>
                  <a:pt x="0" y="11308556"/>
                </a:moveTo>
                <a:lnTo>
                  <a:pt x="20104099" y="11308556"/>
                </a:lnTo>
                <a:lnTo>
                  <a:pt x="20104099" y="0"/>
                </a:lnTo>
                <a:lnTo>
                  <a:pt x="0" y="0"/>
                </a:lnTo>
                <a:lnTo>
                  <a:pt x="0" y="11308556"/>
                </a:lnTo>
                <a:close/>
              </a:path>
            </a:pathLst>
          </a:custGeom>
          <a:solidFill>
            <a:srgbClr val="E4B73B"/>
          </a:solidFill>
        </p:spPr>
        <p:txBody>
          <a:bodyPr wrap="square" lIns="0" tIns="0" rIns="0" bIns="0" rtlCol="0"/>
          <a:lstStyle/>
          <a:p>
            <a:pPr marL="0" marR="0" lvl="0" indent="0" defTabSz="4505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87" b="0" i="0" u="none" strike="noStrike" kern="0" cap="none" spc="0" normalizeH="0" baseline="0" noProof="0" dirty="0">
              <a:ln>
                <a:noFill/>
              </a:ln>
              <a:solidFill>
                <a:srgbClr val="1F2023"/>
              </a:solidFill>
              <a:effectLst/>
              <a:uLnTx/>
              <a:uFillTx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68EEBBF-213D-4D68-A9CE-7CE68854BF37}"/>
              </a:ext>
            </a:extLst>
          </p:cNvPr>
          <p:cNvSpPr/>
          <p:nvPr userDrawn="1"/>
        </p:nvSpPr>
        <p:spPr>
          <a:xfrm>
            <a:off x="-1" y="0"/>
            <a:ext cx="7171531" cy="1632813"/>
          </a:xfrm>
          <a:prstGeom prst="rect">
            <a:avLst/>
          </a:prstGeom>
          <a:solidFill>
            <a:srgbClr val="F8F5E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05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87" b="0" i="0" u="none" strike="noStrike" kern="0" cap="none" spc="0" normalizeH="0" baseline="0" noProof="0" dirty="0">
              <a:ln>
                <a:noFill/>
              </a:ln>
              <a:solidFill>
                <a:srgbClr val="1F202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object 3">
            <a:extLst>
              <a:ext uri="{FF2B5EF4-FFF2-40B4-BE49-F238E27FC236}">
                <a16:creationId xmlns:a16="http://schemas.microsoft.com/office/drawing/2014/main" id="{2F8E5E3C-C8FF-4ABE-B0BE-21762DA69433}"/>
              </a:ext>
            </a:extLst>
          </p:cNvPr>
          <p:cNvSpPr/>
          <p:nvPr userDrawn="1"/>
        </p:nvSpPr>
        <p:spPr>
          <a:xfrm>
            <a:off x="0" y="1355724"/>
            <a:ext cx="8554911" cy="5502276"/>
          </a:xfrm>
          <a:custGeom>
            <a:avLst/>
            <a:gdLst/>
            <a:ahLst/>
            <a:cxnLst/>
            <a:rect l="l" t="t" r="r" b="b"/>
            <a:pathLst>
              <a:path w="16670019" h="10303510">
                <a:moveTo>
                  <a:pt x="0" y="10303351"/>
                </a:moveTo>
                <a:lnTo>
                  <a:pt x="16669649" y="10303351"/>
                </a:lnTo>
                <a:lnTo>
                  <a:pt x="16669649" y="0"/>
                </a:lnTo>
                <a:lnTo>
                  <a:pt x="0" y="0"/>
                </a:lnTo>
                <a:lnTo>
                  <a:pt x="0" y="10303351"/>
                </a:lnTo>
                <a:close/>
              </a:path>
            </a:pathLst>
          </a:custGeom>
          <a:solidFill>
            <a:srgbClr val="E2DED9"/>
          </a:solidFill>
          <a:ln>
            <a:noFill/>
          </a:ln>
        </p:spPr>
        <p:txBody>
          <a:bodyPr wrap="square" lIns="0" tIns="0" rIns="0" bIns="0" rtlCol="0"/>
          <a:lstStyle/>
          <a:p>
            <a:pPr marL="0" marR="0" lvl="0" indent="0" defTabSz="4505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87" b="0" i="0" u="none" strike="noStrike" kern="0" cap="none" spc="0" normalizeH="0" baseline="0" noProof="0" dirty="0">
              <a:ln>
                <a:noFill/>
              </a:ln>
              <a:solidFill>
                <a:srgbClr val="1F2023"/>
              </a:solidFill>
              <a:effectLst/>
              <a:uLnTx/>
              <a:uFillTx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D4352087-9FC5-44CB-9335-2EEFDAC7657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0734" y="2138963"/>
            <a:ext cx="5842800" cy="2224886"/>
          </a:xfrm>
        </p:spPr>
        <p:txBody>
          <a:bodyPr vert="horz" anchor="t" anchorCtr="0">
            <a:noAutofit/>
          </a:bodyPr>
          <a:lstStyle>
            <a:lvl1pPr algn="l">
              <a:lnSpc>
                <a:spcPct val="83000"/>
              </a:lnSpc>
              <a:defRPr sz="6500" cap="all" baseline="0">
                <a:solidFill>
                  <a:srgbClr val="30373B"/>
                </a:solidFill>
                <a:latin typeface="Impact" panose="020B080603090205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F4872442-83A2-43AD-891C-C24ABE27425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69999" y="5463127"/>
            <a:ext cx="5842800" cy="863537"/>
          </a:xfrm>
        </p:spPr>
        <p:txBody>
          <a:bodyPr anchor="b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900">
                <a:solidFill>
                  <a:srgbClr val="1F2023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894">
                <a:solidFill>
                  <a:schemeClr val="accent2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E1694F14-D4CB-400F-818F-B8F113DF8AE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999" y="6387016"/>
            <a:ext cx="5842800" cy="210634"/>
          </a:xfrm>
        </p:spPr>
        <p:txBody>
          <a:bodyPr rIns="0" anchor="b" anchorCtr="0"/>
          <a:lstStyle>
            <a:lvl1pPr>
              <a:defRPr sz="900">
                <a:solidFill>
                  <a:srgbClr val="1F2023"/>
                </a:solidFill>
              </a:defRPr>
            </a:lvl1pPr>
            <a:lvl5pPr>
              <a:defRPr/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4E4074B2-7DE7-48C5-B126-35D2D5B789C6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 rot="5400000">
            <a:off x="8861146" y="788544"/>
            <a:ext cx="1258889" cy="287891"/>
          </a:xfrm>
          <a:custGeom>
            <a:avLst/>
            <a:gdLst>
              <a:gd name="connsiteX0" fmla="*/ 6778122 w 9905999"/>
              <a:gd name="connsiteY0" fmla="*/ 2222531 h 2265361"/>
              <a:gd name="connsiteX1" fmla="*/ 7135812 w 9905999"/>
              <a:gd name="connsiteY1" fmla="*/ 2222531 h 2265361"/>
              <a:gd name="connsiteX2" fmla="*/ 7135812 w 9905999"/>
              <a:gd name="connsiteY2" fmla="*/ 2265361 h 2265361"/>
              <a:gd name="connsiteX3" fmla="*/ 6778122 w 9905999"/>
              <a:gd name="connsiteY3" fmla="*/ 2265361 h 2265361"/>
              <a:gd name="connsiteX4" fmla="*/ 6778122 w 9905999"/>
              <a:gd name="connsiteY4" fmla="*/ 2222531 h 2265361"/>
              <a:gd name="connsiteX5" fmla="*/ 6449676 w 9905999"/>
              <a:gd name="connsiteY5" fmla="*/ 1769427 h 2265361"/>
              <a:gd name="connsiteX6" fmla="*/ 6449676 w 9905999"/>
              <a:gd name="connsiteY6" fmla="*/ 1965546 h 2265361"/>
              <a:gd name="connsiteX7" fmla="*/ 6575655 w 9905999"/>
              <a:gd name="connsiteY7" fmla="*/ 1965546 h 2265361"/>
              <a:gd name="connsiteX8" fmla="*/ 6679138 w 9905999"/>
              <a:gd name="connsiteY8" fmla="*/ 1864105 h 2265361"/>
              <a:gd name="connsiteX9" fmla="*/ 6575655 w 9905999"/>
              <a:gd name="connsiteY9" fmla="*/ 1769427 h 2265361"/>
              <a:gd name="connsiteX10" fmla="*/ 6449676 w 9905999"/>
              <a:gd name="connsiteY10" fmla="*/ 1769427 h 2265361"/>
              <a:gd name="connsiteX11" fmla="*/ 5021164 w 9905999"/>
              <a:gd name="connsiteY11" fmla="*/ 1769427 h 2265361"/>
              <a:gd name="connsiteX12" fmla="*/ 5021164 w 9905999"/>
              <a:gd name="connsiteY12" fmla="*/ 1949767 h 2265361"/>
              <a:gd name="connsiteX13" fmla="*/ 5158391 w 9905999"/>
              <a:gd name="connsiteY13" fmla="*/ 1949767 h 2265361"/>
              <a:gd name="connsiteX14" fmla="*/ 5261874 w 9905999"/>
              <a:gd name="connsiteY14" fmla="*/ 1859597 h 2265361"/>
              <a:gd name="connsiteX15" fmla="*/ 5158391 w 9905999"/>
              <a:gd name="connsiteY15" fmla="*/ 1769427 h 2265361"/>
              <a:gd name="connsiteX16" fmla="*/ 5021164 w 9905999"/>
              <a:gd name="connsiteY16" fmla="*/ 1769427 h 2265361"/>
              <a:gd name="connsiteX17" fmla="*/ 5597068 w 9905999"/>
              <a:gd name="connsiteY17" fmla="*/ 1762664 h 2265361"/>
              <a:gd name="connsiteX18" fmla="*/ 5504834 w 9905999"/>
              <a:gd name="connsiteY18" fmla="*/ 1800986 h 2265361"/>
              <a:gd name="connsiteX19" fmla="*/ 5459841 w 9905999"/>
              <a:gd name="connsiteY19" fmla="*/ 1967800 h 2265361"/>
              <a:gd name="connsiteX20" fmla="*/ 5504834 w 9905999"/>
              <a:gd name="connsiteY20" fmla="*/ 2132361 h 2265361"/>
              <a:gd name="connsiteX21" fmla="*/ 5597068 w 9905999"/>
              <a:gd name="connsiteY21" fmla="*/ 2170683 h 2265361"/>
              <a:gd name="connsiteX22" fmla="*/ 5691552 w 9905999"/>
              <a:gd name="connsiteY22" fmla="*/ 2132361 h 2265361"/>
              <a:gd name="connsiteX23" fmla="*/ 5734295 w 9905999"/>
              <a:gd name="connsiteY23" fmla="*/ 1967800 h 2265361"/>
              <a:gd name="connsiteX24" fmla="*/ 5691552 w 9905999"/>
              <a:gd name="connsiteY24" fmla="*/ 1800986 h 2265361"/>
              <a:gd name="connsiteX25" fmla="*/ 5597068 w 9905999"/>
              <a:gd name="connsiteY25" fmla="*/ 1762664 h 2265361"/>
              <a:gd name="connsiteX26" fmla="*/ 654642 w 9905999"/>
              <a:gd name="connsiteY26" fmla="*/ 1762664 h 2265361"/>
              <a:gd name="connsiteX27" fmla="*/ 560157 w 9905999"/>
              <a:gd name="connsiteY27" fmla="*/ 1800986 h 2265361"/>
              <a:gd name="connsiteX28" fmla="*/ 517414 w 9905999"/>
              <a:gd name="connsiteY28" fmla="*/ 1967800 h 2265361"/>
              <a:gd name="connsiteX29" fmla="*/ 560157 w 9905999"/>
              <a:gd name="connsiteY29" fmla="*/ 2132361 h 2265361"/>
              <a:gd name="connsiteX30" fmla="*/ 654642 w 9905999"/>
              <a:gd name="connsiteY30" fmla="*/ 2170683 h 2265361"/>
              <a:gd name="connsiteX31" fmla="*/ 746876 w 9905999"/>
              <a:gd name="connsiteY31" fmla="*/ 2132361 h 2265361"/>
              <a:gd name="connsiteX32" fmla="*/ 791868 w 9905999"/>
              <a:gd name="connsiteY32" fmla="*/ 1967800 h 2265361"/>
              <a:gd name="connsiteX33" fmla="*/ 746876 w 9905999"/>
              <a:gd name="connsiteY33" fmla="*/ 1800986 h 2265361"/>
              <a:gd name="connsiteX34" fmla="*/ 654642 w 9905999"/>
              <a:gd name="connsiteY34" fmla="*/ 1762664 h 2265361"/>
              <a:gd name="connsiteX35" fmla="*/ 6386687 w 9905999"/>
              <a:gd name="connsiteY35" fmla="*/ 1710816 h 2265361"/>
              <a:gd name="connsiteX36" fmla="*/ 6575655 w 9905999"/>
              <a:gd name="connsiteY36" fmla="*/ 1710816 h 2265361"/>
              <a:gd name="connsiteX37" fmla="*/ 6706134 w 9905999"/>
              <a:gd name="connsiteY37" fmla="*/ 1755901 h 2265361"/>
              <a:gd name="connsiteX38" fmla="*/ 6744377 w 9905999"/>
              <a:gd name="connsiteY38" fmla="*/ 1864105 h 2265361"/>
              <a:gd name="connsiteX39" fmla="*/ 6701634 w 9905999"/>
              <a:gd name="connsiteY39" fmla="*/ 1981326 h 2265361"/>
              <a:gd name="connsiteX40" fmla="*/ 6577905 w 9905999"/>
              <a:gd name="connsiteY40" fmla="*/ 2024157 h 2265361"/>
              <a:gd name="connsiteX41" fmla="*/ 6449676 w 9905999"/>
              <a:gd name="connsiteY41" fmla="*/ 2024157 h 2265361"/>
              <a:gd name="connsiteX42" fmla="*/ 6449676 w 9905999"/>
              <a:gd name="connsiteY42" fmla="*/ 2222531 h 2265361"/>
              <a:gd name="connsiteX43" fmla="*/ 6386687 w 9905999"/>
              <a:gd name="connsiteY43" fmla="*/ 2222531 h 2265361"/>
              <a:gd name="connsiteX44" fmla="*/ 6386687 w 9905999"/>
              <a:gd name="connsiteY44" fmla="*/ 1710816 h 2265361"/>
              <a:gd name="connsiteX45" fmla="*/ 5889520 w 9905999"/>
              <a:gd name="connsiteY45" fmla="*/ 1710816 h 2265361"/>
              <a:gd name="connsiteX46" fmla="*/ 5954759 w 9905999"/>
              <a:gd name="connsiteY46" fmla="*/ 1710816 h 2265361"/>
              <a:gd name="connsiteX47" fmla="*/ 5954759 w 9905999"/>
              <a:gd name="connsiteY47" fmla="*/ 2035428 h 2265361"/>
              <a:gd name="connsiteX48" fmla="*/ 6076239 w 9905999"/>
              <a:gd name="connsiteY48" fmla="*/ 2172937 h 2265361"/>
              <a:gd name="connsiteX49" fmla="*/ 6199968 w 9905999"/>
              <a:gd name="connsiteY49" fmla="*/ 2035428 h 2265361"/>
              <a:gd name="connsiteX50" fmla="*/ 6199968 w 9905999"/>
              <a:gd name="connsiteY50" fmla="*/ 1710816 h 2265361"/>
              <a:gd name="connsiteX51" fmla="*/ 6262957 w 9905999"/>
              <a:gd name="connsiteY51" fmla="*/ 1710816 h 2265361"/>
              <a:gd name="connsiteX52" fmla="*/ 6262957 w 9905999"/>
              <a:gd name="connsiteY52" fmla="*/ 2035428 h 2265361"/>
              <a:gd name="connsiteX53" fmla="*/ 6076239 w 9905999"/>
              <a:gd name="connsiteY53" fmla="*/ 2231547 h 2265361"/>
              <a:gd name="connsiteX54" fmla="*/ 5889520 w 9905999"/>
              <a:gd name="connsiteY54" fmla="*/ 2035428 h 2265361"/>
              <a:gd name="connsiteX55" fmla="*/ 5889520 w 9905999"/>
              <a:gd name="connsiteY55" fmla="*/ 1710816 h 2265361"/>
              <a:gd name="connsiteX56" fmla="*/ 4958174 w 9905999"/>
              <a:gd name="connsiteY56" fmla="*/ 1710816 h 2265361"/>
              <a:gd name="connsiteX57" fmla="*/ 5158391 w 9905999"/>
              <a:gd name="connsiteY57" fmla="*/ 1710816 h 2265361"/>
              <a:gd name="connsiteX58" fmla="*/ 5288869 w 9905999"/>
              <a:gd name="connsiteY58" fmla="*/ 1755901 h 2265361"/>
              <a:gd name="connsiteX59" fmla="*/ 5329363 w 9905999"/>
              <a:gd name="connsiteY59" fmla="*/ 1859597 h 2265361"/>
              <a:gd name="connsiteX60" fmla="*/ 5288869 w 9905999"/>
              <a:gd name="connsiteY60" fmla="*/ 1961038 h 2265361"/>
              <a:gd name="connsiteX61" fmla="*/ 5228130 w 9905999"/>
              <a:gd name="connsiteY61" fmla="*/ 1997106 h 2265361"/>
              <a:gd name="connsiteX62" fmla="*/ 5331612 w 9905999"/>
              <a:gd name="connsiteY62" fmla="*/ 2222531 h 2265361"/>
              <a:gd name="connsiteX63" fmla="*/ 5259624 w 9905999"/>
              <a:gd name="connsiteY63" fmla="*/ 2222531 h 2265361"/>
              <a:gd name="connsiteX64" fmla="*/ 5162890 w 9905999"/>
              <a:gd name="connsiteY64" fmla="*/ 2010631 h 2265361"/>
              <a:gd name="connsiteX65" fmla="*/ 5021164 w 9905999"/>
              <a:gd name="connsiteY65" fmla="*/ 2010631 h 2265361"/>
              <a:gd name="connsiteX66" fmla="*/ 5021164 w 9905999"/>
              <a:gd name="connsiteY66" fmla="*/ 2222531 h 2265361"/>
              <a:gd name="connsiteX67" fmla="*/ 4958174 w 9905999"/>
              <a:gd name="connsiteY67" fmla="*/ 2222531 h 2265361"/>
              <a:gd name="connsiteX68" fmla="*/ 4958174 w 9905999"/>
              <a:gd name="connsiteY68" fmla="*/ 1710816 h 2265361"/>
              <a:gd name="connsiteX69" fmla="*/ 3309199 w 9905999"/>
              <a:gd name="connsiteY69" fmla="*/ 1710816 h 2265361"/>
              <a:gd name="connsiteX70" fmla="*/ 3381187 w 9905999"/>
              <a:gd name="connsiteY70" fmla="*/ 1710816 h 2265361"/>
              <a:gd name="connsiteX71" fmla="*/ 3633145 w 9905999"/>
              <a:gd name="connsiteY71" fmla="*/ 2123344 h 2265361"/>
              <a:gd name="connsiteX72" fmla="*/ 3633145 w 9905999"/>
              <a:gd name="connsiteY72" fmla="*/ 1710816 h 2265361"/>
              <a:gd name="connsiteX73" fmla="*/ 3693885 w 9905999"/>
              <a:gd name="connsiteY73" fmla="*/ 1710816 h 2265361"/>
              <a:gd name="connsiteX74" fmla="*/ 3693885 w 9905999"/>
              <a:gd name="connsiteY74" fmla="*/ 2222531 h 2265361"/>
              <a:gd name="connsiteX75" fmla="*/ 3621897 w 9905999"/>
              <a:gd name="connsiteY75" fmla="*/ 2222531 h 2265361"/>
              <a:gd name="connsiteX76" fmla="*/ 3372188 w 9905999"/>
              <a:gd name="connsiteY76" fmla="*/ 1810003 h 2265361"/>
              <a:gd name="connsiteX77" fmla="*/ 3372188 w 9905999"/>
              <a:gd name="connsiteY77" fmla="*/ 2222531 h 2265361"/>
              <a:gd name="connsiteX78" fmla="*/ 3309199 w 9905999"/>
              <a:gd name="connsiteY78" fmla="*/ 2222531 h 2265361"/>
              <a:gd name="connsiteX79" fmla="*/ 3309199 w 9905999"/>
              <a:gd name="connsiteY79" fmla="*/ 1710816 h 2265361"/>
              <a:gd name="connsiteX80" fmla="*/ 3106732 w 9905999"/>
              <a:gd name="connsiteY80" fmla="*/ 1710816 h 2265361"/>
              <a:gd name="connsiteX81" fmla="*/ 3171971 w 9905999"/>
              <a:gd name="connsiteY81" fmla="*/ 1710816 h 2265361"/>
              <a:gd name="connsiteX82" fmla="*/ 3171971 w 9905999"/>
              <a:gd name="connsiteY82" fmla="*/ 2222531 h 2265361"/>
              <a:gd name="connsiteX83" fmla="*/ 3106732 w 9905999"/>
              <a:gd name="connsiteY83" fmla="*/ 2222531 h 2265361"/>
              <a:gd name="connsiteX84" fmla="*/ 3106732 w 9905999"/>
              <a:gd name="connsiteY84" fmla="*/ 1710816 h 2265361"/>
              <a:gd name="connsiteX85" fmla="*/ 2663557 w 9905999"/>
              <a:gd name="connsiteY85" fmla="*/ 1710816 h 2265361"/>
              <a:gd name="connsiteX86" fmla="*/ 3032495 w 9905999"/>
              <a:gd name="connsiteY86" fmla="*/ 1710816 h 2265361"/>
              <a:gd name="connsiteX87" fmla="*/ 3032495 w 9905999"/>
              <a:gd name="connsiteY87" fmla="*/ 1769427 h 2265361"/>
              <a:gd name="connsiteX88" fmla="*/ 2879521 w 9905999"/>
              <a:gd name="connsiteY88" fmla="*/ 1769427 h 2265361"/>
              <a:gd name="connsiteX89" fmla="*/ 2879521 w 9905999"/>
              <a:gd name="connsiteY89" fmla="*/ 2222531 h 2265361"/>
              <a:gd name="connsiteX90" fmla="*/ 2814282 w 9905999"/>
              <a:gd name="connsiteY90" fmla="*/ 2222531 h 2265361"/>
              <a:gd name="connsiteX91" fmla="*/ 2814282 w 9905999"/>
              <a:gd name="connsiteY91" fmla="*/ 1769427 h 2265361"/>
              <a:gd name="connsiteX92" fmla="*/ 2663557 w 9905999"/>
              <a:gd name="connsiteY92" fmla="*/ 1769427 h 2265361"/>
              <a:gd name="connsiteX93" fmla="*/ 2663557 w 9905999"/>
              <a:gd name="connsiteY93" fmla="*/ 1710816 h 2265361"/>
              <a:gd name="connsiteX94" fmla="*/ 2416099 w 9905999"/>
              <a:gd name="connsiteY94" fmla="*/ 1710816 h 2265361"/>
              <a:gd name="connsiteX95" fmla="*/ 2481338 w 9905999"/>
              <a:gd name="connsiteY95" fmla="*/ 1710816 h 2265361"/>
              <a:gd name="connsiteX96" fmla="*/ 2481338 w 9905999"/>
              <a:gd name="connsiteY96" fmla="*/ 2163920 h 2265361"/>
              <a:gd name="connsiteX97" fmla="*/ 2726547 w 9905999"/>
              <a:gd name="connsiteY97" fmla="*/ 2163920 h 2265361"/>
              <a:gd name="connsiteX98" fmla="*/ 2726547 w 9905999"/>
              <a:gd name="connsiteY98" fmla="*/ 2222531 h 2265361"/>
              <a:gd name="connsiteX99" fmla="*/ 2416099 w 9905999"/>
              <a:gd name="connsiteY99" fmla="*/ 2222531 h 2265361"/>
              <a:gd name="connsiteX100" fmla="*/ 2416099 w 9905999"/>
              <a:gd name="connsiteY100" fmla="*/ 1710816 h 2265361"/>
              <a:gd name="connsiteX101" fmla="*/ 1918931 w 9905999"/>
              <a:gd name="connsiteY101" fmla="*/ 1710816 h 2265361"/>
              <a:gd name="connsiteX102" fmla="*/ 1984171 w 9905999"/>
              <a:gd name="connsiteY102" fmla="*/ 1710816 h 2265361"/>
              <a:gd name="connsiteX103" fmla="*/ 1984171 w 9905999"/>
              <a:gd name="connsiteY103" fmla="*/ 2035428 h 2265361"/>
              <a:gd name="connsiteX104" fmla="*/ 2105651 w 9905999"/>
              <a:gd name="connsiteY104" fmla="*/ 2172937 h 2265361"/>
              <a:gd name="connsiteX105" fmla="*/ 2229380 w 9905999"/>
              <a:gd name="connsiteY105" fmla="*/ 2035428 h 2265361"/>
              <a:gd name="connsiteX106" fmla="*/ 2229380 w 9905999"/>
              <a:gd name="connsiteY106" fmla="*/ 1710816 h 2265361"/>
              <a:gd name="connsiteX107" fmla="*/ 2292369 w 9905999"/>
              <a:gd name="connsiteY107" fmla="*/ 1710816 h 2265361"/>
              <a:gd name="connsiteX108" fmla="*/ 2292369 w 9905999"/>
              <a:gd name="connsiteY108" fmla="*/ 2035428 h 2265361"/>
              <a:gd name="connsiteX109" fmla="*/ 2105651 w 9905999"/>
              <a:gd name="connsiteY109" fmla="*/ 2231547 h 2265361"/>
              <a:gd name="connsiteX110" fmla="*/ 1918931 w 9905999"/>
              <a:gd name="connsiteY110" fmla="*/ 2035428 h 2265361"/>
              <a:gd name="connsiteX111" fmla="*/ 1918931 w 9905999"/>
              <a:gd name="connsiteY111" fmla="*/ 1710816 h 2265361"/>
              <a:gd name="connsiteX112" fmla="*/ 960591 w 9905999"/>
              <a:gd name="connsiteY112" fmla="*/ 1710816 h 2265361"/>
              <a:gd name="connsiteX113" fmla="*/ 1032578 w 9905999"/>
              <a:gd name="connsiteY113" fmla="*/ 1710816 h 2265361"/>
              <a:gd name="connsiteX114" fmla="*/ 1284537 w 9905999"/>
              <a:gd name="connsiteY114" fmla="*/ 2123344 h 2265361"/>
              <a:gd name="connsiteX115" fmla="*/ 1284537 w 9905999"/>
              <a:gd name="connsiteY115" fmla="*/ 1710816 h 2265361"/>
              <a:gd name="connsiteX116" fmla="*/ 1345276 w 9905999"/>
              <a:gd name="connsiteY116" fmla="*/ 1710816 h 2265361"/>
              <a:gd name="connsiteX117" fmla="*/ 1345276 w 9905999"/>
              <a:gd name="connsiteY117" fmla="*/ 2222531 h 2265361"/>
              <a:gd name="connsiteX118" fmla="*/ 1273289 w 9905999"/>
              <a:gd name="connsiteY118" fmla="*/ 2222531 h 2265361"/>
              <a:gd name="connsiteX119" fmla="*/ 1023580 w 9905999"/>
              <a:gd name="connsiteY119" fmla="*/ 1810003 h 2265361"/>
              <a:gd name="connsiteX120" fmla="*/ 1023580 w 9905999"/>
              <a:gd name="connsiteY120" fmla="*/ 2222531 h 2265361"/>
              <a:gd name="connsiteX121" fmla="*/ 960591 w 9905999"/>
              <a:gd name="connsiteY121" fmla="*/ 2222531 h 2265361"/>
              <a:gd name="connsiteX122" fmla="*/ 960591 w 9905999"/>
              <a:gd name="connsiteY122" fmla="*/ 1710816 h 2265361"/>
              <a:gd name="connsiteX123" fmla="*/ 5597068 w 9905999"/>
              <a:gd name="connsiteY123" fmla="*/ 1701799 h 2265361"/>
              <a:gd name="connsiteX124" fmla="*/ 5736545 w 9905999"/>
              <a:gd name="connsiteY124" fmla="*/ 1755901 h 2265361"/>
              <a:gd name="connsiteX125" fmla="*/ 5801784 w 9905999"/>
              <a:gd name="connsiteY125" fmla="*/ 1967800 h 2265361"/>
              <a:gd name="connsiteX126" fmla="*/ 5736545 w 9905999"/>
              <a:gd name="connsiteY126" fmla="*/ 2177446 h 2265361"/>
              <a:gd name="connsiteX127" fmla="*/ 5597068 w 9905999"/>
              <a:gd name="connsiteY127" fmla="*/ 2233802 h 2265361"/>
              <a:gd name="connsiteX128" fmla="*/ 5459841 w 9905999"/>
              <a:gd name="connsiteY128" fmla="*/ 2177446 h 2265361"/>
              <a:gd name="connsiteX129" fmla="*/ 5394602 w 9905999"/>
              <a:gd name="connsiteY129" fmla="*/ 1967800 h 2265361"/>
              <a:gd name="connsiteX130" fmla="*/ 5459841 w 9905999"/>
              <a:gd name="connsiteY130" fmla="*/ 1755901 h 2265361"/>
              <a:gd name="connsiteX131" fmla="*/ 5597068 w 9905999"/>
              <a:gd name="connsiteY131" fmla="*/ 1701799 h 2265361"/>
              <a:gd name="connsiteX132" fmla="*/ 4645477 w 9905999"/>
              <a:gd name="connsiteY132" fmla="*/ 1701799 h 2265361"/>
              <a:gd name="connsiteX133" fmla="*/ 4791702 w 9905999"/>
              <a:gd name="connsiteY133" fmla="*/ 1758155 h 2265361"/>
              <a:gd name="connsiteX134" fmla="*/ 4834445 w 9905999"/>
              <a:gd name="connsiteY134" fmla="*/ 1859597 h 2265361"/>
              <a:gd name="connsiteX135" fmla="*/ 4766956 w 9905999"/>
              <a:gd name="connsiteY135" fmla="*/ 1859597 h 2265361"/>
              <a:gd name="connsiteX136" fmla="*/ 4744460 w 9905999"/>
              <a:gd name="connsiteY136" fmla="*/ 1803240 h 2265361"/>
              <a:gd name="connsiteX137" fmla="*/ 4645477 w 9905999"/>
              <a:gd name="connsiteY137" fmla="*/ 1762664 h 2265361"/>
              <a:gd name="connsiteX138" fmla="*/ 4550992 w 9905999"/>
              <a:gd name="connsiteY138" fmla="*/ 1800986 h 2265361"/>
              <a:gd name="connsiteX139" fmla="*/ 4506000 w 9905999"/>
              <a:gd name="connsiteY139" fmla="*/ 1967800 h 2265361"/>
              <a:gd name="connsiteX140" fmla="*/ 4553242 w 9905999"/>
              <a:gd name="connsiteY140" fmla="*/ 2134615 h 2265361"/>
              <a:gd name="connsiteX141" fmla="*/ 4645477 w 9905999"/>
              <a:gd name="connsiteY141" fmla="*/ 2172937 h 2265361"/>
              <a:gd name="connsiteX142" fmla="*/ 4737711 w 9905999"/>
              <a:gd name="connsiteY142" fmla="*/ 2136869 h 2265361"/>
              <a:gd name="connsiteX143" fmla="*/ 4780454 w 9905999"/>
              <a:gd name="connsiteY143" fmla="*/ 2006123 h 2265361"/>
              <a:gd name="connsiteX144" fmla="*/ 4645477 w 9905999"/>
              <a:gd name="connsiteY144" fmla="*/ 2006123 h 2265361"/>
              <a:gd name="connsiteX145" fmla="*/ 4645477 w 9905999"/>
              <a:gd name="connsiteY145" fmla="*/ 1947512 h 2265361"/>
              <a:gd name="connsiteX146" fmla="*/ 4838944 w 9905999"/>
              <a:gd name="connsiteY146" fmla="*/ 1947512 h 2265361"/>
              <a:gd name="connsiteX147" fmla="*/ 4838944 w 9905999"/>
              <a:gd name="connsiteY147" fmla="*/ 2222531 h 2265361"/>
              <a:gd name="connsiteX148" fmla="*/ 4793952 w 9905999"/>
              <a:gd name="connsiteY148" fmla="*/ 2222531 h 2265361"/>
              <a:gd name="connsiteX149" fmla="*/ 4782704 w 9905999"/>
              <a:gd name="connsiteY149" fmla="*/ 2161666 h 2265361"/>
              <a:gd name="connsiteX150" fmla="*/ 4645477 w 9905999"/>
              <a:gd name="connsiteY150" fmla="*/ 2233802 h 2265361"/>
              <a:gd name="connsiteX151" fmla="*/ 4506000 w 9905999"/>
              <a:gd name="connsiteY151" fmla="*/ 2179700 h 2265361"/>
              <a:gd name="connsiteX152" fmla="*/ 4440761 w 9905999"/>
              <a:gd name="connsiteY152" fmla="*/ 1967800 h 2265361"/>
              <a:gd name="connsiteX153" fmla="*/ 4506000 w 9905999"/>
              <a:gd name="connsiteY153" fmla="*/ 1755901 h 2265361"/>
              <a:gd name="connsiteX154" fmla="*/ 4645477 w 9905999"/>
              <a:gd name="connsiteY154" fmla="*/ 1701799 h 2265361"/>
              <a:gd name="connsiteX155" fmla="*/ 4002083 w 9905999"/>
              <a:gd name="connsiteY155" fmla="*/ 1701799 h 2265361"/>
              <a:gd name="connsiteX156" fmla="*/ 4148309 w 9905999"/>
              <a:gd name="connsiteY156" fmla="*/ 1758155 h 2265361"/>
              <a:gd name="connsiteX157" fmla="*/ 4193302 w 9905999"/>
              <a:gd name="connsiteY157" fmla="*/ 1859597 h 2265361"/>
              <a:gd name="connsiteX158" fmla="*/ 4125813 w 9905999"/>
              <a:gd name="connsiteY158" fmla="*/ 1859597 h 2265361"/>
              <a:gd name="connsiteX159" fmla="*/ 4103317 w 9905999"/>
              <a:gd name="connsiteY159" fmla="*/ 1803240 h 2265361"/>
              <a:gd name="connsiteX160" fmla="*/ 4002083 w 9905999"/>
              <a:gd name="connsiteY160" fmla="*/ 1762664 h 2265361"/>
              <a:gd name="connsiteX161" fmla="*/ 3909849 w 9905999"/>
              <a:gd name="connsiteY161" fmla="*/ 1800986 h 2265361"/>
              <a:gd name="connsiteX162" fmla="*/ 3864856 w 9905999"/>
              <a:gd name="connsiteY162" fmla="*/ 1967800 h 2265361"/>
              <a:gd name="connsiteX163" fmla="*/ 3909849 w 9905999"/>
              <a:gd name="connsiteY163" fmla="*/ 2134615 h 2265361"/>
              <a:gd name="connsiteX164" fmla="*/ 4002083 w 9905999"/>
              <a:gd name="connsiteY164" fmla="*/ 2172937 h 2265361"/>
              <a:gd name="connsiteX165" fmla="*/ 4094318 w 9905999"/>
              <a:gd name="connsiteY165" fmla="*/ 2136869 h 2265361"/>
              <a:gd name="connsiteX166" fmla="*/ 4139311 w 9905999"/>
              <a:gd name="connsiteY166" fmla="*/ 2006123 h 2265361"/>
              <a:gd name="connsiteX167" fmla="*/ 4002083 w 9905999"/>
              <a:gd name="connsiteY167" fmla="*/ 2006123 h 2265361"/>
              <a:gd name="connsiteX168" fmla="*/ 4002083 w 9905999"/>
              <a:gd name="connsiteY168" fmla="*/ 1947512 h 2265361"/>
              <a:gd name="connsiteX169" fmla="*/ 4197801 w 9905999"/>
              <a:gd name="connsiteY169" fmla="*/ 1947512 h 2265361"/>
              <a:gd name="connsiteX170" fmla="*/ 4197801 w 9905999"/>
              <a:gd name="connsiteY170" fmla="*/ 2222531 h 2265361"/>
              <a:gd name="connsiteX171" fmla="*/ 4152808 w 9905999"/>
              <a:gd name="connsiteY171" fmla="*/ 2222531 h 2265361"/>
              <a:gd name="connsiteX172" fmla="*/ 4141560 w 9905999"/>
              <a:gd name="connsiteY172" fmla="*/ 2161666 h 2265361"/>
              <a:gd name="connsiteX173" fmla="*/ 4002083 w 9905999"/>
              <a:gd name="connsiteY173" fmla="*/ 2233802 h 2265361"/>
              <a:gd name="connsiteX174" fmla="*/ 3864856 w 9905999"/>
              <a:gd name="connsiteY174" fmla="*/ 2179700 h 2265361"/>
              <a:gd name="connsiteX175" fmla="*/ 3797367 w 9905999"/>
              <a:gd name="connsiteY175" fmla="*/ 1967800 h 2265361"/>
              <a:gd name="connsiteX176" fmla="*/ 3864856 w 9905999"/>
              <a:gd name="connsiteY176" fmla="*/ 1755901 h 2265361"/>
              <a:gd name="connsiteX177" fmla="*/ 4002083 w 9905999"/>
              <a:gd name="connsiteY177" fmla="*/ 1701799 h 2265361"/>
              <a:gd name="connsiteX178" fmla="*/ 1642228 w 9905999"/>
              <a:gd name="connsiteY178" fmla="*/ 1701799 h 2265361"/>
              <a:gd name="connsiteX179" fmla="*/ 1774955 w 9905999"/>
              <a:gd name="connsiteY179" fmla="*/ 1749138 h 2265361"/>
              <a:gd name="connsiteX180" fmla="*/ 1824447 w 9905999"/>
              <a:gd name="connsiteY180" fmla="*/ 1859597 h 2265361"/>
              <a:gd name="connsiteX181" fmla="*/ 1756958 w 9905999"/>
              <a:gd name="connsiteY181" fmla="*/ 1859597 h 2265361"/>
              <a:gd name="connsiteX182" fmla="*/ 1732212 w 9905999"/>
              <a:gd name="connsiteY182" fmla="*/ 1796478 h 2265361"/>
              <a:gd name="connsiteX183" fmla="*/ 1639978 w 9905999"/>
              <a:gd name="connsiteY183" fmla="*/ 1760410 h 2265361"/>
              <a:gd name="connsiteX184" fmla="*/ 1549993 w 9905999"/>
              <a:gd name="connsiteY184" fmla="*/ 1796478 h 2265361"/>
              <a:gd name="connsiteX185" fmla="*/ 1529746 w 9905999"/>
              <a:gd name="connsiteY185" fmla="*/ 1850580 h 2265361"/>
              <a:gd name="connsiteX186" fmla="*/ 1606234 w 9905999"/>
              <a:gd name="connsiteY186" fmla="*/ 1922716 h 2265361"/>
              <a:gd name="connsiteX187" fmla="*/ 1691719 w 9905999"/>
              <a:gd name="connsiteY187" fmla="*/ 1936241 h 2265361"/>
              <a:gd name="connsiteX188" fmla="*/ 1833445 w 9905999"/>
              <a:gd name="connsiteY188" fmla="*/ 2082767 h 2265361"/>
              <a:gd name="connsiteX189" fmla="*/ 1790703 w 9905999"/>
              <a:gd name="connsiteY189" fmla="*/ 2181954 h 2265361"/>
              <a:gd name="connsiteX190" fmla="*/ 1644477 w 9905999"/>
              <a:gd name="connsiteY190" fmla="*/ 2231547 h 2265361"/>
              <a:gd name="connsiteX191" fmla="*/ 1498251 w 9905999"/>
              <a:gd name="connsiteY191" fmla="*/ 2184208 h 2265361"/>
              <a:gd name="connsiteX192" fmla="*/ 1444260 w 9905999"/>
              <a:gd name="connsiteY192" fmla="*/ 2060225 h 2265361"/>
              <a:gd name="connsiteX193" fmla="*/ 1509499 w 9905999"/>
              <a:gd name="connsiteY193" fmla="*/ 2060225 h 2265361"/>
              <a:gd name="connsiteX194" fmla="*/ 1545494 w 9905999"/>
              <a:gd name="connsiteY194" fmla="*/ 2141378 h 2265361"/>
              <a:gd name="connsiteX195" fmla="*/ 1644477 w 9905999"/>
              <a:gd name="connsiteY195" fmla="*/ 2172937 h 2265361"/>
              <a:gd name="connsiteX196" fmla="*/ 1738962 w 9905999"/>
              <a:gd name="connsiteY196" fmla="*/ 2143632 h 2265361"/>
              <a:gd name="connsiteX197" fmla="*/ 1765956 w 9905999"/>
              <a:gd name="connsiteY197" fmla="*/ 2082767 h 2265361"/>
              <a:gd name="connsiteX198" fmla="*/ 1680471 w 9905999"/>
              <a:gd name="connsiteY198" fmla="*/ 2001614 h 2265361"/>
              <a:gd name="connsiteX199" fmla="*/ 1599484 w 9905999"/>
              <a:gd name="connsiteY199" fmla="*/ 1988089 h 2265361"/>
              <a:gd name="connsiteX200" fmla="*/ 1462257 w 9905999"/>
              <a:gd name="connsiteY200" fmla="*/ 1852834 h 2265361"/>
              <a:gd name="connsiteX201" fmla="*/ 1507249 w 9905999"/>
              <a:gd name="connsiteY201" fmla="*/ 1751393 h 2265361"/>
              <a:gd name="connsiteX202" fmla="*/ 1642228 w 9905999"/>
              <a:gd name="connsiteY202" fmla="*/ 1701799 h 2265361"/>
              <a:gd name="connsiteX203" fmla="*/ 654642 w 9905999"/>
              <a:gd name="connsiteY203" fmla="*/ 1701799 h 2265361"/>
              <a:gd name="connsiteX204" fmla="*/ 791868 w 9905999"/>
              <a:gd name="connsiteY204" fmla="*/ 1755901 h 2265361"/>
              <a:gd name="connsiteX205" fmla="*/ 857108 w 9905999"/>
              <a:gd name="connsiteY205" fmla="*/ 1967800 h 2265361"/>
              <a:gd name="connsiteX206" fmla="*/ 791868 w 9905999"/>
              <a:gd name="connsiteY206" fmla="*/ 2177446 h 2265361"/>
              <a:gd name="connsiteX207" fmla="*/ 654642 w 9905999"/>
              <a:gd name="connsiteY207" fmla="*/ 2233802 h 2265361"/>
              <a:gd name="connsiteX208" fmla="*/ 515164 w 9905999"/>
              <a:gd name="connsiteY208" fmla="*/ 2177446 h 2265361"/>
              <a:gd name="connsiteX209" fmla="*/ 449925 w 9905999"/>
              <a:gd name="connsiteY209" fmla="*/ 1967800 h 2265361"/>
              <a:gd name="connsiteX210" fmla="*/ 515164 w 9905999"/>
              <a:gd name="connsiteY210" fmla="*/ 1755901 h 2265361"/>
              <a:gd name="connsiteX211" fmla="*/ 654642 w 9905999"/>
              <a:gd name="connsiteY211" fmla="*/ 1701799 h 2265361"/>
              <a:gd name="connsiteX212" fmla="*/ 202466 w 9905999"/>
              <a:gd name="connsiteY212" fmla="*/ 1701799 h 2265361"/>
              <a:gd name="connsiteX213" fmla="*/ 339693 w 9905999"/>
              <a:gd name="connsiteY213" fmla="*/ 1753647 h 2265361"/>
              <a:gd name="connsiteX214" fmla="*/ 389185 w 9905999"/>
              <a:gd name="connsiteY214" fmla="*/ 1870868 h 2265361"/>
              <a:gd name="connsiteX215" fmla="*/ 323946 w 9905999"/>
              <a:gd name="connsiteY215" fmla="*/ 1870868 h 2265361"/>
              <a:gd name="connsiteX216" fmla="*/ 294701 w 9905999"/>
              <a:gd name="connsiteY216" fmla="*/ 1798732 h 2265361"/>
              <a:gd name="connsiteX217" fmla="*/ 202466 w 9905999"/>
              <a:gd name="connsiteY217" fmla="*/ 1762664 h 2265361"/>
              <a:gd name="connsiteX218" fmla="*/ 110232 w 9905999"/>
              <a:gd name="connsiteY218" fmla="*/ 1800986 h 2265361"/>
              <a:gd name="connsiteX219" fmla="*/ 67489 w 9905999"/>
              <a:gd name="connsiteY219" fmla="*/ 1967800 h 2265361"/>
              <a:gd name="connsiteX220" fmla="*/ 110232 w 9905999"/>
              <a:gd name="connsiteY220" fmla="*/ 2132361 h 2265361"/>
              <a:gd name="connsiteX221" fmla="*/ 202466 w 9905999"/>
              <a:gd name="connsiteY221" fmla="*/ 2172937 h 2265361"/>
              <a:gd name="connsiteX222" fmla="*/ 296951 w 9905999"/>
              <a:gd name="connsiteY222" fmla="*/ 2132361 h 2265361"/>
              <a:gd name="connsiteX223" fmla="*/ 323946 w 9905999"/>
              <a:gd name="connsiteY223" fmla="*/ 2060225 h 2265361"/>
              <a:gd name="connsiteX224" fmla="*/ 391435 w 9905999"/>
              <a:gd name="connsiteY224" fmla="*/ 2060225 h 2265361"/>
              <a:gd name="connsiteX225" fmla="*/ 339693 w 9905999"/>
              <a:gd name="connsiteY225" fmla="*/ 2177446 h 2265361"/>
              <a:gd name="connsiteX226" fmla="*/ 202466 w 9905999"/>
              <a:gd name="connsiteY226" fmla="*/ 2233802 h 2265361"/>
              <a:gd name="connsiteX227" fmla="*/ 65239 w 9905999"/>
              <a:gd name="connsiteY227" fmla="*/ 2177446 h 2265361"/>
              <a:gd name="connsiteX228" fmla="*/ 0 w 9905999"/>
              <a:gd name="connsiteY228" fmla="*/ 1967800 h 2265361"/>
              <a:gd name="connsiteX229" fmla="*/ 65239 w 9905999"/>
              <a:gd name="connsiteY229" fmla="*/ 1755901 h 2265361"/>
              <a:gd name="connsiteX230" fmla="*/ 202466 w 9905999"/>
              <a:gd name="connsiteY230" fmla="*/ 1701799 h 2265361"/>
              <a:gd name="connsiteX231" fmla="*/ 2227389 w 9905999"/>
              <a:gd name="connsiteY231" fmla="*/ 214047 h 2265361"/>
              <a:gd name="connsiteX232" fmla="*/ 2227389 w 9905999"/>
              <a:gd name="connsiteY232" fmla="*/ 574548 h 2265361"/>
              <a:gd name="connsiteX233" fmla="*/ 2456649 w 9905999"/>
              <a:gd name="connsiteY233" fmla="*/ 574548 h 2265361"/>
              <a:gd name="connsiteX234" fmla="*/ 2654442 w 9905999"/>
              <a:gd name="connsiteY234" fmla="*/ 394298 h 2265361"/>
              <a:gd name="connsiteX235" fmla="*/ 2456649 w 9905999"/>
              <a:gd name="connsiteY235" fmla="*/ 214047 h 2265361"/>
              <a:gd name="connsiteX236" fmla="*/ 2227389 w 9905999"/>
              <a:gd name="connsiteY236" fmla="*/ 214047 h 2265361"/>
              <a:gd name="connsiteX237" fmla="*/ 8961436 w 9905999"/>
              <a:gd name="connsiteY237" fmla="*/ 0 h 2265361"/>
              <a:gd name="connsiteX238" fmla="*/ 9905999 w 9905999"/>
              <a:gd name="connsiteY238" fmla="*/ 0 h 2265361"/>
              <a:gd name="connsiteX239" fmla="*/ 9905999 w 9905999"/>
              <a:gd name="connsiteY239" fmla="*/ 225425 h 2265361"/>
              <a:gd name="connsiteX240" fmla="*/ 9555161 w 9905999"/>
              <a:gd name="connsiteY240" fmla="*/ 225425 h 2265361"/>
              <a:gd name="connsiteX241" fmla="*/ 9555161 w 9905999"/>
              <a:gd name="connsiteY241" fmla="*/ 1214437 h 2265361"/>
              <a:gd name="connsiteX242" fmla="*/ 9315449 w 9905999"/>
              <a:gd name="connsiteY242" fmla="*/ 1214437 h 2265361"/>
              <a:gd name="connsiteX243" fmla="*/ 9315449 w 9905999"/>
              <a:gd name="connsiteY243" fmla="*/ 225425 h 2265361"/>
              <a:gd name="connsiteX244" fmla="*/ 8961436 w 9905999"/>
              <a:gd name="connsiteY244" fmla="*/ 225425 h 2265361"/>
              <a:gd name="connsiteX245" fmla="*/ 7785099 w 9905999"/>
              <a:gd name="connsiteY245" fmla="*/ 0 h 2265361"/>
              <a:gd name="connsiteX246" fmla="*/ 8035924 w 9905999"/>
              <a:gd name="connsiteY246" fmla="*/ 0 h 2265361"/>
              <a:gd name="connsiteX247" fmla="*/ 8037512 w 9905999"/>
              <a:gd name="connsiteY247" fmla="*/ 3175 h 2265361"/>
              <a:gd name="connsiteX248" fmla="*/ 8523286 w 9905999"/>
              <a:gd name="connsiteY248" fmla="*/ 774700 h 2265361"/>
              <a:gd name="connsiteX249" fmla="*/ 8523286 w 9905999"/>
              <a:gd name="connsiteY249" fmla="*/ 0 h 2265361"/>
              <a:gd name="connsiteX250" fmla="*/ 8759824 w 9905999"/>
              <a:gd name="connsiteY250" fmla="*/ 0 h 2265361"/>
              <a:gd name="connsiteX251" fmla="*/ 8759824 w 9905999"/>
              <a:gd name="connsiteY251" fmla="*/ 1214437 h 2265361"/>
              <a:gd name="connsiteX252" fmla="*/ 8518524 w 9905999"/>
              <a:gd name="connsiteY252" fmla="*/ 1214437 h 2265361"/>
              <a:gd name="connsiteX253" fmla="*/ 8024812 w 9905999"/>
              <a:gd name="connsiteY253" fmla="*/ 425450 h 2265361"/>
              <a:gd name="connsiteX254" fmla="*/ 8024812 w 9905999"/>
              <a:gd name="connsiteY254" fmla="*/ 1214437 h 2265361"/>
              <a:gd name="connsiteX255" fmla="*/ 7785099 w 9905999"/>
              <a:gd name="connsiteY255" fmla="*/ 1214437 h 2265361"/>
              <a:gd name="connsiteX256" fmla="*/ 6665911 w 9905999"/>
              <a:gd name="connsiteY256" fmla="*/ 0 h 2265361"/>
              <a:gd name="connsiteX257" fmla="*/ 7535861 w 9905999"/>
              <a:gd name="connsiteY257" fmla="*/ 0 h 2265361"/>
              <a:gd name="connsiteX258" fmla="*/ 7535861 w 9905999"/>
              <a:gd name="connsiteY258" fmla="*/ 220663 h 2265361"/>
              <a:gd name="connsiteX259" fmla="*/ 6905624 w 9905999"/>
              <a:gd name="connsiteY259" fmla="*/ 220663 h 2265361"/>
              <a:gd name="connsiteX260" fmla="*/ 6905624 w 9905999"/>
              <a:gd name="connsiteY260" fmla="*/ 473075 h 2265361"/>
              <a:gd name="connsiteX261" fmla="*/ 7459661 w 9905999"/>
              <a:gd name="connsiteY261" fmla="*/ 473075 h 2265361"/>
              <a:gd name="connsiteX262" fmla="*/ 7459661 w 9905999"/>
              <a:gd name="connsiteY262" fmla="*/ 690562 h 2265361"/>
              <a:gd name="connsiteX263" fmla="*/ 6905624 w 9905999"/>
              <a:gd name="connsiteY263" fmla="*/ 690562 h 2265361"/>
              <a:gd name="connsiteX264" fmla="*/ 6905624 w 9905999"/>
              <a:gd name="connsiteY264" fmla="*/ 993775 h 2265361"/>
              <a:gd name="connsiteX265" fmla="*/ 7535861 w 9905999"/>
              <a:gd name="connsiteY265" fmla="*/ 993775 h 2265361"/>
              <a:gd name="connsiteX266" fmla="*/ 7535861 w 9905999"/>
              <a:gd name="connsiteY266" fmla="*/ 1214437 h 2265361"/>
              <a:gd name="connsiteX267" fmla="*/ 6665911 w 9905999"/>
              <a:gd name="connsiteY267" fmla="*/ 1214437 h 2265361"/>
              <a:gd name="connsiteX268" fmla="*/ 5221286 w 9905999"/>
              <a:gd name="connsiteY268" fmla="*/ 0 h 2265361"/>
              <a:gd name="connsiteX269" fmla="*/ 5534024 w 9905999"/>
              <a:gd name="connsiteY269" fmla="*/ 0 h 2265361"/>
              <a:gd name="connsiteX270" fmla="*/ 5835649 w 9905999"/>
              <a:gd name="connsiteY270" fmla="*/ 823912 h 2265361"/>
              <a:gd name="connsiteX271" fmla="*/ 6142037 w 9905999"/>
              <a:gd name="connsiteY271" fmla="*/ 0 h 2265361"/>
              <a:gd name="connsiteX272" fmla="*/ 6438899 w 9905999"/>
              <a:gd name="connsiteY272" fmla="*/ 0 h 2265361"/>
              <a:gd name="connsiteX273" fmla="*/ 6438899 w 9905999"/>
              <a:gd name="connsiteY273" fmla="*/ 1214437 h 2265361"/>
              <a:gd name="connsiteX274" fmla="*/ 6203949 w 9905999"/>
              <a:gd name="connsiteY274" fmla="*/ 1214437 h 2265361"/>
              <a:gd name="connsiteX275" fmla="*/ 6203949 w 9905999"/>
              <a:gd name="connsiteY275" fmla="*/ 419100 h 2265361"/>
              <a:gd name="connsiteX276" fmla="*/ 5916612 w 9905999"/>
              <a:gd name="connsiteY276" fmla="*/ 1196975 h 2265361"/>
              <a:gd name="connsiteX277" fmla="*/ 5740399 w 9905999"/>
              <a:gd name="connsiteY277" fmla="*/ 1196975 h 2265361"/>
              <a:gd name="connsiteX278" fmla="*/ 5454649 w 9905999"/>
              <a:gd name="connsiteY278" fmla="*/ 409575 h 2265361"/>
              <a:gd name="connsiteX279" fmla="*/ 5454649 w 9905999"/>
              <a:gd name="connsiteY279" fmla="*/ 1214437 h 2265361"/>
              <a:gd name="connsiteX280" fmla="*/ 5221286 w 9905999"/>
              <a:gd name="connsiteY280" fmla="*/ 1214437 h 2265361"/>
              <a:gd name="connsiteX281" fmla="*/ 4098924 w 9905999"/>
              <a:gd name="connsiteY281" fmla="*/ 0 h 2265361"/>
              <a:gd name="connsiteX282" fmla="*/ 4968874 w 9905999"/>
              <a:gd name="connsiteY282" fmla="*/ 0 h 2265361"/>
              <a:gd name="connsiteX283" fmla="*/ 4968874 w 9905999"/>
              <a:gd name="connsiteY283" fmla="*/ 220663 h 2265361"/>
              <a:gd name="connsiteX284" fmla="*/ 4340224 w 9905999"/>
              <a:gd name="connsiteY284" fmla="*/ 220663 h 2265361"/>
              <a:gd name="connsiteX285" fmla="*/ 4340224 w 9905999"/>
              <a:gd name="connsiteY285" fmla="*/ 473075 h 2265361"/>
              <a:gd name="connsiteX286" fmla="*/ 4895849 w 9905999"/>
              <a:gd name="connsiteY286" fmla="*/ 473075 h 2265361"/>
              <a:gd name="connsiteX287" fmla="*/ 4895849 w 9905999"/>
              <a:gd name="connsiteY287" fmla="*/ 690562 h 2265361"/>
              <a:gd name="connsiteX288" fmla="*/ 4340224 w 9905999"/>
              <a:gd name="connsiteY288" fmla="*/ 690562 h 2265361"/>
              <a:gd name="connsiteX289" fmla="*/ 4340224 w 9905999"/>
              <a:gd name="connsiteY289" fmla="*/ 993775 h 2265361"/>
              <a:gd name="connsiteX290" fmla="*/ 4968874 w 9905999"/>
              <a:gd name="connsiteY290" fmla="*/ 993775 h 2265361"/>
              <a:gd name="connsiteX291" fmla="*/ 4968874 w 9905999"/>
              <a:gd name="connsiteY291" fmla="*/ 1214437 h 2265361"/>
              <a:gd name="connsiteX292" fmla="*/ 4098924 w 9905999"/>
              <a:gd name="connsiteY292" fmla="*/ 1214437 h 2265361"/>
              <a:gd name="connsiteX293" fmla="*/ 3079749 w 9905999"/>
              <a:gd name="connsiteY293" fmla="*/ 0 h 2265361"/>
              <a:gd name="connsiteX294" fmla="*/ 3321049 w 9905999"/>
              <a:gd name="connsiteY294" fmla="*/ 0 h 2265361"/>
              <a:gd name="connsiteX295" fmla="*/ 3321049 w 9905999"/>
              <a:gd name="connsiteY295" fmla="*/ 984250 h 2265361"/>
              <a:gd name="connsiteX296" fmla="*/ 3871912 w 9905999"/>
              <a:gd name="connsiteY296" fmla="*/ 984250 h 2265361"/>
              <a:gd name="connsiteX297" fmla="*/ 3871912 w 9905999"/>
              <a:gd name="connsiteY297" fmla="*/ 1214437 h 2265361"/>
              <a:gd name="connsiteX298" fmla="*/ 3079749 w 9905999"/>
              <a:gd name="connsiteY298" fmla="*/ 1214437 h 2265361"/>
              <a:gd name="connsiteX299" fmla="*/ 1989138 w 9905999"/>
              <a:gd name="connsiteY299" fmla="*/ 0 h 2265361"/>
              <a:gd name="connsiteX300" fmla="*/ 2465639 w 9905999"/>
              <a:gd name="connsiteY300" fmla="*/ 0 h 2265361"/>
              <a:gd name="connsiteX301" fmla="*/ 2897188 w 9905999"/>
              <a:gd name="connsiteY301" fmla="*/ 392045 h 2265361"/>
              <a:gd name="connsiteX302" fmla="*/ 2465639 w 9905999"/>
              <a:gd name="connsiteY302" fmla="*/ 786342 h 2265361"/>
              <a:gd name="connsiteX303" fmla="*/ 2227389 w 9905999"/>
              <a:gd name="connsiteY303" fmla="*/ 786342 h 2265361"/>
              <a:gd name="connsiteX304" fmla="*/ 2227389 w 9905999"/>
              <a:gd name="connsiteY304" fmla="*/ 1214437 h 2265361"/>
              <a:gd name="connsiteX305" fmla="*/ 1989138 w 9905999"/>
              <a:gd name="connsiteY305" fmla="*/ 1214437 h 2265361"/>
              <a:gd name="connsiteX306" fmla="*/ 1989138 w 9905999"/>
              <a:gd name="connsiteY306" fmla="*/ 0 h 2265361"/>
              <a:gd name="connsiteX307" fmla="*/ 520699 w 9905999"/>
              <a:gd name="connsiteY307" fmla="*/ 0 h 2265361"/>
              <a:gd name="connsiteX308" fmla="*/ 833436 w 9905999"/>
              <a:gd name="connsiteY308" fmla="*/ 0 h 2265361"/>
              <a:gd name="connsiteX309" fmla="*/ 1135061 w 9905999"/>
              <a:gd name="connsiteY309" fmla="*/ 823912 h 2265361"/>
              <a:gd name="connsiteX310" fmla="*/ 1439862 w 9905999"/>
              <a:gd name="connsiteY310" fmla="*/ 0 h 2265361"/>
              <a:gd name="connsiteX311" fmla="*/ 1736724 w 9905999"/>
              <a:gd name="connsiteY311" fmla="*/ 0 h 2265361"/>
              <a:gd name="connsiteX312" fmla="*/ 1736724 w 9905999"/>
              <a:gd name="connsiteY312" fmla="*/ 1214437 h 2265361"/>
              <a:gd name="connsiteX313" fmla="*/ 1503362 w 9905999"/>
              <a:gd name="connsiteY313" fmla="*/ 1214437 h 2265361"/>
              <a:gd name="connsiteX314" fmla="*/ 1503362 w 9905999"/>
              <a:gd name="connsiteY314" fmla="*/ 419100 h 2265361"/>
              <a:gd name="connsiteX315" fmla="*/ 1216024 w 9905999"/>
              <a:gd name="connsiteY315" fmla="*/ 1196975 h 2265361"/>
              <a:gd name="connsiteX316" fmla="*/ 1039812 w 9905999"/>
              <a:gd name="connsiteY316" fmla="*/ 1196975 h 2265361"/>
              <a:gd name="connsiteX317" fmla="*/ 754062 w 9905999"/>
              <a:gd name="connsiteY317" fmla="*/ 409575 h 2265361"/>
              <a:gd name="connsiteX318" fmla="*/ 754062 w 9905999"/>
              <a:gd name="connsiteY318" fmla="*/ 1214437 h 2265361"/>
              <a:gd name="connsiteX319" fmla="*/ 520699 w 9905999"/>
              <a:gd name="connsiteY319" fmla="*/ 1214437 h 2265361"/>
              <a:gd name="connsiteX320" fmla="*/ 25400 w 9905999"/>
              <a:gd name="connsiteY320" fmla="*/ 0 h 2265361"/>
              <a:gd name="connsiteX321" fmla="*/ 268288 w 9905999"/>
              <a:gd name="connsiteY321" fmla="*/ 0 h 2265361"/>
              <a:gd name="connsiteX322" fmla="*/ 268288 w 9905999"/>
              <a:gd name="connsiteY322" fmla="*/ 1214437 h 2265361"/>
              <a:gd name="connsiteX323" fmla="*/ 25400 w 9905999"/>
              <a:gd name="connsiteY323" fmla="*/ 1214437 h 22653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</a:cxnLst>
            <a:rect l="l" t="t" r="r" b="b"/>
            <a:pathLst>
              <a:path w="9905999" h="2265361">
                <a:moveTo>
                  <a:pt x="6778122" y="2222531"/>
                </a:moveTo>
                <a:cubicBezTo>
                  <a:pt x="6778122" y="2222531"/>
                  <a:pt x="6778122" y="2222531"/>
                  <a:pt x="7135812" y="2222531"/>
                </a:cubicBezTo>
                <a:lnTo>
                  <a:pt x="7135812" y="2265361"/>
                </a:lnTo>
                <a:cubicBezTo>
                  <a:pt x="7135812" y="2265361"/>
                  <a:pt x="7135812" y="2265361"/>
                  <a:pt x="6778122" y="2265361"/>
                </a:cubicBezTo>
                <a:cubicBezTo>
                  <a:pt x="6778122" y="2265361"/>
                  <a:pt x="6778122" y="2265361"/>
                  <a:pt x="6778122" y="2222531"/>
                </a:cubicBezTo>
                <a:close/>
                <a:moveTo>
                  <a:pt x="6449676" y="1769427"/>
                </a:moveTo>
                <a:cubicBezTo>
                  <a:pt x="6449676" y="1769427"/>
                  <a:pt x="6449676" y="1769427"/>
                  <a:pt x="6449676" y="1965546"/>
                </a:cubicBezTo>
                <a:cubicBezTo>
                  <a:pt x="6449676" y="1965546"/>
                  <a:pt x="6449676" y="1965546"/>
                  <a:pt x="6575655" y="1965546"/>
                </a:cubicBezTo>
                <a:cubicBezTo>
                  <a:pt x="6643144" y="1965546"/>
                  <a:pt x="6679138" y="1933987"/>
                  <a:pt x="6679138" y="1864105"/>
                </a:cubicBezTo>
                <a:cubicBezTo>
                  <a:pt x="6679138" y="1800986"/>
                  <a:pt x="6638645" y="1769427"/>
                  <a:pt x="6575655" y="1769427"/>
                </a:cubicBezTo>
                <a:cubicBezTo>
                  <a:pt x="6575655" y="1769427"/>
                  <a:pt x="6575655" y="1769427"/>
                  <a:pt x="6449676" y="1769427"/>
                </a:cubicBezTo>
                <a:close/>
                <a:moveTo>
                  <a:pt x="5021164" y="1769427"/>
                </a:moveTo>
                <a:cubicBezTo>
                  <a:pt x="5021164" y="1769427"/>
                  <a:pt x="5021164" y="1769427"/>
                  <a:pt x="5021164" y="1949767"/>
                </a:cubicBezTo>
                <a:cubicBezTo>
                  <a:pt x="5021164" y="1949767"/>
                  <a:pt x="5021164" y="1949767"/>
                  <a:pt x="5158391" y="1949767"/>
                </a:cubicBezTo>
                <a:cubicBezTo>
                  <a:pt x="5219131" y="1949767"/>
                  <a:pt x="5261874" y="1924970"/>
                  <a:pt x="5261874" y="1859597"/>
                </a:cubicBezTo>
                <a:cubicBezTo>
                  <a:pt x="5261874" y="1794223"/>
                  <a:pt x="5219131" y="1769427"/>
                  <a:pt x="5158391" y="1769427"/>
                </a:cubicBezTo>
                <a:cubicBezTo>
                  <a:pt x="5158391" y="1769427"/>
                  <a:pt x="5158391" y="1769427"/>
                  <a:pt x="5021164" y="1769427"/>
                </a:cubicBezTo>
                <a:close/>
                <a:moveTo>
                  <a:pt x="5597068" y="1762664"/>
                </a:moveTo>
                <a:cubicBezTo>
                  <a:pt x="5563324" y="1762664"/>
                  <a:pt x="5529579" y="1776189"/>
                  <a:pt x="5504834" y="1800986"/>
                </a:cubicBezTo>
                <a:cubicBezTo>
                  <a:pt x="5462091" y="1843817"/>
                  <a:pt x="5459841" y="1913699"/>
                  <a:pt x="5459841" y="1967800"/>
                </a:cubicBezTo>
                <a:cubicBezTo>
                  <a:pt x="5459841" y="2019648"/>
                  <a:pt x="5462091" y="2089530"/>
                  <a:pt x="5504834" y="2132361"/>
                </a:cubicBezTo>
                <a:cubicBezTo>
                  <a:pt x="5529579" y="2159412"/>
                  <a:pt x="5563324" y="2170683"/>
                  <a:pt x="5597068" y="2170683"/>
                </a:cubicBezTo>
                <a:cubicBezTo>
                  <a:pt x="5633062" y="2170683"/>
                  <a:pt x="5666807" y="2159412"/>
                  <a:pt x="5691552" y="2132361"/>
                </a:cubicBezTo>
                <a:cubicBezTo>
                  <a:pt x="5732046" y="2089530"/>
                  <a:pt x="5734295" y="2019648"/>
                  <a:pt x="5734295" y="1967800"/>
                </a:cubicBezTo>
                <a:cubicBezTo>
                  <a:pt x="5734295" y="1913699"/>
                  <a:pt x="5732046" y="1843817"/>
                  <a:pt x="5691552" y="1800986"/>
                </a:cubicBezTo>
                <a:cubicBezTo>
                  <a:pt x="5666807" y="1776189"/>
                  <a:pt x="5633062" y="1762664"/>
                  <a:pt x="5597068" y="1762664"/>
                </a:cubicBezTo>
                <a:close/>
                <a:moveTo>
                  <a:pt x="654642" y="1762664"/>
                </a:moveTo>
                <a:cubicBezTo>
                  <a:pt x="618647" y="1762664"/>
                  <a:pt x="584903" y="1776189"/>
                  <a:pt x="560157" y="1800986"/>
                </a:cubicBezTo>
                <a:cubicBezTo>
                  <a:pt x="519664" y="1843817"/>
                  <a:pt x="517414" y="1913699"/>
                  <a:pt x="517414" y="1967800"/>
                </a:cubicBezTo>
                <a:cubicBezTo>
                  <a:pt x="517414" y="2019648"/>
                  <a:pt x="519664" y="2089530"/>
                  <a:pt x="560157" y="2132361"/>
                </a:cubicBezTo>
                <a:cubicBezTo>
                  <a:pt x="584903" y="2159412"/>
                  <a:pt x="618647" y="2170683"/>
                  <a:pt x="654642" y="2170683"/>
                </a:cubicBezTo>
                <a:cubicBezTo>
                  <a:pt x="688386" y="2170683"/>
                  <a:pt x="722130" y="2159412"/>
                  <a:pt x="746876" y="2132361"/>
                </a:cubicBezTo>
                <a:cubicBezTo>
                  <a:pt x="789619" y="2089530"/>
                  <a:pt x="791868" y="2019648"/>
                  <a:pt x="791868" y="1967800"/>
                </a:cubicBezTo>
                <a:cubicBezTo>
                  <a:pt x="791868" y="1913699"/>
                  <a:pt x="789619" y="1843817"/>
                  <a:pt x="746876" y="1800986"/>
                </a:cubicBezTo>
                <a:cubicBezTo>
                  <a:pt x="722130" y="1776189"/>
                  <a:pt x="688386" y="1762664"/>
                  <a:pt x="654642" y="1762664"/>
                </a:cubicBezTo>
                <a:close/>
                <a:moveTo>
                  <a:pt x="6386687" y="1710816"/>
                </a:moveTo>
                <a:cubicBezTo>
                  <a:pt x="6386687" y="1710816"/>
                  <a:pt x="6386687" y="1710816"/>
                  <a:pt x="6575655" y="1710816"/>
                </a:cubicBezTo>
                <a:cubicBezTo>
                  <a:pt x="6636395" y="1710816"/>
                  <a:pt x="6679138" y="1726596"/>
                  <a:pt x="6706134" y="1755901"/>
                </a:cubicBezTo>
                <a:cubicBezTo>
                  <a:pt x="6730880" y="1782952"/>
                  <a:pt x="6744377" y="1821274"/>
                  <a:pt x="6744377" y="1864105"/>
                </a:cubicBezTo>
                <a:cubicBezTo>
                  <a:pt x="6744377" y="1915953"/>
                  <a:pt x="6730880" y="1954275"/>
                  <a:pt x="6701634" y="1981326"/>
                </a:cubicBezTo>
                <a:cubicBezTo>
                  <a:pt x="6674639" y="2008377"/>
                  <a:pt x="6634146" y="2024157"/>
                  <a:pt x="6577905" y="2024157"/>
                </a:cubicBezTo>
                <a:cubicBezTo>
                  <a:pt x="6577905" y="2024157"/>
                  <a:pt x="6577905" y="2024157"/>
                  <a:pt x="6449676" y="2024157"/>
                </a:cubicBezTo>
                <a:cubicBezTo>
                  <a:pt x="6449676" y="2024157"/>
                  <a:pt x="6449676" y="2024157"/>
                  <a:pt x="6449676" y="2222531"/>
                </a:cubicBezTo>
                <a:cubicBezTo>
                  <a:pt x="6449676" y="2222531"/>
                  <a:pt x="6449676" y="2222531"/>
                  <a:pt x="6386687" y="2222531"/>
                </a:cubicBezTo>
                <a:cubicBezTo>
                  <a:pt x="6386687" y="2222531"/>
                  <a:pt x="6386687" y="2222531"/>
                  <a:pt x="6386687" y="1710816"/>
                </a:cubicBezTo>
                <a:close/>
                <a:moveTo>
                  <a:pt x="5889520" y="1710816"/>
                </a:moveTo>
                <a:cubicBezTo>
                  <a:pt x="5889520" y="1710816"/>
                  <a:pt x="5889520" y="1710816"/>
                  <a:pt x="5954759" y="1710816"/>
                </a:cubicBezTo>
                <a:cubicBezTo>
                  <a:pt x="5954759" y="1710816"/>
                  <a:pt x="5954759" y="1710816"/>
                  <a:pt x="5954759" y="2035428"/>
                </a:cubicBezTo>
                <a:cubicBezTo>
                  <a:pt x="5954759" y="2118835"/>
                  <a:pt x="5988503" y="2172937"/>
                  <a:pt x="6076239" y="2172937"/>
                </a:cubicBezTo>
                <a:cubicBezTo>
                  <a:pt x="6166224" y="2172937"/>
                  <a:pt x="6199968" y="2118835"/>
                  <a:pt x="6199968" y="2035428"/>
                </a:cubicBezTo>
                <a:cubicBezTo>
                  <a:pt x="6199968" y="2035428"/>
                  <a:pt x="6199968" y="2035428"/>
                  <a:pt x="6199968" y="1710816"/>
                </a:cubicBezTo>
                <a:cubicBezTo>
                  <a:pt x="6199968" y="1710816"/>
                  <a:pt x="6199968" y="1710816"/>
                  <a:pt x="6262957" y="1710816"/>
                </a:cubicBezTo>
                <a:cubicBezTo>
                  <a:pt x="6262957" y="1710816"/>
                  <a:pt x="6262957" y="1710816"/>
                  <a:pt x="6262957" y="2035428"/>
                </a:cubicBezTo>
                <a:cubicBezTo>
                  <a:pt x="6262957" y="2163920"/>
                  <a:pt x="6190969" y="2231547"/>
                  <a:pt x="6076239" y="2231547"/>
                </a:cubicBezTo>
                <a:cubicBezTo>
                  <a:pt x="5961508" y="2231547"/>
                  <a:pt x="5889520" y="2163920"/>
                  <a:pt x="5889520" y="2035428"/>
                </a:cubicBezTo>
                <a:cubicBezTo>
                  <a:pt x="5889520" y="2035428"/>
                  <a:pt x="5889520" y="2035428"/>
                  <a:pt x="5889520" y="1710816"/>
                </a:cubicBezTo>
                <a:close/>
                <a:moveTo>
                  <a:pt x="4958174" y="1710816"/>
                </a:moveTo>
                <a:cubicBezTo>
                  <a:pt x="4958174" y="1710816"/>
                  <a:pt x="4958174" y="1710816"/>
                  <a:pt x="5158391" y="1710816"/>
                </a:cubicBezTo>
                <a:cubicBezTo>
                  <a:pt x="5219131" y="1710816"/>
                  <a:pt x="5259624" y="1726596"/>
                  <a:pt x="5288869" y="1755901"/>
                </a:cubicBezTo>
                <a:cubicBezTo>
                  <a:pt x="5313615" y="1782952"/>
                  <a:pt x="5329363" y="1814512"/>
                  <a:pt x="5329363" y="1859597"/>
                </a:cubicBezTo>
                <a:cubicBezTo>
                  <a:pt x="5329363" y="1904682"/>
                  <a:pt x="5313615" y="1936241"/>
                  <a:pt x="5288869" y="1961038"/>
                </a:cubicBezTo>
                <a:cubicBezTo>
                  <a:pt x="5275372" y="1976817"/>
                  <a:pt x="5252875" y="1990343"/>
                  <a:pt x="5228130" y="1997106"/>
                </a:cubicBezTo>
                <a:cubicBezTo>
                  <a:pt x="5228130" y="1997106"/>
                  <a:pt x="5228130" y="1997106"/>
                  <a:pt x="5331612" y="2222531"/>
                </a:cubicBezTo>
                <a:lnTo>
                  <a:pt x="5259624" y="2222531"/>
                </a:lnTo>
                <a:cubicBezTo>
                  <a:pt x="5259624" y="2222531"/>
                  <a:pt x="5259624" y="2222531"/>
                  <a:pt x="5162890" y="2010631"/>
                </a:cubicBezTo>
                <a:cubicBezTo>
                  <a:pt x="5162890" y="2010631"/>
                  <a:pt x="5162890" y="2010631"/>
                  <a:pt x="5021164" y="2010631"/>
                </a:cubicBezTo>
                <a:cubicBezTo>
                  <a:pt x="5021164" y="2010631"/>
                  <a:pt x="5021164" y="2010631"/>
                  <a:pt x="5021164" y="2222531"/>
                </a:cubicBezTo>
                <a:cubicBezTo>
                  <a:pt x="5021164" y="2222531"/>
                  <a:pt x="5021164" y="2222531"/>
                  <a:pt x="4958174" y="2222531"/>
                </a:cubicBezTo>
                <a:cubicBezTo>
                  <a:pt x="4958174" y="2222531"/>
                  <a:pt x="4958174" y="2222531"/>
                  <a:pt x="4958174" y="1710816"/>
                </a:cubicBezTo>
                <a:close/>
                <a:moveTo>
                  <a:pt x="3309199" y="1710816"/>
                </a:moveTo>
                <a:cubicBezTo>
                  <a:pt x="3309199" y="1710816"/>
                  <a:pt x="3309199" y="1710816"/>
                  <a:pt x="3381187" y="1710816"/>
                </a:cubicBezTo>
                <a:cubicBezTo>
                  <a:pt x="3381187" y="1710816"/>
                  <a:pt x="3381187" y="1710816"/>
                  <a:pt x="3633145" y="2123344"/>
                </a:cubicBezTo>
                <a:cubicBezTo>
                  <a:pt x="3633145" y="2123344"/>
                  <a:pt x="3633145" y="2123344"/>
                  <a:pt x="3633145" y="1710816"/>
                </a:cubicBezTo>
                <a:cubicBezTo>
                  <a:pt x="3633145" y="1710816"/>
                  <a:pt x="3633145" y="1710816"/>
                  <a:pt x="3693885" y="1710816"/>
                </a:cubicBezTo>
                <a:cubicBezTo>
                  <a:pt x="3693885" y="1710816"/>
                  <a:pt x="3693885" y="1710816"/>
                  <a:pt x="3693885" y="2222531"/>
                </a:cubicBezTo>
                <a:lnTo>
                  <a:pt x="3621897" y="2222531"/>
                </a:lnTo>
                <a:cubicBezTo>
                  <a:pt x="3621897" y="2222531"/>
                  <a:pt x="3621897" y="2222531"/>
                  <a:pt x="3372188" y="1810003"/>
                </a:cubicBezTo>
                <a:cubicBezTo>
                  <a:pt x="3372188" y="1810003"/>
                  <a:pt x="3372188" y="1810003"/>
                  <a:pt x="3372188" y="2222531"/>
                </a:cubicBezTo>
                <a:cubicBezTo>
                  <a:pt x="3372188" y="2222531"/>
                  <a:pt x="3372188" y="2222531"/>
                  <a:pt x="3309199" y="2222531"/>
                </a:cubicBezTo>
                <a:cubicBezTo>
                  <a:pt x="3309199" y="2222531"/>
                  <a:pt x="3309199" y="2222531"/>
                  <a:pt x="3309199" y="1710816"/>
                </a:cubicBezTo>
                <a:close/>
                <a:moveTo>
                  <a:pt x="3106732" y="1710816"/>
                </a:moveTo>
                <a:cubicBezTo>
                  <a:pt x="3106732" y="1710816"/>
                  <a:pt x="3106732" y="1710816"/>
                  <a:pt x="3171971" y="1710816"/>
                </a:cubicBezTo>
                <a:lnTo>
                  <a:pt x="3171971" y="2222531"/>
                </a:lnTo>
                <a:cubicBezTo>
                  <a:pt x="3171971" y="2222531"/>
                  <a:pt x="3171971" y="2222531"/>
                  <a:pt x="3106732" y="2222531"/>
                </a:cubicBezTo>
                <a:cubicBezTo>
                  <a:pt x="3106732" y="2222531"/>
                  <a:pt x="3106732" y="2222531"/>
                  <a:pt x="3106732" y="1710816"/>
                </a:cubicBezTo>
                <a:close/>
                <a:moveTo>
                  <a:pt x="2663557" y="1710816"/>
                </a:moveTo>
                <a:cubicBezTo>
                  <a:pt x="2663557" y="1710816"/>
                  <a:pt x="2663557" y="1710816"/>
                  <a:pt x="3032495" y="1710816"/>
                </a:cubicBezTo>
                <a:cubicBezTo>
                  <a:pt x="3032495" y="1710816"/>
                  <a:pt x="3032495" y="1710816"/>
                  <a:pt x="3032495" y="1769427"/>
                </a:cubicBezTo>
                <a:lnTo>
                  <a:pt x="2879521" y="1769427"/>
                </a:lnTo>
                <a:cubicBezTo>
                  <a:pt x="2879521" y="1769427"/>
                  <a:pt x="2879521" y="1769427"/>
                  <a:pt x="2879521" y="2222531"/>
                </a:cubicBezTo>
                <a:cubicBezTo>
                  <a:pt x="2879521" y="2222531"/>
                  <a:pt x="2879521" y="2222531"/>
                  <a:pt x="2814282" y="2222531"/>
                </a:cubicBezTo>
                <a:cubicBezTo>
                  <a:pt x="2814282" y="2222531"/>
                  <a:pt x="2814282" y="2222531"/>
                  <a:pt x="2814282" y="1769427"/>
                </a:cubicBezTo>
                <a:cubicBezTo>
                  <a:pt x="2814282" y="1769427"/>
                  <a:pt x="2814282" y="1769427"/>
                  <a:pt x="2663557" y="1769427"/>
                </a:cubicBezTo>
                <a:cubicBezTo>
                  <a:pt x="2663557" y="1769427"/>
                  <a:pt x="2663557" y="1769427"/>
                  <a:pt x="2663557" y="1710816"/>
                </a:cubicBezTo>
                <a:close/>
                <a:moveTo>
                  <a:pt x="2416099" y="1710816"/>
                </a:moveTo>
                <a:cubicBezTo>
                  <a:pt x="2416099" y="1710816"/>
                  <a:pt x="2416099" y="1710816"/>
                  <a:pt x="2481338" y="1710816"/>
                </a:cubicBezTo>
                <a:cubicBezTo>
                  <a:pt x="2481338" y="1710816"/>
                  <a:pt x="2481338" y="1710816"/>
                  <a:pt x="2481338" y="2163920"/>
                </a:cubicBezTo>
                <a:cubicBezTo>
                  <a:pt x="2481338" y="2163920"/>
                  <a:pt x="2481338" y="2163920"/>
                  <a:pt x="2726547" y="2163920"/>
                </a:cubicBezTo>
                <a:cubicBezTo>
                  <a:pt x="2726547" y="2163920"/>
                  <a:pt x="2726547" y="2163920"/>
                  <a:pt x="2726547" y="2222531"/>
                </a:cubicBezTo>
                <a:lnTo>
                  <a:pt x="2416099" y="2222531"/>
                </a:lnTo>
                <a:cubicBezTo>
                  <a:pt x="2416099" y="2222531"/>
                  <a:pt x="2416099" y="2222531"/>
                  <a:pt x="2416099" y="1710816"/>
                </a:cubicBezTo>
                <a:close/>
                <a:moveTo>
                  <a:pt x="1918931" y="1710816"/>
                </a:moveTo>
                <a:cubicBezTo>
                  <a:pt x="1918931" y="1710816"/>
                  <a:pt x="1918931" y="1710816"/>
                  <a:pt x="1984171" y="1710816"/>
                </a:cubicBezTo>
                <a:cubicBezTo>
                  <a:pt x="1984171" y="1710816"/>
                  <a:pt x="1984171" y="1710816"/>
                  <a:pt x="1984171" y="2035428"/>
                </a:cubicBezTo>
                <a:cubicBezTo>
                  <a:pt x="1984171" y="2118835"/>
                  <a:pt x="2017916" y="2172937"/>
                  <a:pt x="2105651" y="2172937"/>
                </a:cubicBezTo>
                <a:cubicBezTo>
                  <a:pt x="2195636" y="2172937"/>
                  <a:pt x="2229380" y="2118835"/>
                  <a:pt x="2229380" y="2035428"/>
                </a:cubicBezTo>
                <a:cubicBezTo>
                  <a:pt x="2229380" y="2035428"/>
                  <a:pt x="2229380" y="2035428"/>
                  <a:pt x="2229380" y="1710816"/>
                </a:cubicBezTo>
                <a:cubicBezTo>
                  <a:pt x="2229380" y="1710816"/>
                  <a:pt x="2229380" y="1710816"/>
                  <a:pt x="2292369" y="1710816"/>
                </a:cubicBezTo>
                <a:cubicBezTo>
                  <a:pt x="2292369" y="1710816"/>
                  <a:pt x="2292369" y="1710816"/>
                  <a:pt x="2292369" y="2035428"/>
                </a:cubicBezTo>
                <a:cubicBezTo>
                  <a:pt x="2292369" y="2163920"/>
                  <a:pt x="2220382" y="2231547"/>
                  <a:pt x="2105651" y="2231547"/>
                </a:cubicBezTo>
                <a:cubicBezTo>
                  <a:pt x="1990920" y="2231547"/>
                  <a:pt x="1918931" y="2163920"/>
                  <a:pt x="1918931" y="2035428"/>
                </a:cubicBezTo>
                <a:cubicBezTo>
                  <a:pt x="1918931" y="2035428"/>
                  <a:pt x="1918931" y="2035428"/>
                  <a:pt x="1918931" y="1710816"/>
                </a:cubicBezTo>
                <a:close/>
                <a:moveTo>
                  <a:pt x="960591" y="1710816"/>
                </a:moveTo>
                <a:cubicBezTo>
                  <a:pt x="960591" y="1710816"/>
                  <a:pt x="960591" y="1710816"/>
                  <a:pt x="1032578" y="1710816"/>
                </a:cubicBezTo>
                <a:cubicBezTo>
                  <a:pt x="1032578" y="1710816"/>
                  <a:pt x="1032578" y="1710816"/>
                  <a:pt x="1284537" y="2123344"/>
                </a:cubicBezTo>
                <a:cubicBezTo>
                  <a:pt x="1284537" y="2123344"/>
                  <a:pt x="1284537" y="2123344"/>
                  <a:pt x="1284537" y="1710816"/>
                </a:cubicBezTo>
                <a:cubicBezTo>
                  <a:pt x="1284537" y="1710816"/>
                  <a:pt x="1284537" y="1710816"/>
                  <a:pt x="1345276" y="1710816"/>
                </a:cubicBezTo>
                <a:cubicBezTo>
                  <a:pt x="1345276" y="1710816"/>
                  <a:pt x="1345276" y="1710816"/>
                  <a:pt x="1345276" y="2222531"/>
                </a:cubicBezTo>
                <a:lnTo>
                  <a:pt x="1273289" y="2222531"/>
                </a:lnTo>
                <a:cubicBezTo>
                  <a:pt x="1273289" y="2222531"/>
                  <a:pt x="1273289" y="2222531"/>
                  <a:pt x="1023580" y="1810003"/>
                </a:cubicBezTo>
                <a:cubicBezTo>
                  <a:pt x="1023580" y="1810003"/>
                  <a:pt x="1023580" y="1810003"/>
                  <a:pt x="1023580" y="2222531"/>
                </a:cubicBezTo>
                <a:cubicBezTo>
                  <a:pt x="1023580" y="2222531"/>
                  <a:pt x="1023580" y="2222531"/>
                  <a:pt x="960591" y="2222531"/>
                </a:cubicBezTo>
                <a:cubicBezTo>
                  <a:pt x="960591" y="2222531"/>
                  <a:pt x="960591" y="2222531"/>
                  <a:pt x="960591" y="1710816"/>
                </a:cubicBezTo>
                <a:close/>
                <a:moveTo>
                  <a:pt x="5597068" y="1701799"/>
                </a:moveTo>
                <a:cubicBezTo>
                  <a:pt x="5648810" y="1701799"/>
                  <a:pt x="5698301" y="1719833"/>
                  <a:pt x="5736545" y="1755901"/>
                </a:cubicBezTo>
                <a:cubicBezTo>
                  <a:pt x="5790536" y="1810003"/>
                  <a:pt x="5801784" y="1884393"/>
                  <a:pt x="5801784" y="1967800"/>
                </a:cubicBezTo>
                <a:cubicBezTo>
                  <a:pt x="5801784" y="2048953"/>
                  <a:pt x="5790536" y="2123344"/>
                  <a:pt x="5736545" y="2177446"/>
                </a:cubicBezTo>
                <a:cubicBezTo>
                  <a:pt x="5698301" y="2213514"/>
                  <a:pt x="5648810" y="2233802"/>
                  <a:pt x="5597068" y="2233802"/>
                </a:cubicBezTo>
                <a:cubicBezTo>
                  <a:pt x="5547576" y="2233802"/>
                  <a:pt x="5495835" y="2213514"/>
                  <a:pt x="5459841" y="2177446"/>
                </a:cubicBezTo>
                <a:cubicBezTo>
                  <a:pt x="5403600" y="2123344"/>
                  <a:pt x="5394602" y="2048953"/>
                  <a:pt x="5394602" y="1967800"/>
                </a:cubicBezTo>
                <a:cubicBezTo>
                  <a:pt x="5394602" y="1884393"/>
                  <a:pt x="5403600" y="1810003"/>
                  <a:pt x="5459841" y="1755901"/>
                </a:cubicBezTo>
                <a:cubicBezTo>
                  <a:pt x="5495835" y="1719833"/>
                  <a:pt x="5547576" y="1701799"/>
                  <a:pt x="5597068" y="1701799"/>
                </a:cubicBezTo>
                <a:close/>
                <a:moveTo>
                  <a:pt x="4645477" y="1701799"/>
                </a:moveTo>
                <a:cubicBezTo>
                  <a:pt x="4701717" y="1701799"/>
                  <a:pt x="4755708" y="1722087"/>
                  <a:pt x="4791702" y="1758155"/>
                </a:cubicBezTo>
                <a:cubicBezTo>
                  <a:pt x="4816448" y="1785206"/>
                  <a:pt x="4832195" y="1816766"/>
                  <a:pt x="4834445" y="1859597"/>
                </a:cubicBezTo>
                <a:cubicBezTo>
                  <a:pt x="4834445" y="1859597"/>
                  <a:pt x="4834445" y="1859597"/>
                  <a:pt x="4766956" y="1859597"/>
                </a:cubicBezTo>
                <a:cubicBezTo>
                  <a:pt x="4764707" y="1834800"/>
                  <a:pt x="4757958" y="1819020"/>
                  <a:pt x="4744460" y="1803240"/>
                </a:cubicBezTo>
                <a:cubicBezTo>
                  <a:pt x="4721964" y="1773935"/>
                  <a:pt x="4685970" y="1762664"/>
                  <a:pt x="4645477" y="1762664"/>
                </a:cubicBezTo>
                <a:cubicBezTo>
                  <a:pt x="4609482" y="1762664"/>
                  <a:pt x="4575738" y="1776189"/>
                  <a:pt x="4550992" y="1800986"/>
                </a:cubicBezTo>
                <a:cubicBezTo>
                  <a:pt x="4510499" y="1843817"/>
                  <a:pt x="4506000" y="1913699"/>
                  <a:pt x="4506000" y="1967800"/>
                </a:cubicBezTo>
                <a:cubicBezTo>
                  <a:pt x="4506000" y="2017394"/>
                  <a:pt x="4510499" y="2091784"/>
                  <a:pt x="4553242" y="2134615"/>
                </a:cubicBezTo>
                <a:cubicBezTo>
                  <a:pt x="4577988" y="2161666"/>
                  <a:pt x="4609482" y="2172937"/>
                  <a:pt x="4645477" y="2172937"/>
                </a:cubicBezTo>
                <a:cubicBezTo>
                  <a:pt x="4681471" y="2172937"/>
                  <a:pt x="4715215" y="2159412"/>
                  <a:pt x="4737711" y="2136869"/>
                </a:cubicBezTo>
                <a:cubicBezTo>
                  <a:pt x="4771456" y="2103055"/>
                  <a:pt x="4780454" y="2053462"/>
                  <a:pt x="4780454" y="2006123"/>
                </a:cubicBezTo>
                <a:cubicBezTo>
                  <a:pt x="4780454" y="2006123"/>
                  <a:pt x="4780454" y="2006123"/>
                  <a:pt x="4645477" y="2006123"/>
                </a:cubicBezTo>
                <a:cubicBezTo>
                  <a:pt x="4645477" y="2006123"/>
                  <a:pt x="4645477" y="2006123"/>
                  <a:pt x="4645477" y="1947512"/>
                </a:cubicBezTo>
                <a:cubicBezTo>
                  <a:pt x="4645477" y="1947512"/>
                  <a:pt x="4645477" y="1947512"/>
                  <a:pt x="4838944" y="1947512"/>
                </a:cubicBezTo>
                <a:cubicBezTo>
                  <a:pt x="4838944" y="1947512"/>
                  <a:pt x="4838944" y="1947512"/>
                  <a:pt x="4838944" y="2222531"/>
                </a:cubicBezTo>
                <a:lnTo>
                  <a:pt x="4793952" y="2222531"/>
                </a:lnTo>
                <a:cubicBezTo>
                  <a:pt x="4793952" y="2222531"/>
                  <a:pt x="4793952" y="2222531"/>
                  <a:pt x="4782704" y="2161666"/>
                </a:cubicBezTo>
                <a:cubicBezTo>
                  <a:pt x="4757958" y="2204497"/>
                  <a:pt x="4701717" y="2233802"/>
                  <a:pt x="4645477" y="2233802"/>
                </a:cubicBezTo>
                <a:cubicBezTo>
                  <a:pt x="4593735" y="2233802"/>
                  <a:pt x="4544243" y="2215768"/>
                  <a:pt x="4506000" y="2179700"/>
                </a:cubicBezTo>
                <a:cubicBezTo>
                  <a:pt x="4454258" y="2130106"/>
                  <a:pt x="4440761" y="2057970"/>
                  <a:pt x="4440761" y="1967800"/>
                </a:cubicBezTo>
                <a:cubicBezTo>
                  <a:pt x="4440761" y="1884393"/>
                  <a:pt x="4452009" y="1810003"/>
                  <a:pt x="4506000" y="1755901"/>
                </a:cubicBezTo>
                <a:cubicBezTo>
                  <a:pt x="4544243" y="1719833"/>
                  <a:pt x="4593735" y="1701799"/>
                  <a:pt x="4645477" y="1701799"/>
                </a:cubicBezTo>
                <a:close/>
                <a:moveTo>
                  <a:pt x="4002083" y="1701799"/>
                </a:moveTo>
                <a:cubicBezTo>
                  <a:pt x="4060574" y="1701799"/>
                  <a:pt x="4112315" y="1722087"/>
                  <a:pt x="4148309" y="1758155"/>
                </a:cubicBezTo>
                <a:cubicBezTo>
                  <a:pt x="4173055" y="1785206"/>
                  <a:pt x="4191052" y="1816766"/>
                  <a:pt x="4193302" y="1859597"/>
                </a:cubicBezTo>
                <a:cubicBezTo>
                  <a:pt x="4193302" y="1859597"/>
                  <a:pt x="4193302" y="1859597"/>
                  <a:pt x="4125813" y="1859597"/>
                </a:cubicBezTo>
                <a:cubicBezTo>
                  <a:pt x="4123563" y="1834800"/>
                  <a:pt x="4114565" y="1819020"/>
                  <a:pt x="4103317" y="1803240"/>
                </a:cubicBezTo>
                <a:cubicBezTo>
                  <a:pt x="4078571" y="1773935"/>
                  <a:pt x="4044826" y="1762664"/>
                  <a:pt x="4002083" y="1762664"/>
                </a:cubicBezTo>
                <a:cubicBezTo>
                  <a:pt x="3968339" y="1762664"/>
                  <a:pt x="3934595" y="1776189"/>
                  <a:pt x="3909849" y="1800986"/>
                </a:cubicBezTo>
                <a:cubicBezTo>
                  <a:pt x="3867106" y="1843817"/>
                  <a:pt x="3864856" y="1913699"/>
                  <a:pt x="3864856" y="1967800"/>
                </a:cubicBezTo>
                <a:cubicBezTo>
                  <a:pt x="3864856" y="2017394"/>
                  <a:pt x="3867106" y="2091784"/>
                  <a:pt x="3909849" y="2134615"/>
                </a:cubicBezTo>
                <a:cubicBezTo>
                  <a:pt x="3934595" y="2161666"/>
                  <a:pt x="3968339" y="2172937"/>
                  <a:pt x="4002083" y="2172937"/>
                </a:cubicBezTo>
                <a:cubicBezTo>
                  <a:pt x="4038077" y="2172937"/>
                  <a:pt x="4071822" y="2159412"/>
                  <a:pt x="4094318" y="2136869"/>
                </a:cubicBezTo>
                <a:cubicBezTo>
                  <a:pt x="4130312" y="2103055"/>
                  <a:pt x="4139311" y="2053462"/>
                  <a:pt x="4139311" y="2006123"/>
                </a:cubicBezTo>
                <a:cubicBezTo>
                  <a:pt x="4139311" y="2006123"/>
                  <a:pt x="4139311" y="2006123"/>
                  <a:pt x="4002083" y="2006123"/>
                </a:cubicBezTo>
                <a:cubicBezTo>
                  <a:pt x="4002083" y="2006123"/>
                  <a:pt x="4002083" y="2006123"/>
                  <a:pt x="4002083" y="1947512"/>
                </a:cubicBezTo>
                <a:cubicBezTo>
                  <a:pt x="4002083" y="1947512"/>
                  <a:pt x="4002083" y="1947512"/>
                  <a:pt x="4197801" y="1947512"/>
                </a:cubicBezTo>
                <a:cubicBezTo>
                  <a:pt x="4197801" y="1947512"/>
                  <a:pt x="4197801" y="1947512"/>
                  <a:pt x="4197801" y="2222531"/>
                </a:cubicBezTo>
                <a:lnTo>
                  <a:pt x="4152808" y="2222531"/>
                </a:lnTo>
                <a:cubicBezTo>
                  <a:pt x="4152808" y="2222531"/>
                  <a:pt x="4152808" y="2222531"/>
                  <a:pt x="4141560" y="2161666"/>
                </a:cubicBezTo>
                <a:cubicBezTo>
                  <a:pt x="4116814" y="2204497"/>
                  <a:pt x="4060574" y="2233802"/>
                  <a:pt x="4002083" y="2233802"/>
                </a:cubicBezTo>
                <a:cubicBezTo>
                  <a:pt x="3950342" y="2233802"/>
                  <a:pt x="3900850" y="2215768"/>
                  <a:pt x="3864856" y="2179700"/>
                </a:cubicBezTo>
                <a:cubicBezTo>
                  <a:pt x="3813115" y="2130106"/>
                  <a:pt x="3797367" y="2057970"/>
                  <a:pt x="3797367" y="1967800"/>
                </a:cubicBezTo>
                <a:cubicBezTo>
                  <a:pt x="3797367" y="1884393"/>
                  <a:pt x="3808616" y="1810003"/>
                  <a:pt x="3864856" y="1755901"/>
                </a:cubicBezTo>
                <a:cubicBezTo>
                  <a:pt x="3900850" y="1719833"/>
                  <a:pt x="3950342" y="1701799"/>
                  <a:pt x="4002083" y="1701799"/>
                </a:cubicBezTo>
                <a:close/>
                <a:moveTo>
                  <a:pt x="1642228" y="1701799"/>
                </a:moveTo>
                <a:cubicBezTo>
                  <a:pt x="1691719" y="1701799"/>
                  <a:pt x="1741211" y="1717579"/>
                  <a:pt x="1774955" y="1749138"/>
                </a:cubicBezTo>
                <a:cubicBezTo>
                  <a:pt x="1806450" y="1780698"/>
                  <a:pt x="1822198" y="1816766"/>
                  <a:pt x="1824447" y="1859597"/>
                </a:cubicBezTo>
                <a:cubicBezTo>
                  <a:pt x="1824447" y="1859597"/>
                  <a:pt x="1824447" y="1859597"/>
                  <a:pt x="1756958" y="1859597"/>
                </a:cubicBezTo>
                <a:cubicBezTo>
                  <a:pt x="1754708" y="1834800"/>
                  <a:pt x="1745710" y="1812257"/>
                  <a:pt x="1732212" y="1796478"/>
                </a:cubicBezTo>
                <a:cubicBezTo>
                  <a:pt x="1711966" y="1773935"/>
                  <a:pt x="1680471" y="1760410"/>
                  <a:pt x="1639978" y="1760410"/>
                </a:cubicBezTo>
                <a:cubicBezTo>
                  <a:pt x="1603983" y="1760410"/>
                  <a:pt x="1572489" y="1769427"/>
                  <a:pt x="1549993" y="1796478"/>
                </a:cubicBezTo>
                <a:cubicBezTo>
                  <a:pt x="1536494" y="1810003"/>
                  <a:pt x="1529746" y="1828037"/>
                  <a:pt x="1529746" y="1850580"/>
                </a:cubicBezTo>
                <a:cubicBezTo>
                  <a:pt x="1529746" y="1897919"/>
                  <a:pt x="1567989" y="1918207"/>
                  <a:pt x="1606234" y="1922716"/>
                </a:cubicBezTo>
                <a:cubicBezTo>
                  <a:pt x="1635478" y="1927224"/>
                  <a:pt x="1662474" y="1931733"/>
                  <a:pt x="1691719" y="1936241"/>
                </a:cubicBezTo>
                <a:cubicBezTo>
                  <a:pt x="1774955" y="1949767"/>
                  <a:pt x="1833445" y="2001614"/>
                  <a:pt x="1833445" y="2082767"/>
                </a:cubicBezTo>
                <a:cubicBezTo>
                  <a:pt x="1833445" y="2125598"/>
                  <a:pt x="1815448" y="2157157"/>
                  <a:pt x="1790703" y="2181954"/>
                </a:cubicBezTo>
                <a:cubicBezTo>
                  <a:pt x="1754708" y="2215768"/>
                  <a:pt x="1698468" y="2231547"/>
                  <a:pt x="1644477" y="2231547"/>
                </a:cubicBezTo>
                <a:cubicBezTo>
                  <a:pt x="1581488" y="2231547"/>
                  <a:pt x="1531996" y="2215768"/>
                  <a:pt x="1498251" y="2184208"/>
                </a:cubicBezTo>
                <a:cubicBezTo>
                  <a:pt x="1466757" y="2152649"/>
                  <a:pt x="1444260" y="2109818"/>
                  <a:pt x="1444260" y="2060225"/>
                </a:cubicBezTo>
                <a:cubicBezTo>
                  <a:pt x="1444260" y="2060225"/>
                  <a:pt x="1444260" y="2060225"/>
                  <a:pt x="1509499" y="2060225"/>
                </a:cubicBezTo>
                <a:cubicBezTo>
                  <a:pt x="1509499" y="2091784"/>
                  <a:pt x="1525247" y="2121089"/>
                  <a:pt x="1545494" y="2141378"/>
                </a:cubicBezTo>
                <a:cubicBezTo>
                  <a:pt x="1570239" y="2163920"/>
                  <a:pt x="1608483" y="2172937"/>
                  <a:pt x="1644477" y="2172937"/>
                </a:cubicBezTo>
                <a:cubicBezTo>
                  <a:pt x="1682720" y="2172937"/>
                  <a:pt x="1716465" y="2166174"/>
                  <a:pt x="1738962" y="2143632"/>
                </a:cubicBezTo>
                <a:cubicBezTo>
                  <a:pt x="1754708" y="2130106"/>
                  <a:pt x="1765956" y="2109818"/>
                  <a:pt x="1765956" y="2082767"/>
                </a:cubicBezTo>
                <a:cubicBezTo>
                  <a:pt x="1765956" y="2044445"/>
                  <a:pt x="1741211" y="2010631"/>
                  <a:pt x="1680471" y="2001614"/>
                </a:cubicBezTo>
                <a:cubicBezTo>
                  <a:pt x="1680471" y="2001614"/>
                  <a:pt x="1680471" y="2001614"/>
                  <a:pt x="1599484" y="1988089"/>
                </a:cubicBezTo>
                <a:cubicBezTo>
                  <a:pt x="1522997" y="1976817"/>
                  <a:pt x="1462257" y="1933987"/>
                  <a:pt x="1462257" y="1852834"/>
                </a:cubicBezTo>
                <a:cubicBezTo>
                  <a:pt x="1462257" y="1814512"/>
                  <a:pt x="1480254" y="1778444"/>
                  <a:pt x="1507249" y="1751393"/>
                </a:cubicBezTo>
                <a:cubicBezTo>
                  <a:pt x="1543244" y="1717579"/>
                  <a:pt x="1588236" y="1701799"/>
                  <a:pt x="1642228" y="1701799"/>
                </a:cubicBezTo>
                <a:close/>
                <a:moveTo>
                  <a:pt x="654642" y="1701799"/>
                </a:moveTo>
                <a:cubicBezTo>
                  <a:pt x="704133" y="1701799"/>
                  <a:pt x="755874" y="1719833"/>
                  <a:pt x="791868" y="1755901"/>
                </a:cubicBezTo>
                <a:cubicBezTo>
                  <a:pt x="848110" y="1810003"/>
                  <a:pt x="857108" y="1884393"/>
                  <a:pt x="857108" y="1967800"/>
                </a:cubicBezTo>
                <a:cubicBezTo>
                  <a:pt x="857108" y="2048953"/>
                  <a:pt x="848110" y="2123344"/>
                  <a:pt x="791868" y="2177446"/>
                </a:cubicBezTo>
                <a:cubicBezTo>
                  <a:pt x="755874" y="2213514"/>
                  <a:pt x="704133" y="2233802"/>
                  <a:pt x="654642" y="2233802"/>
                </a:cubicBezTo>
                <a:cubicBezTo>
                  <a:pt x="602900" y="2233802"/>
                  <a:pt x="553408" y="2213514"/>
                  <a:pt x="515164" y="2177446"/>
                </a:cubicBezTo>
                <a:cubicBezTo>
                  <a:pt x="461173" y="2123344"/>
                  <a:pt x="449925" y="2048953"/>
                  <a:pt x="449925" y="1967800"/>
                </a:cubicBezTo>
                <a:cubicBezTo>
                  <a:pt x="449925" y="1884393"/>
                  <a:pt x="461173" y="1810003"/>
                  <a:pt x="515164" y="1755901"/>
                </a:cubicBezTo>
                <a:cubicBezTo>
                  <a:pt x="553408" y="1719833"/>
                  <a:pt x="602900" y="1701799"/>
                  <a:pt x="654642" y="1701799"/>
                </a:cubicBezTo>
                <a:close/>
                <a:moveTo>
                  <a:pt x="202466" y="1701799"/>
                </a:moveTo>
                <a:cubicBezTo>
                  <a:pt x="258707" y="1701799"/>
                  <a:pt x="308199" y="1722087"/>
                  <a:pt x="339693" y="1753647"/>
                </a:cubicBezTo>
                <a:cubicBezTo>
                  <a:pt x="368939" y="1782952"/>
                  <a:pt x="386936" y="1823529"/>
                  <a:pt x="389185" y="1870868"/>
                </a:cubicBezTo>
                <a:cubicBezTo>
                  <a:pt x="389185" y="1870868"/>
                  <a:pt x="389185" y="1870868"/>
                  <a:pt x="323946" y="1870868"/>
                </a:cubicBezTo>
                <a:cubicBezTo>
                  <a:pt x="321697" y="1841563"/>
                  <a:pt x="312698" y="1819020"/>
                  <a:pt x="294701" y="1798732"/>
                </a:cubicBezTo>
                <a:cubicBezTo>
                  <a:pt x="274454" y="1776189"/>
                  <a:pt x="240710" y="1762664"/>
                  <a:pt x="202466" y="1762664"/>
                </a:cubicBezTo>
                <a:cubicBezTo>
                  <a:pt x="168722" y="1762664"/>
                  <a:pt x="134978" y="1776189"/>
                  <a:pt x="110232" y="1800986"/>
                </a:cubicBezTo>
                <a:cubicBezTo>
                  <a:pt x="67489" y="1843817"/>
                  <a:pt x="67489" y="1913699"/>
                  <a:pt x="67489" y="1967800"/>
                </a:cubicBezTo>
                <a:cubicBezTo>
                  <a:pt x="67489" y="2019648"/>
                  <a:pt x="67489" y="2089530"/>
                  <a:pt x="110232" y="2132361"/>
                </a:cubicBezTo>
                <a:cubicBezTo>
                  <a:pt x="134978" y="2159412"/>
                  <a:pt x="168722" y="2172937"/>
                  <a:pt x="202466" y="2172937"/>
                </a:cubicBezTo>
                <a:cubicBezTo>
                  <a:pt x="240710" y="2172937"/>
                  <a:pt x="276704" y="2154903"/>
                  <a:pt x="296951" y="2132361"/>
                </a:cubicBezTo>
                <a:cubicBezTo>
                  <a:pt x="312698" y="2114327"/>
                  <a:pt x="323946" y="2087276"/>
                  <a:pt x="323946" y="2060225"/>
                </a:cubicBezTo>
                <a:cubicBezTo>
                  <a:pt x="323946" y="2060225"/>
                  <a:pt x="323946" y="2060225"/>
                  <a:pt x="391435" y="2060225"/>
                </a:cubicBezTo>
                <a:cubicBezTo>
                  <a:pt x="389185" y="2107564"/>
                  <a:pt x="368939" y="2148140"/>
                  <a:pt x="339693" y="2177446"/>
                </a:cubicBezTo>
                <a:cubicBezTo>
                  <a:pt x="308199" y="2209005"/>
                  <a:pt x="258707" y="2233802"/>
                  <a:pt x="202466" y="2233802"/>
                </a:cubicBezTo>
                <a:cubicBezTo>
                  <a:pt x="150725" y="2233802"/>
                  <a:pt x="101233" y="2213514"/>
                  <a:pt x="65239" y="2177446"/>
                </a:cubicBezTo>
                <a:cubicBezTo>
                  <a:pt x="8999" y="2123344"/>
                  <a:pt x="0" y="2048953"/>
                  <a:pt x="0" y="1967800"/>
                </a:cubicBezTo>
                <a:cubicBezTo>
                  <a:pt x="0" y="1884393"/>
                  <a:pt x="8999" y="1810003"/>
                  <a:pt x="65239" y="1755901"/>
                </a:cubicBezTo>
                <a:cubicBezTo>
                  <a:pt x="101233" y="1719833"/>
                  <a:pt x="150725" y="1701799"/>
                  <a:pt x="202466" y="1701799"/>
                </a:cubicBezTo>
                <a:close/>
                <a:moveTo>
                  <a:pt x="2227389" y="214047"/>
                </a:moveTo>
                <a:cubicBezTo>
                  <a:pt x="2227389" y="214047"/>
                  <a:pt x="2227389" y="214047"/>
                  <a:pt x="2227389" y="574548"/>
                </a:cubicBezTo>
                <a:cubicBezTo>
                  <a:pt x="2227389" y="574548"/>
                  <a:pt x="2227389" y="574548"/>
                  <a:pt x="2456649" y="574548"/>
                </a:cubicBezTo>
                <a:cubicBezTo>
                  <a:pt x="2584765" y="574548"/>
                  <a:pt x="2654442" y="509207"/>
                  <a:pt x="2654442" y="394298"/>
                </a:cubicBezTo>
                <a:cubicBezTo>
                  <a:pt x="2654442" y="277135"/>
                  <a:pt x="2584765" y="214047"/>
                  <a:pt x="2456649" y="214047"/>
                </a:cubicBezTo>
                <a:cubicBezTo>
                  <a:pt x="2456649" y="214047"/>
                  <a:pt x="2456649" y="214047"/>
                  <a:pt x="2227389" y="214047"/>
                </a:cubicBezTo>
                <a:close/>
                <a:moveTo>
                  <a:pt x="8961436" y="0"/>
                </a:moveTo>
                <a:lnTo>
                  <a:pt x="9905999" y="0"/>
                </a:lnTo>
                <a:lnTo>
                  <a:pt x="9905999" y="225425"/>
                </a:lnTo>
                <a:lnTo>
                  <a:pt x="9555161" y="225425"/>
                </a:lnTo>
                <a:lnTo>
                  <a:pt x="9555161" y="1214437"/>
                </a:lnTo>
                <a:lnTo>
                  <a:pt x="9315449" y="1214437"/>
                </a:lnTo>
                <a:lnTo>
                  <a:pt x="9315449" y="225425"/>
                </a:lnTo>
                <a:lnTo>
                  <a:pt x="8961436" y="225425"/>
                </a:lnTo>
                <a:close/>
                <a:moveTo>
                  <a:pt x="7785099" y="0"/>
                </a:moveTo>
                <a:lnTo>
                  <a:pt x="8035924" y="0"/>
                </a:lnTo>
                <a:lnTo>
                  <a:pt x="8037512" y="3175"/>
                </a:lnTo>
                <a:lnTo>
                  <a:pt x="8523286" y="774700"/>
                </a:lnTo>
                <a:lnTo>
                  <a:pt x="8523286" y="0"/>
                </a:lnTo>
                <a:lnTo>
                  <a:pt x="8759824" y="0"/>
                </a:lnTo>
                <a:lnTo>
                  <a:pt x="8759824" y="1214437"/>
                </a:lnTo>
                <a:lnTo>
                  <a:pt x="8518524" y="1214437"/>
                </a:lnTo>
                <a:lnTo>
                  <a:pt x="8024812" y="425450"/>
                </a:lnTo>
                <a:lnTo>
                  <a:pt x="8024812" y="1214437"/>
                </a:lnTo>
                <a:lnTo>
                  <a:pt x="7785099" y="1214437"/>
                </a:lnTo>
                <a:close/>
                <a:moveTo>
                  <a:pt x="6665911" y="0"/>
                </a:moveTo>
                <a:lnTo>
                  <a:pt x="7535861" y="0"/>
                </a:lnTo>
                <a:lnTo>
                  <a:pt x="7535861" y="220663"/>
                </a:lnTo>
                <a:lnTo>
                  <a:pt x="6905624" y="220663"/>
                </a:lnTo>
                <a:lnTo>
                  <a:pt x="6905624" y="473075"/>
                </a:lnTo>
                <a:lnTo>
                  <a:pt x="7459661" y="473075"/>
                </a:lnTo>
                <a:lnTo>
                  <a:pt x="7459661" y="690562"/>
                </a:lnTo>
                <a:lnTo>
                  <a:pt x="6905624" y="690562"/>
                </a:lnTo>
                <a:lnTo>
                  <a:pt x="6905624" y="993775"/>
                </a:lnTo>
                <a:lnTo>
                  <a:pt x="7535861" y="993775"/>
                </a:lnTo>
                <a:lnTo>
                  <a:pt x="7535861" y="1214437"/>
                </a:lnTo>
                <a:lnTo>
                  <a:pt x="6665911" y="1214437"/>
                </a:lnTo>
                <a:close/>
                <a:moveTo>
                  <a:pt x="5221286" y="0"/>
                </a:moveTo>
                <a:lnTo>
                  <a:pt x="5534024" y="0"/>
                </a:lnTo>
                <a:lnTo>
                  <a:pt x="5835649" y="823912"/>
                </a:lnTo>
                <a:lnTo>
                  <a:pt x="6142037" y="0"/>
                </a:lnTo>
                <a:lnTo>
                  <a:pt x="6438899" y="0"/>
                </a:lnTo>
                <a:lnTo>
                  <a:pt x="6438899" y="1214437"/>
                </a:lnTo>
                <a:lnTo>
                  <a:pt x="6203949" y="1214437"/>
                </a:lnTo>
                <a:lnTo>
                  <a:pt x="6203949" y="419100"/>
                </a:lnTo>
                <a:lnTo>
                  <a:pt x="5916612" y="1196975"/>
                </a:lnTo>
                <a:lnTo>
                  <a:pt x="5740399" y="1196975"/>
                </a:lnTo>
                <a:lnTo>
                  <a:pt x="5454649" y="409575"/>
                </a:lnTo>
                <a:lnTo>
                  <a:pt x="5454649" y="1214437"/>
                </a:lnTo>
                <a:lnTo>
                  <a:pt x="5221286" y="1214437"/>
                </a:lnTo>
                <a:close/>
                <a:moveTo>
                  <a:pt x="4098924" y="0"/>
                </a:moveTo>
                <a:lnTo>
                  <a:pt x="4968874" y="0"/>
                </a:lnTo>
                <a:lnTo>
                  <a:pt x="4968874" y="220663"/>
                </a:lnTo>
                <a:lnTo>
                  <a:pt x="4340224" y="220663"/>
                </a:lnTo>
                <a:lnTo>
                  <a:pt x="4340224" y="473075"/>
                </a:lnTo>
                <a:lnTo>
                  <a:pt x="4895849" y="473075"/>
                </a:lnTo>
                <a:lnTo>
                  <a:pt x="4895849" y="690562"/>
                </a:lnTo>
                <a:lnTo>
                  <a:pt x="4340224" y="690562"/>
                </a:lnTo>
                <a:lnTo>
                  <a:pt x="4340224" y="993775"/>
                </a:lnTo>
                <a:lnTo>
                  <a:pt x="4968874" y="993775"/>
                </a:lnTo>
                <a:lnTo>
                  <a:pt x="4968874" y="1214437"/>
                </a:lnTo>
                <a:lnTo>
                  <a:pt x="4098924" y="1214437"/>
                </a:lnTo>
                <a:close/>
                <a:moveTo>
                  <a:pt x="3079749" y="0"/>
                </a:moveTo>
                <a:lnTo>
                  <a:pt x="3321049" y="0"/>
                </a:lnTo>
                <a:lnTo>
                  <a:pt x="3321049" y="984250"/>
                </a:lnTo>
                <a:lnTo>
                  <a:pt x="3871912" y="984250"/>
                </a:lnTo>
                <a:lnTo>
                  <a:pt x="3871912" y="1214437"/>
                </a:lnTo>
                <a:lnTo>
                  <a:pt x="3079749" y="1214437"/>
                </a:lnTo>
                <a:close/>
                <a:moveTo>
                  <a:pt x="1989138" y="0"/>
                </a:moveTo>
                <a:cubicBezTo>
                  <a:pt x="1989138" y="0"/>
                  <a:pt x="1989138" y="0"/>
                  <a:pt x="2465639" y="0"/>
                </a:cubicBezTo>
                <a:cubicBezTo>
                  <a:pt x="2735357" y="0"/>
                  <a:pt x="2897188" y="146454"/>
                  <a:pt x="2897188" y="392045"/>
                </a:cubicBezTo>
                <a:cubicBezTo>
                  <a:pt x="2897188" y="639889"/>
                  <a:pt x="2735357" y="786342"/>
                  <a:pt x="2465639" y="786342"/>
                </a:cubicBezTo>
                <a:cubicBezTo>
                  <a:pt x="2465639" y="786342"/>
                  <a:pt x="2465639" y="786342"/>
                  <a:pt x="2227389" y="786342"/>
                </a:cubicBezTo>
                <a:cubicBezTo>
                  <a:pt x="2227389" y="786342"/>
                  <a:pt x="2227389" y="786342"/>
                  <a:pt x="2227389" y="1214437"/>
                </a:cubicBezTo>
                <a:cubicBezTo>
                  <a:pt x="2227389" y="1214437"/>
                  <a:pt x="2227389" y="1214437"/>
                  <a:pt x="1989138" y="1214437"/>
                </a:cubicBezTo>
                <a:cubicBezTo>
                  <a:pt x="1989138" y="1214437"/>
                  <a:pt x="1989138" y="1214437"/>
                  <a:pt x="1989138" y="0"/>
                </a:cubicBezTo>
                <a:close/>
                <a:moveTo>
                  <a:pt x="520699" y="0"/>
                </a:moveTo>
                <a:lnTo>
                  <a:pt x="833436" y="0"/>
                </a:lnTo>
                <a:lnTo>
                  <a:pt x="1135061" y="823912"/>
                </a:lnTo>
                <a:lnTo>
                  <a:pt x="1439862" y="0"/>
                </a:lnTo>
                <a:lnTo>
                  <a:pt x="1736724" y="0"/>
                </a:lnTo>
                <a:lnTo>
                  <a:pt x="1736724" y="1214437"/>
                </a:lnTo>
                <a:lnTo>
                  <a:pt x="1503362" y="1214437"/>
                </a:lnTo>
                <a:lnTo>
                  <a:pt x="1503362" y="419100"/>
                </a:lnTo>
                <a:lnTo>
                  <a:pt x="1216024" y="1196975"/>
                </a:lnTo>
                <a:lnTo>
                  <a:pt x="1039812" y="1196975"/>
                </a:lnTo>
                <a:lnTo>
                  <a:pt x="754062" y="409575"/>
                </a:lnTo>
                <a:lnTo>
                  <a:pt x="754062" y="1214437"/>
                </a:lnTo>
                <a:lnTo>
                  <a:pt x="520699" y="1214437"/>
                </a:lnTo>
                <a:close/>
                <a:moveTo>
                  <a:pt x="25400" y="0"/>
                </a:moveTo>
                <a:lnTo>
                  <a:pt x="268288" y="0"/>
                </a:lnTo>
                <a:lnTo>
                  <a:pt x="268288" y="1214437"/>
                </a:lnTo>
                <a:lnTo>
                  <a:pt x="25400" y="121443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GB" dirty="0">
                <a:solidFill>
                  <a:srgbClr val="1F2023"/>
                </a:solidFill>
              </a:rPr>
              <a:t> </a:t>
            </a:r>
          </a:p>
        </p:txBody>
      </p:sp>
      <p:sp>
        <p:nvSpPr>
          <p:cNvPr id="13" name="Date_GeneralDate" hidden="1">
            <a:extLst>
              <a:ext uri="{FF2B5EF4-FFF2-40B4-BE49-F238E27FC236}">
                <a16:creationId xmlns:a16="http://schemas.microsoft.com/office/drawing/2014/main" id="{78851DB5-0042-4C2F-91A2-C5610BBF016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0836F4EA-1874-46CF-A822-D9B1CF47F1A5}" type="datetime1">
              <a:rPr lang="en-US" smtClean="0"/>
              <a:t>2/25/2022</a:t>
            </a:fld>
            <a:endParaRPr lang="en-GB" dirty="0"/>
          </a:p>
        </p:txBody>
      </p:sp>
      <p:sp>
        <p:nvSpPr>
          <p:cNvPr id="14" name="FLD_PresentationTitle" hidden="1">
            <a:extLst>
              <a:ext uri="{FF2B5EF4-FFF2-40B4-BE49-F238E27FC236}">
                <a16:creationId xmlns:a16="http://schemas.microsoft.com/office/drawing/2014/main" id="{D30AB5B8-8A8A-4E95-87C2-01B43E2A66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 anchor="t" anchorCtr="0"/>
          <a:lstStyle>
            <a:lvl1pPr algn="l">
              <a:defRPr sz="100">
                <a:noFill/>
              </a:defRPr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15" name="Slide Number Placeholder 5" hidden="1">
            <a:extLst>
              <a:ext uri="{FF2B5EF4-FFF2-40B4-BE49-F238E27FC236}">
                <a16:creationId xmlns:a16="http://schemas.microsoft.com/office/drawing/2014/main" id="{8C191AA7-E426-428B-A07B-C69D8AA11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anchor="t" anchorCtr="0"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3083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Logo Imag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91A5F57-50C5-40E5-8E10-7000999CD6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4561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408" imgH="408" progId="TCLayout.ActiveDocument.1">
                  <p:embed/>
                </p:oleObj>
              </mc:Choice>
              <mc:Fallback>
                <p:oleObj name="think-cell Slide" r:id="rId5" imgW="408" imgH="4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91A5F57-50C5-40E5-8E10-7000999CD6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object 2">
            <a:extLst>
              <a:ext uri="{FF2B5EF4-FFF2-40B4-BE49-F238E27FC236}">
                <a16:creationId xmlns:a16="http://schemas.microsoft.com/office/drawing/2014/main" id="{A81EE220-AC53-4153-A0FE-1F2219FBF428}"/>
              </a:ext>
            </a:extLst>
          </p:cNvPr>
          <p:cNvSpPr/>
          <p:nvPr userDrawn="1"/>
        </p:nvSpPr>
        <p:spPr>
          <a:xfrm>
            <a:off x="3452116" y="0"/>
            <a:ext cx="6453884" cy="6858000"/>
          </a:xfrm>
          <a:custGeom>
            <a:avLst/>
            <a:gdLst/>
            <a:ahLst/>
            <a:cxnLst/>
            <a:rect l="l" t="t" r="r" b="b"/>
            <a:pathLst>
              <a:path w="20104100" h="11308715">
                <a:moveTo>
                  <a:pt x="0" y="11308556"/>
                </a:moveTo>
                <a:lnTo>
                  <a:pt x="20104099" y="11308556"/>
                </a:lnTo>
                <a:lnTo>
                  <a:pt x="20104099" y="0"/>
                </a:lnTo>
                <a:lnTo>
                  <a:pt x="0" y="0"/>
                </a:lnTo>
                <a:lnTo>
                  <a:pt x="0" y="11308556"/>
                </a:lnTo>
                <a:close/>
              </a:path>
            </a:pathLst>
          </a:custGeom>
          <a:solidFill>
            <a:srgbClr val="8AA299"/>
          </a:solidFill>
        </p:spPr>
        <p:txBody>
          <a:bodyPr wrap="square" lIns="0" tIns="0" rIns="0" bIns="0" rtlCol="0"/>
          <a:lstStyle/>
          <a:p>
            <a:pPr marL="0" marR="0" lvl="0" indent="0" defTabSz="4505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87" b="0" i="0" u="none" strike="noStrike" kern="0" cap="none" spc="0" normalizeH="0" baseline="0" noProof="0" dirty="0">
              <a:ln>
                <a:noFill/>
              </a:ln>
              <a:solidFill>
                <a:srgbClr val="1F2023"/>
              </a:solidFill>
              <a:effectLst/>
              <a:uLnTx/>
              <a:uFillTx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B014E73-AB17-436C-A15E-6880F18048C0}"/>
              </a:ext>
            </a:extLst>
          </p:cNvPr>
          <p:cNvSpPr/>
          <p:nvPr userDrawn="1"/>
        </p:nvSpPr>
        <p:spPr>
          <a:xfrm>
            <a:off x="0" y="0"/>
            <a:ext cx="8554911" cy="5502275"/>
          </a:xfrm>
          <a:prstGeom prst="rect">
            <a:avLst/>
          </a:prstGeom>
          <a:solidFill>
            <a:srgbClr val="F8F5E7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 algn="l"/>
            <a:endParaRPr lang="en-GB" sz="1000" noProof="0" dirty="0">
              <a:solidFill>
                <a:srgbClr val="1F2023"/>
              </a:solidFill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3637FDB-F8B7-4F0A-9D10-989B9490783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2256" y="539750"/>
            <a:ext cx="5841813" cy="3194064"/>
          </a:xfrm>
        </p:spPr>
        <p:txBody>
          <a:bodyPr vert="horz" anchor="t" anchorCtr="0">
            <a:noAutofit/>
          </a:bodyPr>
          <a:lstStyle>
            <a:lvl1pPr algn="l">
              <a:lnSpc>
                <a:spcPct val="83000"/>
              </a:lnSpc>
              <a:defRPr sz="6500" cap="all" baseline="0">
                <a:solidFill>
                  <a:srgbClr val="30373B"/>
                </a:solidFill>
                <a:latin typeface="Impact" panose="020B080603090205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72256" y="4011117"/>
            <a:ext cx="2816225" cy="1218483"/>
          </a:xfrm>
        </p:spPr>
        <p:txBody>
          <a:bodyPr rIns="36000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975">
                <a:solidFill>
                  <a:srgbClr val="1F2023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894">
                <a:solidFill>
                  <a:srgbClr val="2F363B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CA3D093D-0380-470D-91FD-8CF2680FA77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5" y="5014338"/>
            <a:ext cx="2816226" cy="210634"/>
          </a:xfrm>
        </p:spPr>
        <p:txBody>
          <a:bodyPr rIns="0" anchor="b" anchorCtr="0"/>
          <a:lstStyle>
            <a:lvl1pPr>
              <a:defRPr sz="900">
                <a:solidFill>
                  <a:srgbClr val="1F2023"/>
                </a:solidFill>
              </a:defRPr>
            </a:lvl1pPr>
            <a:lvl5pPr>
              <a:defRPr/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3" name="Picture Placeholder 13">
            <a:extLst>
              <a:ext uri="{FF2B5EF4-FFF2-40B4-BE49-F238E27FC236}">
                <a16:creationId xmlns:a16="http://schemas.microsoft.com/office/drawing/2014/main" id="{32CBD7CE-0C91-4290-9606-0942684C465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452116" y="4011117"/>
            <a:ext cx="6453884" cy="2846883"/>
          </a:xfrm>
          <a:solidFill>
            <a:srgbClr val="F3F2F0"/>
          </a:solidFill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da-DK" dirty="0"/>
            </a:lvl1pPr>
          </a:lstStyle>
          <a:p>
            <a:pPr lvl="0" algn="ctr">
              <a:buNone/>
            </a:pPr>
            <a:r>
              <a:rPr lang="en-GB" dirty="0"/>
              <a:t>Click icon to add picture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1D3067F-1962-46D9-86B7-08FC94B365B1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 rot="5400000">
            <a:off x="8861146" y="788544"/>
            <a:ext cx="1258889" cy="287891"/>
          </a:xfrm>
          <a:custGeom>
            <a:avLst/>
            <a:gdLst>
              <a:gd name="connsiteX0" fmla="*/ 6778122 w 9905999"/>
              <a:gd name="connsiteY0" fmla="*/ 2222531 h 2265361"/>
              <a:gd name="connsiteX1" fmla="*/ 7135812 w 9905999"/>
              <a:gd name="connsiteY1" fmla="*/ 2222531 h 2265361"/>
              <a:gd name="connsiteX2" fmla="*/ 7135812 w 9905999"/>
              <a:gd name="connsiteY2" fmla="*/ 2265361 h 2265361"/>
              <a:gd name="connsiteX3" fmla="*/ 6778122 w 9905999"/>
              <a:gd name="connsiteY3" fmla="*/ 2265361 h 2265361"/>
              <a:gd name="connsiteX4" fmla="*/ 6778122 w 9905999"/>
              <a:gd name="connsiteY4" fmla="*/ 2222531 h 2265361"/>
              <a:gd name="connsiteX5" fmla="*/ 6449676 w 9905999"/>
              <a:gd name="connsiteY5" fmla="*/ 1769427 h 2265361"/>
              <a:gd name="connsiteX6" fmla="*/ 6449676 w 9905999"/>
              <a:gd name="connsiteY6" fmla="*/ 1965546 h 2265361"/>
              <a:gd name="connsiteX7" fmla="*/ 6575655 w 9905999"/>
              <a:gd name="connsiteY7" fmla="*/ 1965546 h 2265361"/>
              <a:gd name="connsiteX8" fmla="*/ 6679138 w 9905999"/>
              <a:gd name="connsiteY8" fmla="*/ 1864105 h 2265361"/>
              <a:gd name="connsiteX9" fmla="*/ 6575655 w 9905999"/>
              <a:gd name="connsiteY9" fmla="*/ 1769427 h 2265361"/>
              <a:gd name="connsiteX10" fmla="*/ 6449676 w 9905999"/>
              <a:gd name="connsiteY10" fmla="*/ 1769427 h 2265361"/>
              <a:gd name="connsiteX11" fmla="*/ 5021164 w 9905999"/>
              <a:gd name="connsiteY11" fmla="*/ 1769427 h 2265361"/>
              <a:gd name="connsiteX12" fmla="*/ 5021164 w 9905999"/>
              <a:gd name="connsiteY12" fmla="*/ 1949767 h 2265361"/>
              <a:gd name="connsiteX13" fmla="*/ 5158391 w 9905999"/>
              <a:gd name="connsiteY13" fmla="*/ 1949767 h 2265361"/>
              <a:gd name="connsiteX14" fmla="*/ 5261874 w 9905999"/>
              <a:gd name="connsiteY14" fmla="*/ 1859597 h 2265361"/>
              <a:gd name="connsiteX15" fmla="*/ 5158391 w 9905999"/>
              <a:gd name="connsiteY15" fmla="*/ 1769427 h 2265361"/>
              <a:gd name="connsiteX16" fmla="*/ 5021164 w 9905999"/>
              <a:gd name="connsiteY16" fmla="*/ 1769427 h 2265361"/>
              <a:gd name="connsiteX17" fmla="*/ 5597068 w 9905999"/>
              <a:gd name="connsiteY17" fmla="*/ 1762664 h 2265361"/>
              <a:gd name="connsiteX18" fmla="*/ 5504834 w 9905999"/>
              <a:gd name="connsiteY18" fmla="*/ 1800986 h 2265361"/>
              <a:gd name="connsiteX19" fmla="*/ 5459841 w 9905999"/>
              <a:gd name="connsiteY19" fmla="*/ 1967800 h 2265361"/>
              <a:gd name="connsiteX20" fmla="*/ 5504834 w 9905999"/>
              <a:gd name="connsiteY20" fmla="*/ 2132361 h 2265361"/>
              <a:gd name="connsiteX21" fmla="*/ 5597068 w 9905999"/>
              <a:gd name="connsiteY21" fmla="*/ 2170683 h 2265361"/>
              <a:gd name="connsiteX22" fmla="*/ 5691552 w 9905999"/>
              <a:gd name="connsiteY22" fmla="*/ 2132361 h 2265361"/>
              <a:gd name="connsiteX23" fmla="*/ 5734295 w 9905999"/>
              <a:gd name="connsiteY23" fmla="*/ 1967800 h 2265361"/>
              <a:gd name="connsiteX24" fmla="*/ 5691552 w 9905999"/>
              <a:gd name="connsiteY24" fmla="*/ 1800986 h 2265361"/>
              <a:gd name="connsiteX25" fmla="*/ 5597068 w 9905999"/>
              <a:gd name="connsiteY25" fmla="*/ 1762664 h 2265361"/>
              <a:gd name="connsiteX26" fmla="*/ 654642 w 9905999"/>
              <a:gd name="connsiteY26" fmla="*/ 1762664 h 2265361"/>
              <a:gd name="connsiteX27" fmla="*/ 560157 w 9905999"/>
              <a:gd name="connsiteY27" fmla="*/ 1800986 h 2265361"/>
              <a:gd name="connsiteX28" fmla="*/ 517414 w 9905999"/>
              <a:gd name="connsiteY28" fmla="*/ 1967800 h 2265361"/>
              <a:gd name="connsiteX29" fmla="*/ 560157 w 9905999"/>
              <a:gd name="connsiteY29" fmla="*/ 2132361 h 2265361"/>
              <a:gd name="connsiteX30" fmla="*/ 654642 w 9905999"/>
              <a:gd name="connsiteY30" fmla="*/ 2170683 h 2265361"/>
              <a:gd name="connsiteX31" fmla="*/ 746876 w 9905999"/>
              <a:gd name="connsiteY31" fmla="*/ 2132361 h 2265361"/>
              <a:gd name="connsiteX32" fmla="*/ 791868 w 9905999"/>
              <a:gd name="connsiteY32" fmla="*/ 1967800 h 2265361"/>
              <a:gd name="connsiteX33" fmla="*/ 746876 w 9905999"/>
              <a:gd name="connsiteY33" fmla="*/ 1800986 h 2265361"/>
              <a:gd name="connsiteX34" fmla="*/ 654642 w 9905999"/>
              <a:gd name="connsiteY34" fmla="*/ 1762664 h 2265361"/>
              <a:gd name="connsiteX35" fmla="*/ 6386687 w 9905999"/>
              <a:gd name="connsiteY35" fmla="*/ 1710816 h 2265361"/>
              <a:gd name="connsiteX36" fmla="*/ 6575655 w 9905999"/>
              <a:gd name="connsiteY36" fmla="*/ 1710816 h 2265361"/>
              <a:gd name="connsiteX37" fmla="*/ 6706134 w 9905999"/>
              <a:gd name="connsiteY37" fmla="*/ 1755901 h 2265361"/>
              <a:gd name="connsiteX38" fmla="*/ 6744377 w 9905999"/>
              <a:gd name="connsiteY38" fmla="*/ 1864105 h 2265361"/>
              <a:gd name="connsiteX39" fmla="*/ 6701634 w 9905999"/>
              <a:gd name="connsiteY39" fmla="*/ 1981326 h 2265361"/>
              <a:gd name="connsiteX40" fmla="*/ 6577905 w 9905999"/>
              <a:gd name="connsiteY40" fmla="*/ 2024157 h 2265361"/>
              <a:gd name="connsiteX41" fmla="*/ 6449676 w 9905999"/>
              <a:gd name="connsiteY41" fmla="*/ 2024157 h 2265361"/>
              <a:gd name="connsiteX42" fmla="*/ 6449676 w 9905999"/>
              <a:gd name="connsiteY42" fmla="*/ 2222531 h 2265361"/>
              <a:gd name="connsiteX43" fmla="*/ 6386687 w 9905999"/>
              <a:gd name="connsiteY43" fmla="*/ 2222531 h 2265361"/>
              <a:gd name="connsiteX44" fmla="*/ 6386687 w 9905999"/>
              <a:gd name="connsiteY44" fmla="*/ 1710816 h 2265361"/>
              <a:gd name="connsiteX45" fmla="*/ 5889520 w 9905999"/>
              <a:gd name="connsiteY45" fmla="*/ 1710816 h 2265361"/>
              <a:gd name="connsiteX46" fmla="*/ 5954759 w 9905999"/>
              <a:gd name="connsiteY46" fmla="*/ 1710816 h 2265361"/>
              <a:gd name="connsiteX47" fmla="*/ 5954759 w 9905999"/>
              <a:gd name="connsiteY47" fmla="*/ 2035428 h 2265361"/>
              <a:gd name="connsiteX48" fmla="*/ 6076239 w 9905999"/>
              <a:gd name="connsiteY48" fmla="*/ 2172937 h 2265361"/>
              <a:gd name="connsiteX49" fmla="*/ 6199968 w 9905999"/>
              <a:gd name="connsiteY49" fmla="*/ 2035428 h 2265361"/>
              <a:gd name="connsiteX50" fmla="*/ 6199968 w 9905999"/>
              <a:gd name="connsiteY50" fmla="*/ 1710816 h 2265361"/>
              <a:gd name="connsiteX51" fmla="*/ 6262957 w 9905999"/>
              <a:gd name="connsiteY51" fmla="*/ 1710816 h 2265361"/>
              <a:gd name="connsiteX52" fmla="*/ 6262957 w 9905999"/>
              <a:gd name="connsiteY52" fmla="*/ 2035428 h 2265361"/>
              <a:gd name="connsiteX53" fmla="*/ 6076239 w 9905999"/>
              <a:gd name="connsiteY53" fmla="*/ 2231547 h 2265361"/>
              <a:gd name="connsiteX54" fmla="*/ 5889520 w 9905999"/>
              <a:gd name="connsiteY54" fmla="*/ 2035428 h 2265361"/>
              <a:gd name="connsiteX55" fmla="*/ 5889520 w 9905999"/>
              <a:gd name="connsiteY55" fmla="*/ 1710816 h 2265361"/>
              <a:gd name="connsiteX56" fmla="*/ 4958174 w 9905999"/>
              <a:gd name="connsiteY56" fmla="*/ 1710816 h 2265361"/>
              <a:gd name="connsiteX57" fmla="*/ 5158391 w 9905999"/>
              <a:gd name="connsiteY57" fmla="*/ 1710816 h 2265361"/>
              <a:gd name="connsiteX58" fmla="*/ 5288869 w 9905999"/>
              <a:gd name="connsiteY58" fmla="*/ 1755901 h 2265361"/>
              <a:gd name="connsiteX59" fmla="*/ 5329363 w 9905999"/>
              <a:gd name="connsiteY59" fmla="*/ 1859597 h 2265361"/>
              <a:gd name="connsiteX60" fmla="*/ 5288869 w 9905999"/>
              <a:gd name="connsiteY60" fmla="*/ 1961038 h 2265361"/>
              <a:gd name="connsiteX61" fmla="*/ 5228130 w 9905999"/>
              <a:gd name="connsiteY61" fmla="*/ 1997106 h 2265361"/>
              <a:gd name="connsiteX62" fmla="*/ 5331612 w 9905999"/>
              <a:gd name="connsiteY62" fmla="*/ 2222531 h 2265361"/>
              <a:gd name="connsiteX63" fmla="*/ 5259624 w 9905999"/>
              <a:gd name="connsiteY63" fmla="*/ 2222531 h 2265361"/>
              <a:gd name="connsiteX64" fmla="*/ 5162890 w 9905999"/>
              <a:gd name="connsiteY64" fmla="*/ 2010631 h 2265361"/>
              <a:gd name="connsiteX65" fmla="*/ 5021164 w 9905999"/>
              <a:gd name="connsiteY65" fmla="*/ 2010631 h 2265361"/>
              <a:gd name="connsiteX66" fmla="*/ 5021164 w 9905999"/>
              <a:gd name="connsiteY66" fmla="*/ 2222531 h 2265361"/>
              <a:gd name="connsiteX67" fmla="*/ 4958174 w 9905999"/>
              <a:gd name="connsiteY67" fmla="*/ 2222531 h 2265361"/>
              <a:gd name="connsiteX68" fmla="*/ 4958174 w 9905999"/>
              <a:gd name="connsiteY68" fmla="*/ 1710816 h 2265361"/>
              <a:gd name="connsiteX69" fmla="*/ 3309199 w 9905999"/>
              <a:gd name="connsiteY69" fmla="*/ 1710816 h 2265361"/>
              <a:gd name="connsiteX70" fmla="*/ 3381187 w 9905999"/>
              <a:gd name="connsiteY70" fmla="*/ 1710816 h 2265361"/>
              <a:gd name="connsiteX71" fmla="*/ 3633145 w 9905999"/>
              <a:gd name="connsiteY71" fmla="*/ 2123344 h 2265361"/>
              <a:gd name="connsiteX72" fmla="*/ 3633145 w 9905999"/>
              <a:gd name="connsiteY72" fmla="*/ 1710816 h 2265361"/>
              <a:gd name="connsiteX73" fmla="*/ 3693885 w 9905999"/>
              <a:gd name="connsiteY73" fmla="*/ 1710816 h 2265361"/>
              <a:gd name="connsiteX74" fmla="*/ 3693885 w 9905999"/>
              <a:gd name="connsiteY74" fmla="*/ 2222531 h 2265361"/>
              <a:gd name="connsiteX75" fmla="*/ 3621897 w 9905999"/>
              <a:gd name="connsiteY75" fmla="*/ 2222531 h 2265361"/>
              <a:gd name="connsiteX76" fmla="*/ 3372188 w 9905999"/>
              <a:gd name="connsiteY76" fmla="*/ 1810003 h 2265361"/>
              <a:gd name="connsiteX77" fmla="*/ 3372188 w 9905999"/>
              <a:gd name="connsiteY77" fmla="*/ 2222531 h 2265361"/>
              <a:gd name="connsiteX78" fmla="*/ 3309199 w 9905999"/>
              <a:gd name="connsiteY78" fmla="*/ 2222531 h 2265361"/>
              <a:gd name="connsiteX79" fmla="*/ 3309199 w 9905999"/>
              <a:gd name="connsiteY79" fmla="*/ 1710816 h 2265361"/>
              <a:gd name="connsiteX80" fmla="*/ 3106732 w 9905999"/>
              <a:gd name="connsiteY80" fmla="*/ 1710816 h 2265361"/>
              <a:gd name="connsiteX81" fmla="*/ 3171971 w 9905999"/>
              <a:gd name="connsiteY81" fmla="*/ 1710816 h 2265361"/>
              <a:gd name="connsiteX82" fmla="*/ 3171971 w 9905999"/>
              <a:gd name="connsiteY82" fmla="*/ 2222531 h 2265361"/>
              <a:gd name="connsiteX83" fmla="*/ 3106732 w 9905999"/>
              <a:gd name="connsiteY83" fmla="*/ 2222531 h 2265361"/>
              <a:gd name="connsiteX84" fmla="*/ 3106732 w 9905999"/>
              <a:gd name="connsiteY84" fmla="*/ 1710816 h 2265361"/>
              <a:gd name="connsiteX85" fmla="*/ 2663557 w 9905999"/>
              <a:gd name="connsiteY85" fmla="*/ 1710816 h 2265361"/>
              <a:gd name="connsiteX86" fmla="*/ 3032495 w 9905999"/>
              <a:gd name="connsiteY86" fmla="*/ 1710816 h 2265361"/>
              <a:gd name="connsiteX87" fmla="*/ 3032495 w 9905999"/>
              <a:gd name="connsiteY87" fmla="*/ 1769427 h 2265361"/>
              <a:gd name="connsiteX88" fmla="*/ 2879521 w 9905999"/>
              <a:gd name="connsiteY88" fmla="*/ 1769427 h 2265361"/>
              <a:gd name="connsiteX89" fmla="*/ 2879521 w 9905999"/>
              <a:gd name="connsiteY89" fmla="*/ 2222531 h 2265361"/>
              <a:gd name="connsiteX90" fmla="*/ 2814282 w 9905999"/>
              <a:gd name="connsiteY90" fmla="*/ 2222531 h 2265361"/>
              <a:gd name="connsiteX91" fmla="*/ 2814282 w 9905999"/>
              <a:gd name="connsiteY91" fmla="*/ 1769427 h 2265361"/>
              <a:gd name="connsiteX92" fmla="*/ 2663557 w 9905999"/>
              <a:gd name="connsiteY92" fmla="*/ 1769427 h 2265361"/>
              <a:gd name="connsiteX93" fmla="*/ 2663557 w 9905999"/>
              <a:gd name="connsiteY93" fmla="*/ 1710816 h 2265361"/>
              <a:gd name="connsiteX94" fmla="*/ 2416099 w 9905999"/>
              <a:gd name="connsiteY94" fmla="*/ 1710816 h 2265361"/>
              <a:gd name="connsiteX95" fmla="*/ 2481338 w 9905999"/>
              <a:gd name="connsiteY95" fmla="*/ 1710816 h 2265361"/>
              <a:gd name="connsiteX96" fmla="*/ 2481338 w 9905999"/>
              <a:gd name="connsiteY96" fmla="*/ 2163920 h 2265361"/>
              <a:gd name="connsiteX97" fmla="*/ 2726547 w 9905999"/>
              <a:gd name="connsiteY97" fmla="*/ 2163920 h 2265361"/>
              <a:gd name="connsiteX98" fmla="*/ 2726547 w 9905999"/>
              <a:gd name="connsiteY98" fmla="*/ 2222531 h 2265361"/>
              <a:gd name="connsiteX99" fmla="*/ 2416099 w 9905999"/>
              <a:gd name="connsiteY99" fmla="*/ 2222531 h 2265361"/>
              <a:gd name="connsiteX100" fmla="*/ 2416099 w 9905999"/>
              <a:gd name="connsiteY100" fmla="*/ 1710816 h 2265361"/>
              <a:gd name="connsiteX101" fmla="*/ 1918931 w 9905999"/>
              <a:gd name="connsiteY101" fmla="*/ 1710816 h 2265361"/>
              <a:gd name="connsiteX102" fmla="*/ 1984171 w 9905999"/>
              <a:gd name="connsiteY102" fmla="*/ 1710816 h 2265361"/>
              <a:gd name="connsiteX103" fmla="*/ 1984171 w 9905999"/>
              <a:gd name="connsiteY103" fmla="*/ 2035428 h 2265361"/>
              <a:gd name="connsiteX104" fmla="*/ 2105651 w 9905999"/>
              <a:gd name="connsiteY104" fmla="*/ 2172937 h 2265361"/>
              <a:gd name="connsiteX105" fmla="*/ 2229380 w 9905999"/>
              <a:gd name="connsiteY105" fmla="*/ 2035428 h 2265361"/>
              <a:gd name="connsiteX106" fmla="*/ 2229380 w 9905999"/>
              <a:gd name="connsiteY106" fmla="*/ 1710816 h 2265361"/>
              <a:gd name="connsiteX107" fmla="*/ 2292369 w 9905999"/>
              <a:gd name="connsiteY107" fmla="*/ 1710816 h 2265361"/>
              <a:gd name="connsiteX108" fmla="*/ 2292369 w 9905999"/>
              <a:gd name="connsiteY108" fmla="*/ 2035428 h 2265361"/>
              <a:gd name="connsiteX109" fmla="*/ 2105651 w 9905999"/>
              <a:gd name="connsiteY109" fmla="*/ 2231547 h 2265361"/>
              <a:gd name="connsiteX110" fmla="*/ 1918931 w 9905999"/>
              <a:gd name="connsiteY110" fmla="*/ 2035428 h 2265361"/>
              <a:gd name="connsiteX111" fmla="*/ 1918931 w 9905999"/>
              <a:gd name="connsiteY111" fmla="*/ 1710816 h 2265361"/>
              <a:gd name="connsiteX112" fmla="*/ 960591 w 9905999"/>
              <a:gd name="connsiteY112" fmla="*/ 1710816 h 2265361"/>
              <a:gd name="connsiteX113" fmla="*/ 1032578 w 9905999"/>
              <a:gd name="connsiteY113" fmla="*/ 1710816 h 2265361"/>
              <a:gd name="connsiteX114" fmla="*/ 1284537 w 9905999"/>
              <a:gd name="connsiteY114" fmla="*/ 2123344 h 2265361"/>
              <a:gd name="connsiteX115" fmla="*/ 1284537 w 9905999"/>
              <a:gd name="connsiteY115" fmla="*/ 1710816 h 2265361"/>
              <a:gd name="connsiteX116" fmla="*/ 1345276 w 9905999"/>
              <a:gd name="connsiteY116" fmla="*/ 1710816 h 2265361"/>
              <a:gd name="connsiteX117" fmla="*/ 1345276 w 9905999"/>
              <a:gd name="connsiteY117" fmla="*/ 2222531 h 2265361"/>
              <a:gd name="connsiteX118" fmla="*/ 1273289 w 9905999"/>
              <a:gd name="connsiteY118" fmla="*/ 2222531 h 2265361"/>
              <a:gd name="connsiteX119" fmla="*/ 1023580 w 9905999"/>
              <a:gd name="connsiteY119" fmla="*/ 1810003 h 2265361"/>
              <a:gd name="connsiteX120" fmla="*/ 1023580 w 9905999"/>
              <a:gd name="connsiteY120" fmla="*/ 2222531 h 2265361"/>
              <a:gd name="connsiteX121" fmla="*/ 960591 w 9905999"/>
              <a:gd name="connsiteY121" fmla="*/ 2222531 h 2265361"/>
              <a:gd name="connsiteX122" fmla="*/ 960591 w 9905999"/>
              <a:gd name="connsiteY122" fmla="*/ 1710816 h 2265361"/>
              <a:gd name="connsiteX123" fmla="*/ 5597068 w 9905999"/>
              <a:gd name="connsiteY123" fmla="*/ 1701799 h 2265361"/>
              <a:gd name="connsiteX124" fmla="*/ 5736545 w 9905999"/>
              <a:gd name="connsiteY124" fmla="*/ 1755901 h 2265361"/>
              <a:gd name="connsiteX125" fmla="*/ 5801784 w 9905999"/>
              <a:gd name="connsiteY125" fmla="*/ 1967800 h 2265361"/>
              <a:gd name="connsiteX126" fmla="*/ 5736545 w 9905999"/>
              <a:gd name="connsiteY126" fmla="*/ 2177446 h 2265361"/>
              <a:gd name="connsiteX127" fmla="*/ 5597068 w 9905999"/>
              <a:gd name="connsiteY127" fmla="*/ 2233802 h 2265361"/>
              <a:gd name="connsiteX128" fmla="*/ 5459841 w 9905999"/>
              <a:gd name="connsiteY128" fmla="*/ 2177446 h 2265361"/>
              <a:gd name="connsiteX129" fmla="*/ 5394602 w 9905999"/>
              <a:gd name="connsiteY129" fmla="*/ 1967800 h 2265361"/>
              <a:gd name="connsiteX130" fmla="*/ 5459841 w 9905999"/>
              <a:gd name="connsiteY130" fmla="*/ 1755901 h 2265361"/>
              <a:gd name="connsiteX131" fmla="*/ 5597068 w 9905999"/>
              <a:gd name="connsiteY131" fmla="*/ 1701799 h 2265361"/>
              <a:gd name="connsiteX132" fmla="*/ 4645477 w 9905999"/>
              <a:gd name="connsiteY132" fmla="*/ 1701799 h 2265361"/>
              <a:gd name="connsiteX133" fmla="*/ 4791702 w 9905999"/>
              <a:gd name="connsiteY133" fmla="*/ 1758155 h 2265361"/>
              <a:gd name="connsiteX134" fmla="*/ 4834445 w 9905999"/>
              <a:gd name="connsiteY134" fmla="*/ 1859597 h 2265361"/>
              <a:gd name="connsiteX135" fmla="*/ 4766956 w 9905999"/>
              <a:gd name="connsiteY135" fmla="*/ 1859597 h 2265361"/>
              <a:gd name="connsiteX136" fmla="*/ 4744460 w 9905999"/>
              <a:gd name="connsiteY136" fmla="*/ 1803240 h 2265361"/>
              <a:gd name="connsiteX137" fmla="*/ 4645477 w 9905999"/>
              <a:gd name="connsiteY137" fmla="*/ 1762664 h 2265361"/>
              <a:gd name="connsiteX138" fmla="*/ 4550992 w 9905999"/>
              <a:gd name="connsiteY138" fmla="*/ 1800986 h 2265361"/>
              <a:gd name="connsiteX139" fmla="*/ 4506000 w 9905999"/>
              <a:gd name="connsiteY139" fmla="*/ 1967800 h 2265361"/>
              <a:gd name="connsiteX140" fmla="*/ 4553242 w 9905999"/>
              <a:gd name="connsiteY140" fmla="*/ 2134615 h 2265361"/>
              <a:gd name="connsiteX141" fmla="*/ 4645477 w 9905999"/>
              <a:gd name="connsiteY141" fmla="*/ 2172937 h 2265361"/>
              <a:gd name="connsiteX142" fmla="*/ 4737711 w 9905999"/>
              <a:gd name="connsiteY142" fmla="*/ 2136869 h 2265361"/>
              <a:gd name="connsiteX143" fmla="*/ 4780454 w 9905999"/>
              <a:gd name="connsiteY143" fmla="*/ 2006123 h 2265361"/>
              <a:gd name="connsiteX144" fmla="*/ 4645477 w 9905999"/>
              <a:gd name="connsiteY144" fmla="*/ 2006123 h 2265361"/>
              <a:gd name="connsiteX145" fmla="*/ 4645477 w 9905999"/>
              <a:gd name="connsiteY145" fmla="*/ 1947512 h 2265361"/>
              <a:gd name="connsiteX146" fmla="*/ 4838944 w 9905999"/>
              <a:gd name="connsiteY146" fmla="*/ 1947512 h 2265361"/>
              <a:gd name="connsiteX147" fmla="*/ 4838944 w 9905999"/>
              <a:gd name="connsiteY147" fmla="*/ 2222531 h 2265361"/>
              <a:gd name="connsiteX148" fmla="*/ 4793952 w 9905999"/>
              <a:gd name="connsiteY148" fmla="*/ 2222531 h 2265361"/>
              <a:gd name="connsiteX149" fmla="*/ 4782704 w 9905999"/>
              <a:gd name="connsiteY149" fmla="*/ 2161666 h 2265361"/>
              <a:gd name="connsiteX150" fmla="*/ 4645477 w 9905999"/>
              <a:gd name="connsiteY150" fmla="*/ 2233802 h 2265361"/>
              <a:gd name="connsiteX151" fmla="*/ 4506000 w 9905999"/>
              <a:gd name="connsiteY151" fmla="*/ 2179700 h 2265361"/>
              <a:gd name="connsiteX152" fmla="*/ 4440761 w 9905999"/>
              <a:gd name="connsiteY152" fmla="*/ 1967800 h 2265361"/>
              <a:gd name="connsiteX153" fmla="*/ 4506000 w 9905999"/>
              <a:gd name="connsiteY153" fmla="*/ 1755901 h 2265361"/>
              <a:gd name="connsiteX154" fmla="*/ 4645477 w 9905999"/>
              <a:gd name="connsiteY154" fmla="*/ 1701799 h 2265361"/>
              <a:gd name="connsiteX155" fmla="*/ 4002083 w 9905999"/>
              <a:gd name="connsiteY155" fmla="*/ 1701799 h 2265361"/>
              <a:gd name="connsiteX156" fmla="*/ 4148309 w 9905999"/>
              <a:gd name="connsiteY156" fmla="*/ 1758155 h 2265361"/>
              <a:gd name="connsiteX157" fmla="*/ 4193302 w 9905999"/>
              <a:gd name="connsiteY157" fmla="*/ 1859597 h 2265361"/>
              <a:gd name="connsiteX158" fmla="*/ 4125813 w 9905999"/>
              <a:gd name="connsiteY158" fmla="*/ 1859597 h 2265361"/>
              <a:gd name="connsiteX159" fmla="*/ 4103317 w 9905999"/>
              <a:gd name="connsiteY159" fmla="*/ 1803240 h 2265361"/>
              <a:gd name="connsiteX160" fmla="*/ 4002083 w 9905999"/>
              <a:gd name="connsiteY160" fmla="*/ 1762664 h 2265361"/>
              <a:gd name="connsiteX161" fmla="*/ 3909849 w 9905999"/>
              <a:gd name="connsiteY161" fmla="*/ 1800986 h 2265361"/>
              <a:gd name="connsiteX162" fmla="*/ 3864856 w 9905999"/>
              <a:gd name="connsiteY162" fmla="*/ 1967800 h 2265361"/>
              <a:gd name="connsiteX163" fmla="*/ 3909849 w 9905999"/>
              <a:gd name="connsiteY163" fmla="*/ 2134615 h 2265361"/>
              <a:gd name="connsiteX164" fmla="*/ 4002083 w 9905999"/>
              <a:gd name="connsiteY164" fmla="*/ 2172937 h 2265361"/>
              <a:gd name="connsiteX165" fmla="*/ 4094318 w 9905999"/>
              <a:gd name="connsiteY165" fmla="*/ 2136869 h 2265361"/>
              <a:gd name="connsiteX166" fmla="*/ 4139311 w 9905999"/>
              <a:gd name="connsiteY166" fmla="*/ 2006123 h 2265361"/>
              <a:gd name="connsiteX167" fmla="*/ 4002083 w 9905999"/>
              <a:gd name="connsiteY167" fmla="*/ 2006123 h 2265361"/>
              <a:gd name="connsiteX168" fmla="*/ 4002083 w 9905999"/>
              <a:gd name="connsiteY168" fmla="*/ 1947512 h 2265361"/>
              <a:gd name="connsiteX169" fmla="*/ 4197801 w 9905999"/>
              <a:gd name="connsiteY169" fmla="*/ 1947512 h 2265361"/>
              <a:gd name="connsiteX170" fmla="*/ 4197801 w 9905999"/>
              <a:gd name="connsiteY170" fmla="*/ 2222531 h 2265361"/>
              <a:gd name="connsiteX171" fmla="*/ 4152808 w 9905999"/>
              <a:gd name="connsiteY171" fmla="*/ 2222531 h 2265361"/>
              <a:gd name="connsiteX172" fmla="*/ 4141560 w 9905999"/>
              <a:gd name="connsiteY172" fmla="*/ 2161666 h 2265361"/>
              <a:gd name="connsiteX173" fmla="*/ 4002083 w 9905999"/>
              <a:gd name="connsiteY173" fmla="*/ 2233802 h 2265361"/>
              <a:gd name="connsiteX174" fmla="*/ 3864856 w 9905999"/>
              <a:gd name="connsiteY174" fmla="*/ 2179700 h 2265361"/>
              <a:gd name="connsiteX175" fmla="*/ 3797367 w 9905999"/>
              <a:gd name="connsiteY175" fmla="*/ 1967800 h 2265361"/>
              <a:gd name="connsiteX176" fmla="*/ 3864856 w 9905999"/>
              <a:gd name="connsiteY176" fmla="*/ 1755901 h 2265361"/>
              <a:gd name="connsiteX177" fmla="*/ 4002083 w 9905999"/>
              <a:gd name="connsiteY177" fmla="*/ 1701799 h 2265361"/>
              <a:gd name="connsiteX178" fmla="*/ 1642228 w 9905999"/>
              <a:gd name="connsiteY178" fmla="*/ 1701799 h 2265361"/>
              <a:gd name="connsiteX179" fmla="*/ 1774955 w 9905999"/>
              <a:gd name="connsiteY179" fmla="*/ 1749138 h 2265361"/>
              <a:gd name="connsiteX180" fmla="*/ 1824447 w 9905999"/>
              <a:gd name="connsiteY180" fmla="*/ 1859597 h 2265361"/>
              <a:gd name="connsiteX181" fmla="*/ 1756958 w 9905999"/>
              <a:gd name="connsiteY181" fmla="*/ 1859597 h 2265361"/>
              <a:gd name="connsiteX182" fmla="*/ 1732212 w 9905999"/>
              <a:gd name="connsiteY182" fmla="*/ 1796478 h 2265361"/>
              <a:gd name="connsiteX183" fmla="*/ 1639978 w 9905999"/>
              <a:gd name="connsiteY183" fmla="*/ 1760410 h 2265361"/>
              <a:gd name="connsiteX184" fmla="*/ 1549993 w 9905999"/>
              <a:gd name="connsiteY184" fmla="*/ 1796478 h 2265361"/>
              <a:gd name="connsiteX185" fmla="*/ 1529746 w 9905999"/>
              <a:gd name="connsiteY185" fmla="*/ 1850580 h 2265361"/>
              <a:gd name="connsiteX186" fmla="*/ 1606234 w 9905999"/>
              <a:gd name="connsiteY186" fmla="*/ 1922716 h 2265361"/>
              <a:gd name="connsiteX187" fmla="*/ 1691719 w 9905999"/>
              <a:gd name="connsiteY187" fmla="*/ 1936241 h 2265361"/>
              <a:gd name="connsiteX188" fmla="*/ 1833445 w 9905999"/>
              <a:gd name="connsiteY188" fmla="*/ 2082767 h 2265361"/>
              <a:gd name="connsiteX189" fmla="*/ 1790703 w 9905999"/>
              <a:gd name="connsiteY189" fmla="*/ 2181954 h 2265361"/>
              <a:gd name="connsiteX190" fmla="*/ 1644477 w 9905999"/>
              <a:gd name="connsiteY190" fmla="*/ 2231547 h 2265361"/>
              <a:gd name="connsiteX191" fmla="*/ 1498251 w 9905999"/>
              <a:gd name="connsiteY191" fmla="*/ 2184208 h 2265361"/>
              <a:gd name="connsiteX192" fmla="*/ 1444260 w 9905999"/>
              <a:gd name="connsiteY192" fmla="*/ 2060225 h 2265361"/>
              <a:gd name="connsiteX193" fmla="*/ 1509499 w 9905999"/>
              <a:gd name="connsiteY193" fmla="*/ 2060225 h 2265361"/>
              <a:gd name="connsiteX194" fmla="*/ 1545494 w 9905999"/>
              <a:gd name="connsiteY194" fmla="*/ 2141378 h 2265361"/>
              <a:gd name="connsiteX195" fmla="*/ 1644477 w 9905999"/>
              <a:gd name="connsiteY195" fmla="*/ 2172937 h 2265361"/>
              <a:gd name="connsiteX196" fmla="*/ 1738962 w 9905999"/>
              <a:gd name="connsiteY196" fmla="*/ 2143632 h 2265361"/>
              <a:gd name="connsiteX197" fmla="*/ 1765956 w 9905999"/>
              <a:gd name="connsiteY197" fmla="*/ 2082767 h 2265361"/>
              <a:gd name="connsiteX198" fmla="*/ 1680471 w 9905999"/>
              <a:gd name="connsiteY198" fmla="*/ 2001614 h 2265361"/>
              <a:gd name="connsiteX199" fmla="*/ 1599484 w 9905999"/>
              <a:gd name="connsiteY199" fmla="*/ 1988089 h 2265361"/>
              <a:gd name="connsiteX200" fmla="*/ 1462257 w 9905999"/>
              <a:gd name="connsiteY200" fmla="*/ 1852834 h 2265361"/>
              <a:gd name="connsiteX201" fmla="*/ 1507249 w 9905999"/>
              <a:gd name="connsiteY201" fmla="*/ 1751393 h 2265361"/>
              <a:gd name="connsiteX202" fmla="*/ 1642228 w 9905999"/>
              <a:gd name="connsiteY202" fmla="*/ 1701799 h 2265361"/>
              <a:gd name="connsiteX203" fmla="*/ 654642 w 9905999"/>
              <a:gd name="connsiteY203" fmla="*/ 1701799 h 2265361"/>
              <a:gd name="connsiteX204" fmla="*/ 791868 w 9905999"/>
              <a:gd name="connsiteY204" fmla="*/ 1755901 h 2265361"/>
              <a:gd name="connsiteX205" fmla="*/ 857108 w 9905999"/>
              <a:gd name="connsiteY205" fmla="*/ 1967800 h 2265361"/>
              <a:gd name="connsiteX206" fmla="*/ 791868 w 9905999"/>
              <a:gd name="connsiteY206" fmla="*/ 2177446 h 2265361"/>
              <a:gd name="connsiteX207" fmla="*/ 654642 w 9905999"/>
              <a:gd name="connsiteY207" fmla="*/ 2233802 h 2265361"/>
              <a:gd name="connsiteX208" fmla="*/ 515164 w 9905999"/>
              <a:gd name="connsiteY208" fmla="*/ 2177446 h 2265361"/>
              <a:gd name="connsiteX209" fmla="*/ 449925 w 9905999"/>
              <a:gd name="connsiteY209" fmla="*/ 1967800 h 2265361"/>
              <a:gd name="connsiteX210" fmla="*/ 515164 w 9905999"/>
              <a:gd name="connsiteY210" fmla="*/ 1755901 h 2265361"/>
              <a:gd name="connsiteX211" fmla="*/ 654642 w 9905999"/>
              <a:gd name="connsiteY211" fmla="*/ 1701799 h 2265361"/>
              <a:gd name="connsiteX212" fmla="*/ 202466 w 9905999"/>
              <a:gd name="connsiteY212" fmla="*/ 1701799 h 2265361"/>
              <a:gd name="connsiteX213" fmla="*/ 339693 w 9905999"/>
              <a:gd name="connsiteY213" fmla="*/ 1753647 h 2265361"/>
              <a:gd name="connsiteX214" fmla="*/ 389185 w 9905999"/>
              <a:gd name="connsiteY214" fmla="*/ 1870868 h 2265361"/>
              <a:gd name="connsiteX215" fmla="*/ 323946 w 9905999"/>
              <a:gd name="connsiteY215" fmla="*/ 1870868 h 2265361"/>
              <a:gd name="connsiteX216" fmla="*/ 294701 w 9905999"/>
              <a:gd name="connsiteY216" fmla="*/ 1798732 h 2265361"/>
              <a:gd name="connsiteX217" fmla="*/ 202466 w 9905999"/>
              <a:gd name="connsiteY217" fmla="*/ 1762664 h 2265361"/>
              <a:gd name="connsiteX218" fmla="*/ 110232 w 9905999"/>
              <a:gd name="connsiteY218" fmla="*/ 1800986 h 2265361"/>
              <a:gd name="connsiteX219" fmla="*/ 67489 w 9905999"/>
              <a:gd name="connsiteY219" fmla="*/ 1967800 h 2265361"/>
              <a:gd name="connsiteX220" fmla="*/ 110232 w 9905999"/>
              <a:gd name="connsiteY220" fmla="*/ 2132361 h 2265361"/>
              <a:gd name="connsiteX221" fmla="*/ 202466 w 9905999"/>
              <a:gd name="connsiteY221" fmla="*/ 2172937 h 2265361"/>
              <a:gd name="connsiteX222" fmla="*/ 296951 w 9905999"/>
              <a:gd name="connsiteY222" fmla="*/ 2132361 h 2265361"/>
              <a:gd name="connsiteX223" fmla="*/ 323946 w 9905999"/>
              <a:gd name="connsiteY223" fmla="*/ 2060225 h 2265361"/>
              <a:gd name="connsiteX224" fmla="*/ 391435 w 9905999"/>
              <a:gd name="connsiteY224" fmla="*/ 2060225 h 2265361"/>
              <a:gd name="connsiteX225" fmla="*/ 339693 w 9905999"/>
              <a:gd name="connsiteY225" fmla="*/ 2177446 h 2265361"/>
              <a:gd name="connsiteX226" fmla="*/ 202466 w 9905999"/>
              <a:gd name="connsiteY226" fmla="*/ 2233802 h 2265361"/>
              <a:gd name="connsiteX227" fmla="*/ 65239 w 9905999"/>
              <a:gd name="connsiteY227" fmla="*/ 2177446 h 2265361"/>
              <a:gd name="connsiteX228" fmla="*/ 0 w 9905999"/>
              <a:gd name="connsiteY228" fmla="*/ 1967800 h 2265361"/>
              <a:gd name="connsiteX229" fmla="*/ 65239 w 9905999"/>
              <a:gd name="connsiteY229" fmla="*/ 1755901 h 2265361"/>
              <a:gd name="connsiteX230" fmla="*/ 202466 w 9905999"/>
              <a:gd name="connsiteY230" fmla="*/ 1701799 h 2265361"/>
              <a:gd name="connsiteX231" fmla="*/ 2227389 w 9905999"/>
              <a:gd name="connsiteY231" fmla="*/ 214047 h 2265361"/>
              <a:gd name="connsiteX232" fmla="*/ 2227389 w 9905999"/>
              <a:gd name="connsiteY232" fmla="*/ 574548 h 2265361"/>
              <a:gd name="connsiteX233" fmla="*/ 2456649 w 9905999"/>
              <a:gd name="connsiteY233" fmla="*/ 574548 h 2265361"/>
              <a:gd name="connsiteX234" fmla="*/ 2654442 w 9905999"/>
              <a:gd name="connsiteY234" fmla="*/ 394298 h 2265361"/>
              <a:gd name="connsiteX235" fmla="*/ 2456649 w 9905999"/>
              <a:gd name="connsiteY235" fmla="*/ 214047 h 2265361"/>
              <a:gd name="connsiteX236" fmla="*/ 2227389 w 9905999"/>
              <a:gd name="connsiteY236" fmla="*/ 214047 h 2265361"/>
              <a:gd name="connsiteX237" fmla="*/ 8961436 w 9905999"/>
              <a:gd name="connsiteY237" fmla="*/ 0 h 2265361"/>
              <a:gd name="connsiteX238" fmla="*/ 9905999 w 9905999"/>
              <a:gd name="connsiteY238" fmla="*/ 0 h 2265361"/>
              <a:gd name="connsiteX239" fmla="*/ 9905999 w 9905999"/>
              <a:gd name="connsiteY239" fmla="*/ 225425 h 2265361"/>
              <a:gd name="connsiteX240" fmla="*/ 9555161 w 9905999"/>
              <a:gd name="connsiteY240" fmla="*/ 225425 h 2265361"/>
              <a:gd name="connsiteX241" fmla="*/ 9555161 w 9905999"/>
              <a:gd name="connsiteY241" fmla="*/ 1214437 h 2265361"/>
              <a:gd name="connsiteX242" fmla="*/ 9315449 w 9905999"/>
              <a:gd name="connsiteY242" fmla="*/ 1214437 h 2265361"/>
              <a:gd name="connsiteX243" fmla="*/ 9315449 w 9905999"/>
              <a:gd name="connsiteY243" fmla="*/ 225425 h 2265361"/>
              <a:gd name="connsiteX244" fmla="*/ 8961436 w 9905999"/>
              <a:gd name="connsiteY244" fmla="*/ 225425 h 2265361"/>
              <a:gd name="connsiteX245" fmla="*/ 7785099 w 9905999"/>
              <a:gd name="connsiteY245" fmla="*/ 0 h 2265361"/>
              <a:gd name="connsiteX246" fmla="*/ 8035924 w 9905999"/>
              <a:gd name="connsiteY246" fmla="*/ 0 h 2265361"/>
              <a:gd name="connsiteX247" fmla="*/ 8037512 w 9905999"/>
              <a:gd name="connsiteY247" fmla="*/ 3175 h 2265361"/>
              <a:gd name="connsiteX248" fmla="*/ 8523286 w 9905999"/>
              <a:gd name="connsiteY248" fmla="*/ 774700 h 2265361"/>
              <a:gd name="connsiteX249" fmla="*/ 8523286 w 9905999"/>
              <a:gd name="connsiteY249" fmla="*/ 0 h 2265361"/>
              <a:gd name="connsiteX250" fmla="*/ 8759824 w 9905999"/>
              <a:gd name="connsiteY250" fmla="*/ 0 h 2265361"/>
              <a:gd name="connsiteX251" fmla="*/ 8759824 w 9905999"/>
              <a:gd name="connsiteY251" fmla="*/ 1214437 h 2265361"/>
              <a:gd name="connsiteX252" fmla="*/ 8518524 w 9905999"/>
              <a:gd name="connsiteY252" fmla="*/ 1214437 h 2265361"/>
              <a:gd name="connsiteX253" fmla="*/ 8024812 w 9905999"/>
              <a:gd name="connsiteY253" fmla="*/ 425450 h 2265361"/>
              <a:gd name="connsiteX254" fmla="*/ 8024812 w 9905999"/>
              <a:gd name="connsiteY254" fmla="*/ 1214437 h 2265361"/>
              <a:gd name="connsiteX255" fmla="*/ 7785099 w 9905999"/>
              <a:gd name="connsiteY255" fmla="*/ 1214437 h 2265361"/>
              <a:gd name="connsiteX256" fmla="*/ 6665911 w 9905999"/>
              <a:gd name="connsiteY256" fmla="*/ 0 h 2265361"/>
              <a:gd name="connsiteX257" fmla="*/ 7535861 w 9905999"/>
              <a:gd name="connsiteY257" fmla="*/ 0 h 2265361"/>
              <a:gd name="connsiteX258" fmla="*/ 7535861 w 9905999"/>
              <a:gd name="connsiteY258" fmla="*/ 220663 h 2265361"/>
              <a:gd name="connsiteX259" fmla="*/ 6905624 w 9905999"/>
              <a:gd name="connsiteY259" fmla="*/ 220663 h 2265361"/>
              <a:gd name="connsiteX260" fmla="*/ 6905624 w 9905999"/>
              <a:gd name="connsiteY260" fmla="*/ 473075 h 2265361"/>
              <a:gd name="connsiteX261" fmla="*/ 7459661 w 9905999"/>
              <a:gd name="connsiteY261" fmla="*/ 473075 h 2265361"/>
              <a:gd name="connsiteX262" fmla="*/ 7459661 w 9905999"/>
              <a:gd name="connsiteY262" fmla="*/ 690562 h 2265361"/>
              <a:gd name="connsiteX263" fmla="*/ 6905624 w 9905999"/>
              <a:gd name="connsiteY263" fmla="*/ 690562 h 2265361"/>
              <a:gd name="connsiteX264" fmla="*/ 6905624 w 9905999"/>
              <a:gd name="connsiteY264" fmla="*/ 993775 h 2265361"/>
              <a:gd name="connsiteX265" fmla="*/ 7535861 w 9905999"/>
              <a:gd name="connsiteY265" fmla="*/ 993775 h 2265361"/>
              <a:gd name="connsiteX266" fmla="*/ 7535861 w 9905999"/>
              <a:gd name="connsiteY266" fmla="*/ 1214437 h 2265361"/>
              <a:gd name="connsiteX267" fmla="*/ 6665911 w 9905999"/>
              <a:gd name="connsiteY267" fmla="*/ 1214437 h 2265361"/>
              <a:gd name="connsiteX268" fmla="*/ 5221286 w 9905999"/>
              <a:gd name="connsiteY268" fmla="*/ 0 h 2265361"/>
              <a:gd name="connsiteX269" fmla="*/ 5534024 w 9905999"/>
              <a:gd name="connsiteY269" fmla="*/ 0 h 2265361"/>
              <a:gd name="connsiteX270" fmla="*/ 5835649 w 9905999"/>
              <a:gd name="connsiteY270" fmla="*/ 823912 h 2265361"/>
              <a:gd name="connsiteX271" fmla="*/ 6142037 w 9905999"/>
              <a:gd name="connsiteY271" fmla="*/ 0 h 2265361"/>
              <a:gd name="connsiteX272" fmla="*/ 6438899 w 9905999"/>
              <a:gd name="connsiteY272" fmla="*/ 0 h 2265361"/>
              <a:gd name="connsiteX273" fmla="*/ 6438899 w 9905999"/>
              <a:gd name="connsiteY273" fmla="*/ 1214437 h 2265361"/>
              <a:gd name="connsiteX274" fmla="*/ 6203949 w 9905999"/>
              <a:gd name="connsiteY274" fmla="*/ 1214437 h 2265361"/>
              <a:gd name="connsiteX275" fmla="*/ 6203949 w 9905999"/>
              <a:gd name="connsiteY275" fmla="*/ 419100 h 2265361"/>
              <a:gd name="connsiteX276" fmla="*/ 5916612 w 9905999"/>
              <a:gd name="connsiteY276" fmla="*/ 1196975 h 2265361"/>
              <a:gd name="connsiteX277" fmla="*/ 5740399 w 9905999"/>
              <a:gd name="connsiteY277" fmla="*/ 1196975 h 2265361"/>
              <a:gd name="connsiteX278" fmla="*/ 5454649 w 9905999"/>
              <a:gd name="connsiteY278" fmla="*/ 409575 h 2265361"/>
              <a:gd name="connsiteX279" fmla="*/ 5454649 w 9905999"/>
              <a:gd name="connsiteY279" fmla="*/ 1214437 h 2265361"/>
              <a:gd name="connsiteX280" fmla="*/ 5221286 w 9905999"/>
              <a:gd name="connsiteY280" fmla="*/ 1214437 h 2265361"/>
              <a:gd name="connsiteX281" fmla="*/ 4098924 w 9905999"/>
              <a:gd name="connsiteY281" fmla="*/ 0 h 2265361"/>
              <a:gd name="connsiteX282" fmla="*/ 4968874 w 9905999"/>
              <a:gd name="connsiteY282" fmla="*/ 0 h 2265361"/>
              <a:gd name="connsiteX283" fmla="*/ 4968874 w 9905999"/>
              <a:gd name="connsiteY283" fmla="*/ 220663 h 2265361"/>
              <a:gd name="connsiteX284" fmla="*/ 4340224 w 9905999"/>
              <a:gd name="connsiteY284" fmla="*/ 220663 h 2265361"/>
              <a:gd name="connsiteX285" fmla="*/ 4340224 w 9905999"/>
              <a:gd name="connsiteY285" fmla="*/ 473075 h 2265361"/>
              <a:gd name="connsiteX286" fmla="*/ 4895849 w 9905999"/>
              <a:gd name="connsiteY286" fmla="*/ 473075 h 2265361"/>
              <a:gd name="connsiteX287" fmla="*/ 4895849 w 9905999"/>
              <a:gd name="connsiteY287" fmla="*/ 690562 h 2265361"/>
              <a:gd name="connsiteX288" fmla="*/ 4340224 w 9905999"/>
              <a:gd name="connsiteY288" fmla="*/ 690562 h 2265361"/>
              <a:gd name="connsiteX289" fmla="*/ 4340224 w 9905999"/>
              <a:gd name="connsiteY289" fmla="*/ 993775 h 2265361"/>
              <a:gd name="connsiteX290" fmla="*/ 4968874 w 9905999"/>
              <a:gd name="connsiteY290" fmla="*/ 993775 h 2265361"/>
              <a:gd name="connsiteX291" fmla="*/ 4968874 w 9905999"/>
              <a:gd name="connsiteY291" fmla="*/ 1214437 h 2265361"/>
              <a:gd name="connsiteX292" fmla="*/ 4098924 w 9905999"/>
              <a:gd name="connsiteY292" fmla="*/ 1214437 h 2265361"/>
              <a:gd name="connsiteX293" fmla="*/ 3079749 w 9905999"/>
              <a:gd name="connsiteY293" fmla="*/ 0 h 2265361"/>
              <a:gd name="connsiteX294" fmla="*/ 3321049 w 9905999"/>
              <a:gd name="connsiteY294" fmla="*/ 0 h 2265361"/>
              <a:gd name="connsiteX295" fmla="*/ 3321049 w 9905999"/>
              <a:gd name="connsiteY295" fmla="*/ 984250 h 2265361"/>
              <a:gd name="connsiteX296" fmla="*/ 3871912 w 9905999"/>
              <a:gd name="connsiteY296" fmla="*/ 984250 h 2265361"/>
              <a:gd name="connsiteX297" fmla="*/ 3871912 w 9905999"/>
              <a:gd name="connsiteY297" fmla="*/ 1214437 h 2265361"/>
              <a:gd name="connsiteX298" fmla="*/ 3079749 w 9905999"/>
              <a:gd name="connsiteY298" fmla="*/ 1214437 h 2265361"/>
              <a:gd name="connsiteX299" fmla="*/ 1989138 w 9905999"/>
              <a:gd name="connsiteY299" fmla="*/ 0 h 2265361"/>
              <a:gd name="connsiteX300" fmla="*/ 2465639 w 9905999"/>
              <a:gd name="connsiteY300" fmla="*/ 0 h 2265361"/>
              <a:gd name="connsiteX301" fmla="*/ 2897188 w 9905999"/>
              <a:gd name="connsiteY301" fmla="*/ 392045 h 2265361"/>
              <a:gd name="connsiteX302" fmla="*/ 2465639 w 9905999"/>
              <a:gd name="connsiteY302" fmla="*/ 786342 h 2265361"/>
              <a:gd name="connsiteX303" fmla="*/ 2227389 w 9905999"/>
              <a:gd name="connsiteY303" fmla="*/ 786342 h 2265361"/>
              <a:gd name="connsiteX304" fmla="*/ 2227389 w 9905999"/>
              <a:gd name="connsiteY304" fmla="*/ 1214437 h 2265361"/>
              <a:gd name="connsiteX305" fmla="*/ 1989138 w 9905999"/>
              <a:gd name="connsiteY305" fmla="*/ 1214437 h 2265361"/>
              <a:gd name="connsiteX306" fmla="*/ 1989138 w 9905999"/>
              <a:gd name="connsiteY306" fmla="*/ 0 h 2265361"/>
              <a:gd name="connsiteX307" fmla="*/ 520699 w 9905999"/>
              <a:gd name="connsiteY307" fmla="*/ 0 h 2265361"/>
              <a:gd name="connsiteX308" fmla="*/ 833436 w 9905999"/>
              <a:gd name="connsiteY308" fmla="*/ 0 h 2265361"/>
              <a:gd name="connsiteX309" fmla="*/ 1135061 w 9905999"/>
              <a:gd name="connsiteY309" fmla="*/ 823912 h 2265361"/>
              <a:gd name="connsiteX310" fmla="*/ 1439862 w 9905999"/>
              <a:gd name="connsiteY310" fmla="*/ 0 h 2265361"/>
              <a:gd name="connsiteX311" fmla="*/ 1736724 w 9905999"/>
              <a:gd name="connsiteY311" fmla="*/ 0 h 2265361"/>
              <a:gd name="connsiteX312" fmla="*/ 1736724 w 9905999"/>
              <a:gd name="connsiteY312" fmla="*/ 1214437 h 2265361"/>
              <a:gd name="connsiteX313" fmla="*/ 1503362 w 9905999"/>
              <a:gd name="connsiteY313" fmla="*/ 1214437 h 2265361"/>
              <a:gd name="connsiteX314" fmla="*/ 1503362 w 9905999"/>
              <a:gd name="connsiteY314" fmla="*/ 419100 h 2265361"/>
              <a:gd name="connsiteX315" fmla="*/ 1216024 w 9905999"/>
              <a:gd name="connsiteY315" fmla="*/ 1196975 h 2265361"/>
              <a:gd name="connsiteX316" fmla="*/ 1039812 w 9905999"/>
              <a:gd name="connsiteY316" fmla="*/ 1196975 h 2265361"/>
              <a:gd name="connsiteX317" fmla="*/ 754062 w 9905999"/>
              <a:gd name="connsiteY317" fmla="*/ 409575 h 2265361"/>
              <a:gd name="connsiteX318" fmla="*/ 754062 w 9905999"/>
              <a:gd name="connsiteY318" fmla="*/ 1214437 h 2265361"/>
              <a:gd name="connsiteX319" fmla="*/ 520699 w 9905999"/>
              <a:gd name="connsiteY319" fmla="*/ 1214437 h 2265361"/>
              <a:gd name="connsiteX320" fmla="*/ 25400 w 9905999"/>
              <a:gd name="connsiteY320" fmla="*/ 0 h 2265361"/>
              <a:gd name="connsiteX321" fmla="*/ 268288 w 9905999"/>
              <a:gd name="connsiteY321" fmla="*/ 0 h 2265361"/>
              <a:gd name="connsiteX322" fmla="*/ 268288 w 9905999"/>
              <a:gd name="connsiteY322" fmla="*/ 1214437 h 2265361"/>
              <a:gd name="connsiteX323" fmla="*/ 25400 w 9905999"/>
              <a:gd name="connsiteY323" fmla="*/ 1214437 h 22653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</a:cxnLst>
            <a:rect l="l" t="t" r="r" b="b"/>
            <a:pathLst>
              <a:path w="9905999" h="2265361">
                <a:moveTo>
                  <a:pt x="6778122" y="2222531"/>
                </a:moveTo>
                <a:cubicBezTo>
                  <a:pt x="6778122" y="2222531"/>
                  <a:pt x="6778122" y="2222531"/>
                  <a:pt x="7135812" y="2222531"/>
                </a:cubicBezTo>
                <a:lnTo>
                  <a:pt x="7135812" y="2265361"/>
                </a:lnTo>
                <a:cubicBezTo>
                  <a:pt x="7135812" y="2265361"/>
                  <a:pt x="7135812" y="2265361"/>
                  <a:pt x="6778122" y="2265361"/>
                </a:cubicBezTo>
                <a:cubicBezTo>
                  <a:pt x="6778122" y="2265361"/>
                  <a:pt x="6778122" y="2265361"/>
                  <a:pt x="6778122" y="2222531"/>
                </a:cubicBezTo>
                <a:close/>
                <a:moveTo>
                  <a:pt x="6449676" y="1769427"/>
                </a:moveTo>
                <a:cubicBezTo>
                  <a:pt x="6449676" y="1769427"/>
                  <a:pt x="6449676" y="1769427"/>
                  <a:pt x="6449676" y="1965546"/>
                </a:cubicBezTo>
                <a:cubicBezTo>
                  <a:pt x="6449676" y="1965546"/>
                  <a:pt x="6449676" y="1965546"/>
                  <a:pt x="6575655" y="1965546"/>
                </a:cubicBezTo>
                <a:cubicBezTo>
                  <a:pt x="6643144" y="1965546"/>
                  <a:pt x="6679138" y="1933987"/>
                  <a:pt x="6679138" y="1864105"/>
                </a:cubicBezTo>
                <a:cubicBezTo>
                  <a:pt x="6679138" y="1800986"/>
                  <a:pt x="6638645" y="1769427"/>
                  <a:pt x="6575655" y="1769427"/>
                </a:cubicBezTo>
                <a:cubicBezTo>
                  <a:pt x="6575655" y="1769427"/>
                  <a:pt x="6575655" y="1769427"/>
                  <a:pt x="6449676" y="1769427"/>
                </a:cubicBezTo>
                <a:close/>
                <a:moveTo>
                  <a:pt x="5021164" y="1769427"/>
                </a:moveTo>
                <a:cubicBezTo>
                  <a:pt x="5021164" y="1769427"/>
                  <a:pt x="5021164" y="1769427"/>
                  <a:pt x="5021164" y="1949767"/>
                </a:cubicBezTo>
                <a:cubicBezTo>
                  <a:pt x="5021164" y="1949767"/>
                  <a:pt x="5021164" y="1949767"/>
                  <a:pt x="5158391" y="1949767"/>
                </a:cubicBezTo>
                <a:cubicBezTo>
                  <a:pt x="5219131" y="1949767"/>
                  <a:pt x="5261874" y="1924970"/>
                  <a:pt x="5261874" y="1859597"/>
                </a:cubicBezTo>
                <a:cubicBezTo>
                  <a:pt x="5261874" y="1794223"/>
                  <a:pt x="5219131" y="1769427"/>
                  <a:pt x="5158391" y="1769427"/>
                </a:cubicBezTo>
                <a:cubicBezTo>
                  <a:pt x="5158391" y="1769427"/>
                  <a:pt x="5158391" y="1769427"/>
                  <a:pt x="5021164" y="1769427"/>
                </a:cubicBezTo>
                <a:close/>
                <a:moveTo>
                  <a:pt x="5597068" y="1762664"/>
                </a:moveTo>
                <a:cubicBezTo>
                  <a:pt x="5563324" y="1762664"/>
                  <a:pt x="5529579" y="1776189"/>
                  <a:pt x="5504834" y="1800986"/>
                </a:cubicBezTo>
                <a:cubicBezTo>
                  <a:pt x="5462091" y="1843817"/>
                  <a:pt x="5459841" y="1913699"/>
                  <a:pt x="5459841" y="1967800"/>
                </a:cubicBezTo>
                <a:cubicBezTo>
                  <a:pt x="5459841" y="2019648"/>
                  <a:pt x="5462091" y="2089530"/>
                  <a:pt x="5504834" y="2132361"/>
                </a:cubicBezTo>
                <a:cubicBezTo>
                  <a:pt x="5529579" y="2159412"/>
                  <a:pt x="5563324" y="2170683"/>
                  <a:pt x="5597068" y="2170683"/>
                </a:cubicBezTo>
                <a:cubicBezTo>
                  <a:pt x="5633062" y="2170683"/>
                  <a:pt x="5666807" y="2159412"/>
                  <a:pt x="5691552" y="2132361"/>
                </a:cubicBezTo>
                <a:cubicBezTo>
                  <a:pt x="5732046" y="2089530"/>
                  <a:pt x="5734295" y="2019648"/>
                  <a:pt x="5734295" y="1967800"/>
                </a:cubicBezTo>
                <a:cubicBezTo>
                  <a:pt x="5734295" y="1913699"/>
                  <a:pt x="5732046" y="1843817"/>
                  <a:pt x="5691552" y="1800986"/>
                </a:cubicBezTo>
                <a:cubicBezTo>
                  <a:pt x="5666807" y="1776189"/>
                  <a:pt x="5633062" y="1762664"/>
                  <a:pt x="5597068" y="1762664"/>
                </a:cubicBezTo>
                <a:close/>
                <a:moveTo>
                  <a:pt x="654642" y="1762664"/>
                </a:moveTo>
                <a:cubicBezTo>
                  <a:pt x="618647" y="1762664"/>
                  <a:pt x="584903" y="1776189"/>
                  <a:pt x="560157" y="1800986"/>
                </a:cubicBezTo>
                <a:cubicBezTo>
                  <a:pt x="519664" y="1843817"/>
                  <a:pt x="517414" y="1913699"/>
                  <a:pt x="517414" y="1967800"/>
                </a:cubicBezTo>
                <a:cubicBezTo>
                  <a:pt x="517414" y="2019648"/>
                  <a:pt x="519664" y="2089530"/>
                  <a:pt x="560157" y="2132361"/>
                </a:cubicBezTo>
                <a:cubicBezTo>
                  <a:pt x="584903" y="2159412"/>
                  <a:pt x="618647" y="2170683"/>
                  <a:pt x="654642" y="2170683"/>
                </a:cubicBezTo>
                <a:cubicBezTo>
                  <a:pt x="688386" y="2170683"/>
                  <a:pt x="722130" y="2159412"/>
                  <a:pt x="746876" y="2132361"/>
                </a:cubicBezTo>
                <a:cubicBezTo>
                  <a:pt x="789619" y="2089530"/>
                  <a:pt x="791868" y="2019648"/>
                  <a:pt x="791868" y="1967800"/>
                </a:cubicBezTo>
                <a:cubicBezTo>
                  <a:pt x="791868" y="1913699"/>
                  <a:pt x="789619" y="1843817"/>
                  <a:pt x="746876" y="1800986"/>
                </a:cubicBezTo>
                <a:cubicBezTo>
                  <a:pt x="722130" y="1776189"/>
                  <a:pt x="688386" y="1762664"/>
                  <a:pt x="654642" y="1762664"/>
                </a:cubicBezTo>
                <a:close/>
                <a:moveTo>
                  <a:pt x="6386687" y="1710816"/>
                </a:moveTo>
                <a:cubicBezTo>
                  <a:pt x="6386687" y="1710816"/>
                  <a:pt x="6386687" y="1710816"/>
                  <a:pt x="6575655" y="1710816"/>
                </a:cubicBezTo>
                <a:cubicBezTo>
                  <a:pt x="6636395" y="1710816"/>
                  <a:pt x="6679138" y="1726596"/>
                  <a:pt x="6706134" y="1755901"/>
                </a:cubicBezTo>
                <a:cubicBezTo>
                  <a:pt x="6730880" y="1782952"/>
                  <a:pt x="6744377" y="1821274"/>
                  <a:pt x="6744377" y="1864105"/>
                </a:cubicBezTo>
                <a:cubicBezTo>
                  <a:pt x="6744377" y="1915953"/>
                  <a:pt x="6730880" y="1954275"/>
                  <a:pt x="6701634" y="1981326"/>
                </a:cubicBezTo>
                <a:cubicBezTo>
                  <a:pt x="6674639" y="2008377"/>
                  <a:pt x="6634146" y="2024157"/>
                  <a:pt x="6577905" y="2024157"/>
                </a:cubicBezTo>
                <a:cubicBezTo>
                  <a:pt x="6577905" y="2024157"/>
                  <a:pt x="6577905" y="2024157"/>
                  <a:pt x="6449676" y="2024157"/>
                </a:cubicBezTo>
                <a:cubicBezTo>
                  <a:pt x="6449676" y="2024157"/>
                  <a:pt x="6449676" y="2024157"/>
                  <a:pt x="6449676" y="2222531"/>
                </a:cubicBezTo>
                <a:cubicBezTo>
                  <a:pt x="6449676" y="2222531"/>
                  <a:pt x="6449676" y="2222531"/>
                  <a:pt x="6386687" y="2222531"/>
                </a:cubicBezTo>
                <a:cubicBezTo>
                  <a:pt x="6386687" y="2222531"/>
                  <a:pt x="6386687" y="2222531"/>
                  <a:pt x="6386687" y="1710816"/>
                </a:cubicBezTo>
                <a:close/>
                <a:moveTo>
                  <a:pt x="5889520" y="1710816"/>
                </a:moveTo>
                <a:cubicBezTo>
                  <a:pt x="5889520" y="1710816"/>
                  <a:pt x="5889520" y="1710816"/>
                  <a:pt x="5954759" y="1710816"/>
                </a:cubicBezTo>
                <a:cubicBezTo>
                  <a:pt x="5954759" y="1710816"/>
                  <a:pt x="5954759" y="1710816"/>
                  <a:pt x="5954759" y="2035428"/>
                </a:cubicBezTo>
                <a:cubicBezTo>
                  <a:pt x="5954759" y="2118835"/>
                  <a:pt x="5988503" y="2172937"/>
                  <a:pt x="6076239" y="2172937"/>
                </a:cubicBezTo>
                <a:cubicBezTo>
                  <a:pt x="6166224" y="2172937"/>
                  <a:pt x="6199968" y="2118835"/>
                  <a:pt x="6199968" y="2035428"/>
                </a:cubicBezTo>
                <a:cubicBezTo>
                  <a:pt x="6199968" y="2035428"/>
                  <a:pt x="6199968" y="2035428"/>
                  <a:pt x="6199968" y="1710816"/>
                </a:cubicBezTo>
                <a:cubicBezTo>
                  <a:pt x="6199968" y="1710816"/>
                  <a:pt x="6199968" y="1710816"/>
                  <a:pt x="6262957" y="1710816"/>
                </a:cubicBezTo>
                <a:cubicBezTo>
                  <a:pt x="6262957" y="1710816"/>
                  <a:pt x="6262957" y="1710816"/>
                  <a:pt x="6262957" y="2035428"/>
                </a:cubicBezTo>
                <a:cubicBezTo>
                  <a:pt x="6262957" y="2163920"/>
                  <a:pt x="6190969" y="2231547"/>
                  <a:pt x="6076239" y="2231547"/>
                </a:cubicBezTo>
                <a:cubicBezTo>
                  <a:pt x="5961508" y="2231547"/>
                  <a:pt x="5889520" y="2163920"/>
                  <a:pt x="5889520" y="2035428"/>
                </a:cubicBezTo>
                <a:cubicBezTo>
                  <a:pt x="5889520" y="2035428"/>
                  <a:pt x="5889520" y="2035428"/>
                  <a:pt x="5889520" y="1710816"/>
                </a:cubicBezTo>
                <a:close/>
                <a:moveTo>
                  <a:pt x="4958174" y="1710816"/>
                </a:moveTo>
                <a:cubicBezTo>
                  <a:pt x="4958174" y="1710816"/>
                  <a:pt x="4958174" y="1710816"/>
                  <a:pt x="5158391" y="1710816"/>
                </a:cubicBezTo>
                <a:cubicBezTo>
                  <a:pt x="5219131" y="1710816"/>
                  <a:pt x="5259624" y="1726596"/>
                  <a:pt x="5288869" y="1755901"/>
                </a:cubicBezTo>
                <a:cubicBezTo>
                  <a:pt x="5313615" y="1782952"/>
                  <a:pt x="5329363" y="1814512"/>
                  <a:pt x="5329363" y="1859597"/>
                </a:cubicBezTo>
                <a:cubicBezTo>
                  <a:pt x="5329363" y="1904682"/>
                  <a:pt x="5313615" y="1936241"/>
                  <a:pt x="5288869" y="1961038"/>
                </a:cubicBezTo>
                <a:cubicBezTo>
                  <a:pt x="5275372" y="1976817"/>
                  <a:pt x="5252875" y="1990343"/>
                  <a:pt x="5228130" y="1997106"/>
                </a:cubicBezTo>
                <a:cubicBezTo>
                  <a:pt x="5228130" y="1997106"/>
                  <a:pt x="5228130" y="1997106"/>
                  <a:pt x="5331612" y="2222531"/>
                </a:cubicBezTo>
                <a:lnTo>
                  <a:pt x="5259624" y="2222531"/>
                </a:lnTo>
                <a:cubicBezTo>
                  <a:pt x="5259624" y="2222531"/>
                  <a:pt x="5259624" y="2222531"/>
                  <a:pt x="5162890" y="2010631"/>
                </a:cubicBezTo>
                <a:cubicBezTo>
                  <a:pt x="5162890" y="2010631"/>
                  <a:pt x="5162890" y="2010631"/>
                  <a:pt x="5021164" y="2010631"/>
                </a:cubicBezTo>
                <a:cubicBezTo>
                  <a:pt x="5021164" y="2010631"/>
                  <a:pt x="5021164" y="2010631"/>
                  <a:pt x="5021164" y="2222531"/>
                </a:cubicBezTo>
                <a:cubicBezTo>
                  <a:pt x="5021164" y="2222531"/>
                  <a:pt x="5021164" y="2222531"/>
                  <a:pt x="4958174" y="2222531"/>
                </a:cubicBezTo>
                <a:cubicBezTo>
                  <a:pt x="4958174" y="2222531"/>
                  <a:pt x="4958174" y="2222531"/>
                  <a:pt x="4958174" y="1710816"/>
                </a:cubicBezTo>
                <a:close/>
                <a:moveTo>
                  <a:pt x="3309199" y="1710816"/>
                </a:moveTo>
                <a:cubicBezTo>
                  <a:pt x="3309199" y="1710816"/>
                  <a:pt x="3309199" y="1710816"/>
                  <a:pt x="3381187" y="1710816"/>
                </a:cubicBezTo>
                <a:cubicBezTo>
                  <a:pt x="3381187" y="1710816"/>
                  <a:pt x="3381187" y="1710816"/>
                  <a:pt x="3633145" y="2123344"/>
                </a:cubicBezTo>
                <a:cubicBezTo>
                  <a:pt x="3633145" y="2123344"/>
                  <a:pt x="3633145" y="2123344"/>
                  <a:pt x="3633145" y="1710816"/>
                </a:cubicBezTo>
                <a:cubicBezTo>
                  <a:pt x="3633145" y="1710816"/>
                  <a:pt x="3633145" y="1710816"/>
                  <a:pt x="3693885" y="1710816"/>
                </a:cubicBezTo>
                <a:cubicBezTo>
                  <a:pt x="3693885" y="1710816"/>
                  <a:pt x="3693885" y="1710816"/>
                  <a:pt x="3693885" y="2222531"/>
                </a:cubicBezTo>
                <a:lnTo>
                  <a:pt x="3621897" y="2222531"/>
                </a:lnTo>
                <a:cubicBezTo>
                  <a:pt x="3621897" y="2222531"/>
                  <a:pt x="3621897" y="2222531"/>
                  <a:pt x="3372188" y="1810003"/>
                </a:cubicBezTo>
                <a:cubicBezTo>
                  <a:pt x="3372188" y="1810003"/>
                  <a:pt x="3372188" y="1810003"/>
                  <a:pt x="3372188" y="2222531"/>
                </a:cubicBezTo>
                <a:cubicBezTo>
                  <a:pt x="3372188" y="2222531"/>
                  <a:pt x="3372188" y="2222531"/>
                  <a:pt x="3309199" y="2222531"/>
                </a:cubicBezTo>
                <a:cubicBezTo>
                  <a:pt x="3309199" y="2222531"/>
                  <a:pt x="3309199" y="2222531"/>
                  <a:pt x="3309199" y="1710816"/>
                </a:cubicBezTo>
                <a:close/>
                <a:moveTo>
                  <a:pt x="3106732" y="1710816"/>
                </a:moveTo>
                <a:cubicBezTo>
                  <a:pt x="3106732" y="1710816"/>
                  <a:pt x="3106732" y="1710816"/>
                  <a:pt x="3171971" y="1710816"/>
                </a:cubicBezTo>
                <a:lnTo>
                  <a:pt x="3171971" y="2222531"/>
                </a:lnTo>
                <a:cubicBezTo>
                  <a:pt x="3171971" y="2222531"/>
                  <a:pt x="3171971" y="2222531"/>
                  <a:pt x="3106732" y="2222531"/>
                </a:cubicBezTo>
                <a:cubicBezTo>
                  <a:pt x="3106732" y="2222531"/>
                  <a:pt x="3106732" y="2222531"/>
                  <a:pt x="3106732" y="1710816"/>
                </a:cubicBezTo>
                <a:close/>
                <a:moveTo>
                  <a:pt x="2663557" y="1710816"/>
                </a:moveTo>
                <a:cubicBezTo>
                  <a:pt x="2663557" y="1710816"/>
                  <a:pt x="2663557" y="1710816"/>
                  <a:pt x="3032495" y="1710816"/>
                </a:cubicBezTo>
                <a:cubicBezTo>
                  <a:pt x="3032495" y="1710816"/>
                  <a:pt x="3032495" y="1710816"/>
                  <a:pt x="3032495" y="1769427"/>
                </a:cubicBezTo>
                <a:lnTo>
                  <a:pt x="2879521" y="1769427"/>
                </a:lnTo>
                <a:cubicBezTo>
                  <a:pt x="2879521" y="1769427"/>
                  <a:pt x="2879521" y="1769427"/>
                  <a:pt x="2879521" y="2222531"/>
                </a:cubicBezTo>
                <a:cubicBezTo>
                  <a:pt x="2879521" y="2222531"/>
                  <a:pt x="2879521" y="2222531"/>
                  <a:pt x="2814282" y="2222531"/>
                </a:cubicBezTo>
                <a:cubicBezTo>
                  <a:pt x="2814282" y="2222531"/>
                  <a:pt x="2814282" y="2222531"/>
                  <a:pt x="2814282" y="1769427"/>
                </a:cubicBezTo>
                <a:cubicBezTo>
                  <a:pt x="2814282" y="1769427"/>
                  <a:pt x="2814282" y="1769427"/>
                  <a:pt x="2663557" y="1769427"/>
                </a:cubicBezTo>
                <a:cubicBezTo>
                  <a:pt x="2663557" y="1769427"/>
                  <a:pt x="2663557" y="1769427"/>
                  <a:pt x="2663557" y="1710816"/>
                </a:cubicBezTo>
                <a:close/>
                <a:moveTo>
                  <a:pt x="2416099" y="1710816"/>
                </a:moveTo>
                <a:cubicBezTo>
                  <a:pt x="2416099" y="1710816"/>
                  <a:pt x="2416099" y="1710816"/>
                  <a:pt x="2481338" y="1710816"/>
                </a:cubicBezTo>
                <a:cubicBezTo>
                  <a:pt x="2481338" y="1710816"/>
                  <a:pt x="2481338" y="1710816"/>
                  <a:pt x="2481338" y="2163920"/>
                </a:cubicBezTo>
                <a:cubicBezTo>
                  <a:pt x="2481338" y="2163920"/>
                  <a:pt x="2481338" y="2163920"/>
                  <a:pt x="2726547" y="2163920"/>
                </a:cubicBezTo>
                <a:cubicBezTo>
                  <a:pt x="2726547" y="2163920"/>
                  <a:pt x="2726547" y="2163920"/>
                  <a:pt x="2726547" y="2222531"/>
                </a:cubicBezTo>
                <a:lnTo>
                  <a:pt x="2416099" y="2222531"/>
                </a:lnTo>
                <a:cubicBezTo>
                  <a:pt x="2416099" y="2222531"/>
                  <a:pt x="2416099" y="2222531"/>
                  <a:pt x="2416099" y="1710816"/>
                </a:cubicBezTo>
                <a:close/>
                <a:moveTo>
                  <a:pt x="1918931" y="1710816"/>
                </a:moveTo>
                <a:cubicBezTo>
                  <a:pt x="1918931" y="1710816"/>
                  <a:pt x="1918931" y="1710816"/>
                  <a:pt x="1984171" y="1710816"/>
                </a:cubicBezTo>
                <a:cubicBezTo>
                  <a:pt x="1984171" y="1710816"/>
                  <a:pt x="1984171" y="1710816"/>
                  <a:pt x="1984171" y="2035428"/>
                </a:cubicBezTo>
                <a:cubicBezTo>
                  <a:pt x="1984171" y="2118835"/>
                  <a:pt x="2017916" y="2172937"/>
                  <a:pt x="2105651" y="2172937"/>
                </a:cubicBezTo>
                <a:cubicBezTo>
                  <a:pt x="2195636" y="2172937"/>
                  <a:pt x="2229380" y="2118835"/>
                  <a:pt x="2229380" y="2035428"/>
                </a:cubicBezTo>
                <a:cubicBezTo>
                  <a:pt x="2229380" y="2035428"/>
                  <a:pt x="2229380" y="2035428"/>
                  <a:pt x="2229380" y="1710816"/>
                </a:cubicBezTo>
                <a:cubicBezTo>
                  <a:pt x="2229380" y="1710816"/>
                  <a:pt x="2229380" y="1710816"/>
                  <a:pt x="2292369" y="1710816"/>
                </a:cubicBezTo>
                <a:cubicBezTo>
                  <a:pt x="2292369" y="1710816"/>
                  <a:pt x="2292369" y="1710816"/>
                  <a:pt x="2292369" y="2035428"/>
                </a:cubicBezTo>
                <a:cubicBezTo>
                  <a:pt x="2292369" y="2163920"/>
                  <a:pt x="2220382" y="2231547"/>
                  <a:pt x="2105651" y="2231547"/>
                </a:cubicBezTo>
                <a:cubicBezTo>
                  <a:pt x="1990920" y="2231547"/>
                  <a:pt x="1918931" y="2163920"/>
                  <a:pt x="1918931" y="2035428"/>
                </a:cubicBezTo>
                <a:cubicBezTo>
                  <a:pt x="1918931" y="2035428"/>
                  <a:pt x="1918931" y="2035428"/>
                  <a:pt x="1918931" y="1710816"/>
                </a:cubicBezTo>
                <a:close/>
                <a:moveTo>
                  <a:pt x="960591" y="1710816"/>
                </a:moveTo>
                <a:cubicBezTo>
                  <a:pt x="960591" y="1710816"/>
                  <a:pt x="960591" y="1710816"/>
                  <a:pt x="1032578" y="1710816"/>
                </a:cubicBezTo>
                <a:cubicBezTo>
                  <a:pt x="1032578" y="1710816"/>
                  <a:pt x="1032578" y="1710816"/>
                  <a:pt x="1284537" y="2123344"/>
                </a:cubicBezTo>
                <a:cubicBezTo>
                  <a:pt x="1284537" y="2123344"/>
                  <a:pt x="1284537" y="2123344"/>
                  <a:pt x="1284537" y="1710816"/>
                </a:cubicBezTo>
                <a:cubicBezTo>
                  <a:pt x="1284537" y="1710816"/>
                  <a:pt x="1284537" y="1710816"/>
                  <a:pt x="1345276" y="1710816"/>
                </a:cubicBezTo>
                <a:cubicBezTo>
                  <a:pt x="1345276" y="1710816"/>
                  <a:pt x="1345276" y="1710816"/>
                  <a:pt x="1345276" y="2222531"/>
                </a:cubicBezTo>
                <a:lnTo>
                  <a:pt x="1273289" y="2222531"/>
                </a:lnTo>
                <a:cubicBezTo>
                  <a:pt x="1273289" y="2222531"/>
                  <a:pt x="1273289" y="2222531"/>
                  <a:pt x="1023580" y="1810003"/>
                </a:cubicBezTo>
                <a:cubicBezTo>
                  <a:pt x="1023580" y="1810003"/>
                  <a:pt x="1023580" y="1810003"/>
                  <a:pt x="1023580" y="2222531"/>
                </a:cubicBezTo>
                <a:cubicBezTo>
                  <a:pt x="1023580" y="2222531"/>
                  <a:pt x="1023580" y="2222531"/>
                  <a:pt x="960591" y="2222531"/>
                </a:cubicBezTo>
                <a:cubicBezTo>
                  <a:pt x="960591" y="2222531"/>
                  <a:pt x="960591" y="2222531"/>
                  <a:pt x="960591" y="1710816"/>
                </a:cubicBezTo>
                <a:close/>
                <a:moveTo>
                  <a:pt x="5597068" y="1701799"/>
                </a:moveTo>
                <a:cubicBezTo>
                  <a:pt x="5648810" y="1701799"/>
                  <a:pt x="5698301" y="1719833"/>
                  <a:pt x="5736545" y="1755901"/>
                </a:cubicBezTo>
                <a:cubicBezTo>
                  <a:pt x="5790536" y="1810003"/>
                  <a:pt x="5801784" y="1884393"/>
                  <a:pt x="5801784" y="1967800"/>
                </a:cubicBezTo>
                <a:cubicBezTo>
                  <a:pt x="5801784" y="2048953"/>
                  <a:pt x="5790536" y="2123344"/>
                  <a:pt x="5736545" y="2177446"/>
                </a:cubicBezTo>
                <a:cubicBezTo>
                  <a:pt x="5698301" y="2213514"/>
                  <a:pt x="5648810" y="2233802"/>
                  <a:pt x="5597068" y="2233802"/>
                </a:cubicBezTo>
                <a:cubicBezTo>
                  <a:pt x="5547576" y="2233802"/>
                  <a:pt x="5495835" y="2213514"/>
                  <a:pt x="5459841" y="2177446"/>
                </a:cubicBezTo>
                <a:cubicBezTo>
                  <a:pt x="5403600" y="2123344"/>
                  <a:pt x="5394602" y="2048953"/>
                  <a:pt x="5394602" y="1967800"/>
                </a:cubicBezTo>
                <a:cubicBezTo>
                  <a:pt x="5394602" y="1884393"/>
                  <a:pt x="5403600" y="1810003"/>
                  <a:pt x="5459841" y="1755901"/>
                </a:cubicBezTo>
                <a:cubicBezTo>
                  <a:pt x="5495835" y="1719833"/>
                  <a:pt x="5547576" y="1701799"/>
                  <a:pt x="5597068" y="1701799"/>
                </a:cubicBezTo>
                <a:close/>
                <a:moveTo>
                  <a:pt x="4645477" y="1701799"/>
                </a:moveTo>
                <a:cubicBezTo>
                  <a:pt x="4701717" y="1701799"/>
                  <a:pt x="4755708" y="1722087"/>
                  <a:pt x="4791702" y="1758155"/>
                </a:cubicBezTo>
                <a:cubicBezTo>
                  <a:pt x="4816448" y="1785206"/>
                  <a:pt x="4832195" y="1816766"/>
                  <a:pt x="4834445" y="1859597"/>
                </a:cubicBezTo>
                <a:cubicBezTo>
                  <a:pt x="4834445" y="1859597"/>
                  <a:pt x="4834445" y="1859597"/>
                  <a:pt x="4766956" y="1859597"/>
                </a:cubicBezTo>
                <a:cubicBezTo>
                  <a:pt x="4764707" y="1834800"/>
                  <a:pt x="4757958" y="1819020"/>
                  <a:pt x="4744460" y="1803240"/>
                </a:cubicBezTo>
                <a:cubicBezTo>
                  <a:pt x="4721964" y="1773935"/>
                  <a:pt x="4685970" y="1762664"/>
                  <a:pt x="4645477" y="1762664"/>
                </a:cubicBezTo>
                <a:cubicBezTo>
                  <a:pt x="4609482" y="1762664"/>
                  <a:pt x="4575738" y="1776189"/>
                  <a:pt x="4550992" y="1800986"/>
                </a:cubicBezTo>
                <a:cubicBezTo>
                  <a:pt x="4510499" y="1843817"/>
                  <a:pt x="4506000" y="1913699"/>
                  <a:pt x="4506000" y="1967800"/>
                </a:cubicBezTo>
                <a:cubicBezTo>
                  <a:pt x="4506000" y="2017394"/>
                  <a:pt x="4510499" y="2091784"/>
                  <a:pt x="4553242" y="2134615"/>
                </a:cubicBezTo>
                <a:cubicBezTo>
                  <a:pt x="4577988" y="2161666"/>
                  <a:pt x="4609482" y="2172937"/>
                  <a:pt x="4645477" y="2172937"/>
                </a:cubicBezTo>
                <a:cubicBezTo>
                  <a:pt x="4681471" y="2172937"/>
                  <a:pt x="4715215" y="2159412"/>
                  <a:pt x="4737711" y="2136869"/>
                </a:cubicBezTo>
                <a:cubicBezTo>
                  <a:pt x="4771456" y="2103055"/>
                  <a:pt x="4780454" y="2053462"/>
                  <a:pt x="4780454" y="2006123"/>
                </a:cubicBezTo>
                <a:cubicBezTo>
                  <a:pt x="4780454" y="2006123"/>
                  <a:pt x="4780454" y="2006123"/>
                  <a:pt x="4645477" y="2006123"/>
                </a:cubicBezTo>
                <a:cubicBezTo>
                  <a:pt x="4645477" y="2006123"/>
                  <a:pt x="4645477" y="2006123"/>
                  <a:pt x="4645477" y="1947512"/>
                </a:cubicBezTo>
                <a:cubicBezTo>
                  <a:pt x="4645477" y="1947512"/>
                  <a:pt x="4645477" y="1947512"/>
                  <a:pt x="4838944" y="1947512"/>
                </a:cubicBezTo>
                <a:cubicBezTo>
                  <a:pt x="4838944" y="1947512"/>
                  <a:pt x="4838944" y="1947512"/>
                  <a:pt x="4838944" y="2222531"/>
                </a:cubicBezTo>
                <a:lnTo>
                  <a:pt x="4793952" y="2222531"/>
                </a:lnTo>
                <a:cubicBezTo>
                  <a:pt x="4793952" y="2222531"/>
                  <a:pt x="4793952" y="2222531"/>
                  <a:pt x="4782704" y="2161666"/>
                </a:cubicBezTo>
                <a:cubicBezTo>
                  <a:pt x="4757958" y="2204497"/>
                  <a:pt x="4701717" y="2233802"/>
                  <a:pt x="4645477" y="2233802"/>
                </a:cubicBezTo>
                <a:cubicBezTo>
                  <a:pt x="4593735" y="2233802"/>
                  <a:pt x="4544243" y="2215768"/>
                  <a:pt x="4506000" y="2179700"/>
                </a:cubicBezTo>
                <a:cubicBezTo>
                  <a:pt x="4454258" y="2130106"/>
                  <a:pt x="4440761" y="2057970"/>
                  <a:pt x="4440761" y="1967800"/>
                </a:cubicBezTo>
                <a:cubicBezTo>
                  <a:pt x="4440761" y="1884393"/>
                  <a:pt x="4452009" y="1810003"/>
                  <a:pt x="4506000" y="1755901"/>
                </a:cubicBezTo>
                <a:cubicBezTo>
                  <a:pt x="4544243" y="1719833"/>
                  <a:pt x="4593735" y="1701799"/>
                  <a:pt x="4645477" y="1701799"/>
                </a:cubicBezTo>
                <a:close/>
                <a:moveTo>
                  <a:pt x="4002083" y="1701799"/>
                </a:moveTo>
                <a:cubicBezTo>
                  <a:pt x="4060574" y="1701799"/>
                  <a:pt x="4112315" y="1722087"/>
                  <a:pt x="4148309" y="1758155"/>
                </a:cubicBezTo>
                <a:cubicBezTo>
                  <a:pt x="4173055" y="1785206"/>
                  <a:pt x="4191052" y="1816766"/>
                  <a:pt x="4193302" y="1859597"/>
                </a:cubicBezTo>
                <a:cubicBezTo>
                  <a:pt x="4193302" y="1859597"/>
                  <a:pt x="4193302" y="1859597"/>
                  <a:pt x="4125813" y="1859597"/>
                </a:cubicBezTo>
                <a:cubicBezTo>
                  <a:pt x="4123563" y="1834800"/>
                  <a:pt x="4114565" y="1819020"/>
                  <a:pt x="4103317" y="1803240"/>
                </a:cubicBezTo>
                <a:cubicBezTo>
                  <a:pt x="4078571" y="1773935"/>
                  <a:pt x="4044826" y="1762664"/>
                  <a:pt x="4002083" y="1762664"/>
                </a:cubicBezTo>
                <a:cubicBezTo>
                  <a:pt x="3968339" y="1762664"/>
                  <a:pt x="3934595" y="1776189"/>
                  <a:pt x="3909849" y="1800986"/>
                </a:cubicBezTo>
                <a:cubicBezTo>
                  <a:pt x="3867106" y="1843817"/>
                  <a:pt x="3864856" y="1913699"/>
                  <a:pt x="3864856" y="1967800"/>
                </a:cubicBezTo>
                <a:cubicBezTo>
                  <a:pt x="3864856" y="2017394"/>
                  <a:pt x="3867106" y="2091784"/>
                  <a:pt x="3909849" y="2134615"/>
                </a:cubicBezTo>
                <a:cubicBezTo>
                  <a:pt x="3934595" y="2161666"/>
                  <a:pt x="3968339" y="2172937"/>
                  <a:pt x="4002083" y="2172937"/>
                </a:cubicBezTo>
                <a:cubicBezTo>
                  <a:pt x="4038077" y="2172937"/>
                  <a:pt x="4071822" y="2159412"/>
                  <a:pt x="4094318" y="2136869"/>
                </a:cubicBezTo>
                <a:cubicBezTo>
                  <a:pt x="4130312" y="2103055"/>
                  <a:pt x="4139311" y="2053462"/>
                  <a:pt x="4139311" y="2006123"/>
                </a:cubicBezTo>
                <a:cubicBezTo>
                  <a:pt x="4139311" y="2006123"/>
                  <a:pt x="4139311" y="2006123"/>
                  <a:pt x="4002083" y="2006123"/>
                </a:cubicBezTo>
                <a:cubicBezTo>
                  <a:pt x="4002083" y="2006123"/>
                  <a:pt x="4002083" y="2006123"/>
                  <a:pt x="4002083" y="1947512"/>
                </a:cubicBezTo>
                <a:cubicBezTo>
                  <a:pt x="4002083" y="1947512"/>
                  <a:pt x="4002083" y="1947512"/>
                  <a:pt x="4197801" y="1947512"/>
                </a:cubicBezTo>
                <a:cubicBezTo>
                  <a:pt x="4197801" y="1947512"/>
                  <a:pt x="4197801" y="1947512"/>
                  <a:pt x="4197801" y="2222531"/>
                </a:cubicBezTo>
                <a:lnTo>
                  <a:pt x="4152808" y="2222531"/>
                </a:lnTo>
                <a:cubicBezTo>
                  <a:pt x="4152808" y="2222531"/>
                  <a:pt x="4152808" y="2222531"/>
                  <a:pt x="4141560" y="2161666"/>
                </a:cubicBezTo>
                <a:cubicBezTo>
                  <a:pt x="4116814" y="2204497"/>
                  <a:pt x="4060574" y="2233802"/>
                  <a:pt x="4002083" y="2233802"/>
                </a:cubicBezTo>
                <a:cubicBezTo>
                  <a:pt x="3950342" y="2233802"/>
                  <a:pt x="3900850" y="2215768"/>
                  <a:pt x="3864856" y="2179700"/>
                </a:cubicBezTo>
                <a:cubicBezTo>
                  <a:pt x="3813115" y="2130106"/>
                  <a:pt x="3797367" y="2057970"/>
                  <a:pt x="3797367" y="1967800"/>
                </a:cubicBezTo>
                <a:cubicBezTo>
                  <a:pt x="3797367" y="1884393"/>
                  <a:pt x="3808616" y="1810003"/>
                  <a:pt x="3864856" y="1755901"/>
                </a:cubicBezTo>
                <a:cubicBezTo>
                  <a:pt x="3900850" y="1719833"/>
                  <a:pt x="3950342" y="1701799"/>
                  <a:pt x="4002083" y="1701799"/>
                </a:cubicBezTo>
                <a:close/>
                <a:moveTo>
                  <a:pt x="1642228" y="1701799"/>
                </a:moveTo>
                <a:cubicBezTo>
                  <a:pt x="1691719" y="1701799"/>
                  <a:pt x="1741211" y="1717579"/>
                  <a:pt x="1774955" y="1749138"/>
                </a:cubicBezTo>
                <a:cubicBezTo>
                  <a:pt x="1806450" y="1780698"/>
                  <a:pt x="1822198" y="1816766"/>
                  <a:pt x="1824447" y="1859597"/>
                </a:cubicBezTo>
                <a:cubicBezTo>
                  <a:pt x="1824447" y="1859597"/>
                  <a:pt x="1824447" y="1859597"/>
                  <a:pt x="1756958" y="1859597"/>
                </a:cubicBezTo>
                <a:cubicBezTo>
                  <a:pt x="1754708" y="1834800"/>
                  <a:pt x="1745710" y="1812257"/>
                  <a:pt x="1732212" y="1796478"/>
                </a:cubicBezTo>
                <a:cubicBezTo>
                  <a:pt x="1711966" y="1773935"/>
                  <a:pt x="1680471" y="1760410"/>
                  <a:pt x="1639978" y="1760410"/>
                </a:cubicBezTo>
                <a:cubicBezTo>
                  <a:pt x="1603983" y="1760410"/>
                  <a:pt x="1572489" y="1769427"/>
                  <a:pt x="1549993" y="1796478"/>
                </a:cubicBezTo>
                <a:cubicBezTo>
                  <a:pt x="1536494" y="1810003"/>
                  <a:pt x="1529746" y="1828037"/>
                  <a:pt x="1529746" y="1850580"/>
                </a:cubicBezTo>
                <a:cubicBezTo>
                  <a:pt x="1529746" y="1897919"/>
                  <a:pt x="1567989" y="1918207"/>
                  <a:pt x="1606234" y="1922716"/>
                </a:cubicBezTo>
                <a:cubicBezTo>
                  <a:pt x="1635478" y="1927224"/>
                  <a:pt x="1662474" y="1931733"/>
                  <a:pt x="1691719" y="1936241"/>
                </a:cubicBezTo>
                <a:cubicBezTo>
                  <a:pt x="1774955" y="1949767"/>
                  <a:pt x="1833445" y="2001614"/>
                  <a:pt x="1833445" y="2082767"/>
                </a:cubicBezTo>
                <a:cubicBezTo>
                  <a:pt x="1833445" y="2125598"/>
                  <a:pt x="1815448" y="2157157"/>
                  <a:pt x="1790703" y="2181954"/>
                </a:cubicBezTo>
                <a:cubicBezTo>
                  <a:pt x="1754708" y="2215768"/>
                  <a:pt x="1698468" y="2231547"/>
                  <a:pt x="1644477" y="2231547"/>
                </a:cubicBezTo>
                <a:cubicBezTo>
                  <a:pt x="1581488" y="2231547"/>
                  <a:pt x="1531996" y="2215768"/>
                  <a:pt x="1498251" y="2184208"/>
                </a:cubicBezTo>
                <a:cubicBezTo>
                  <a:pt x="1466757" y="2152649"/>
                  <a:pt x="1444260" y="2109818"/>
                  <a:pt x="1444260" y="2060225"/>
                </a:cubicBezTo>
                <a:cubicBezTo>
                  <a:pt x="1444260" y="2060225"/>
                  <a:pt x="1444260" y="2060225"/>
                  <a:pt x="1509499" y="2060225"/>
                </a:cubicBezTo>
                <a:cubicBezTo>
                  <a:pt x="1509499" y="2091784"/>
                  <a:pt x="1525247" y="2121089"/>
                  <a:pt x="1545494" y="2141378"/>
                </a:cubicBezTo>
                <a:cubicBezTo>
                  <a:pt x="1570239" y="2163920"/>
                  <a:pt x="1608483" y="2172937"/>
                  <a:pt x="1644477" y="2172937"/>
                </a:cubicBezTo>
                <a:cubicBezTo>
                  <a:pt x="1682720" y="2172937"/>
                  <a:pt x="1716465" y="2166174"/>
                  <a:pt x="1738962" y="2143632"/>
                </a:cubicBezTo>
                <a:cubicBezTo>
                  <a:pt x="1754708" y="2130106"/>
                  <a:pt x="1765956" y="2109818"/>
                  <a:pt x="1765956" y="2082767"/>
                </a:cubicBezTo>
                <a:cubicBezTo>
                  <a:pt x="1765956" y="2044445"/>
                  <a:pt x="1741211" y="2010631"/>
                  <a:pt x="1680471" y="2001614"/>
                </a:cubicBezTo>
                <a:cubicBezTo>
                  <a:pt x="1680471" y="2001614"/>
                  <a:pt x="1680471" y="2001614"/>
                  <a:pt x="1599484" y="1988089"/>
                </a:cubicBezTo>
                <a:cubicBezTo>
                  <a:pt x="1522997" y="1976817"/>
                  <a:pt x="1462257" y="1933987"/>
                  <a:pt x="1462257" y="1852834"/>
                </a:cubicBezTo>
                <a:cubicBezTo>
                  <a:pt x="1462257" y="1814512"/>
                  <a:pt x="1480254" y="1778444"/>
                  <a:pt x="1507249" y="1751393"/>
                </a:cubicBezTo>
                <a:cubicBezTo>
                  <a:pt x="1543244" y="1717579"/>
                  <a:pt x="1588236" y="1701799"/>
                  <a:pt x="1642228" y="1701799"/>
                </a:cubicBezTo>
                <a:close/>
                <a:moveTo>
                  <a:pt x="654642" y="1701799"/>
                </a:moveTo>
                <a:cubicBezTo>
                  <a:pt x="704133" y="1701799"/>
                  <a:pt x="755874" y="1719833"/>
                  <a:pt x="791868" y="1755901"/>
                </a:cubicBezTo>
                <a:cubicBezTo>
                  <a:pt x="848110" y="1810003"/>
                  <a:pt x="857108" y="1884393"/>
                  <a:pt x="857108" y="1967800"/>
                </a:cubicBezTo>
                <a:cubicBezTo>
                  <a:pt x="857108" y="2048953"/>
                  <a:pt x="848110" y="2123344"/>
                  <a:pt x="791868" y="2177446"/>
                </a:cubicBezTo>
                <a:cubicBezTo>
                  <a:pt x="755874" y="2213514"/>
                  <a:pt x="704133" y="2233802"/>
                  <a:pt x="654642" y="2233802"/>
                </a:cubicBezTo>
                <a:cubicBezTo>
                  <a:pt x="602900" y="2233802"/>
                  <a:pt x="553408" y="2213514"/>
                  <a:pt x="515164" y="2177446"/>
                </a:cubicBezTo>
                <a:cubicBezTo>
                  <a:pt x="461173" y="2123344"/>
                  <a:pt x="449925" y="2048953"/>
                  <a:pt x="449925" y="1967800"/>
                </a:cubicBezTo>
                <a:cubicBezTo>
                  <a:pt x="449925" y="1884393"/>
                  <a:pt x="461173" y="1810003"/>
                  <a:pt x="515164" y="1755901"/>
                </a:cubicBezTo>
                <a:cubicBezTo>
                  <a:pt x="553408" y="1719833"/>
                  <a:pt x="602900" y="1701799"/>
                  <a:pt x="654642" y="1701799"/>
                </a:cubicBezTo>
                <a:close/>
                <a:moveTo>
                  <a:pt x="202466" y="1701799"/>
                </a:moveTo>
                <a:cubicBezTo>
                  <a:pt x="258707" y="1701799"/>
                  <a:pt x="308199" y="1722087"/>
                  <a:pt x="339693" y="1753647"/>
                </a:cubicBezTo>
                <a:cubicBezTo>
                  <a:pt x="368939" y="1782952"/>
                  <a:pt x="386936" y="1823529"/>
                  <a:pt x="389185" y="1870868"/>
                </a:cubicBezTo>
                <a:cubicBezTo>
                  <a:pt x="389185" y="1870868"/>
                  <a:pt x="389185" y="1870868"/>
                  <a:pt x="323946" y="1870868"/>
                </a:cubicBezTo>
                <a:cubicBezTo>
                  <a:pt x="321697" y="1841563"/>
                  <a:pt x="312698" y="1819020"/>
                  <a:pt x="294701" y="1798732"/>
                </a:cubicBezTo>
                <a:cubicBezTo>
                  <a:pt x="274454" y="1776189"/>
                  <a:pt x="240710" y="1762664"/>
                  <a:pt x="202466" y="1762664"/>
                </a:cubicBezTo>
                <a:cubicBezTo>
                  <a:pt x="168722" y="1762664"/>
                  <a:pt x="134978" y="1776189"/>
                  <a:pt x="110232" y="1800986"/>
                </a:cubicBezTo>
                <a:cubicBezTo>
                  <a:pt x="67489" y="1843817"/>
                  <a:pt x="67489" y="1913699"/>
                  <a:pt x="67489" y="1967800"/>
                </a:cubicBezTo>
                <a:cubicBezTo>
                  <a:pt x="67489" y="2019648"/>
                  <a:pt x="67489" y="2089530"/>
                  <a:pt x="110232" y="2132361"/>
                </a:cubicBezTo>
                <a:cubicBezTo>
                  <a:pt x="134978" y="2159412"/>
                  <a:pt x="168722" y="2172937"/>
                  <a:pt x="202466" y="2172937"/>
                </a:cubicBezTo>
                <a:cubicBezTo>
                  <a:pt x="240710" y="2172937"/>
                  <a:pt x="276704" y="2154903"/>
                  <a:pt x="296951" y="2132361"/>
                </a:cubicBezTo>
                <a:cubicBezTo>
                  <a:pt x="312698" y="2114327"/>
                  <a:pt x="323946" y="2087276"/>
                  <a:pt x="323946" y="2060225"/>
                </a:cubicBezTo>
                <a:cubicBezTo>
                  <a:pt x="323946" y="2060225"/>
                  <a:pt x="323946" y="2060225"/>
                  <a:pt x="391435" y="2060225"/>
                </a:cubicBezTo>
                <a:cubicBezTo>
                  <a:pt x="389185" y="2107564"/>
                  <a:pt x="368939" y="2148140"/>
                  <a:pt x="339693" y="2177446"/>
                </a:cubicBezTo>
                <a:cubicBezTo>
                  <a:pt x="308199" y="2209005"/>
                  <a:pt x="258707" y="2233802"/>
                  <a:pt x="202466" y="2233802"/>
                </a:cubicBezTo>
                <a:cubicBezTo>
                  <a:pt x="150725" y="2233802"/>
                  <a:pt x="101233" y="2213514"/>
                  <a:pt x="65239" y="2177446"/>
                </a:cubicBezTo>
                <a:cubicBezTo>
                  <a:pt x="8999" y="2123344"/>
                  <a:pt x="0" y="2048953"/>
                  <a:pt x="0" y="1967800"/>
                </a:cubicBezTo>
                <a:cubicBezTo>
                  <a:pt x="0" y="1884393"/>
                  <a:pt x="8999" y="1810003"/>
                  <a:pt x="65239" y="1755901"/>
                </a:cubicBezTo>
                <a:cubicBezTo>
                  <a:pt x="101233" y="1719833"/>
                  <a:pt x="150725" y="1701799"/>
                  <a:pt x="202466" y="1701799"/>
                </a:cubicBezTo>
                <a:close/>
                <a:moveTo>
                  <a:pt x="2227389" y="214047"/>
                </a:moveTo>
                <a:cubicBezTo>
                  <a:pt x="2227389" y="214047"/>
                  <a:pt x="2227389" y="214047"/>
                  <a:pt x="2227389" y="574548"/>
                </a:cubicBezTo>
                <a:cubicBezTo>
                  <a:pt x="2227389" y="574548"/>
                  <a:pt x="2227389" y="574548"/>
                  <a:pt x="2456649" y="574548"/>
                </a:cubicBezTo>
                <a:cubicBezTo>
                  <a:pt x="2584765" y="574548"/>
                  <a:pt x="2654442" y="509207"/>
                  <a:pt x="2654442" y="394298"/>
                </a:cubicBezTo>
                <a:cubicBezTo>
                  <a:pt x="2654442" y="277135"/>
                  <a:pt x="2584765" y="214047"/>
                  <a:pt x="2456649" y="214047"/>
                </a:cubicBezTo>
                <a:cubicBezTo>
                  <a:pt x="2456649" y="214047"/>
                  <a:pt x="2456649" y="214047"/>
                  <a:pt x="2227389" y="214047"/>
                </a:cubicBezTo>
                <a:close/>
                <a:moveTo>
                  <a:pt x="8961436" y="0"/>
                </a:moveTo>
                <a:lnTo>
                  <a:pt x="9905999" y="0"/>
                </a:lnTo>
                <a:lnTo>
                  <a:pt x="9905999" y="225425"/>
                </a:lnTo>
                <a:lnTo>
                  <a:pt x="9555161" y="225425"/>
                </a:lnTo>
                <a:lnTo>
                  <a:pt x="9555161" y="1214437"/>
                </a:lnTo>
                <a:lnTo>
                  <a:pt x="9315449" y="1214437"/>
                </a:lnTo>
                <a:lnTo>
                  <a:pt x="9315449" y="225425"/>
                </a:lnTo>
                <a:lnTo>
                  <a:pt x="8961436" y="225425"/>
                </a:lnTo>
                <a:close/>
                <a:moveTo>
                  <a:pt x="7785099" y="0"/>
                </a:moveTo>
                <a:lnTo>
                  <a:pt x="8035924" y="0"/>
                </a:lnTo>
                <a:lnTo>
                  <a:pt x="8037512" y="3175"/>
                </a:lnTo>
                <a:lnTo>
                  <a:pt x="8523286" y="774700"/>
                </a:lnTo>
                <a:lnTo>
                  <a:pt x="8523286" y="0"/>
                </a:lnTo>
                <a:lnTo>
                  <a:pt x="8759824" y="0"/>
                </a:lnTo>
                <a:lnTo>
                  <a:pt x="8759824" y="1214437"/>
                </a:lnTo>
                <a:lnTo>
                  <a:pt x="8518524" y="1214437"/>
                </a:lnTo>
                <a:lnTo>
                  <a:pt x="8024812" y="425450"/>
                </a:lnTo>
                <a:lnTo>
                  <a:pt x="8024812" y="1214437"/>
                </a:lnTo>
                <a:lnTo>
                  <a:pt x="7785099" y="1214437"/>
                </a:lnTo>
                <a:close/>
                <a:moveTo>
                  <a:pt x="6665911" y="0"/>
                </a:moveTo>
                <a:lnTo>
                  <a:pt x="7535861" y="0"/>
                </a:lnTo>
                <a:lnTo>
                  <a:pt x="7535861" y="220663"/>
                </a:lnTo>
                <a:lnTo>
                  <a:pt x="6905624" y="220663"/>
                </a:lnTo>
                <a:lnTo>
                  <a:pt x="6905624" y="473075"/>
                </a:lnTo>
                <a:lnTo>
                  <a:pt x="7459661" y="473075"/>
                </a:lnTo>
                <a:lnTo>
                  <a:pt x="7459661" y="690562"/>
                </a:lnTo>
                <a:lnTo>
                  <a:pt x="6905624" y="690562"/>
                </a:lnTo>
                <a:lnTo>
                  <a:pt x="6905624" y="993775"/>
                </a:lnTo>
                <a:lnTo>
                  <a:pt x="7535861" y="993775"/>
                </a:lnTo>
                <a:lnTo>
                  <a:pt x="7535861" y="1214437"/>
                </a:lnTo>
                <a:lnTo>
                  <a:pt x="6665911" y="1214437"/>
                </a:lnTo>
                <a:close/>
                <a:moveTo>
                  <a:pt x="5221286" y="0"/>
                </a:moveTo>
                <a:lnTo>
                  <a:pt x="5534024" y="0"/>
                </a:lnTo>
                <a:lnTo>
                  <a:pt x="5835649" y="823912"/>
                </a:lnTo>
                <a:lnTo>
                  <a:pt x="6142037" y="0"/>
                </a:lnTo>
                <a:lnTo>
                  <a:pt x="6438899" y="0"/>
                </a:lnTo>
                <a:lnTo>
                  <a:pt x="6438899" y="1214437"/>
                </a:lnTo>
                <a:lnTo>
                  <a:pt x="6203949" y="1214437"/>
                </a:lnTo>
                <a:lnTo>
                  <a:pt x="6203949" y="419100"/>
                </a:lnTo>
                <a:lnTo>
                  <a:pt x="5916612" y="1196975"/>
                </a:lnTo>
                <a:lnTo>
                  <a:pt x="5740399" y="1196975"/>
                </a:lnTo>
                <a:lnTo>
                  <a:pt x="5454649" y="409575"/>
                </a:lnTo>
                <a:lnTo>
                  <a:pt x="5454649" y="1214437"/>
                </a:lnTo>
                <a:lnTo>
                  <a:pt x="5221286" y="1214437"/>
                </a:lnTo>
                <a:close/>
                <a:moveTo>
                  <a:pt x="4098924" y="0"/>
                </a:moveTo>
                <a:lnTo>
                  <a:pt x="4968874" y="0"/>
                </a:lnTo>
                <a:lnTo>
                  <a:pt x="4968874" y="220663"/>
                </a:lnTo>
                <a:lnTo>
                  <a:pt x="4340224" y="220663"/>
                </a:lnTo>
                <a:lnTo>
                  <a:pt x="4340224" y="473075"/>
                </a:lnTo>
                <a:lnTo>
                  <a:pt x="4895849" y="473075"/>
                </a:lnTo>
                <a:lnTo>
                  <a:pt x="4895849" y="690562"/>
                </a:lnTo>
                <a:lnTo>
                  <a:pt x="4340224" y="690562"/>
                </a:lnTo>
                <a:lnTo>
                  <a:pt x="4340224" y="993775"/>
                </a:lnTo>
                <a:lnTo>
                  <a:pt x="4968874" y="993775"/>
                </a:lnTo>
                <a:lnTo>
                  <a:pt x="4968874" y="1214437"/>
                </a:lnTo>
                <a:lnTo>
                  <a:pt x="4098924" y="1214437"/>
                </a:lnTo>
                <a:close/>
                <a:moveTo>
                  <a:pt x="3079749" y="0"/>
                </a:moveTo>
                <a:lnTo>
                  <a:pt x="3321049" y="0"/>
                </a:lnTo>
                <a:lnTo>
                  <a:pt x="3321049" y="984250"/>
                </a:lnTo>
                <a:lnTo>
                  <a:pt x="3871912" y="984250"/>
                </a:lnTo>
                <a:lnTo>
                  <a:pt x="3871912" y="1214437"/>
                </a:lnTo>
                <a:lnTo>
                  <a:pt x="3079749" y="1214437"/>
                </a:lnTo>
                <a:close/>
                <a:moveTo>
                  <a:pt x="1989138" y="0"/>
                </a:moveTo>
                <a:cubicBezTo>
                  <a:pt x="1989138" y="0"/>
                  <a:pt x="1989138" y="0"/>
                  <a:pt x="2465639" y="0"/>
                </a:cubicBezTo>
                <a:cubicBezTo>
                  <a:pt x="2735357" y="0"/>
                  <a:pt x="2897188" y="146454"/>
                  <a:pt x="2897188" y="392045"/>
                </a:cubicBezTo>
                <a:cubicBezTo>
                  <a:pt x="2897188" y="639889"/>
                  <a:pt x="2735357" y="786342"/>
                  <a:pt x="2465639" y="786342"/>
                </a:cubicBezTo>
                <a:cubicBezTo>
                  <a:pt x="2465639" y="786342"/>
                  <a:pt x="2465639" y="786342"/>
                  <a:pt x="2227389" y="786342"/>
                </a:cubicBezTo>
                <a:cubicBezTo>
                  <a:pt x="2227389" y="786342"/>
                  <a:pt x="2227389" y="786342"/>
                  <a:pt x="2227389" y="1214437"/>
                </a:cubicBezTo>
                <a:cubicBezTo>
                  <a:pt x="2227389" y="1214437"/>
                  <a:pt x="2227389" y="1214437"/>
                  <a:pt x="1989138" y="1214437"/>
                </a:cubicBezTo>
                <a:cubicBezTo>
                  <a:pt x="1989138" y="1214437"/>
                  <a:pt x="1989138" y="1214437"/>
                  <a:pt x="1989138" y="0"/>
                </a:cubicBezTo>
                <a:close/>
                <a:moveTo>
                  <a:pt x="520699" y="0"/>
                </a:moveTo>
                <a:lnTo>
                  <a:pt x="833436" y="0"/>
                </a:lnTo>
                <a:lnTo>
                  <a:pt x="1135061" y="823912"/>
                </a:lnTo>
                <a:lnTo>
                  <a:pt x="1439862" y="0"/>
                </a:lnTo>
                <a:lnTo>
                  <a:pt x="1736724" y="0"/>
                </a:lnTo>
                <a:lnTo>
                  <a:pt x="1736724" y="1214437"/>
                </a:lnTo>
                <a:lnTo>
                  <a:pt x="1503362" y="1214437"/>
                </a:lnTo>
                <a:lnTo>
                  <a:pt x="1503362" y="419100"/>
                </a:lnTo>
                <a:lnTo>
                  <a:pt x="1216024" y="1196975"/>
                </a:lnTo>
                <a:lnTo>
                  <a:pt x="1039812" y="1196975"/>
                </a:lnTo>
                <a:lnTo>
                  <a:pt x="754062" y="409575"/>
                </a:lnTo>
                <a:lnTo>
                  <a:pt x="754062" y="1214437"/>
                </a:lnTo>
                <a:lnTo>
                  <a:pt x="520699" y="1214437"/>
                </a:lnTo>
                <a:close/>
                <a:moveTo>
                  <a:pt x="25400" y="0"/>
                </a:moveTo>
                <a:lnTo>
                  <a:pt x="268288" y="0"/>
                </a:lnTo>
                <a:lnTo>
                  <a:pt x="268288" y="1214437"/>
                </a:lnTo>
                <a:lnTo>
                  <a:pt x="25400" y="121443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GB" dirty="0">
                <a:solidFill>
                  <a:srgbClr val="1F2023"/>
                </a:solidFill>
              </a:rPr>
              <a:t> </a:t>
            </a:r>
          </a:p>
        </p:txBody>
      </p:sp>
      <p:sp>
        <p:nvSpPr>
          <p:cNvPr id="14" name="Date_GeneralDate" hidden="1">
            <a:extLst>
              <a:ext uri="{FF2B5EF4-FFF2-40B4-BE49-F238E27FC236}">
                <a16:creationId xmlns:a16="http://schemas.microsoft.com/office/drawing/2014/main" id="{36AF7DCB-7B08-4B67-89C6-197E386CB34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E4825E0E-4A71-47F2-8004-51666FB492B3}" type="datetime1">
              <a:rPr lang="en-US" smtClean="0"/>
              <a:t>2/25/2022</a:t>
            </a:fld>
            <a:endParaRPr lang="en-GB" dirty="0"/>
          </a:p>
        </p:txBody>
      </p:sp>
      <p:sp>
        <p:nvSpPr>
          <p:cNvPr id="16" name="FLD_PresentationTitle" hidden="1">
            <a:extLst>
              <a:ext uri="{FF2B5EF4-FFF2-40B4-BE49-F238E27FC236}">
                <a16:creationId xmlns:a16="http://schemas.microsoft.com/office/drawing/2014/main" id="{2CD592E1-AE74-4CC3-838F-BCDDFF7EC8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 anchor="t" anchorCtr="0"/>
          <a:lstStyle>
            <a:lvl1pPr algn="l">
              <a:defRPr sz="100">
                <a:noFill/>
              </a:defRPr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19" name="Slide Number Placeholder 5" hidden="1">
            <a:extLst>
              <a:ext uri="{FF2B5EF4-FFF2-40B4-BE49-F238E27FC236}">
                <a16:creationId xmlns:a16="http://schemas.microsoft.com/office/drawing/2014/main" id="{BD316983-99AE-467A-81A9-261F469719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anchor="t" anchorCtr="0"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30062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Logo Imag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1EC1645-5095-4018-879F-FFCB2730D8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65351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5" imgW="408" imgH="408" progId="TCLayout.ActiveDocument.1">
                  <p:embed/>
                </p:oleObj>
              </mc:Choice>
              <mc:Fallback>
                <p:oleObj name="think-cell Slide" r:id="rId5" imgW="408" imgH="40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1EC1645-5095-4018-879F-FFCB2730D8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>
            <a:extLst>
              <a:ext uri="{FF2B5EF4-FFF2-40B4-BE49-F238E27FC236}">
                <a16:creationId xmlns:a16="http://schemas.microsoft.com/office/drawing/2014/main" id="{468EEBBF-213D-4D68-A9CE-7CE68854BF37}"/>
              </a:ext>
            </a:extLst>
          </p:cNvPr>
          <p:cNvSpPr/>
          <p:nvPr userDrawn="1"/>
        </p:nvSpPr>
        <p:spPr>
          <a:xfrm>
            <a:off x="2767292" y="1"/>
            <a:ext cx="7138708" cy="6857999"/>
          </a:xfrm>
          <a:prstGeom prst="rect">
            <a:avLst/>
          </a:prstGeom>
          <a:solidFill>
            <a:srgbClr val="40615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05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87" b="0" i="0" u="none" strike="noStrike" kern="0" cap="none" spc="0" normalizeH="0" baseline="0" noProof="0" dirty="0">
              <a:ln>
                <a:noFill/>
              </a:ln>
              <a:solidFill>
                <a:srgbClr val="1F202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2B6603F-4155-4540-8188-E26BD0148E04}"/>
              </a:ext>
            </a:extLst>
          </p:cNvPr>
          <p:cNvSpPr/>
          <p:nvPr userDrawn="1"/>
        </p:nvSpPr>
        <p:spPr>
          <a:xfrm>
            <a:off x="0" y="1192710"/>
            <a:ext cx="8554911" cy="5665290"/>
          </a:xfrm>
          <a:prstGeom prst="rect">
            <a:avLst/>
          </a:prstGeom>
          <a:solidFill>
            <a:srgbClr val="F8F5E7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/>
          <a:lstStyle/>
          <a:p>
            <a:pPr algn="l"/>
            <a:endParaRPr lang="en-GB" sz="1000" noProof="0" dirty="0">
              <a:solidFill>
                <a:srgbClr val="1F2023"/>
              </a:solidFill>
            </a:endParaRP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D91FE0B5-9691-44AE-8658-63DACE04391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69875" y="5359204"/>
            <a:ext cx="2816225" cy="970159"/>
          </a:xfrm>
        </p:spPr>
        <p:txBody>
          <a:bodyPr rIns="36000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975">
                <a:solidFill>
                  <a:srgbClr val="1F2023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894">
                <a:solidFill>
                  <a:srgbClr val="2F363B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defRPr sz="1625">
                <a:solidFill>
                  <a:schemeClr val="bg1"/>
                </a:solidFill>
              </a:defRPr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B0209D8F-BA6F-43E8-8163-332BF66A171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5" y="6329363"/>
            <a:ext cx="2816226" cy="268287"/>
          </a:xfrm>
        </p:spPr>
        <p:txBody>
          <a:bodyPr rIns="0" anchor="b" anchorCtr="0"/>
          <a:lstStyle>
            <a:lvl1pPr>
              <a:defRPr sz="900">
                <a:solidFill>
                  <a:srgbClr val="1F2023"/>
                </a:solidFill>
              </a:defRPr>
            </a:lvl1pPr>
            <a:lvl5pPr>
              <a:defRPr/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9" name="Picture Placeholder 13">
            <a:extLst>
              <a:ext uri="{FF2B5EF4-FFF2-40B4-BE49-F238E27FC236}">
                <a16:creationId xmlns:a16="http://schemas.microsoft.com/office/drawing/2014/main" id="{FF4E0258-33E3-4EA6-82D5-DF8741A7A7D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583518" y="2114551"/>
            <a:ext cx="3493808" cy="4743448"/>
          </a:xfrm>
          <a:solidFill>
            <a:srgbClr val="F3F2F0"/>
          </a:solidFill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da-DK" dirty="0"/>
            </a:lvl1pPr>
          </a:lstStyle>
          <a:p>
            <a:pPr lvl="0" algn="ctr">
              <a:buNone/>
            </a:pPr>
            <a:r>
              <a:rPr lang="en-GB" dirty="0"/>
              <a:t>Click icon to add pictur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0EBAF0D6-94B2-4C1D-A1F8-F94F8FD39F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1333" y="2114551"/>
            <a:ext cx="4818063" cy="2976366"/>
          </a:xfrm>
        </p:spPr>
        <p:txBody>
          <a:bodyPr vert="horz" anchor="t" anchorCtr="0">
            <a:noAutofit/>
          </a:bodyPr>
          <a:lstStyle>
            <a:lvl1pPr algn="l">
              <a:lnSpc>
                <a:spcPct val="83000"/>
              </a:lnSpc>
              <a:defRPr sz="6000" cap="all" baseline="0">
                <a:solidFill>
                  <a:srgbClr val="30373B"/>
                </a:solidFill>
                <a:latin typeface="Impact" panose="020B080603090205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EF6276E3-5B28-4A6A-B1CA-832827DD36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 rot="5400000">
            <a:off x="8861146" y="788544"/>
            <a:ext cx="1258889" cy="287891"/>
          </a:xfrm>
          <a:custGeom>
            <a:avLst/>
            <a:gdLst>
              <a:gd name="connsiteX0" fmla="*/ 6778122 w 9905999"/>
              <a:gd name="connsiteY0" fmla="*/ 2222531 h 2265361"/>
              <a:gd name="connsiteX1" fmla="*/ 7135812 w 9905999"/>
              <a:gd name="connsiteY1" fmla="*/ 2222531 h 2265361"/>
              <a:gd name="connsiteX2" fmla="*/ 7135812 w 9905999"/>
              <a:gd name="connsiteY2" fmla="*/ 2265361 h 2265361"/>
              <a:gd name="connsiteX3" fmla="*/ 6778122 w 9905999"/>
              <a:gd name="connsiteY3" fmla="*/ 2265361 h 2265361"/>
              <a:gd name="connsiteX4" fmla="*/ 6778122 w 9905999"/>
              <a:gd name="connsiteY4" fmla="*/ 2222531 h 2265361"/>
              <a:gd name="connsiteX5" fmla="*/ 6449676 w 9905999"/>
              <a:gd name="connsiteY5" fmla="*/ 1769427 h 2265361"/>
              <a:gd name="connsiteX6" fmla="*/ 6449676 w 9905999"/>
              <a:gd name="connsiteY6" fmla="*/ 1965546 h 2265361"/>
              <a:gd name="connsiteX7" fmla="*/ 6575655 w 9905999"/>
              <a:gd name="connsiteY7" fmla="*/ 1965546 h 2265361"/>
              <a:gd name="connsiteX8" fmla="*/ 6679138 w 9905999"/>
              <a:gd name="connsiteY8" fmla="*/ 1864105 h 2265361"/>
              <a:gd name="connsiteX9" fmla="*/ 6575655 w 9905999"/>
              <a:gd name="connsiteY9" fmla="*/ 1769427 h 2265361"/>
              <a:gd name="connsiteX10" fmla="*/ 6449676 w 9905999"/>
              <a:gd name="connsiteY10" fmla="*/ 1769427 h 2265361"/>
              <a:gd name="connsiteX11" fmla="*/ 5021164 w 9905999"/>
              <a:gd name="connsiteY11" fmla="*/ 1769427 h 2265361"/>
              <a:gd name="connsiteX12" fmla="*/ 5021164 w 9905999"/>
              <a:gd name="connsiteY12" fmla="*/ 1949767 h 2265361"/>
              <a:gd name="connsiteX13" fmla="*/ 5158391 w 9905999"/>
              <a:gd name="connsiteY13" fmla="*/ 1949767 h 2265361"/>
              <a:gd name="connsiteX14" fmla="*/ 5261874 w 9905999"/>
              <a:gd name="connsiteY14" fmla="*/ 1859597 h 2265361"/>
              <a:gd name="connsiteX15" fmla="*/ 5158391 w 9905999"/>
              <a:gd name="connsiteY15" fmla="*/ 1769427 h 2265361"/>
              <a:gd name="connsiteX16" fmla="*/ 5021164 w 9905999"/>
              <a:gd name="connsiteY16" fmla="*/ 1769427 h 2265361"/>
              <a:gd name="connsiteX17" fmla="*/ 5597068 w 9905999"/>
              <a:gd name="connsiteY17" fmla="*/ 1762664 h 2265361"/>
              <a:gd name="connsiteX18" fmla="*/ 5504834 w 9905999"/>
              <a:gd name="connsiteY18" fmla="*/ 1800986 h 2265361"/>
              <a:gd name="connsiteX19" fmla="*/ 5459841 w 9905999"/>
              <a:gd name="connsiteY19" fmla="*/ 1967800 h 2265361"/>
              <a:gd name="connsiteX20" fmla="*/ 5504834 w 9905999"/>
              <a:gd name="connsiteY20" fmla="*/ 2132361 h 2265361"/>
              <a:gd name="connsiteX21" fmla="*/ 5597068 w 9905999"/>
              <a:gd name="connsiteY21" fmla="*/ 2170683 h 2265361"/>
              <a:gd name="connsiteX22" fmla="*/ 5691552 w 9905999"/>
              <a:gd name="connsiteY22" fmla="*/ 2132361 h 2265361"/>
              <a:gd name="connsiteX23" fmla="*/ 5734295 w 9905999"/>
              <a:gd name="connsiteY23" fmla="*/ 1967800 h 2265361"/>
              <a:gd name="connsiteX24" fmla="*/ 5691552 w 9905999"/>
              <a:gd name="connsiteY24" fmla="*/ 1800986 h 2265361"/>
              <a:gd name="connsiteX25" fmla="*/ 5597068 w 9905999"/>
              <a:gd name="connsiteY25" fmla="*/ 1762664 h 2265361"/>
              <a:gd name="connsiteX26" fmla="*/ 654642 w 9905999"/>
              <a:gd name="connsiteY26" fmla="*/ 1762664 h 2265361"/>
              <a:gd name="connsiteX27" fmla="*/ 560157 w 9905999"/>
              <a:gd name="connsiteY27" fmla="*/ 1800986 h 2265361"/>
              <a:gd name="connsiteX28" fmla="*/ 517414 w 9905999"/>
              <a:gd name="connsiteY28" fmla="*/ 1967800 h 2265361"/>
              <a:gd name="connsiteX29" fmla="*/ 560157 w 9905999"/>
              <a:gd name="connsiteY29" fmla="*/ 2132361 h 2265361"/>
              <a:gd name="connsiteX30" fmla="*/ 654642 w 9905999"/>
              <a:gd name="connsiteY30" fmla="*/ 2170683 h 2265361"/>
              <a:gd name="connsiteX31" fmla="*/ 746876 w 9905999"/>
              <a:gd name="connsiteY31" fmla="*/ 2132361 h 2265361"/>
              <a:gd name="connsiteX32" fmla="*/ 791868 w 9905999"/>
              <a:gd name="connsiteY32" fmla="*/ 1967800 h 2265361"/>
              <a:gd name="connsiteX33" fmla="*/ 746876 w 9905999"/>
              <a:gd name="connsiteY33" fmla="*/ 1800986 h 2265361"/>
              <a:gd name="connsiteX34" fmla="*/ 654642 w 9905999"/>
              <a:gd name="connsiteY34" fmla="*/ 1762664 h 2265361"/>
              <a:gd name="connsiteX35" fmla="*/ 6386687 w 9905999"/>
              <a:gd name="connsiteY35" fmla="*/ 1710816 h 2265361"/>
              <a:gd name="connsiteX36" fmla="*/ 6575655 w 9905999"/>
              <a:gd name="connsiteY36" fmla="*/ 1710816 h 2265361"/>
              <a:gd name="connsiteX37" fmla="*/ 6706134 w 9905999"/>
              <a:gd name="connsiteY37" fmla="*/ 1755901 h 2265361"/>
              <a:gd name="connsiteX38" fmla="*/ 6744377 w 9905999"/>
              <a:gd name="connsiteY38" fmla="*/ 1864105 h 2265361"/>
              <a:gd name="connsiteX39" fmla="*/ 6701634 w 9905999"/>
              <a:gd name="connsiteY39" fmla="*/ 1981326 h 2265361"/>
              <a:gd name="connsiteX40" fmla="*/ 6577905 w 9905999"/>
              <a:gd name="connsiteY40" fmla="*/ 2024157 h 2265361"/>
              <a:gd name="connsiteX41" fmla="*/ 6449676 w 9905999"/>
              <a:gd name="connsiteY41" fmla="*/ 2024157 h 2265361"/>
              <a:gd name="connsiteX42" fmla="*/ 6449676 w 9905999"/>
              <a:gd name="connsiteY42" fmla="*/ 2222531 h 2265361"/>
              <a:gd name="connsiteX43" fmla="*/ 6386687 w 9905999"/>
              <a:gd name="connsiteY43" fmla="*/ 2222531 h 2265361"/>
              <a:gd name="connsiteX44" fmla="*/ 6386687 w 9905999"/>
              <a:gd name="connsiteY44" fmla="*/ 1710816 h 2265361"/>
              <a:gd name="connsiteX45" fmla="*/ 5889520 w 9905999"/>
              <a:gd name="connsiteY45" fmla="*/ 1710816 h 2265361"/>
              <a:gd name="connsiteX46" fmla="*/ 5954759 w 9905999"/>
              <a:gd name="connsiteY46" fmla="*/ 1710816 h 2265361"/>
              <a:gd name="connsiteX47" fmla="*/ 5954759 w 9905999"/>
              <a:gd name="connsiteY47" fmla="*/ 2035428 h 2265361"/>
              <a:gd name="connsiteX48" fmla="*/ 6076239 w 9905999"/>
              <a:gd name="connsiteY48" fmla="*/ 2172937 h 2265361"/>
              <a:gd name="connsiteX49" fmla="*/ 6199968 w 9905999"/>
              <a:gd name="connsiteY49" fmla="*/ 2035428 h 2265361"/>
              <a:gd name="connsiteX50" fmla="*/ 6199968 w 9905999"/>
              <a:gd name="connsiteY50" fmla="*/ 1710816 h 2265361"/>
              <a:gd name="connsiteX51" fmla="*/ 6262957 w 9905999"/>
              <a:gd name="connsiteY51" fmla="*/ 1710816 h 2265361"/>
              <a:gd name="connsiteX52" fmla="*/ 6262957 w 9905999"/>
              <a:gd name="connsiteY52" fmla="*/ 2035428 h 2265361"/>
              <a:gd name="connsiteX53" fmla="*/ 6076239 w 9905999"/>
              <a:gd name="connsiteY53" fmla="*/ 2231547 h 2265361"/>
              <a:gd name="connsiteX54" fmla="*/ 5889520 w 9905999"/>
              <a:gd name="connsiteY54" fmla="*/ 2035428 h 2265361"/>
              <a:gd name="connsiteX55" fmla="*/ 5889520 w 9905999"/>
              <a:gd name="connsiteY55" fmla="*/ 1710816 h 2265361"/>
              <a:gd name="connsiteX56" fmla="*/ 4958174 w 9905999"/>
              <a:gd name="connsiteY56" fmla="*/ 1710816 h 2265361"/>
              <a:gd name="connsiteX57" fmla="*/ 5158391 w 9905999"/>
              <a:gd name="connsiteY57" fmla="*/ 1710816 h 2265361"/>
              <a:gd name="connsiteX58" fmla="*/ 5288869 w 9905999"/>
              <a:gd name="connsiteY58" fmla="*/ 1755901 h 2265361"/>
              <a:gd name="connsiteX59" fmla="*/ 5329363 w 9905999"/>
              <a:gd name="connsiteY59" fmla="*/ 1859597 h 2265361"/>
              <a:gd name="connsiteX60" fmla="*/ 5288869 w 9905999"/>
              <a:gd name="connsiteY60" fmla="*/ 1961038 h 2265361"/>
              <a:gd name="connsiteX61" fmla="*/ 5228130 w 9905999"/>
              <a:gd name="connsiteY61" fmla="*/ 1997106 h 2265361"/>
              <a:gd name="connsiteX62" fmla="*/ 5331612 w 9905999"/>
              <a:gd name="connsiteY62" fmla="*/ 2222531 h 2265361"/>
              <a:gd name="connsiteX63" fmla="*/ 5259624 w 9905999"/>
              <a:gd name="connsiteY63" fmla="*/ 2222531 h 2265361"/>
              <a:gd name="connsiteX64" fmla="*/ 5162890 w 9905999"/>
              <a:gd name="connsiteY64" fmla="*/ 2010631 h 2265361"/>
              <a:gd name="connsiteX65" fmla="*/ 5021164 w 9905999"/>
              <a:gd name="connsiteY65" fmla="*/ 2010631 h 2265361"/>
              <a:gd name="connsiteX66" fmla="*/ 5021164 w 9905999"/>
              <a:gd name="connsiteY66" fmla="*/ 2222531 h 2265361"/>
              <a:gd name="connsiteX67" fmla="*/ 4958174 w 9905999"/>
              <a:gd name="connsiteY67" fmla="*/ 2222531 h 2265361"/>
              <a:gd name="connsiteX68" fmla="*/ 4958174 w 9905999"/>
              <a:gd name="connsiteY68" fmla="*/ 1710816 h 2265361"/>
              <a:gd name="connsiteX69" fmla="*/ 3309199 w 9905999"/>
              <a:gd name="connsiteY69" fmla="*/ 1710816 h 2265361"/>
              <a:gd name="connsiteX70" fmla="*/ 3381187 w 9905999"/>
              <a:gd name="connsiteY70" fmla="*/ 1710816 h 2265361"/>
              <a:gd name="connsiteX71" fmla="*/ 3633145 w 9905999"/>
              <a:gd name="connsiteY71" fmla="*/ 2123344 h 2265361"/>
              <a:gd name="connsiteX72" fmla="*/ 3633145 w 9905999"/>
              <a:gd name="connsiteY72" fmla="*/ 1710816 h 2265361"/>
              <a:gd name="connsiteX73" fmla="*/ 3693885 w 9905999"/>
              <a:gd name="connsiteY73" fmla="*/ 1710816 h 2265361"/>
              <a:gd name="connsiteX74" fmla="*/ 3693885 w 9905999"/>
              <a:gd name="connsiteY74" fmla="*/ 2222531 h 2265361"/>
              <a:gd name="connsiteX75" fmla="*/ 3621897 w 9905999"/>
              <a:gd name="connsiteY75" fmla="*/ 2222531 h 2265361"/>
              <a:gd name="connsiteX76" fmla="*/ 3372188 w 9905999"/>
              <a:gd name="connsiteY76" fmla="*/ 1810003 h 2265361"/>
              <a:gd name="connsiteX77" fmla="*/ 3372188 w 9905999"/>
              <a:gd name="connsiteY77" fmla="*/ 2222531 h 2265361"/>
              <a:gd name="connsiteX78" fmla="*/ 3309199 w 9905999"/>
              <a:gd name="connsiteY78" fmla="*/ 2222531 h 2265361"/>
              <a:gd name="connsiteX79" fmla="*/ 3309199 w 9905999"/>
              <a:gd name="connsiteY79" fmla="*/ 1710816 h 2265361"/>
              <a:gd name="connsiteX80" fmla="*/ 3106732 w 9905999"/>
              <a:gd name="connsiteY80" fmla="*/ 1710816 h 2265361"/>
              <a:gd name="connsiteX81" fmla="*/ 3171971 w 9905999"/>
              <a:gd name="connsiteY81" fmla="*/ 1710816 h 2265361"/>
              <a:gd name="connsiteX82" fmla="*/ 3171971 w 9905999"/>
              <a:gd name="connsiteY82" fmla="*/ 2222531 h 2265361"/>
              <a:gd name="connsiteX83" fmla="*/ 3106732 w 9905999"/>
              <a:gd name="connsiteY83" fmla="*/ 2222531 h 2265361"/>
              <a:gd name="connsiteX84" fmla="*/ 3106732 w 9905999"/>
              <a:gd name="connsiteY84" fmla="*/ 1710816 h 2265361"/>
              <a:gd name="connsiteX85" fmla="*/ 2663557 w 9905999"/>
              <a:gd name="connsiteY85" fmla="*/ 1710816 h 2265361"/>
              <a:gd name="connsiteX86" fmla="*/ 3032495 w 9905999"/>
              <a:gd name="connsiteY86" fmla="*/ 1710816 h 2265361"/>
              <a:gd name="connsiteX87" fmla="*/ 3032495 w 9905999"/>
              <a:gd name="connsiteY87" fmla="*/ 1769427 h 2265361"/>
              <a:gd name="connsiteX88" fmla="*/ 2879521 w 9905999"/>
              <a:gd name="connsiteY88" fmla="*/ 1769427 h 2265361"/>
              <a:gd name="connsiteX89" fmla="*/ 2879521 w 9905999"/>
              <a:gd name="connsiteY89" fmla="*/ 2222531 h 2265361"/>
              <a:gd name="connsiteX90" fmla="*/ 2814282 w 9905999"/>
              <a:gd name="connsiteY90" fmla="*/ 2222531 h 2265361"/>
              <a:gd name="connsiteX91" fmla="*/ 2814282 w 9905999"/>
              <a:gd name="connsiteY91" fmla="*/ 1769427 h 2265361"/>
              <a:gd name="connsiteX92" fmla="*/ 2663557 w 9905999"/>
              <a:gd name="connsiteY92" fmla="*/ 1769427 h 2265361"/>
              <a:gd name="connsiteX93" fmla="*/ 2663557 w 9905999"/>
              <a:gd name="connsiteY93" fmla="*/ 1710816 h 2265361"/>
              <a:gd name="connsiteX94" fmla="*/ 2416099 w 9905999"/>
              <a:gd name="connsiteY94" fmla="*/ 1710816 h 2265361"/>
              <a:gd name="connsiteX95" fmla="*/ 2481338 w 9905999"/>
              <a:gd name="connsiteY95" fmla="*/ 1710816 h 2265361"/>
              <a:gd name="connsiteX96" fmla="*/ 2481338 w 9905999"/>
              <a:gd name="connsiteY96" fmla="*/ 2163920 h 2265361"/>
              <a:gd name="connsiteX97" fmla="*/ 2726547 w 9905999"/>
              <a:gd name="connsiteY97" fmla="*/ 2163920 h 2265361"/>
              <a:gd name="connsiteX98" fmla="*/ 2726547 w 9905999"/>
              <a:gd name="connsiteY98" fmla="*/ 2222531 h 2265361"/>
              <a:gd name="connsiteX99" fmla="*/ 2416099 w 9905999"/>
              <a:gd name="connsiteY99" fmla="*/ 2222531 h 2265361"/>
              <a:gd name="connsiteX100" fmla="*/ 2416099 w 9905999"/>
              <a:gd name="connsiteY100" fmla="*/ 1710816 h 2265361"/>
              <a:gd name="connsiteX101" fmla="*/ 1918931 w 9905999"/>
              <a:gd name="connsiteY101" fmla="*/ 1710816 h 2265361"/>
              <a:gd name="connsiteX102" fmla="*/ 1984171 w 9905999"/>
              <a:gd name="connsiteY102" fmla="*/ 1710816 h 2265361"/>
              <a:gd name="connsiteX103" fmla="*/ 1984171 w 9905999"/>
              <a:gd name="connsiteY103" fmla="*/ 2035428 h 2265361"/>
              <a:gd name="connsiteX104" fmla="*/ 2105651 w 9905999"/>
              <a:gd name="connsiteY104" fmla="*/ 2172937 h 2265361"/>
              <a:gd name="connsiteX105" fmla="*/ 2229380 w 9905999"/>
              <a:gd name="connsiteY105" fmla="*/ 2035428 h 2265361"/>
              <a:gd name="connsiteX106" fmla="*/ 2229380 w 9905999"/>
              <a:gd name="connsiteY106" fmla="*/ 1710816 h 2265361"/>
              <a:gd name="connsiteX107" fmla="*/ 2292369 w 9905999"/>
              <a:gd name="connsiteY107" fmla="*/ 1710816 h 2265361"/>
              <a:gd name="connsiteX108" fmla="*/ 2292369 w 9905999"/>
              <a:gd name="connsiteY108" fmla="*/ 2035428 h 2265361"/>
              <a:gd name="connsiteX109" fmla="*/ 2105651 w 9905999"/>
              <a:gd name="connsiteY109" fmla="*/ 2231547 h 2265361"/>
              <a:gd name="connsiteX110" fmla="*/ 1918931 w 9905999"/>
              <a:gd name="connsiteY110" fmla="*/ 2035428 h 2265361"/>
              <a:gd name="connsiteX111" fmla="*/ 1918931 w 9905999"/>
              <a:gd name="connsiteY111" fmla="*/ 1710816 h 2265361"/>
              <a:gd name="connsiteX112" fmla="*/ 960591 w 9905999"/>
              <a:gd name="connsiteY112" fmla="*/ 1710816 h 2265361"/>
              <a:gd name="connsiteX113" fmla="*/ 1032578 w 9905999"/>
              <a:gd name="connsiteY113" fmla="*/ 1710816 h 2265361"/>
              <a:gd name="connsiteX114" fmla="*/ 1284537 w 9905999"/>
              <a:gd name="connsiteY114" fmla="*/ 2123344 h 2265361"/>
              <a:gd name="connsiteX115" fmla="*/ 1284537 w 9905999"/>
              <a:gd name="connsiteY115" fmla="*/ 1710816 h 2265361"/>
              <a:gd name="connsiteX116" fmla="*/ 1345276 w 9905999"/>
              <a:gd name="connsiteY116" fmla="*/ 1710816 h 2265361"/>
              <a:gd name="connsiteX117" fmla="*/ 1345276 w 9905999"/>
              <a:gd name="connsiteY117" fmla="*/ 2222531 h 2265361"/>
              <a:gd name="connsiteX118" fmla="*/ 1273289 w 9905999"/>
              <a:gd name="connsiteY118" fmla="*/ 2222531 h 2265361"/>
              <a:gd name="connsiteX119" fmla="*/ 1023580 w 9905999"/>
              <a:gd name="connsiteY119" fmla="*/ 1810003 h 2265361"/>
              <a:gd name="connsiteX120" fmla="*/ 1023580 w 9905999"/>
              <a:gd name="connsiteY120" fmla="*/ 2222531 h 2265361"/>
              <a:gd name="connsiteX121" fmla="*/ 960591 w 9905999"/>
              <a:gd name="connsiteY121" fmla="*/ 2222531 h 2265361"/>
              <a:gd name="connsiteX122" fmla="*/ 960591 w 9905999"/>
              <a:gd name="connsiteY122" fmla="*/ 1710816 h 2265361"/>
              <a:gd name="connsiteX123" fmla="*/ 5597068 w 9905999"/>
              <a:gd name="connsiteY123" fmla="*/ 1701799 h 2265361"/>
              <a:gd name="connsiteX124" fmla="*/ 5736545 w 9905999"/>
              <a:gd name="connsiteY124" fmla="*/ 1755901 h 2265361"/>
              <a:gd name="connsiteX125" fmla="*/ 5801784 w 9905999"/>
              <a:gd name="connsiteY125" fmla="*/ 1967800 h 2265361"/>
              <a:gd name="connsiteX126" fmla="*/ 5736545 w 9905999"/>
              <a:gd name="connsiteY126" fmla="*/ 2177446 h 2265361"/>
              <a:gd name="connsiteX127" fmla="*/ 5597068 w 9905999"/>
              <a:gd name="connsiteY127" fmla="*/ 2233802 h 2265361"/>
              <a:gd name="connsiteX128" fmla="*/ 5459841 w 9905999"/>
              <a:gd name="connsiteY128" fmla="*/ 2177446 h 2265361"/>
              <a:gd name="connsiteX129" fmla="*/ 5394602 w 9905999"/>
              <a:gd name="connsiteY129" fmla="*/ 1967800 h 2265361"/>
              <a:gd name="connsiteX130" fmla="*/ 5459841 w 9905999"/>
              <a:gd name="connsiteY130" fmla="*/ 1755901 h 2265361"/>
              <a:gd name="connsiteX131" fmla="*/ 5597068 w 9905999"/>
              <a:gd name="connsiteY131" fmla="*/ 1701799 h 2265361"/>
              <a:gd name="connsiteX132" fmla="*/ 4645477 w 9905999"/>
              <a:gd name="connsiteY132" fmla="*/ 1701799 h 2265361"/>
              <a:gd name="connsiteX133" fmla="*/ 4791702 w 9905999"/>
              <a:gd name="connsiteY133" fmla="*/ 1758155 h 2265361"/>
              <a:gd name="connsiteX134" fmla="*/ 4834445 w 9905999"/>
              <a:gd name="connsiteY134" fmla="*/ 1859597 h 2265361"/>
              <a:gd name="connsiteX135" fmla="*/ 4766956 w 9905999"/>
              <a:gd name="connsiteY135" fmla="*/ 1859597 h 2265361"/>
              <a:gd name="connsiteX136" fmla="*/ 4744460 w 9905999"/>
              <a:gd name="connsiteY136" fmla="*/ 1803240 h 2265361"/>
              <a:gd name="connsiteX137" fmla="*/ 4645477 w 9905999"/>
              <a:gd name="connsiteY137" fmla="*/ 1762664 h 2265361"/>
              <a:gd name="connsiteX138" fmla="*/ 4550992 w 9905999"/>
              <a:gd name="connsiteY138" fmla="*/ 1800986 h 2265361"/>
              <a:gd name="connsiteX139" fmla="*/ 4506000 w 9905999"/>
              <a:gd name="connsiteY139" fmla="*/ 1967800 h 2265361"/>
              <a:gd name="connsiteX140" fmla="*/ 4553242 w 9905999"/>
              <a:gd name="connsiteY140" fmla="*/ 2134615 h 2265361"/>
              <a:gd name="connsiteX141" fmla="*/ 4645477 w 9905999"/>
              <a:gd name="connsiteY141" fmla="*/ 2172937 h 2265361"/>
              <a:gd name="connsiteX142" fmla="*/ 4737711 w 9905999"/>
              <a:gd name="connsiteY142" fmla="*/ 2136869 h 2265361"/>
              <a:gd name="connsiteX143" fmla="*/ 4780454 w 9905999"/>
              <a:gd name="connsiteY143" fmla="*/ 2006123 h 2265361"/>
              <a:gd name="connsiteX144" fmla="*/ 4645477 w 9905999"/>
              <a:gd name="connsiteY144" fmla="*/ 2006123 h 2265361"/>
              <a:gd name="connsiteX145" fmla="*/ 4645477 w 9905999"/>
              <a:gd name="connsiteY145" fmla="*/ 1947512 h 2265361"/>
              <a:gd name="connsiteX146" fmla="*/ 4838944 w 9905999"/>
              <a:gd name="connsiteY146" fmla="*/ 1947512 h 2265361"/>
              <a:gd name="connsiteX147" fmla="*/ 4838944 w 9905999"/>
              <a:gd name="connsiteY147" fmla="*/ 2222531 h 2265361"/>
              <a:gd name="connsiteX148" fmla="*/ 4793952 w 9905999"/>
              <a:gd name="connsiteY148" fmla="*/ 2222531 h 2265361"/>
              <a:gd name="connsiteX149" fmla="*/ 4782704 w 9905999"/>
              <a:gd name="connsiteY149" fmla="*/ 2161666 h 2265361"/>
              <a:gd name="connsiteX150" fmla="*/ 4645477 w 9905999"/>
              <a:gd name="connsiteY150" fmla="*/ 2233802 h 2265361"/>
              <a:gd name="connsiteX151" fmla="*/ 4506000 w 9905999"/>
              <a:gd name="connsiteY151" fmla="*/ 2179700 h 2265361"/>
              <a:gd name="connsiteX152" fmla="*/ 4440761 w 9905999"/>
              <a:gd name="connsiteY152" fmla="*/ 1967800 h 2265361"/>
              <a:gd name="connsiteX153" fmla="*/ 4506000 w 9905999"/>
              <a:gd name="connsiteY153" fmla="*/ 1755901 h 2265361"/>
              <a:gd name="connsiteX154" fmla="*/ 4645477 w 9905999"/>
              <a:gd name="connsiteY154" fmla="*/ 1701799 h 2265361"/>
              <a:gd name="connsiteX155" fmla="*/ 4002083 w 9905999"/>
              <a:gd name="connsiteY155" fmla="*/ 1701799 h 2265361"/>
              <a:gd name="connsiteX156" fmla="*/ 4148309 w 9905999"/>
              <a:gd name="connsiteY156" fmla="*/ 1758155 h 2265361"/>
              <a:gd name="connsiteX157" fmla="*/ 4193302 w 9905999"/>
              <a:gd name="connsiteY157" fmla="*/ 1859597 h 2265361"/>
              <a:gd name="connsiteX158" fmla="*/ 4125813 w 9905999"/>
              <a:gd name="connsiteY158" fmla="*/ 1859597 h 2265361"/>
              <a:gd name="connsiteX159" fmla="*/ 4103317 w 9905999"/>
              <a:gd name="connsiteY159" fmla="*/ 1803240 h 2265361"/>
              <a:gd name="connsiteX160" fmla="*/ 4002083 w 9905999"/>
              <a:gd name="connsiteY160" fmla="*/ 1762664 h 2265361"/>
              <a:gd name="connsiteX161" fmla="*/ 3909849 w 9905999"/>
              <a:gd name="connsiteY161" fmla="*/ 1800986 h 2265361"/>
              <a:gd name="connsiteX162" fmla="*/ 3864856 w 9905999"/>
              <a:gd name="connsiteY162" fmla="*/ 1967800 h 2265361"/>
              <a:gd name="connsiteX163" fmla="*/ 3909849 w 9905999"/>
              <a:gd name="connsiteY163" fmla="*/ 2134615 h 2265361"/>
              <a:gd name="connsiteX164" fmla="*/ 4002083 w 9905999"/>
              <a:gd name="connsiteY164" fmla="*/ 2172937 h 2265361"/>
              <a:gd name="connsiteX165" fmla="*/ 4094318 w 9905999"/>
              <a:gd name="connsiteY165" fmla="*/ 2136869 h 2265361"/>
              <a:gd name="connsiteX166" fmla="*/ 4139311 w 9905999"/>
              <a:gd name="connsiteY166" fmla="*/ 2006123 h 2265361"/>
              <a:gd name="connsiteX167" fmla="*/ 4002083 w 9905999"/>
              <a:gd name="connsiteY167" fmla="*/ 2006123 h 2265361"/>
              <a:gd name="connsiteX168" fmla="*/ 4002083 w 9905999"/>
              <a:gd name="connsiteY168" fmla="*/ 1947512 h 2265361"/>
              <a:gd name="connsiteX169" fmla="*/ 4197801 w 9905999"/>
              <a:gd name="connsiteY169" fmla="*/ 1947512 h 2265361"/>
              <a:gd name="connsiteX170" fmla="*/ 4197801 w 9905999"/>
              <a:gd name="connsiteY170" fmla="*/ 2222531 h 2265361"/>
              <a:gd name="connsiteX171" fmla="*/ 4152808 w 9905999"/>
              <a:gd name="connsiteY171" fmla="*/ 2222531 h 2265361"/>
              <a:gd name="connsiteX172" fmla="*/ 4141560 w 9905999"/>
              <a:gd name="connsiteY172" fmla="*/ 2161666 h 2265361"/>
              <a:gd name="connsiteX173" fmla="*/ 4002083 w 9905999"/>
              <a:gd name="connsiteY173" fmla="*/ 2233802 h 2265361"/>
              <a:gd name="connsiteX174" fmla="*/ 3864856 w 9905999"/>
              <a:gd name="connsiteY174" fmla="*/ 2179700 h 2265361"/>
              <a:gd name="connsiteX175" fmla="*/ 3797367 w 9905999"/>
              <a:gd name="connsiteY175" fmla="*/ 1967800 h 2265361"/>
              <a:gd name="connsiteX176" fmla="*/ 3864856 w 9905999"/>
              <a:gd name="connsiteY176" fmla="*/ 1755901 h 2265361"/>
              <a:gd name="connsiteX177" fmla="*/ 4002083 w 9905999"/>
              <a:gd name="connsiteY177" fmla="*/ 1701799 h 2265361"/>
              <a:gd name="connsiteX178" fmla="*/ 1642228 w 9905999"/>
              <a:gd name="connsiteY178" fmla="*/ 1701799 h 2265361"/>
              <a:gd name="connsiteX179" fmla="*/ 1774955 w 9905999"/>
              <a:gd name="connsiteY179" fmla="*/ 1749138 h 2265361"/>
              <a:gd name="connsiteX180" fmla="*/ 1824447 w 9905999"/>
              <a:gd name="connsiteY180" fmla="*/ 1859597 h 2265361"/>
              <a:gd name="connsiteX181" fmla="*/ 1756958 w 9905999"/>
              <a:gd name="connsiteY181" fmla="*/ 1859597 h 2265361"/>
              <a:gd name="connsiteX182" fmla="*/ 1732212 w 9905999"/>
              <a:gd name="connsiteY182" fmla="*/ 1796478 h 2265361"/>
              <a:gd name="connsiteX183" fmla="*/ 1639978 w 9905999"/>
              <a:gd name="connsiteY183" fmla="*/ 1760410 h 2265361"/>
              <a:gd name="connsiteX184" fmla="*/ 1549993 w 9905999"/>
              <a:gd name="connsiteY184" fmla="*/ 1796478 h 2265361"/>
              <a:gd name="connsiteX185" fmla="*/ 1529746 w 9905999"/>
              <a:gd name="connsiteY185" fmla="*/ 1850580 h 2265361"/>
              <a:gd name="connsiteX186" fmla="*/ 1606234 w 9905999"/>
              <a:gd name="connsiteY186" fmla="*/ 1922716 h 2265361"/>
              <a:gd name="connsiteX187" fmla="*/ 1691719 w 9905999"/>
              <a:gd name="connsiteY187" fmla="*/ 1936241 h 2265361"/>
              <a:gd name="connsiteX188" fmla="*/ 1833445 w 9905999"/>
              <a:gd name="connsiteY188" fmla="*/ 2082767 h 2265361"/>
              <a:gd name="connsiteX189" fmla="*/ 1790703 w 9905999"/>
              <a:gd name="connsiteY189" fmla="*/ 2181954 h 2265361"/>
              <a:gd name="connsiteX190" fmla="*/ 1644477 w 9905999"/>
              <a:gd name="connsiteY190" fmla="*/ 2231547 h 2265361"/>
              <a:gd name="connsiteX191" fmla="*/ 1498251 w 9905999"/>
              <a:gd name="connsiteY191" fmla="*/ 2184208 h 2265361"/>
              <a:gd name="connsiteX192" fmla="*/ 1444260 w 9905999"/>
              <a:gd name="connsiteY192" fmla="*/ 2060225 h 2265361"/>
              <a:gd name="connsiteX193" fmla="*/ 1509499 w 9905999"/>
              <a:gd name="connsiteY193" fmla="*/ 2060225 h 2265361"/>
              <a:gd name="connsiteX194" fmla="*/ 1545494 w 9905999"/>
              <a:gd name="connsiteY194" fmla="*/ 2141378 h 2265361"/>
              <a:gd name="connsiteX195" fmla="*/ 1644477 w 9905999"/>
              <a:gd name="connsiteY195" fmla="*/ 2172937 h 2265361"/>
              <a:gd name="connsiteX196" fmla="*/ 1738962 w 9905999"/>
              <a:gd name="connsiteY196" fmla="*/ 2143632 h 2265361"/>
              <a:gd name="connsiteX197" fmla="*/ 1765956 w 9905999"/>
              <a:gd name="connsiteY197" fmla="*/ 2082767 h 2265361"/>
              <a:gd name="connsiteX198" fmla="*/ 1680471 w 9905999"/>
              <a:gd name="connsiteY198" fmla="*/ 2001614 h 2265361"/>
              <a:gd name="connsiteX199" fmla="*/ 1599484 w 9905999"/>
              <a:gd name="connsiteY199" fmla="*/ 1988089 h 2265361"/>
              <a:gd name="connsiteX200" fmla="*/ 1462257 w 9905999"/>
              <a:gd name="connsiteY200" fmla="*/ 1852834 h 2265361"/>
              <a:gd name="connsiteX201" fmla="*/ 1507249 w 9905999"/>
              <a:gd name="connsiteY201" fmla="*/ 1751393 h 2265361"/>
              <a:gd name="connsiteX202" fmla="*/ 1642228 w 9905999"/>
              <a:gd name="connsiteY202" fmla="*/ 1701799 h 2265361"/>
              <a:gd name="connsiteX203" fmla="*/ 654642 w 9905999"/>
              <a:gd name="connsiteY203" fmla="*/ 1701799 h 2265361"/>
              <a:gd name="connsiteX204" fmla="*/ 791868 w 9905999"/>
              <a:gd name="connsiteY204" fmla="*/ 1755901 h 2265361"/>
              <a:gd name="connsiteX205" fmla="*/ 857108 w 9905999"/>
              <a:gd name="connsiteY205" fmla="*/ 1967800 h 2265361"/>
              <a:gd name="connsiteX206" fmla="*/ 791868 w 9905999"/>
              <a:gd name="connsiteY206" fmla="*/ 2177446 h 2265361"/>
              <a:gd name="connsiteX207" fmla="*/ 654642 w 9905999"/>
              <a:gd name="connsiteY207" fmla="*/ 2233802 h 2265361"/>
              <a:gd name="connsiteX208" fmla="*/ 515164 w 9905999"/>
              <a:gd name="connsiteY208" fmla="*/ 2177446 h 2265361"/>
              <a:gd name="connsiteX209" fmla="*/ 449925 w 9905999"/>
              <a:gd name="connsiteY209" fmla="*/ 1967800 h 2265361"/>
              <a:gd name="connsiteX210" fmla="*/ 515164 w 9905999"/>
              <a:gd name="connsiteY210" fmla="*/ 1755901 h 2265361"/>
              <a:gd name="connsiteX211" fmla="*/ 654642 w 9905999"/>
              <a:gd name="connsiteY211" fmla="*/ 1701799 h 2265361"/>
              <a:gd name="connsiteX212" fmla="*/ 202466 w 9905999"/>
              <a:gd name="connsiteY212" fmla="*/ 1701799 h 2265361"/>
              <a:gd name="connsiteX213" fmla="*/ 339693 w 9905999"/>
              <a:gd name="connsiteY213" fmla="*/ 1753647 h 2265361"/>
              <a:gd name="connsiteX214" fmla="*/ 389185 w 9905999"/>
              <a:gd name="connsiteY214" fmla="*/ 1870868 h 2265361"/>
              <a:gd name="connsiteX215" fmla="*/ 323946 w 9905999"/>
              <a:gd name="connsiteY215" fmla="*/ 1870868 h 2265361"/>
              <a:gd name="connsiteX216" fmla="*/ 294701 w 9905999"/>
              <a:gd name="connsiteY216" fmla="*/ 1798732 h 2265361"/>
              <a:gd name="connsiteX217" fmla="*/ 202466 w 9905999"/>
              <a:gd name="connsiteY217" fmla="*/ 1762664 h 2265361"/>
              <a:gd name="connsiteX218" fmla="*/ 110232 w 9905999"/>
              <a:gd name="connsiteY218" fmla="*/ 1800986 h 2265361"/>
              <a:gd name="connsiteX219" fmla="*/ 67489 w 9905999"/>
              <a:gd name="connsiteY219" fmla="*/ 1967800 h 2265361"/>
              <a:gd name="connsiteX220" fmla="*/ 110232 w 9905999"/>
              <a:gd name="connsiteY220" fmla="*/ 2132361 h 2265361"/>
              <a:gd name="connsiteX221" fmla="*/ 202466 w 9905999"/>
              <a:gd name="connsiteY221" fmla="*/ 2172937 h 2265361"/>
              <a:gd name="connsiteX222" fmla="*/ 296951 w 9905999"/>
              <a:gd name="connsiteY222" fmla="*/ 2132361 h 2265361"/>
              <a:gd name="connsiteX223" fmla="*/ 323946 w 9905999"/>
              <a:gd name="connsiteY223" fmla="*/ 2060225 h 2265361"/>
              <a:gd name="connsiteX224" fmla="*/ 391435 w 9905999"/>
              <a:gd name="connsiteY224" fmla="*/ 2060225 h 2265361"/>
              <a:gd name="connsiteX225" fmla="*/ 339693 w 9905999"/>
              <a:gd name="connsiteY225" fmla="*/ 2177446 h 2265361"/>
              <a:gd name="connsiteX226" fmla="*/ 202466 w 9905999"/>
              <a:gd name="connsiteY226" fmla="*/ 2233802 h 2265361"/>
              <a:gd name="connsiteX227" fmla="*/ 65239 w 9905999"/>
              <a:gd name="connsiteY227" fmla="*/ 2177446 h 2265361"/>
              <a:gd name="connsiteX228" fmla="*/ 0 w 9905999"/>
              <a:gd name="connsiteY228" fmla="*/ 1967800 h 2265361"/>
              <a:gd name="connsiteX229" fmla="*/ 65239 w 9905999"/>
              <a:gd name="connsiteY229" fmla="*/ 1755901 h 2265361"/>
              <a:gd name="connsiteX230" fmla="*/ 202466 w 9905999"/>
              <a:gd name="connsiteY230" fmla="*/ 1701799 h 2265361"/>
              <a:gd name="connsiteX231" fmla="*/ 2227389 w 9905999"/>
              <a:gd name="connsiteY231" fmla="*/ 214047 h 2265361"/>
              <a:gd name="connsiteX232" fmla="*/ 2227389 w 9905999"/>
              <a:gd name="connsiteY232" fmla="*/ 574548 h 2265361"/>
              <a:gd name="connsiteX233" fmla="*/ 2456649 w 9905999"/>
              <a:gd name="connsiteY233" fmla="*/ 574548 h 2265361"/>
              <a:gd name="connsiteX234" fmla="*/ 2654442 w 9905999"/>
              <a:gd name="connsiteY234" fmla="*/ 394298 h 2265361"/>
              <a:gd name="connsiteX235" fmla="*/ 2456649 w 9905999"/>
              <a:gd name="connsiteY235" fmla="*/ 214047 h 2265361"/>
              <a:gd name="connsiteX236" fmla="*/ 2227389 w 9905999"/>
              <a:gd name="connsiteY236" fmla="*/ 214047 h 2265361"/>
              <a:gd name="connsiteX237" fmla="*/ 8961436 w 9905999"/>
              <a:gd name="connsiteY237" fmla="*/ 0 h 2265361"/>
              <a:gd name="connsiteX238" fmla="*/ 9905999 w 9905999"/>
              <a:gd name="connsiteY238" fmla="*/ 0 h 2265361"/>
              <a:gd name="connsiteX239" fmla="*/ 9905999 w 9905999"/>
              <a:gd name="connsiteY239" fmla="*/ 225425 h 2265361"/>
              <a:gd name="connsiteX240" fmla="*/ 9555161 w 9905999"/>
              <a:gd name="connsiteY240" fmla="*/ 225425 h 2265361"/>
              <a:gd name="connsiteX241" fmla="*/ 9555161 w 9905999"/>
              <a:gd name="connsiteY241" fmla="*/ 1214437 h 2265361"/>
              <a:gd name="connsiteX242" fmla="*/ 9315449 w 9905999"/>
              <a:gd name="connsiteY242" fmla="*/ 1214437 h 2265361"/>
              <a:gd name="connsiteX243" fmla="*/ 9315449 w 9905999"/>
              <a:gd name="connsiteY243" fmla="*/ 225425 h 2265361"/>
              <a:gd name="connsiteX244" fmla="*/ 8961436 w 9905999"/>
              <a:gd name="connsiteY244" fmla="*/ 225425 h 2265361"/>
              <a:gd name="connsiteX245" fmla="*/ 7785099 w 9905999"/>
              <a:gd name="connsiteY245" fmla="*/ 0 h 2265361"/>
              <a:gd name="connsiteX246" fmla="*/ 8035924 w 9905999"/>
              <a:gd name="connsiteY246" fmla="*/ 0 h 2265361"/>
              <a:gd name="connsiteX247" fmla="*/ 8037512 w 9905999"/>
              <a:gd name="connsiteY247" fmla="*/ 3175 h 2265361"/>
              <a:gd name="connsiteX248" fmla="*/ 8523286 w 9905999"/>
              <a:gd name="connsiteY248" fmla="*/ 774700 h 2265361"/>
              <a:gd name="connsiteX249" fmla="*/ 8523286 w 9905999"/>
              <a:gd name="connsiteY249" fmla="*/ 0 h 2265361"/>
              <a:gd name="connsiteX250" fmla="*/ 8759824 w 9905999"/>
              <a:gd name="connsiteY250" fmla="*/ 0 h 2265361"/>
              <a:gd name="connsiteX251" fmla="*/ 8759824 w 9905999"/>
              <a:gd name="connsiteY251" fmla="*/ 1214437 h 2265361"/>
              <a:gd name="connsiteX252" fmla="*/ 8518524 w 9905999"/>
              <a:gd name="connsiteY252" fmla="*/ 1214437 h 2265361"/>
              <a:gd name="connsiteX253" fmla="*/ 8024812 w 9905999"/>
              <a:gd name="connsiteY253" fmla="*/ 425450 h 2265361"/>
              <a:gd name="connsiteX254" fmla="*/ 8024812 w 9905999"/>
              <a:gd name="connsiteY254" fmla="*/ 1214437 h 2265361"/>
              <a:gd name="connsiteX255" fmla="*/ 7785099 w 9905999"/>
              <a:gd name="connsiteY255" fmla="*/ 1214437 h 2265361"/>
              <a:gd name="connsiteX256" fmla="*/ 6665911 w 9905999"/>
              <a:gd name="connsiteY256" fmla="*/ 0 h 2265361"/>
              <a:gd name="connsiteX257" fmla="*/ 7535861 w 9905999"/>
              <a:gd name="connsiteY257" fmla="*/ 0 h 2265361"/>
              <a:gd name="connsiteX258" fmla="*/ 7535861 w 9905999"/>
              <a:gd name="connsiteY258" fmla="*/ 220663 h 2265361"/>
              <a:gd name="connsiteX259" fmla="*/ 6905624 w 9905999"/>
              <a:gd name="connsiteY259" fmla="*/ 220663 h 2265361"/>
              <a:gd name="connsiteX260" fmla="*/ 6905624 w 9905999"/>
              <a:gd name="connsiteY260" fmla="*/ 473075 h 2265361"/>
              <a:gd name="connsiteX261" fmla="*/ 7459661 w 9905999"/>
              <a:gd name="connsiteY261" fmla="*/ 473075 h 2265361"/>
              <a:gd name="connsiteX262" fmla="*/ 7459661 w 9905999"/>
              <a:gd name="connsiteY262" fmla="*/ 690562 h 2265361"/>
              <a:gd name="connsiteX263" fmla="*/ 6905624 w 9905999"/>
              <a:gd name="connsiteY263" fmla="*/ 690562 h 2265361"/>
              <a:gd name="connsiteX264" fmla="*/ 6905624 w 9905999"/>
              <a:gd name="connsiteY264" fmla="*/ 993775 h 2265361"/>
              <a:gd name="connsiteX265" fmla="*/ 7535861 w 9905999"/>
              <a:gd name="connsiteY265" fmla="*/ 993775 h 2265361"/>
              <a:gd name="connsiteX266" fmla="*/ 7535861 w 9905999"/>
              <a:gd name="connsiteY266" fmla="*/ 1214437 h 2265361"/>
              <a:gd name="connsiteX267" fmla="*/ 6665911 w 9905999"/>
              <a:gd name="connsiteY267" fmla="*/ 1214437 h 2265361"/>
              <a:gd name="connsiteX268" fmla="*/ 5221286 w 9905999"/>
              <a:gd name="connsiteY268" fmla="*/ 0 h 2265361"/>
              <a:gd name="connsiteX269" fmla="*/ 5534024 w 9905999"/>
              <a:gd name="connsiteY269" fmla="*/ 0 h 2265361"/>
              <a:gd name="connsiteX270" fmla="*/ 5835649 w 9905999"/>
              <a:gd name="connsiteY270" fmla="*/ 823912 h 2265361"/>
              <a:gd name="connsiteX271" fmla="*/ 6142037 w 9905999"/>
              <a:gd name="connsiteY271" fmla="*/ 0 h 2265361"/>
              <a:gd name="connsiteX272" fmla="*/ 6438899 w 9905999"/>
              <a:gd name="connsiteY272" fmla="*/ 0 h 2265361"/>
              <a:gd name="connsiteX273" fmla="*/ 6438899 w 9905999"/>
              <a:gd name="connsiteY273" fmla="*/ 1214437 h 2265361"/>
              <a:gd name="connsiteX274" fmla="*/ 6203949 w 9905999"/>
              <a:gd name="connsiteY274" fmla="*/ 1214437 h 2265361"/>
              <a:gd name="connsiteX275" fmla="*/ 6203949 w 9905999"/>
              <a:gd name="connsiteY275" fmla="*/ 419100 h 2265361"/>
              <a:gd name="connsiteX276" fmla="*/ 5916612 w 9905999"/>
              <a:gd name="connsiteY276" fmla="*/ 1196975 h 2265361"/>
              <a:gd name="connsiteX277" fmla="*/ 5740399 w 9905999"/>
              <a:gd name="connsiteY277" fmla="*/ 1196975 h 2265361"/>
              <a:gd name="connsiteX278" fmla="*/ 5454649 w 9905999"/>
              <a:gd name="connsiteY278" fmla="*/ 409575 h 2265361"/>
              <a:gd name="connsiteX279" fmla="*/ 5454649 w 9905999"/>
              <a:gd name="connsiteY279" fmla="*/ 1214437 h 2265361"/>
              <a:gd name="connsiteX280" fmla="*/ 5221286 w 9905999"/>
              <a:gd name="connsiteY280" fmla="*/ 1214437 h 2265361"/>
              <a:gd name="connsiteX281" fmla="*/ 4098924 w 9905999"/>
              <a:gd name="connsiteY281" fmla="*/ 0 h 2265361"/>
              <a:gd name="connsiteX282" fmla="*/ 4968874 w 9905999"/>
              <a:gd name="connsiteY282" fmla="*/ 0 h 2265361"/>
              <a:gd name="connsiteX283" fmla="*/ 4968874 w 9905999"/>
              <a:gd name="connsiteY283" fmla="*/ 220663 h 2265361"/>
              <a:gd name="connsiteX284" fmla="*/ 4340224 w 9905999"/>
              <a:gd name="connsiteY284" fmla="*/ 220663 h 2265361"/>
              <a:gd name="connsiteX285" fmla="*/ 4340224 w 9905999"/>
              <a:gd name="connsiteY285" fmla="*/ 473075 h 2265361"/>
              <a:gd name="connsiteX286" fmla="*/ 4895849 w 9905999"/>
              <a:gd name="connsiteY286" fmla="*/ 473075 h 2265361"/>
              <a:gd name="connsiteX287" fmla="*/ 4895849 w 9905999"/>
              <a:gd name="connsiteY287" fmla="*/ 690562 h 2265361"/>
              <a:gd name="connsiteX288" fmla="*/ 4340224 w 9905999"/>
              <a:gd name="connsiteY288" fmla="*/ 690562 h 2265361"/>
              <a:gd name="connsiteX289" fmla="*/ 4340224 w 9905999"/>
              <a:gd name="connsiteY289" fmla="*/ 993775 h 2265361"/>
              <a:gd name="connsiteX290" fmla="*/ 4968874 w 9905999"/>
              <a:gd name="connsiteY290" fmla="*/ 993775 h 2265361"/>
              <a:gd name="connsiteX291" fmla="*/ 4968874 w 9905999"/>
              <a:gd name="connsiteY291" fmla="*/ 1214437 h 2265361"/>
              <a:gd name="connsiteX292" fmla="*/ 4098924 w 9905999"/>
              <a:gd name="connsiteY292" fmla="*/ 1214437 h 2265361"/>
              <a:gd name="connsiteX293" fmla="*/ 3079749 w 9905999"/>
              <a:gd name="connsiteY293" fmla="*/ 0 h 2265361"/>
              <a:gd name="connsiteX294" fmla="*/ 3321049 w 9905999"/>
              <a:gd name="connsiteY294" fmla="*/ 0 h 2265361"/>
              <a:gd name="connsiteX295" fmla="*/ 3321049 w 9905999"/>
              <a:gd name="connsiteY295" fmla="*/ 984250 h 2265361"/>
              <a:gd name="connsiteX296" fmla="*/ 3871912 w 9905999"/>
              <a:gd name="connsiteY296" fmla="*/ 984250 h 2265361"/>
              <a:gd name="connsiteX297" fmla="*/ 3871912 w 9905999"/>
              <a:gd name="connsiteY297" fmla="*/ 1214437 h 2265361"/>
              <a:gd name="connsiteX298" fmla="*/ 3079749 w 9905999"/>
              <a:gd name="connsiteY298" fmla="*/ 1214437 h 2265361"/>
              <a:gd name="connsiteX299" fmla="*/ 1989138 w 9905999"/>
              <a:gd name="connsiteY299" fmla="*/ 0 h 2265361"/>
              <a:gd name="connsiteX300" fmla="*/ 2465639 w 9905999"/>
              <a:gd name="connsiteY300" fmla="*/ 0 h 2265361"/>
              <a:gd name="connsiteX301" fmla="*/ 2897188 w 9905999"/>
              <a:gd name="connsiteY301" fmla="*/ 392045 h 2265361"/>
              <a:gd name="connsiteX302" fmla="*/ 2465639 w 9905999"/>
              <a:gd name="connsiteY302" fmla="*/ 786342 h 2265361"/>
              <a:gd name="connsiteX303" fmla="*/ 2227389 w 9905999"/>
              <a:gd name="connsiteY303" fmla="*/ 786342 h 2265361"/>
              <a:gd name="connsiteX304" fmla="*/ 2227389 w 9905999"/>
              <a:gd name="connsiteY304" fmla="*/ 1214437 h 2265361"/>
              <a:gd name="connsiteX305" fmla="*/ 1989138 w 9905999"/>
              <a:gd name="connsiteY305" fmla="*/ 1214437 h 2265361"/>
              <a:gd name="connsiteX306" fmla="*/ 1989138 w 9905999"/>
              <a:gd name="connsiteY306" fmla="*/ 0 h 2265361"/>
              <a:gd name="connsiteX307" fmla="*/ 520699 w 9905999"/>
              <a:gd name="connsiteY307" fmla="*/ 0 h 2265361"/>
              <a:gd name="connsiteX308" fmla="*/ 833436 w 9905999"/>
              <a:gd name="connsiteY308" fmla="*/ 0 h 2265361"/>
              <a:gd name="connsiteX309" fmla="*/ 1135061 w 9905999"/>
              <a:gd name="connsiteY309" fmla="*/ 823912 h 2265361"/>
              <a:gd name="connsiteX310" fmla="*/ 1439862 w 9905999"/>
              <a:gd name="connsiteY310" fmla="*/ 0 h 2265361"/>
              <a:gd name="connsiteX311" fmla="*/ 1736724 w 9905999"/>
              <a:gd name="connsiteY311" fmla="*/ 0 h 2265361"/>
              <a:gd name="connsiteX312" fmla="*/ 1736724 w 9905999"/>
              <a:gd name="connsiteY312" fmla="*/ 1214437 h 2265361"/>
              <a:gd name="connsiteX313" fmla="*/ 1503362 w 9905999"/>
              <a:gd name="connsiteY313" fmla="*/ 1214437 h 2265361"/>
              <a:gd name="connsiteX314" fmla="*/ 1503362 w 9905999"/>
              <a:gd name="connsiteY314" fmla="*/ 419100 h 2265361"/>
              <a:gd name="connsiteX315" fmla="*/ 1216024 w 9905999"/>
              <a:gd name="connsiteY315" fmla="*/ 1196975 h 2265361"/>
              <a:gd name="connsiteX316" fmla="*/ 1039812 w 9905999"/>
              <a:gd name="connsiteY316" fmla="*/ 1196975 h 2265361"/>
              <a:gd name="connsiteX317" fmla="*/ 754062 w 9905999"/>
              <a:gd name="connsiteY317" fmla="*/ 409575 h 2265361"/>
              <a:gd name="connsiteX318" fmla="*/ 754062 w 9905999"/>
              <a:gd name="connsiteY318" fmla="*/ 1214437 h 2265361"/>
              <a:gd name="connsiteX319" fmla="*/ 520699 w 9905999"/>
              <a:gd name="connsiteY319" fmla="*/ 1214437 h 2265361"/>
              <a:gd name="connsiteX320" fmla="*/ 25400 w 9905999"/>
              <a:gd name="connsiteY320" fmla="*/ 0 h 2265361"/>
              <a:gd name="connsiteX321" fmla="*/ 268288 w 9905999"/>
              <a:gd name="connsiteY321" fmla="*/ 0 h 2265361"/>
              <a:gd name="connsiteX322" fmla="*/ 268288 w 9905999"/>
              <a:gd name="connsiteY322" fmla="*/ 1214437 h 2265361"/>
              <a:gd name="connsiteX323" fmla="*/ 25400 w 9905999"/>
              <a:gd name="connsiteY323" fmla="*/ 1214437 h 22653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</a:cxnLst>
            <a:rect l="l" t="t" r="r" b="b"/>
            <a:pathLst>
              <a:path w="9905999" h="2265361">
                <a:moveTo>
                  <a:pt x="6778122" y="2222531"/>
                </a:moveTo>
                <a:cubicBezTo>
                  <a:pt x="6778122" y="2222531"/>
                  <a:pt x="6778122" y="2222531"/>
                  <a:pt x="7135812" y="2222531"/>
                </a:cubicBezTo>
                <a:lnTo>
                  <a:pt x="7135812" y="2265361"/>
                </a:lnTo>
                <a:cubicBezTo>
                  <a:pt x="7135812" y="2265361"/>
                  <a:pt x="7135812" y="2265361"/>
                  <a:pt x="6778122" y="2265361"/>
                </a:cubicBezTo>
                <a:cubicBezTo>
                  <a:pt x="6778122" y="2265361"/>
                  <a:pt x="6778122" y="2265361"/>
                  <a:pt x="6778122" y="2222531"/>
                </a:cubicBezTo>
                <a:close/>
                <a:moveTo>
                  <a:pt x="6449676" y="1769427"/>
                </a:moveTo>
                <a:cubicBezTo>
                  <a:pt x="6449676" y="1769427"/>
                  <a:pt x="6449676" y="1769427"/>
                  <a:pt x="6449676" y="1965546"/>
                </a:cubicBezTo>
                <a:cubicBezTo>
                  <a:pt x="6449676" y="1965546"/>
                  <a:pt x="6449676" y="1965546"/>
                  <a:pt x="6575655" y="1965546"/>
                </a:cubicBezTo>
                <a:cubicBezTo>
                  <a:pt x="6643144" y="1965546"/>
                  <a:pt x="6679138" y="1933987"/>
                  <a:pt x="6679138" y="1864105"/>
                </a:cubicBezTo>
                <a:cubicBezTo>
                  <a:pt x="6679138" y="1800986"/>
                  <a:pt x="6638645" y="1769427"/>
                  <a:pt x="6575655" y="1769427"/>
                </a:cubicBezTo>
                <a:cubicBezTo>
                  <a:pt x="6575655" y="1769427"/>
                  <a:pt x="6575655" y="1769427"/>
                  <a:pt x="6449676" y="1769427"/>
                </a:cubicBezTo>
                <a:close/>
                <a:moveTo>
                  <a:pt x="5021164" y="1769427"/>
                </a:moveTo>
                <a:cubicBezTo>
                  <a:pt x="5021164" y="1769427"/>
                  <a:pt x="5021164" y="1769427"/>
                  <a:pt x="5021164" y="1949767"/>
                </a:cubicBezTo>
                <a:cubicBezTo>
                  <a:pt x="5021164" y="1949767"/>
                  <a:pt x="5021164" y="1949767"/>
                  <a:pt x="5158391" y="1949767"/>
                </a:cubicBezTo>
                <a:cubicBezTo>
                  <a:pt x="5219131" y="1949767"/>
                  <a:pt x="5261874" y="1924970"/>
                  <a:pt x="5261874" y="1859597"/>
                </a:cubicBezTo>
                <a:cubicBezTo>
                  <a:pt x="5261874" y="1794223"/>
                  <a:pt x="5219131" y="1769427"/>
                  <a:pt x="5158391" y="1769427"/>
                </a:cubicBezTo>
                <a:cubicBezTo>
                  <a:pt x="5158391" y="1769427"/>
                  <a:pt x="5158391" y="1769427"/>
                  <a:pt x="5021164" y="1769427"/>
                </a:cubicBezTo>
                <a:close/>
                <a:moveTo>
                  <a:pt x="5597068" y="1762664"/>
                </a:moveTo>
                <a:cubicBezTo>
                  <a:pt x="5563324" y="1762664"/>
                  <a:pt x="5529579" y="1776189"/>
                  <a:pt x="5504834" y="1800986"/>
                </a:cubicBezTo>
                <a:cubicBezTo>
                  <a:pt x="5462091" y="1843817"/>
                  <a:pt x="5459841" y="1913699"/>
                  <a:pt x="5459841" y="1967800"/>
                </a:cubicBezTo>
                <a:cubicBezTo>
                  <a:pt x="5459841" y="2019648"/>
                  <a:pt x="5462091" y="2089530"/>
                  <a:pt x="5504834" y="2132361"/>
                </a:cubicBezTo>
                <a:cubicBezTo>
                  <a:pt x="5529579" y="2159412"/>
                  <a:pt x="5563324" y="2170683"/>
                  <a:pt x="5597068" y="2170683"/>
                </a:cubicBezTo>
                <a:cubicBezTo>
                  <a:pt x="5633062" y="2170683"/>
                  <a:pt x="5666807" y="2159412"/>
                  <a:pt x="5691552" y="2132361"/>
                </a:cubicBezTo>
                <a:cubicBezTo>
                  <a:pt x="5732046" y="2089530"/>
                  <a:pt x="5734295" y="2019648"/>
                  <a:pt x="5734295" y="1967800"/>
                </a:cubicBezTo>
                <a:cubicBezTo>
                  <a:pt x="5734295" y="1913699"/>
                  <a:pt x="5732046" y="1843817"/>
                  <a:pt x="5691552" y="1800986"/>
                </a:cubicBezTo>
                <a:cubicBezTo>
                  <a:pt x="5666807" y="1776189"/>
                  <a:pt x="5633062" y="1762664"/>
                  <a:pt x="5597068" y="1762664"/>
                </a:cubicBezTo>
                <a:close/>
                <a:moveTo>
                  <a:pt x="654642" y="1762664"/>
                </a:moveTo>
                <a:cubicBezTo>
                  <a:pt x="618647" y="1762664"/>
                  <a:pt x="584903" y="1776189"/>
                  <a:pt x="560157" y="1800986"/>
                </a:cubicBezTo>
                <a:cubicBezTo>
                  <a:pt x="519664" y="1843817"/>
                  <a:pt x="517414" y="1913699"/>
                  <a:pt x="517414" y="1967800"/>
                </a:cubicBezTo>
                <a:cubicBezTo>
                  <a:pt x="517414" y="2019648"/>
                  <a:pt x="519664" y="2089530"/>
                  <a:pt x="560157" y="2132361"/>
                </a:cubicBezTo>
                <a:cubicBezTo>
                  <a:pt x="584903" y="2159412"/>
                  <a:pt x="618647" y="2170683"/>
                  <a:pt x="654642" y="2170683"/>
                </a:cubicBezTo>
                <a:cubicBezTo>
                  <a:pt x="688386" y="2170683"/>
                  <a:pt x="722130" y="2159412"/>
                  <a:pt x="746876" y="2132361"/>
                </a:cubicBezTo>
                <a:cubicBezTo>
                  <a:pt x="789619" y="2089530"/>
                  <a:pt x="791868" y="2019648"/>
                  <a:pt x="791868" y="1967800"/>
                </a:cubicBezTo>
                <a:cubicBezTo>
                  <a:pt x="791868" y="1913699"/>
                  <a:pt x="789619" y="1843817"/>
                  <a:pt x="746876" y="1800986"/>
                </a:cubicBezTo>
                <a:cubicBezTo>
                  <a:pt x="722130" y="1776189"/>
                  <a:pt x="688386" y="1762664"/>
                  <a:pt x="654642" y="1762664"/>
                </a:cubicBezTo>
                <a:close/>
                <a:moveTo>
                  <a:pt x="6386687" y="1710816"/>
                </a:moveTo>
                <a:cubicBezTo>
                  <a:pt x="6386687" y="1710816"/>
                  <a:pt x="6386687" y="1710816"/>
                  <a:pt x="6575655" y="1710816"/>
                </a:cubicBezTo>
                <a:cubicBezTo>
                  <a:pt x="6636395" y="1710816"/>
                  <a:pt x="6679138" y="1726596"/>
                  <a:pt x="6706134" y="1755901"/>
                </a:cubicBezTo>
                <a:cubicBezTo>
                  <a:pt x="6730880" y="1782952"/>
                  <a:pt x="6744377" y="1821274"/>
                  <a:pt x="6744377" y="1864105"/>
                </a:cubicBezTo>
                <a:cubicBezTo>
                  <a:pt x="6744377" y="1915953"/>
                  <a:pt x="6730880" y="1954275"/>
                  <a:pt x="6701634" y="1981326"/>
                </a:cubicBezTo>
                <a:cubicBezTo>
                  <a:pt x="6674639" y="2008377"/>
                  <a:pt x="6634146" y="2024157"/>
                  <a:pt x="6577905" y="2024157"/>
                </a:cubicBezTo>
                <a:cubicBezTo>
                  <a:pt x="6577905" y="2024157"/>
                  <a:pt x="6577905" y="2024157"/>
                  <a:pt x="6449676" y="2024157"/>
                </a:cubicBezTo>
                <a:cubicBezTo>
                  <a:pt x="6449676" y="2024157"/>
                  <a:pt x="6449676" y="2024157"/>
                  <a:pt x="6449676" y="2222531"/>
                </a:cubicBezTo>
                <a:cubicBezTo>
                  <a:pt x="6449676" y="2222531"/>
                  <a:pt x="6449676" y="2222531"/>
                  <a:pt x="6386687" y="2222531"/>
                </a:cubicBezTo>
                <a:cubicBezTo>
                  <a:pt x="6386687" y="2222531"/>
                  <a:pt x="6386687" y="2222531"/>
                  <a:pt x="6386687" y="1710816"/>
                </a:cubicBezTo>
                <a:close/>
                <a:moveTo>
                  <a:pt x="5889520" y="1710816"/>
                </a:moveTo>
                <a:cubicBezTo>
                  <a:pt x="5889520" y="1710816"/>
                  <a:pt x="5889520" y="1710816"/>
                  <a:pt x="5954759" y="1710816"/>
                </a:cubicBezTo>
                <a:cubicBezTo>
                  <a:pt x="5954759" y="1710816"/>
                  <a:pt x="5954759" y="1710816"/>
                  <a:pt x="5954759" y="2035428"/>
                </a:cubicBezTo>
                <a:cubicBezTo>
                  <a:pt x="5954759" y="2118835"/>
                  <a:pt x="5988503" y="2172937"/>
                  <a:pt x="6076239" y="2172937"/>
                </a:cubicBezTo>
                <a:cubicBezTo>
                  <a:pt x="6166224" y="2172937"/>
                  <a:pt x="6199968" y="2118835"/>
                  <a:pt x="6199968" y="2035428"/>
                </a:cubicBezTo>
                <a:cubicBezTo>
                  <a:pt x="6199968" y="2035428"/>
                  <a:pt x="6199968" y="2035428"/>
                  <a:pt x="6199968" y="1710816"/>
                </a:cubicBezTo>
                <a:cubicBezTo>
                  <a:pt x="6199968" y="1710816"/>
                  <a:pt x="6199968" y="1710816"/>
                  <a:pt x="6262957" y="1710816"/>
                </a:cubicBezTo>
                <a:cubicBezTo>
                  <a:pt x="6262957" y="1710816"/>
                  <a:pt x="6262957" y="1710816"/>
                  <a:pt x="6262957" y="2035428"/>
                </a:cubicBezTo>
                <a:cubicBezTo>
                  <a:pt x="6262957" y="2163920"/>
                  <a:pt x="6190969" y="2231547"/>
                  <a:pt x="6076239" y="2231547"/>
                </a:cubicBezTo>
                <a:cubicBezTo>
                  <a:pt x="5961508" y="2231547"/>
                  <a:pt x="5889520" y="2163920"/>
                  <a:pt x="5889520" y="2035428"/>
                </a:cubicBezTo>
                <a:cubicBezTo>
                  <a:pt x="5889520" y="2035428"/>
                  <a:pt x="5889520" y="2035428"/>
                  <a:pt x="5889520" y="1710816"/>
                </a:cubicBezTo>
                <a:close/>
                <a:moveTo>
                  <a:pt x="4958174" y="1710816"/>
                </a:moveTo>
                <a:cubicBezTo>
                  <a:pt x="4958174" y="1710816"/>
                  <a:pt x="4958174" y="1710816"/>
                  <a:pt x="5158391" y="1710816"/>
                </a:cubicBezTo>
                <a:cubicBezTo>
                  <a:pt x="5219131" y="1710816"/>
                  <a:pt x="5259624" y="1726596"/>
                  <a:pt x="5288869" y="1755901"/>
                </a:cubicBezTo>
                <a:cubicBezTo>
                  <a:pt x="5313615" y="1782952"/>
                  <a:pt x="5329363" y="1814512"/>
                  <a:pt x="5329363" y="1859597"/>
                </a:cubicBezTo>
                <a:cubicBezTo>
                  <a:pt x="5329363" y="1904682"/>
                  <a:pt x="5313615" y="1936241"/>
                  <a:pt x="5288869" y="1961038"/>
                </a:cubicBezTo>
                <a:cubicBezTo>
                  <a:pt x="5275372" y="1976817"/>
                  <a:pt x="5252875" y="1990343"/>
                  <a:pt x="5228130" y="1997106"/>
                </a:cubicBezTo>
                <a:cubicBezTo>
                  <a:pt x="5228130" y="1997106"/>
                  <a:pt x="5228130" y="1997106"/>
                  <a:pt x="5331612" y="2222531"/>
                </a:cubicBezTo>
                <a:lnTo>
                  <a:pt x="5259624" y="2222531"/>
                </a:lnTo>
                <a:cubicBezTo>
                  <a:pt x="5259624" y="2222531"/>
                  <a:pt x="5259624" y="2222531"/>
                  <a:pt x="5162890" y="2010631"/>
                </a:cubicBezTo>
                <a:cubicBezTo>
                  <a:pt x="5162890" y="2010631"/>
                  <a:pt x="5162890" y="2010631"/>
                  <a:pt x="5021164" y="2010631"/>
                </a:cubicBezTo>
                <a:cubicBezTo>
                  <a:pt x="5021164" y="2010631"/>
                  <a:pt x="5021164" y="2010631"/>
                  <a:pt x="5021164" y="2222531"/>
                </a:cubicBezTo>
                <a:cubicBezTo>
                  <a:pt x="5021164" y="2222531"/>
                  <a:pt x="5021164" y="2222531"/>
                  <a:pt x="4958174" y="2222531"/>
                </a:cubicBezTo>
                <a:cubicBezTo>
                  <a:pt x="4958174" y="2222531"/>
                  <a:pt x="4958174" y="2222531"/>
                  <a:pt x="4958174" y="1710816"/>
                </a:cubicBezTo>
                <a:close/>
                <a:moveTo>
                  <a:pt x="3309199" y="1710816"/>
                </a:moveTo>
                <a:cubicBezTo>
                  <a:pt x="3309199" y="1710816"/>
                  <a:pt x="3309199" y="1710816"/>
                  <a:pt x="3381187" y="1710816"/>
                </a:cubicBezTo>
                <a:cubicBezTo>
                  <a:pt x="3381187" y="1710816"/>
                  <a:pt x="3381187" y="1710816"/>
                  <a:pt x="3633145" y="2123344"/>
                </a:cubicBezTo>
                <a:cubicBezTo>
                  <a:pt x="3633145" y="2123344"/>
                  <a:pt x="3633145" y="2123344"/>
                  <a:pt x="3633145" y="1710816"/>
                </a:cubicBezTo>
                <a:cubicBezTo>
                  <a:pt x="3633145" y="1710816"/>
                  <a:pt x="3633145" y="1710816"/>
                  <a:pt x="3693885" y="1710816"/>
                </a:cubicBezTo>
                <a:cubicBezTo>
                  <a:pt x="3693885" y="1710816"/>
                  <a:pt x="3693885" y="1710816"/>
                  <a:pt x="3693885" y="2222531"/>
                </a:cubicBezTo>
                <a:lnTo>
                  <a:pt x="3621897" y="2222531"/>
                </a:lnTo>
                <a:cubicBezTo>
                  <a:pt x="3621897" y="2222531"/>
                  <a:pt x="3621897" y="2222531"/>
                  <a:pt x="3372188" y="1810003"/>
                </a:cubicBezTo>
                <a:cubicBezTo>
                  <a:pt x="3372188" y="1810003"/>
                  <a:pt x="3372188" y="1810003"/>
                  <a:pt x="3372188" y="2222531"/>
                </a:cubicBezTo>
                <a:cubicBezTo>
                  <a:pt x="3372188" y="2222531"/>
                  <a:pt x="3372188" y="2222531"/>
                  <a:pt x="3309199" y="2222531"/>
                </a:cubicBezTo>
                <a:cubicBezTo>
                  <a:pt x="3309199" y="2222531"/>
                  <a:pt x="3309199" y="2222531"/>
                  <a:pt x="3309199" y="1710816"/>
                </a:cubicBezTo>
                <a:close/>
                <a:moveTo>
                  <a:pt x="3106732" y="1710816"/>
                </a:moveTo>
                <a:cubicBezTo>
                  <a:pt x="3106732" y="1710816"/>
                  <a:pt x="3106732" y="1710816"/>
                  <a:pt x="3171971" y="1710816"/>
                </a:cubicBezTo>
                <a:lnTo>
                  <a:pt x="3171971" y="2222531"/>
                </a:lnTo>
                <a:cubicBezTo>
                  <a:pt x="3171971" y="2222531"/>
                  <a:pt x="3171971" y="2222531"/>
                  <a:pt x="3106732" y="2222531"/>
                </a:cubicBezTo>
                <a:cubicBezTo>
                  <a:pt x="3106732" y="2222531"/>
                  <a:pt x="3106732" y="2222531"/>
                  <a:pt x="3106732" y="1710816"/>
                </a:cubicBezTo>
                <a:close/>
                <a:moveTo>
                  <a:pt x="2663557" y="1710816"/>
                </a:moveTo>
                <a:cubicBezTo>
                  <a:pt x="2663557" y="1710816"/>
                  <a:pt x="2663557" y="1710816"/>
                  <a:pt x="3032495" y="1710816"/>
                </a:cubicBezTo>
                <a:cubicBezTo>
                  <a:pt x="3032495" y="1710816"/>
                  <a:pt x="3032495" y="1710816"/>
                  <a:pt x="3032495" y="1769427"/>
                </a:cubicBezTo>
                <a:lnTo>
                  <a:pt x="2879521" y="1769427"/>
                </a:lnTo>
                <a:cubicBezTo>
                  <a:pt x="2879521" y="1769427"/>
                  <a:pt x="2879521" y="1769427"/>
                  <a:pt x="2879521" y="2222531"/>
                </a:cubicBezTo>
                <a:cubicBezTo>
                  <a:pt x="2879521" y="2222531"/>
                  <a:pt x="2879521" y="2222531"/>
                  <a:pt x="2814282" y="2222531"/>
                </a:cubicBezTo>
                <a:cubicBezTo>
                  <a:pt x="2814282" y="2222531"/>
                  <a:pt x="2814282" y="2222531"/>
                  <a:pt x="2814282" y="1769427"/>
                </a:cubicBezTo>
                <a:cubicBezTo>
                  <a:pt x="2814282" y="1769427"/>
                  <a:pt x="2814282" y="1769427"/>
                  <a:pt x="2663557" y="1769427"/>
                </a:cubicBezTo>
                <a:cubicBezTo>
                  <a:pt x="2663557" y="1769427"/>
                  <a:pt x="2663557" y="1769427"/>
                  <a:pt x="2663557" y="1710816"/>
                </a:cubicBezTo>
                <a:close/>
                <a:moveTo>
                  <a:pt x="2416099" y="1710816"/>
                </a:moveTo>
                <a:cubicBezTo>
                  <a:pt x="2416099" y="1710816"/>
                  <a:pt x="2416099" y="1710816"/>
                  <a:pt x="2481338" y="1710816"/>
                </a:cubicBezTo>
                <a:cubicBezTo>
                  <a:pt x="2481338" y="1710816"/>
                  <a:pt x="2481338" y="1710816"/>
                  <a:pt x="2481338" y="2163920"/>
                </a:cubicBezTo>
                <a:cubicBezTo>
                  <a:pt x="2481338" y="2163920"/>
                  <a:pt x="2481338" y="2163920"/>
                  <a:pt x="2726547" y="2163920"/>
                </a:cubicBezTo>
                <a:cubicBezTo>
                  <a:pt x="2726547" y="2163920"/>
                  <a:pt x="2726547" y="2163920"/>
                  <a:pt x="2726547" y="2222531"/>
                </a:cubicBezTo>
                <a:lnTo>
                  <a:pt x="2416099" y="2222531"/>
                </a:lnTo>
                <a:cubicBezTo>
                  <a:pt x="2416099" y="2222531"/>
                  <a:pt x="2416099" y="2222531"/>
                  <a:pt x="2416099" y="1710816"/>
                </a:cubicBezTo>
                <a:close/>
                <a:moveTo>
                  <a:pt x="1918931" y="1710816"/>
                </a:moveTo>
                <a:cubicBezTo>
                  <a:pt x="1918931" y="1710816"/>
                  <a:pt x="1918931" y="1710816"/>
                  <a:pt x="1984171" y="1710816"/>
                </a:cubicBezTo>
                <a:cubicBezTo>
                  <a:pt x="1984171" y="1710816"/>
                  <a:pt x="1984171" y="1710816"/>
                  <a:pt x="1984171" y="2035428"/>
                </a:cubicBezTo>
                <a:cubicBezTo>
                  <a:pt x="1984171" y="2118835"/>
                  <a:pt x="2017916" y="2172937"/>
                  <a:pt x="2105651" y="2172937"/>
                </a:cubicBezTo>
                <a:cubicBezTo>
                  <a:pt x="2195636" y="2172937"/>
                  <a:pt x="2229380" y="2118835"/>
                  <a:pt x="2229380" y="2035428"/>
                </a:cubicBezTo>
                <a:cubicBezTo>
                  <a:pt x="2229380" y="2035428"/>
                  <a:pt x="2229380" y="2035428"/>
                  <a:pt x="2229380" y="1710816"/>
                </a:cubicBezTo>
                <a:cubicBezTo>
                  <a:pt x="2229380" y="1710816"/>
                  <a:pt x="2229380" y="1710816"/>
                  <a:pt x="2292369" y="1710816"/>
                </a:cubicBezTo>
                <a:cubicBezTo>
                  <a:pt x="2292369" y="1710816"/>
                  <a:pt x="2292369" y="1710816"/>
                  <a:pt x="2292369" y="2035428"/>
                </a:cubicBezTo>
                <a:cubicBezTo>
                  <a:pt x="2292369" y="2163920"/>
                  <a:pt x="2220382" y="2231547"/>
                  <a:pt x="2105651" y="2231547"/>
                </a:cubicBezTo>
                <a:cubicBezTo>
                  <a:pt x="1990920" y="2231547"/>
                  <a:pt x="1918931" y="2163920"/>
                  <a:pt x="1918931" y="2035428"/>
                </a:cubicBezTo>
                <a:cubicBezTo>
                  <a:pt x="1918931" y="2035428"/>
                  <a:pt x="1918931" y="2035428"/>
                  <a:pt x="1918931" y="1710816"/>
                </a:cubicBezTo>
                <a:close/>
                <a:moveTo>
                  <a:pt x="960591" y="1710816"/>
                </a:moveTo>
                <a:cubicBezTo>
                  <a:pt x="960591" y="1710816"/>
                  <a:pt x="960591" y="1710816"/>
                  <a:pt x="1032578" y="1710816"/>
                </a:cubicBezTo>
                <a:cubicBezTo>
                  <a:pt x="1032578" y="1710816"/>
                  <a:pt x="1032578" y="1710816"/>
                  <a:pt x="1284537" y="2123344"/>
                </a:cubicBezTo>
                <a:cubicBezTo>
                  <a:pt x="1284537" y="2123344"/>
                  <a:pt x="1284537" y="2123344"/>
                  <a:pt x="1284537" y="1710816"/>
                </a:cubicBezTo>
                <a:cubicBezTo>
                  <a:pt x="1284537" y="1710816"/>
                  <a:pt x="1284537" y="1710816"/>
                  <a:pt x="1345276" y="1710816"/>
                </a:cubicBezTo>
                <a:cubicBezTo>
                  <a:pt x="1345276" y="1710816"/>
                  <a:pt x="1345276" y="1710816"/>
                  <a:pt x="1345276" y="2222531"/>
                </a:cubicBezTo>
                <a:lnTo>
                  <a:pt x="1273289" y="2222531"/>
                </a:lnTo>
                <a:cubicBezTo>
                  <a:pt x="1273289" y="2222531"/>
                  <a:pt x="1273289" y="2222531"/>
                  <a:pt x="1023580" y="1810003"/>
                </a:cubicBezTo>
                <a:cubicBezTo>
                  <a:pt x="1023580" y="1810003"/>
                  <a:pt x="1023580" y="1810003"/>
                  <a:pt x="1023580" y="2222531"/>
                </a:cubicBezTo>
                <a:cubicBezTo>
                  <a:pt x="1023580" y="2222531"/>
                  <a:pt x="1023580" y="2222531"/>
                  <a:pt x="960591" y="2222531"/>
                </a:cubicBezTo>
                <a:cubicBezTo>
                  <a:pt x="960591" y="2222531"/>
                  <a:pt x="960591" y="2222531"/>
                  <a:pt x="960591" y="1710816"/>
                </a:cubicBezTo>
                <a:close/>
                <a:moveTo>
                  <a:pt x="5597068" y="1701799"/>
                </a:moveTo>
                <a:cubicBezTo>
                  <a:pt x="5648810" y="1701799"/>
                  <a:pt x="5698301" y="1719833"/>
                  <a:pt x="5736545" y="1755901"/>
                </a:cubicBezTo>
                <a:cubicBezTo>
                  <a:pt x="5790536" y="1810003"/>
                  <a:pt x="5801784" y="1884393"/>
                  <a:pt x="5801784" y="1967800"/>
                </a:cubicBezTo>
                <a:cubicBezTo>
                  <a:pt x="5801784" y="2048953"/>
                  <a:pt x="5790536" y="2123344"/>
                  <a:pt x="5736545" y="2177446"/>
                </a:cubicBezTo>
                <a:cubicBezTo>
                  <a:pt x="5698301" y="2213514"/>
                  <a:pt x="5648810" y="2233802"/>
                  <a:pt x="5597068" y="2233802"/>
                </a:cubicBezTo>
                <a:cubicBezTo>
                  <a:pt x="5547576" y="2233802"/>
                  <a:pt x="5495835" y="2213514"/>
                  <a:pt x="5459841" y="2177446"/>
                </a:cubicBezTo>
                <a:cubicBezTo>
                  <a:pt x="5403600" y="2123344"/>
                  <a:pt x="5394602" y="2048953"/>
                  <a:pt x="5394602" y="1967800"/>
                </a:cubicBezTo>
                <a:cubicBezTo>
                  <a:pt x="5394602" y="1884393"/>
                  <a:pt x="5403600" y="1810003"/>
                  <a:pt x="5459841" y="1755901"/>
                </a:cubicBezTo>
                <a:cubicBezTo>
                  <a:pt x="5495835" y="1719833"/>
                  <a:pt x="5547576" y="1701799"/>
                  <a:pt x="5597068" y="1701799"/>
                </a:cubicBezTo>
                <a:close/>
                <a:moveTo>
                  <a:pt x="4645477" y="1701799"/>
                </a:moveTo>
                <a:cubicBezTo>
                  <a:pt x="4701717" y="1701799"/>
                  <a:pt x="4755708" y="1722087"/>
                  <a:pt x="4791702" y="1758155"/>
                </a:cubicBezTo>
                <a:cubicBezTo>
                  <a:pt x="4816448" y="1785206"/>
                  <a:pt x="4832195" y="1816766"/>
                  <a:pt x="4834445" y="1859597"/>
                </a:cubicBezTo>
                <a:cubicBezTo>
                  <a:pt x="4834445" y="1859597"/>
                  <a:pt x="4834445" y="1859597"/>
                  <a:pt x="4766956" y="1859597"/>
                </a:cubicBezTo>
                <a:cubicBezTo>
                  <a:pt x="4764707" y="1834800"/>
                  <a:pt x="4757958" y="1819020"/>
                  <a:pt x="4744460" y="1803240"/>
                </a:cubicBezTo>
                <a:cubicBezTo>
                  <a:pt x="4721964" y="1773935"/>
                  <a:pt x="4685970" y="1762664"/>
                  <a:pt x="4645477" y="1762664"/>
                </a:cubicBezTo>
                <a:cubicBezTo>
                  <a:pt x="4609482" y="1762664"/>
                  <a:pt x="4575738" y="1776189"/>
                  <a:pt x="4550992" y="1800986"/>
                </a:cubicBezTo>
                <a:cubicBezTo>
                  <a:pt x="4510499" y="1843817"/>
                  <a:pt x="4506000" y="1913699"/>
                  <a:pt x="4506000" y="1967800"/>
                </a:cubicBezTo>
                <a:cubicBezTo>
                  <a:pt x="4506000" y="2017394"/>
                  <a:pt x="4510499" y="2091784"/>
                  <a:pt x="4553242" y="2134615"/>
                </a:cubicBezTo>
                <a:cubicBezTo>
                  <a:pt x="4577988" y="2161666"/>
                  <a:pt x="4609482" y="2172937"/>
                  <a:pt x="4645477" y="2172937"/>
                </a:cubicBezTo>
                <a:cubicBezTo>
                  <a:pt x="4681471" y="2172937"/>
                  <a:pt x="4715215" y="2159412"/>
                  <a:pt x="4737711" y="2136869"/>
                </a:cubicBezTo>
                <a:cubicBezTo>
                  <a:pt x="4771456" y="2103055"/>
                  <a:pt x="4780454" y="2053462"/>
                  <a:pt x="4780454" y="2006123"/>
                </a:cubicBezTo>
                <a:cubicBezTo>
                  <a:pt x="4780454" y="2006123"/>
                  <a:pt x="4780454" y="2006123"/>
                  <a:pt x="4645477" y="2006123"/>
                </a:cubicBezTo>
                <a:cubicBezTo>
                  <a:pt x="4645477" y="2006123"/>
                  <a:pt x="4645477" y="2006123"/>
                  <a:pt x="4645477" y="1947512"/>
                </a:cubicBezTo>
                <a:cubicBezTo>
                  <a:pt x="4645477" y="1947512"/>
                  <a:pt x="4645477" y="1947512"/>
                  <a:pt x="4838944" y="1947512"/>
                </a:cubicBezTo>
                <a:cubicBezTo>
                  <a:pt x="4838944" y="1947512"/>
                  <a:pt x="4838944" y="1947512"/>
                  <a:pt x="4838944" y="2222531"/>
                </a:cubicBezTo>
                <a:lnTo>
                  <a:pt x="4793952" y="2222531"/>
                </a:lnTo>
                <a:cubicBezTo>
                  <a:pt x="4793952" y="2222531"/>
                  <a:pt x="4793952" y="2222531"/>
                  <a:pt x="4782704" y="2161666"/>
                </a:cubicBezTo>
                <a:cubicBezTo>
                  <a:pt x="4757958" y="2204497"/>
                  <a:pt x="4701717" y="2233802"/>
                  <a:pt x="4645477" y="2233802"/>
                </a:cubicBezTo>
                <a:cubicBezTo>
                  <a:pt x="4593735" y="2233802"/>
                  <a:pt x="4544243" y="2215768"/>
                  <a:pt x="4506000" y="2179700"/>
                </a:cubicBezTo>
                <a:cubicBezTo>
                  <a:pt x="4454258" y="2130106"/>
                  <a:pt x="4440761" y="2057970"/>
                  <a:pt x="4440761" y="1967800"/>
                </a:cubicBezTo>
                <a:cubicBezTo>
                  <a:pt x="4440761" y="1884393"/>
                  <a:pt x="4452009" y="1810003"/>
                  <a:pt x="4506000" y="1755901"/>
                </a:cubicBezTo>
                <a:cubicBezTo>
                  <a:pt x="4544243" y="1719833"/>
                  <a:pt x="4593735" y="1701799"/>
                  <a:pt x="4645477" y="1701799"/>
                </a:cubicBezTo>
                <a:close/>
                <a:moveTo>
                  <a:pt x="4002083" y="1701799"/>
                </a:moveTo>
                <a:cubicBezTo>
                  <a:pt x="4060574" y="1701799"/>
                  <a:pt x="4112315" y="1722087"/>
                  <a:pt x="4148309" y="1758155"/>
                </a:cubicBezTo>
                <a:cubicBezTo>
                  <a:pt x="4173055" y="1785206"/>
                  <a:pt x="4191052" y="1816766"/>
                  <a:pt x="4193302" y="1859597"/>
                </a:cubicBezTo>
                <a:cubicBezTo>
                  <a:pt x="4193302" y="1859597"/>
                  <a:pt x="4193302" y="1859597"/>
                  <a:pt x="4125813" y="1859597"/>
                </a:cubicBezTo>
                <a:cubicBezTo>
                  <a:pt x="4123563" y="1834800"/>
                  <a:pt x="4114565" y="1819020"/>
                  <a:pt x="4103317" y="1803240"/>
                </a:cubicBezTo>
                <a:cubicBezTo>
                  <a:pt x="4078571" y="1773935"/>
                  <a:pt x="4044826" y="1762664"/>
                  <a:pt x="4002083" y="1762664"/>
                </a:cubicBezTo>
                <a:cubicBezTo>
                  <a:pt x="3968339" y="1762664"/>
                  <a:pt x="3934595" y="1776189"/>
                  <a:pt x="3909849" y="1800986"/>
                </a:cubicBezTo>
                <a:cubicBezTo>
                  <a:pt x="3867106" y="1843817"/>
                  <a:pt x="3864856" y="1913699"/>
                  <a:pt x="3864856" y="1967800"/>
                </a:cubicBezTo>
                <a:cubicBezTo>
                  <a:pt x="3864856" y="2017394"/>
                  <a:pt x="3867106" y="2091784"/>
                  <a:pt x="3909849" y="2134615"/>
                </a:cubicBezTo>
                <a:cubicBezTo>
                  <a:pt x="3934595" y="2161666"/>
                  <a:pt x="3968339" y="2172937"/>
                  <a:pt x="4002083" y="2172937"/>
                </a:cubicBezTo>
                <a:cubicBezTo>
                  <a:pt x="4038077" y="2172937"/>
                  <a:pt x="4071822" y="2159412"/>
                  <a:pt x="4094318" y="2136869"/>
                </a:cubicBezTo>
                <a:cubicBezTo>
                  <a:pt x="4130312" y="2103055"/>
                  <a:pt x="4139311" y="2053462"/>
                  <a:pt x="4139311" y="2006123"/>
                </a:cubicBezTo>
                <a:cubicBezTo>
                  <a:pt x="4139311" y="2006123"/>
                  <a:pt x="4139311" y="2006123"/>
                  <a:pt x="4002083" y="2006123"/>
                </a:cubicBezTo>
                <a:cubicBezTo>
                  <a:pt x="4002083" y="2006123"/>
                  <a:pt x="4002083" y="2006123"/>
                  <a:pt x="4002083" y="1947512"/>
                </a:cubicBezTo>
                <a:cubicBezTo>
                  <a:pt x="4002083" y="1947512"/>
                  <a:pt x="4002083" y="1947512"/>
                  <a:pt x="4197801" y="1947512"/>
                </a:cubicBezTo>
                <a:cubicBezTo>
                  <a:pt x="4197801" y="1947512"/>
                  <a:pt x="4197801" y="1947512"/>
                  <a:pt x="4197801" y="2222531"/>
                </a:cubicBezTo>
                <a:lnTo>
                  <a:pt x="4152808" y="2222531"/>
                </a:lnTo>
                <a:cubicBezTo>
                  <a:pt x="4152808" y="2222531"/>
                  <a:pt x="4152808" y="2222531"/>
                  <a:pt x="4141560" y="2161666"/>
                </a:cubicBezTo>
                <a:cubicBezTo>
                  <a:pt x="4116814" y="2204497"/>
                  <a:pt x="4060574" y="2233802"/>
                  <a:pt x="4002083" y="2233802"/>
                </a:cubicBezTo>
                <a:cubicBezTo>
                  <a:pt x="3950342" y="2233802"/>
                  <a:pt x="3900850" y="2215768"/>
                  <a:pt x="3864856" y="2179700"/>
                </a:cubicBezTo>
                <a:cubicBezTo>
                  <a:pt x="3813115" y="2130106"/>
                  <a:pt x="3797367" y="2057970"/>
                  <a:pt x="3797367" y="1967800"/>
                </a:cubicBezTo>
                <a:cubicBezTo>
                  <a:pt x="3797367" y="1884393"/>
                  <a:pt x="3808616" y="1810003"/>
                  <a:pt x="3864856" y="1755901"/>
                </a:cubicBezTo>
                <a:cubicBezTo>
                  <a:pt x="3900850" y="1719833"/>
                  <a:pt x="3950342" y="1701799"/>
                  <a:pt x="4002083" y="1701799"/>
                </a:cubicBezTo>
                <a:close/>
                <a:moveTo>
                  <a:pt x="1642228" y="1701799"/>
                </a:moveTo>
                <a:cubicBezTo>
                  <a:pt x="1691719" y="1701799"/>
                  <a:pt x="1741211" y="1717579"/>
                  <a:pt x="1774955" y="1749138"/>
                </a:cubicBezTo>
                <a:cubicBezTo>
                  <a:pt x="1806450" y="1780698"/>
                  <a:pt x="1822198" y="1816766"/>
                  <a:pt x="1824447" y="1859597"/>
                </a:cubicBezTo>
                <a:cubicBezTo>
                  <a:pt x="1824447" y="1859597"/>
                  <a:pt x="1824447" y="1859597"/>
                  <a:pt x="1756958" y="1859597"/>
                </a:cubicBezTo>
                <a:cubicBezTo>
                  <a:pt x="1754708" y="1834800"/>
                  <a:pt x="1745710" y="1812257"/>
                  <a:pt x="1732212" y="1796478"/>
                </a:cubicBezTo>
                <a:cubicBezTo>
                  <a:pt x="1711966" y="1773935"/>
                  <a:pt x="1680471" y="1760410"/>
                  <a:pt x="1639978" y="1760410"/>
                </a:cubicBezTo>
                <a:cubicBezTo>
                  <a:pt x="1603983" y="1760410"/>
                  <a:pt x="1572489" y="1769427"/>
                  <a:pt x="1549993" y="1796478"/>
                </a:cubicBezTo>
                <a:cubicBezTo>
                  <a:pt x="1536494" y="1810003"/>
                  <a:pt x="1529746" y="1828037"/>
                  <a:pt x="1529746" y="1850580"/>
                </a:cubicBezTo>
                <a:cubicBezTo>
                  <a:pt x="1529746" y="1897919"/>
                  <a:pt x="1567989" y="1918207"/>
                  <a:pt x="1606234" y="1922716"/>
                </a:cubicBezTo>
                <a:cubicBezTo>
                  <a:pt x="1635478" y="1927224"/>
                  <a:pt x="1662474" y="1931733"/>
                  <a:pt x="1691719" y="1936241"/>
                </a:cubicBezTo>
                <a:cubicBezTo>
                  <a:pt x="1774955" y="1949767"/>
                  <a:pt x="1833445" y="2001614"/>
                  <a:pt x="1833445" y="2082767"/>
                </a:cubicBezTo>
                <a:cubicBezTo>
                  <a:pt x="1833445" y="2125598"/>
                  <a:pt x="1815448" y="2157157"/>
                  <a:pt x="1790703" y="2181954"/>
                </a:cubicBezTo>
                <a:cubicBezTo>
                  <a:pt x="1754708" y="2215768"/>
                  <a:pt x="1698468" y="2231547"/>
                  <a:pt x="1644477" y="2231547"/>
                </a:cubicBezTo>
                <a:cubicBezTo>
                  <a:pt x="1581488" y="2231547"/>
                  <a:pt x="1531996" y="2215768"/>
                  <a:pt x="1498251" y="2184208"/>
                </a:cubicBezTo>
                <a:cubicBezTo>
                  <a:pt x="1466757" y="2152649"/>
                  <a:pt x="1444260" y="2109818"/>
                  <a:pt x="1444260" y="2060225"/>
                </a:cubicBezTo>
                <a:cubicBezTo>
                  <a:pt x="1444260" y="2060225"/>
                  <a:pt x="1444260" y="2060225"/>
                  <a:pt x="1509499" y="2060225"/>
                </a:cubicBezTo>
                <a:cubicBezTo>
                  <a:pt x="1509499" y="2091784"/>
                  <a:pt x="1525247" y="2121089"/>
                  <a:pt x="1545494" y="2141378"/>
                </a:cubicBezTo>
                <a:cubicBezTo>
                  <a:pt x="1570239" y="2163920"/>
                  <a:pt x="1608483" y="2172937"/>
                  <a:pt x="1644477" y="2172937"/>
                </a:cubicBezTo>
                <a:cubicBezTo>
                  <a:pt x="1682720" y="2172937"/>
                  <a:pt x="1716465" y="2166174"/>
                  <a:pt x="1738962" y="2143632"/>
                </a:cubicBezTo>
                <a:cubicBezTo>
                  <a:pt x="1754708" y="2130106"/>
                  <a:pt x="1765956" y="2109818"/>
                  <a:pt x="1765956" y="2082767"/>
                </a:cubicBezTo>
                <a:cubicBezTo>
                  <a:pt x="1765956" y="2044445"/>
                  <a:pt x="1741211" y="2010631"/>
                  <a:pt x="1680471" y="2001614"/>
                </a:cubicBezTo>
                <a:cubicBezTo>
                  <a:pt x="1680471" y="2001614"/>
                  <a:pt x="1680471" y="2001614"/>
                  <a:pt x="1599484" y="1988089"/>
                </a:cubicBezTo>
                <a:cubicBezTo>
                  <a:pt x="1522997" y="1976817"/>
                  <a:pt x="1462257" y="1933987"/>
                  <a:pt x="1462257" y="1852834"/>
                </a:cubicBezTo>
                <a:cubicBezTo>
                  <a:pt x="1462257" y="1814512"/>
                  <a:pt x="1480254" y="1778444"/>
                  <a:pt x="1507249" y="1751393"/>
                </a:cubicBezTo>
                <a:cubicBezTo>
                  <a:pt x="1543244" y="1717579"/>
                  <a:pt x="1588236" y="1701799"/>
                  <a:pt x="1642228" y="1701799"/>
                </a:cubicBezTo>
                <a:close/>
                <a:moveTo>
                  <a:pt x="654642" y="1701799"/>
                </a:moveTo>
                <a:cubicBezTo>
                  <a:pt x="704133" y="1701799"/>
                  <a:pt x="755874" y="1719833"/>
                  <a:pt x="791868" y="1755901"/>
                </a:cubicBezTo>
                <a:cubicBezTo>
                  <a:pt x="848110" y="1810003"/>
                  <a:pt x="857108" y="1884393"/>
                  <a:pt x="857108" y="1967800"/>
                </a:cubicBezTo>
                <a:cubicBezTo>
                  <a:pt x="857108" y="2048953"/>
                  <a:pt x="848110" y="2123344"/>
                  <a:pt x="791868" y="2177446"/>
                </a:cubicBezTo>
                <a:cubicBezTo>
                  <a:pt x="755874" y="2213514"/>
                  <a:pt x="704133" y="2233802"/>
                  <a:pt x="654642" y="2233802"/>
                </a:cubicBezTo>
                <a:cubicBezTo>
                  <a:pt x="602900" y="2233802"/>
                  <a:pt x="553408" y="2213514"/>
                  <a:pt x="515164" y="2177446"/>
                </a:cubicBezTo>
                <a:cubicBezTo>
                  <a:pt x="461173" y="2123344"/>
                  <a:pt x="449925" y="2048953"/>
                  <a:pt x="449925" y="1967800"/>
                </a:cubicBezTo>
                <a:cubicBezTo>
                  <a:pt x="449925" y="1884393"/>
                  <a:pt x="461173" y="1810003"/>
                  <a:pt x="515164" y="1755901"/>
                </a:cubicBezTo>
                <a:cubicBezTo>
                  <a:pt x="553408" y="1719833"/>
                  <a:pt x="602900" y="1701799"/>
                  <a:pt x="654642" y="1701799"/>
                </a:cubicBezTo>
                <a:close/>
                <a:moveTo>
                  <a:pt x="202466" y="1701799"/>
                </a:moveTo>
                <a:cubicBezTo>
                  <a:pt x="258707" y="1701799"/>
                  <a:pt x="308199" y="1722087"/>
                  <a:pt x="339693" y="1753647"/>
                </a:cubicBezTo>
                <a:cubicBezTo>
                  <a:pt x="368939" y="1782952"/>
                  <a:pt x="386936" y="1823529"/>
                  <a:pt x="389185" y="1870868"/>
                </a:cubicBezTo>
                <a:cubicBezTo>
                  <a:pt x="389185" y="1870868"/>
                  <a:pt x="389185" y="1870868"/>
                  <a:pt x="323946" y="1870868"/>
                </a:cubicBezTo>
                <a:cubicBezTo>
                  <a:pt x="321697" y="1841563"/>
                  <a:pt x="312698" y="1819020"/>
                  <a:pt x="294701" y="1798732"/>
                </a:cubicBezTo>
                <a:cubicBezTo>
                  <a:pt x="274454" y="1776189"/>
                  <a:pt x="240710" y="1762664"/>
                  <a:pt x="202466" y="1762664"/>
                </a:cubicBezTo>
                <a:cubicBezTo>
                  <a:pt x="168722" y="1762664"/>
                  <a:pt x="134978" y="1776189"/>
                  <a:pt x="110232" y="1800986"/>
                </a:cubicBezTo>
                <a:cubicBezTo>
                  <a:pt x="67489" y="1843817"/>
                  <a:pt x="67489" y="1913699"/>
                  <a:pt x="67489" y="1967800"/>
                </a:cubicBezTo>
                <a:cubicBezTo>
                  <a:pt x="67489" y="2019648"/>
                  <a:pt x="67489" y="2089530"/>
                  <a:pt x="110232" y="2132361"/>
                </a:cubicBezTo>
                <a:cubicBezTo>
                  <a:pt x="134978" y="2159412"/>
                  <a:pt x="168722" y="2172937"/>
                  <a:pt x="202466" y="2172937"/>
                </a:cubicBezTo>
                <a:cubicBezTo>
                  <a:pt x="240710" y="2172937"/>
                  <a:pt x="276704" y="2154903"/>
                  <a:pt x="296951" y="2132361"/>
                </a:cubicBezTo>
                <a:cubicBezTo>
                  <a:pt x="312698" y="2114327"/>
                  <a:pt x="323946" y="2087276"/>
                  <a:pt x="323946" y="2060225"/>
                </a:cubicBezTo>
                <a:cubicBezTo>
                  <a:pt x="323946" y="2060225"/>
                  <a:pt x="323946" y="2060225"/>
                  <a:pt x="391435" y="2060225"/>
                </a:cubicBezTo>
                <a:cubicBezTo>
                  <a:pt x="389185" y="2107564"/>
                  <a:pt x="368939" y="2148140"/>
                  <a:pt x="339693" y="2177446"/>
                </a:cubicBezTo>
                <a:cubicBezTo>
                  <a:pt x="308199" y="2209005"/>
                  <a:pt x="258707" y="2233802"/>
                  <a:pt x="202466" y="2233802"/>
                </a:cubicBezTo>
                <a:cubicBezTo>
                  <a:pt x="150725" y="2233802"/>
                  <a:pt x="101233" y="2213514"/>
                  <a:pt x="65239" y="2177446"/>
                </a:cubicBezTo>
                <a:cubicBezTo>
                  <a:pt x="8999" y="2123344"/>
                  <a:pt x="0" y="2048953"/>
                  <a:pt x="0" y="1967800"/>
                </a:cubicBezTo>
                <a:cubicBezTo>
                  <a:pt x="0" y="1884393"/>
                  <a:pt x="8999" y="1810003"/>
                  <a:pt x="65239" y="1755901"/>
                </a:cubicBezTo>
                <a:cubicBezTo>
                  <a:pt x="101233" y="1719833"/>
                  <a:pt x="150725" y="1701799"/>
                  <a:pt x="202466" y="1701799"/>
                </a:cubicBezTo>
                <a:close/>
                <a:moveTo>
                  <a:pt x="2227389" y="214047"/>
                </a:moveTo>
                <a:cubicBezTo>
                  <a:pt x="2227389" y="214047"/>
                  <a:pt x="2227389" y="214047"/>
                  <a:pt x="2227389" y="574548"/>
                </a:cubicBezTo>
                <a:cubicBezTo>
                  <a:pt x="2227389" y="574548"/>
                  <a:pt x="2227389" y="574548"/>
                  <a:pt x="2456649" y="574548"/>
                </a:cubicBezTo>
                <a:cubicBezTo>
                  <a:pt x="2584765" y="574548"/>
                  <a:pt x="2654442" y="509207"/>
                  <a:pt x="2654442" y="394298"/>
                </a:cubicBezTo>
                <a:cubicBezTo>
                  <a:pt x="2654442" y="277135"/>
                  <a:pt x="2584765" y="214047"/>
                  <a:pt x="2456649" y="214047"/>
                </a:cubicBezTo>
                <a:cubicBezTo>
                  <a:pt x="2456649" y="214047"/>
                  <a:pt x="2456649" y="214047"/>
                  <a:pt x="2227389" y="214047"/>
                </a:cubicBezTo>
                <a:close/>
                <a:moveTo>
                  <a:pt x="8961436" y="0"/>
                </a:moveTo>
                <a:lnTo>
                  <a:pt x="9905999" y="0"/>
                </a:lnTo>
                <a:lnTo>
                  <a:pt x="9905999" y="225425"/>
                </a:lnTo>
                <a:lnTo>
                  <a:pt x="9555161" y="225425"/>
                </a:lnTo>
                <a:lnTo>
                  <a:pt x="9555161" y="1214437"/>
                </a:lnTo>
                <a:lnTo>
                  <a:pt x="9315449" y="1214437"/>
                </a:lnTo>
                <a:lnTo>
                  <a:pt x="9315449" y="225425"/>
                </a:lnTo>
                <a:lnTo>
                  <a:pt x="8961436" y="225425"/>
                </a:lnTo>
                <a:close/>
                <a:moveTo>
                  <a:pt x="7785099" y="0"/>
                </a:moveTo>
                <a:lnTo>
                  <a:pt x="8035924" y="0"/>
                </a:lnTo>
                <a:lnTo>
                  <a:pt x="8037512" y="3175"/>
                </a:lnTo>
                <a:lnTo>
                  <a:pt x="8523286" y="774700"/>
                </a:lnTo>
                <a:lnTo>
                  <a:pt x="8523286" y="0"/>
                </a:lnTo>
                <a:lnTo>
                  <a:pt x="8759824" y="0"/>
                </a:lnTo>
                <a:lnTo>
                  <a:pt x="8759824" y="1214437"/>
                </a:lnTo>
                <a:lnTo>
                  <a:pt x="8518524" y="1214437"/>
                </a:lnTo>
                <a:lnTo>
                  <a:pt x="8024812" y="425450"/>
                </a:lnTo>
                <a:lnTo>
                  <a:pt x="8024812" y="1214437"/>
                </a:lnTo>
                <a:lnTo>
                  <a:pt x="7785099" y="1214437"/>
                </a:lnTo>
                <a:close/>
                <a:moveTo>
                  <a:pt x="6665911" y="0"/>
                </a:moveTo>
                <a:lnTo>
                  <a:pt x="7535861" y="0"/>
                </a:lnTo>
                <a:lnTo>
                  <a:pt x="7535861" y="220663"/>
                </a:lnTo>
                <a:lnTo>
                  <a:pt x="6905624" y="220663"/>
                </a:lnTo>
                <a:lnTo>
                  <a:pt x="6905624" y="473075"/>
                </a:lnTo>
                <a:lnTo>
                  <a:pt x="7459661" y="473075"/>
                </a:lnTo>
                <a:lnTo>
                  <a:pt x="7459661" y="690562"/>
                </a:lnTo>
                <a:lnTo>
                  <a:pt x="6905624" y="690562"/>
                </a:lnTo>
                <a:lnTo>
                  <a:pt x="6905624" y="993775"/>
                </a:lnTo>
                <a:lnTo>
                  <a:pt x="7535861" y="993775"/>
                </a:lnTo>
                <a:lnTo>
                  <a:pt x="7535861" y="1214437"/>
                </a:lnTo>
                <a:lnTo>
                  <a:pt x="6665911" y="1214437"/>
                </a:lnTo>
                <a:close/>
                <a:moveTo>
                  <a:pt x="5221286" y="0"/>
                </a:moveTo>
                <a:lnTo>
                  <a:pt x="5534024" y="0"/>
                </a:lnTo>
                <a:lnTo>
                  <a:pt x="5835649" y="823912"/>
                </a:lnTo>
                <a:lnTo>
                  <a:pt x="6142037" y="0"/>
                </a:lnTo>
                <a:lnTo>
                  <a:pt x="6438899" y="0"/>
                </a:lnTo>
                <a:lnTo>
                  <a:pt x="6438899" y="1214437"/>
                </a:lnTo>
                <a:lnTo>
                  <a:pt x="6203949" y="1214437"/>
                </a:lnTo>
                <a:lnTo>
                  <a:pt x="6203949" y="419100"/>
                </a:lnTo>
                <a:lnTo>
                  <a:pt x="5916612" y="1196975"/>
                </a:lnTo>
                <a:lnTo>
                  <a:pt x="5740399" y="1196975"/>
                </a:lnTo>
                <a:lnTo>
                  <a:pt x="5454649" y="409575"/>
                </a:lnTo>
                <a:lnTo>
                  <a:pt x="5454649" y="1214437"/>
                </a:lnTo>
                <a:lnTo>
                  <a:pt x="5221286" y="1214437"/>
                </a:lnTo>
                <a:close/>
                <a:moveTo>
                  <a:pt x="4098924" y="0"/>
                </a:moveTo>
                <a:lnTo>
                  <a:pt x="4968874" y="0"/>
                </a:lnTo>
                <a:lnTo>
                  <a:pt x="4968874" y="220663"/>
                </a:lnTo>
                <a:lnTo>
                  <a:pt x="4340224" y="220663"/>
                </a:lnTo>
                <a:lnTo>
                  <a:pt x="4340224" y="473075"/>
                </a:lnTo>
                <a:lnTo>
                  <a:pt x="4895849" y="473075"/>
                </a:lnTo>
                <a:lnTo>
                  <a:pt x="4895849" y="690562"/>
                </a:lnTo>
                <a:lnTo>
                  <a:pt x="4340224" y="690562"/>
                </a:lnTo>
                <a:lnTo>
                  <a:pt x="4340224" y="993775"/>
                </a:lnTo>
                <a:lnTo>
                  <a:pt x="4968874" y="993775"/>
                </a:lnTo>
                <a:lnTo>
                  <a:pt x="4968874" y="1214437"/>
                </a:lnTo>
                <a:lnTo>
                  <a:pt x="4098924" y="1214437"/>
                </a:lnTo>
                <a:close/>
                <a:moveTo>
                  <a:pt x="3079749" y="0"/>
                </a:moveTo>
                <a:lnTo>
                  <a:pt x="3321049" y="0"/>
                </a:lnTo>
                <a:lnTo>
                  <a:pt x="3321049" y="984250"/>
                </a:lnTo>
                <a:lnTo>
                  <a:pt x="3871912" y="984250"/>
                </a:lnTo>
                <a:lnTo>
                  <a:pt x="3871912" y="1214437"/>
                </a:lnTo>
                <a:lnTo>
                  <a:pt x="3079749" y="1214437"/>
                </a:lnTo>
                <a:close/>
                <a:moveTo>
                  <a:pt x="1989138" y="0"/>
                </a:moveTo>
                <a:cubicBezTo>
                  <a:pt x="1989138" y="0"/>
                  <a:pt x="1989138" y="0"/>
                  <a:pt x="2465639" y="0"/>
                </a:cubicBezTo>
                <a:cubicBezTo>
                  <a:pt x="2735357" y="0"/>
                  <a:pt x="2897188" y="146454"/>
                  <a:pt x="2897188" y="392045"/>
                </a:cubicBezTo>
                <a:cubicBezTo>
                  <a:pt x="2897188" y="639889"/>
                  <a:pt x="2735357" y="786342"/>
                  <a:pt x="2465639" y="786342"/>
                </a:cubicBezTo>
                <a:cubicBezTo>
                  <a:pt x="2465639" y="786342"/>
                  <a:pt x="2465639" y="786342"/>
                  <a:pt x="2227389" y="786342"/>
                </a:cubicBezTo>
                <a:cubicBezTo>
                  <a:pt x="2227389" y="786342"/>
                  <a:pt x="2227389" y="786342"/>
                  <a:pt x="2227389" y="1214437"/>
                </a:cubicBezTo>
                <a:cubicBezTo>
                  <a:pt x="2227389" y="1214437"/>
                  <a:pt x="2227389" y="1214437"/>
                  <a:pt x="1989138" y="1214437"/>
                </a:cubicBezTo>
                <a:cubicBezTo>
                  <a:pt x="1989138" y="1214437"/>
                  <a:pt x="1989138" y="1214437"/>
                  <a:pt x="1989138" y="0"/>
                </a:cubicBezTo>
                <a:close/>
                <a:moveTo>
                  <a:pt x="520699" y="0"/>
                </a:moveTo>
                <a:lnTo>
                  <a:pt x="833436" y="0"/>
                </a:lnTo>
                <a:lnTo>
                  <a:pt x="1135061" y="823912"/>
                </a:lnTo>
                <a:lnTo>
                  <a:pt x="1439862" y="0"/>
                </a:lnTo>
                <a:lnTo>
                  <a:pt x="1736724" y="0"/>
                </a:lnTo>
                <a:lnTo>
                  <a:pt x="1736724" y="1214437"/>
                </a:lnTo>
                <a:lnTo>
                  <a:pt x="1503362" y="1214437"/>
                </a:lnTo>
                <a:lnTo>
                  <a:pt x="1503362" y="419100"/>
                </a:lnTo>
                <a:lnTo>
                  <a:pt x="1216024" y="1196975"/>
                </a:lnTo>
                <a:lnTo>
                  <a:pt x="1039812" y="1196975"/>
                </a:lnTo>
                <a:lnTo>
                  <a:pt x="754062" y="409575"/>
                </a:lnTo>
                <a:lnTo>
                  <a:pt x="754062" y="1214437"/>
                </a:lnTo>
                <a:lnTo>
                  <a:pt x="520699" y="1214437"/>
                </a:lnTo>
                <a:close/>
                <a:moveTo>
                  <a:pt x="25400" y="0"/>
                </a:moveTo>
                <a:lnTo>
                  <a:pt x="268288" y="0"/>
                </a:lnTo>
                <a:lnTo>
                  <a:pt x="268288" y="1214437"/>
                </a:lnTo>
                <a:lnTo>
                  <a:pt x="25400" y="1214437"/>
                </a:lnTo>
                <a:close/>
              </a:path>
            </a:pathLst>
          </a:custGeom>
          <a:solidFill>
            <a:srgbClr val="FCFBF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GB" dirty="0">
                <a:solidFill>
                  <a:srgbClr val="1F2023"/>
                </a:solidFill>
              </a:rPr>
              <a:t> </a:t>
            </a:r>
          </a:p>
        </p:txBody>
      </p:sp>
      <p:sp>
        <p:nvSpPr>
          <p:cNvPr id="13" name="Date_GeneralDate" hidden="1">
            <a:extLst>
              <a:ext uri="{FF2B5EF4-FFF2-40B4-BE49-F238E27FC236}">
                <a16:creationId xmlns:a16="http://schemas.microsoft.com/office/drawing/2014/main" id="{3D746332-4FED-48AA-8EA3-E32A610EAB2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251AF0FF-5929-4DC3-9F20-C97609046AB5}" type="datetime1">
              <a:rPr lang="en-US" smtClean="0"/>
              <a:t>2/25/2022</a:t>
            </a:fld>
            <a:endParaRPr lang="en-GB" dirty="0"/>
          </a:p>
        </p:txBody>
      </p:sp>
      <p:sp>
        <p:nvSpPr>
          <p:cNvPr id="14" name="FLD_PresentationTitle" hidden="1">
            <a:extLst>
              <a:ext uri="{FF2B5EF4-FFF2-40B4-BE49-F238E27FC236}">
                <a16:creationId xmlns:a16="http://schemas.microsoft.com/office/drawing/2014/main" id="{F84058E3-5063-469B-85AD-813BDB17DD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 anchor="t" anchorCtr="0"/>
          <a:lstStyle>
            <a:lvl1pPr algn="l">
              <a:defRPr sz="100">
                <a:noFill/>
              </a:defRPr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15" name="Slide Number Placeholder 5" hidden="1">
            <a:extLst>
              <a:ext uri="{FF2B5EF4-FFF2-40B4-BE49-F238E27FC236}">
                <a16:creationId xmlns:a16="http://schemas.microsoft.com/office/drawing/2014/main" id="{41578D3E-544A-47FC-970D-96B403E372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anchor="t" anchorCtr="0"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45948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56EE887-ADBF-4AB0-BE63-21972C5B16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1334" y="1628646"/>
            <a:ext cx="9364662" cy="4689475"/>
          </a:xfrm>
        </p:spPr>
        <p:txBody>
          <a:bodyPr rIns="0">
            <a:noAutofit/>
          </a:bodyPr>
          <a:lstStyle>
            <a:lvl1pPr>
              <a:defRPr>
                <a:solidFill>
                  <a:srgbClr val="1F2023"/>
                </a:solidFill>
              </a:defRPr>
            </a:lvl1pPr>
            <a:lvl2pPr>
              <a:defRPr>
                <a:solidFill>
                  <a:srgbClr val="1F2023"/>
                </a:solidFill>
              </a:defRPr>
            </a:lvl2pPr>
            <a:lvl3pPr>
              <a:defRPr>
                <a:solidFill>
                  <a:srgbClr val="1F2023"/>
                </a:solidFill>
              </a:defRPr>
            </a:lvl3pPr>
            <a:lvl4pPr>
              <a:defRPr>
                <a:solidFill>
                  <a:srgbClr val="1F2023"/>
                </a:solidFill>
              </a:defRPr>
            </a:lvl4pPr>
            <a:lvl5pPr>
              <a:defRPr>
                <a:solidFill>
                  <a:srgbClr val="1F2023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DA03DEA2-B734-4E1A-989A-B985B71743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4" y="6502395"/>
            <a:ext cx="6744111" cy="106116"/>
          </a:xfrm>
        </p:spPr>
        <p:txBody>
          <a:bodyPr rIns="0" anchor="t" anchorCtr="0"/>
          <a:lstStyle>
            <a:lvl1pPr marL="0" indent="0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39303" indent="-139303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lphaU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742950" rtl="0" eaLnBrk="1" latinLnBrk="0" hangingPunct="1">
              <a:defRPr lang="en-GB" sz="894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Not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B2F81A-A979-4992-A111-276940B6A5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2257" y="272257"/>
            <a:ext cx="8240140" cy="692336"/>
          </a:xfrm>
        </p:spPr>
        <p:txBody>
          <a:bodyPr/>
          <a:lstStyle>
            <a:lvl1pPr>
              <a:defRPr>
                <a:solidFill>
                  <a:srgbClr val="1F2023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EE1D38-B652-484A-AA0A-9748447612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9383" y="6504110"/>
            <a:ext cx="1978862" cy="106116"/>
          </a:xfrm>
        </p:spPr>
        <p:txBody>
          <a:bodyPr rIns="0"/>
          <a:lstStyle>
            <a:lvl1pPr algn="r">
              <a:defRPr sz="650">
                <a:solidFill>
                  <a:srgbClr val="1F2023"/>
                </a:solidFill>
              </a:defRPr>
            </a:lvl1pPr>
            <a:lvl2pPr>
              <a:defRPr sz="650"/>
            </a:lvl2pPr>
            <a:lvl3pPr>
              <a:defRPr sz="650"/>
            </a:lvl3pPr>
            <a:lvl4pPr>
              <a:defRPr sz="650"/>
            </a:lvl4pPr>
            <a:lvl5pPr>
              <a:defRPr sz="650"/>
            </a:lvl5pPr>
          </a:lstStyle>
          <a:p>
            <a:pPr lvl="0"/>
            <a:r>
              <a:rPr lang="en-GB" dirty="0"/>
              <a:t>Tracker</a:t>
            </a:r>
          </a:p>
        </p:txBody>
      </p:sp>
      <p:sp>
        <p:nvSpPr>
          <p:cNvPr id="10" name="Date_GeneralDate" hidden="1">
            <a:extLst>
              <a:ext uri="{FF2B5EF4-FFF2-40B4-BE49-F238E27FC236}">
                <a16:creationId xmlns:a16="http://schemas.microsoft.com/office/drawing/2014/main" id="{C71981A8-4E99-413F-87D3-97DDE53F37B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97494415-EFA5-4081-B93D-7C7FB5F6E34A}" type="datetime1">
              <a:rPr lang="en-US" smtClean="0"/>
              <a:t>2/25/20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63684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">
            <a:extLst>
              <a:ext uri="{FF2B5EF4-FFF2-40B4-BE49-F238E27FC236}">
                <a16:creationId xmlns:a16="http://schemas.microsoft.com/office/drawing/2014/main" id="{ED07D2CD-9B04-4C57-A9D6-B77ACEE0EB56}"/>
              </a:ext>
            </a:extLst>
          </p:cNvPr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EEEBE8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1000" noProof="0" dirty="0">
              <a:solidFill>
                <a:srgbClr val="1F2023"/>
              </a:solidFill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856EE887-ADBF-4AB0-BE63-21972C5B16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1334" y="1628646"/>
            <a:ext cx="9364662" cy="4689475"/>
          </a:xfrm>
        </p:spPr>
        <p:txBody>
          <a:bodyPr rIns="0">
            <a:noAutofit/>
          </a:bodyPr>
          <a:lstStyle>
            <a:lvl1pPr>
              <a:defRPr>
                <a:solidFill>
                  <a:srgbClr val="1F2023"/>
                </a:solidFill>
              </a:defRPr>
            </a:lvl1pPr>
            <a:lvl2pPr>
              <a:defRPr>
                <a:solidFill>
                  <a:srgbClr val="1F2023"/>
                </a:solidFill>
              </a:defRPr>
            </a:lvl2pPr>
            <a:lvl3pPr>
              <a:defRPr>
                <a:solidFill>
                  <a:srgbClr val="1F2023"/>
                </a:solidFill>
              </a:defRPr>
            </a:lvl3pPr>
            <a:lvl4pPr>
              <a:defRPr>
                <a:solidFill>
                  <a:srgbClr val="1F2023"/>
                </a:solidFill>
              </a:defRPr>
            </a:lvl4pPr>
            <a:lvl5pPr>
              <a:defRPr>
                <a:solidFill>
                  <a:srgbClr val="1F2023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DA03DEA2-B734-4E1A-989A-B985B71743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9874" y="6502395"/>
            <a:ext cx="6744111" cy="106116"/>
          </a:xfrm>
        </p:spPr>
        <p:txBody>
          <a:bodyPr rIns="0" anchor="t" anchorCtr="0"/>
          <a:lstStyle>
            <a:lvl1pPr marL="0" indent="0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39303" indent="-139303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85738" indent="-185738" algn="l" defTabSz="742950" rtl="0" eaLnBrk="1" latinLnBrk="0" hangingPunct="1">
              <a:spcBef>
                <a:spcPts val="0"/>
              </a:spcBef>
              <a:spcAft>
                <a:spcPts val="0"/>
              </a:spcAft>
              <a:buFont typeface="+mj-lt"/>
              <a:buAutoNum type="alphaUcPeriod"/>
              <a:defRPr lang="en-US" sz="650" kern="1200" dirty="0" smtClean="0">
                <a:solidFill>
                  <a:srgbClr val="1F202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0" algn="l" defTabSz="742950" rtl="0" eaLnBrk="1" latinLnBrk="0" hangingPunct="1">
              <a:defRPr lang="en-GB" sz="894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Notes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BB2F81A-A979-4992-A111-276940B6A5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2257" y="272257"/>
            <a:ext cx="8240140" cy="692336"/>
          </a:xfrm>
        </p:spPr>
        <p:txBody>
          <a:bodyPr/>
          <a:lstStyle>
            <a:lvl1pPr>
              <a:defRPr>
                <a:solidFill>
                  <a:srgbClr val="1F2023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EE1D38-B652-484A-AA0A-9748447612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9383" y="6504110"/>
            <a:ext cx="1978862" cy="106116"/>
          </a:xfrm>
        </p:spPr>
        <p:txBody>
          <a:bodyPr rIns="0"/>
          <a:lstStyle>
            <a:lvl1pPr algn="r">
              <a:defRPr sz="650">
                <a:solidFill>
                  <a:srgbClr val="1F2023"/>
                </a:solidFill>
              </a:defRPr>
            </a:lvl1pPr>
            <a:lvl2pPr>
              <a:defRPr sz="650"/>
            </a:lvl2pPr>
            <a:lvl3pPr>
              <a:defRPr sz="650"/>
            </a:lvl3pPr>
            <a:lvl4pPr>
              <a:defRPr sz="650"/>
            </a:lvl4pPr>
            <a:lvl5pPr>
              <a:defRPr sz="650"/>
            </a:lvl5pPr>
          </a:lstStyle>
          <a:p>
            <a:pPr lvl="0"/>
            <a:r>
              <a:rPr lang="en-GB" dirty="0"/>
              <a:t>Tracker</a:t>
            </a:r>
          </a:p>
        </p:txBody>
      </p:sp>
      <p:sp>
        <p:nvSpPr>
          <p:cNvPr id="14" name="Freeform: Shape 21">
            <a:extLst>
              <a:ext uri="{FF2B5EF4-FFF2-40B4-BE49-F238E27FC236}">
                <a16:creationId xmlns:a16="http://schemas.microsoft.com/office/drawing/2014/main" id="{00C678A1-BF2C-44A8-B098-7D1A8D4CF191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auto">
          <a:xfrm rot="5400000">
            <a:off x="9382133" y="400810"/>
            <a:ext cx="350168" cy="154638"/>
          </a:xfrm>
          <a:custGeom>
            <a:avLst/>
            <a:gdLst>
              <a:gd name="connsiteX0" fmla="*/ 242136 w 350168"/>
              <a:gd name="connsiteY0" fmla="*/ 154638 h 154638"/>
              <a:gd name="connsiteX1" fmla="*/ 242136 w 350168"/>
              <a:gd name="connsiteY1" fmla="*/ 141700 h 154638"/>
              <a:gd name="connsiteX2" fmla="*/ 350168 w 350168"/>
              <a:gd name="connsiteY2" fmla="*/ 141700 h 154638"/>
              <a:gd name="connsiteX3" fmla="*/ 350168 w 350168"/>
              <a:gd name="connsiteY3" fmla="*/ 154638 h 154638"/>
              <a:gd name="connsiteX4" fmla="*/ 62944 w 350168"/>
              <a:gd name="connsiteY4" fmla="*/ 154337 h 154638"/>
              <a:gd name="connsiteX5" fmla="*/ 62944 w 350168"/>
              <a:gd name="connsiteY5" fmla="*/ 0 h 154638"/>
              <a:gd name="connsiteX6" fmla="*/ 102688 w 350168"/>
              <a:gd name="connsiteY6" fmla="*/ 0 h 154638"/>
              <a:gd name="connsiteX7" fmla="*/ 141020 w 350168"/>
              <a:gd name="connsiteY7" fmla="*/ 104707 h 154638"/>
              <a:gd name="connsiteX8" fmla="*/ 179755 w 350168"/>
              <a:gd name="connsiteY8" fmla="*/ 0 h 154638"/>
              <a:gd name="connsiteX9" fmla="*/ 217481 w 350168"/>
              <a:gd name="connsiteY9" fmla="*/ 0 h 154638"/>
              <a:gd name="connsiteX10" fmla="*/ 217481 w 350168"/>
              <a:gd name="connsiteY10" fmla="*/ 154337 h 154638"/>
              <a:gd name="connsiteX11" fmla="*/ 187825 w 350168"/>
              <a:gd name="connsiteY11" fmla="*/ 154337 h 154638"/>
              <a:gd name="connsiteX12" fmla="*/ 187825 w 350168"/>
              <a:gd name="connsiteY12" fmla="*/ 53263 h 154638"/>
              <a:gd name="connsiteX13" fmla="*/ 151309 w 350168"/>
              <a:gd name="connsiteY13" fmla="*/ 152117 h 154638"/>
              <a:gd name="connsiteX14" fmla="*/ 128915 w 350168"/>
              <a:gd name="connsiteY14" fmla="*/ 152117 h 154638"/>
              <a:gd name="connsiteX15" fmla="*/ 92601 w 350168"/>
              <a:gd name="connsiteY15" fmla="*/ 52051 h 154638"/>
              <a:gd name="connsiteX16" fmla="*/ 92601 w 350168"/>
              <a:gd name="connsiteY16" fmla="*/ 154337 h 154638"/>
              <a:gd name="connsiteX17" fmla="*/ 0 w 350168"/>
              <a:gd name="connsiteY17" fmla="*/ 154337 h 154638"/>
              <a:gd name="connsiteX18" fmla="*/ 0 w 350168"/>
              <a:gd name="connsiteY18" fmla="*/ 0 h 154638"/>
              <a:gd name="connsiteX19" fmla="*/ 30867 w 350168"/>
              <a:gd name="connsiteY19" fmla="*/ 0 h 154638"/>
              <a:gd name="connsiteX20" fmla="*/ 30867 w 350168"/>
              <a:gd name="connsiteY20" fmla="*/ 154337 h 154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50168" h="154638">
                <a:moveTo>
                  <a:pt x="242136" y="154638"/>
                </a:moveTo>
                <a:lnTo>
                  <a:pt x="242136" y="141700"/>
                </a:lnTo>
                <a:lnTo>
                  <a:pt x="350168" y="141700"/>
                </a:lnTo>
                <a:lnTo>
                  <a:pt x="350168" y="154638"/>
                </a:lnTo>
                <a:close/>
                <a:moveTo>
                  <a:pt x="62944" y="154337"/>
                </a:moveTo>
                <a:lnTo>
                  <a:pt x="62944" y="0"/>
                </a:lnTo>
                <a:lnTo>
                  <a:pt x="102688" y="0"/>
                </a:lnTo>
                <a:lnTo>
                  <a:pt x="141020" y="104707"/>
                </a:lnTo>
                <a:lnTo>
                  <a:pt x="179755" y="0"/>
                </a:lnTo>
                <a:lnTo>
                  <a:pt x="217481" y="0"/>
                </a:lnTo>
                <a:lnTo>
                  <a:pt x="217481" y="154337"/>
                </a:lnTo>
                <a:lnTo>
                  <a:pt x="187825" y="154337"/>
                </a:lnTo>
                <a:lnTo>
                  <a:pt x="187825" y="53263"/>
                </a:lnTo>
                <a:lnTo>
                  <a:pt x="151309" y="152117"/>
                </a:lnTo>
                <a:lnTo>
                  <a:pt x="128915" y="152117"/>
                </a:lnTo>
                <a:lnTo>
                  <a:pt x="92601" y="52051"/>
                </a:lnTo>
                <a:lnTo>
                  <a:pt x="92601" y="154337"/>
                </a:lnTo>
                <a:close/>
                <a:moveTo>
                  <a:pt x="0" y="154337"/>
                </a:moveTo>
                <a:lnTo>
                  <a:pt x="0" y="0"/>
                </a:lnTo>
                <a:lnTo>
                  <a:pt x="30867" y="0"/>
                </a:lnTo>
                <a:lnTo>
                  <a:pt x="30867" y="15433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 dirty="0"/>
          </a:p>
        </p:txBody>
      </p:sp>
      <p:sp>
        <p:nvSpPr>
          <p:cNvPr id="15" name="Date_GeneralDate" hidden="1">
            <a:extLst>
              <a:ext uri="{FF2B5EF4-FFF2-40B4-BE49-F238E27FC236}">
                <a16:creationId xmlns:a16="http://schemas.microsoft.com/office/drawing/2014/main" id="{9D0EE7E6-6F87-4154-8F56-AD5EE507B02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 algn="l">
              <a:defRPr sz="100" cap="all" spc="163" baseline="0">
                <a:noFill/>
              </a:defRPr>
            </a:lvl1pPr>
          </a:lstStyle>
          <a:p>
            <a:fld id="{B366AF0C-33CD-4BCD-BAC3-0A15BCA89B1A}" type="datetime1">
              <a:rPr lang="en-US" smtClean="0"/>
              <a:t>2/25/2022</a:t>
            </a:fld>
            <a:endParaRPr lang="en-GB" dirty="0"/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A5F92752-233B-4848-A91F-292E5FEB2CA7}"/>
              </a:ext>
            </a:extLst>
          </p:cNvPr>
          <p:cNvSpPr txBox="1">
            <a:spLocks/>
          </p:cNvSpPr>
          <p:nvPr userDrawn="1"/>
        </p:nvSpPr>
        <p:spPr>
          <a:xfrm>
            <a:off x="9378938" y="6496424"/>
            <a:ext cx="255600" cy="1116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r" defTabSz="914400" rtl="0" eaLnBrk="1" latinLnBrk="0" hangingPunct="1">
              <a:defRPr sz="650" kern="1200" spc="0" baseline="0">
                <a:solidFill>
                  <a:srgbClr val="2F363B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650" smtClean="0">
                <a:solidFill>
                  <a:srgbClr val="1F2023"/>
                </a:solidFill>
              </a:rPr>
              <a:pPr/>
              <a:t>‹#›</a:t>
            </a:fld>
            <a:endParaRPr lang="en-GB" sz="650" dirty="0">
              <a:solidFill>
                <a:srgbClr val="1F20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4108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9A00050-7F0F-4163-9101-47FECBEEB8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1"/>
            </p:custDataLst>
            <p:extLst>
              <p:ext uri="{D42A27DB-BD31-4B8C-83A1-F6EECF244321}">
                <p14:modId xmlns:p14="http://schemas.microsoft.com/office/powerpoint/2010/main" val="39137526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3" imgW="408" imgH="408" progId="TCLayout.ActiveDocument.1">
                  <p:embed/>
                </p:oleObj>
              </mc:Choice>
              <mc:Fallback>
                <p:oleObj name="think-cell Slide" r:id="rId53" imgW="408" imgH="40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9A00050-7F0F-4163-9101-47FECBEEB8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2257" y="1628777"/>
            <a:ext cx="9364662" cy="4693985"/>
          </a:xfrm>
          <a:prstGeom prst="rect">
            <a:avLst/>
          </a:prstGeom>
        </p:spPr>
        <p:txBody>
          <a:bodyPr vert="horz" lIns="0" tIns="0" rIns="36000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876" y="269876"/>
            <a:ext cx="8559232" cy="69233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 dirty="0"/>
              <a:t>Klik for at redigere titeltypografien i masteren</a:t>
            </a:r>
            <a:endParaRPr lang="en-GB" dirty="0"/>
          </a:p>
        </p:txBody>
      </p:sp>
      <p:sp>
        <p:nvSpPr>
          <p:cNvPr id="19" name="AutoShape 3">
            <a:extLst>
              <a:ext uri="{FF2B5EF4-FFF2-40B4-BE49-F238E27FC236}">
                <a16:creationId xmlns:a16="http://schemas.microsoft.com/office/drawing/2014/main" id="{E2867147-DB81-464E-BD80-6F15445ABCC8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2827338" y="1446213"/>
            <a:ext cx="6551612" cy="2865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5" name="AutoShape 9">
            <a:extLst>
              <a:ext uri="{FF2B5EF4-FFF2-40B4-BE49-F238E27FC236}">
                <a16:creationId xmlns:a16="http://schemas.microsoft.com/office/drawing/2014/main" id="{6A98865A-4F5A-43E4-A695-43D74ED35345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2474913" y="3278188"/>
            <a:ext cx="9906000" cy="2265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44CFCE70-1EB6-4E62-B436-A8AE9BF44EE3}"/>
              </a:ext>
            </a:extLst>
          </p:cNvPr>
          <p:cNvSpPr/>
          <p:nvPr userDrawn="1">
            <p:custDataLst>
              <p:tags r:id="rId52"/>
            </p:custDataLst>
          </p:nvPr>
        </p:nvSpPr>
        <p:spPr bwMode="auto">
          <a:xfrm rot="5400000">
            <a:off x="9382133" y="400810"/>
            <a:ext cx="350168" cy="154638"/>
          </a:xfrm>
          <a:custGeom>
            <a:avLst/>
            <a:gdLst>
              <a:gd name="connsiteX0" fmla="*/ 242136 w 350168"/>
              <a:gd name="connsiteY0" fmla="*/ 154638 h 154638"/>
              <a:gd name="connsiteX1" fmla="*/ 242136 w 350168"/>
              <a:gd name="connsiteY1" fmla="*/ 141700 h 154638"/>
              <a:gd name="connsiteX2" fmla="*/ 350168 w 350168"/>
              <a:gd name="connsiteY2" fmla="*/ 141700 h 154638"/>
              <a:gd name="connsiteX3" fmla="*/ 350168 w 350168"/>
              <a:gd name="connsiteY3" fmla="*/ 154638 h 154638"/>
              <a:gd name="connsiteX4" fmla="*/ 62944 w 350168"/>
              <a:gd name="connsiteY4" fmla="*/ 154337 h 154638"/>
              <a:gd name="connsiteX5" fmla="*/ 62944 w 350168"/>
              <a:gd name="connsiteY5" fmla="*/ 0 h 154638"/>
              <a:gd name="connsiteX6" fmla="*/ 102688 w 350168"/>
              <a:gd name="connsiteY6" fmla="*/ 0 h 154638"/>
              <a:gd name="connsiteX7" fmla="*/ 141020 w 350168"/>
              <a:gd name="connsiteY7" fmla="*/ 104707 h 154638"/>
              <a:gd name="connsiteX8" fmla="*/ 179755 w 350168"/>
              <a:gd name="connsiteY8" fmla="*/ 0 h 154638"/>
              <a:gd name="connsiteX9" fmla="*/ 217481 w 350168"/>
              <a:gd name="connsiteY9" fmla="*/ 0 h 154638"/>
              <a:gd name="connsiteX10" fmla="*/ 217481 w 350168"/>
              <a:gd name="connsiteY10" fmla="*/ 154337 h 154638"/>
              <a:gd name="connsiteX11" fmla="*/ 187825 w 350168"/>
              <a:gd name="connsiteY11" fmla="*/ 154337 h 154638"/>
              <a:gd name="connsiteX12" fmla="*/ 187825 w 350168"/>
              <a:gd name="connsiteY12" fmla="*/ 53263 h 154638"/>
              <a:gd name="connsiteX13" fmla="*/ 151309 w 350168"/>
              <a:gd name="connsiteY13" fmla="*/ 152117 h 154638"/>
              <a:gd name="connsiteX14" fmla="*/ 128915 w 350168"/>
              <a:gd name="connsiteY14" fmla="*/ 152117 h 154638"/>
              <a:gd name="connsiteX15" fmla="*/ 92601 w 350168"/>
              <a:gd name="connsiteY15" fmla="*/ 52051 h 154638"/>
              <a:gd name="connsiteX16" fmla="*/ 92601 w 350168"/>
              <a:gd name="connsiteY16" fmla="*/ 154337 h 154638"/>
              <a:gd name="connsiteX17" fmla="*/ 0 w 350168"/>
              <a:gd name="connsiteY17" fmla="*/ 154337 h 154638"/>
              <a:gd name="connsiteX18" fmla="*/ 0 w 350168"/>
              <a:gd name="connsiteY18" fmla="*/ 0 h 154638"/>
              <a:gd name="connsiteX19" fmla="*/ 30867 w 350168"/>
              <a:gd name="connsiteY19" fmla="*/ 0 h 154638"/>
              <a:gd name="connsiteX20" fmla="*/ 30867 w 350168"/>
              <a:gd name="connsiteY20" fmla="*/ 154337 h 154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50168" h="154638">
                <a:moveTo>
                  <a:pt x="242136" y="154638"/>
                </a:moveTo>
                <a:lnTo>
                  <a:pt x="242136" y="141700"/>
                </a:lnTo>
                <a:lnTo>
                  <a:pt x="350168" y="141700"/>
                </a:lnTo>
                <a:lnTo>
                  <a:pt x="350168" y="154638"/>
                </a:lnTo>
                <a:close/>
                <a:moveTo>
                  <a:pt x="62944" y="154337"/>
                </a:moveTo>
                <a:lnTo>
                  <a:pt x="62944" y="0"/>
                </a:lnTo>
                <a:lnTo>
                  <a:pt x="102688" y="0"/>
                </a:lnTo>
                <a:lnTo>
                  <a:pt x="141020" y="104707"/>
                </a:lnTo>
                <a:lnTo>
                  <a:pt x="179755" y="0"/>
                </a:lnTo>
                <a:lnTo>
                  <a:pt x="217481" y="0"/>
                </a:lnTo>
                <a:lnTo>
                  <a:pt x="217481" y="154337"/>
                </a:lnTo>
                <a:lnTo>
                  <a:pt x="187825" y="154337"/>
                </a:lnTo>
                <a:lnTo>
                  <a:pt x="187825" y="53263"/>
                </a:lnTo>
                <a:lnTo>
                  <a:pt x="151309" y="152117"/>
                </a:lnTo>
                <a:lnTo>
                  <a:pt x="128915" y="152117"/>
                </a:lnTo>
                <a:lnTo>
                  <a:pt x="92601" y="52051"/>
                </a:lnTo>
                <a:lnTo>
                  <a:pt x="92601" y="154337"/>
                </a:lnTo>
                <a:close/>
                <a:moveTo>
                  <a:pt x="0" y="154337"/>
                </a:moveTo>
                <a:lnTo>
                  <a:pt x="0" y="0"/>
                </a:lnTo>
                <a:lnTo>
                  <a:pt x="30867" y="0"/>
                </a:lnTo>
                <a:lnTo>
                  <a:pt x="30867" y="15433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/>
          </a:p>
        </p:txBody>
      </p:sp>
      <p:sp>
        <p:nvSpPr>
          <p:cNvPr id="4" name="Date_GeneralDate" hidden="1"/>
          <p:cNvSpPr>
            <a:spLocks noGrp="1"/>
          </p:cNvSpPr>
          <p:nvPr>
            <p:ph type="dt" sz="half" idx="2"/>
          </p:nvPr>
        </p:nvSpPr>
        <p:spPr>
          <a:xfrm>
            <a:off x="0" y="6864702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 cap="none" spc="0" baseline="0">
                <a:noFill/>
              </a:defRPr>
            </a:lvl1pPr>
          </a:lstStyle>
          <a:p>
            <a:fld id="{45317630-8701-4B49-BF3D-3DA5BE3CE466}" type="datetime1">
              <a:rPr lang="en-US" smtClean="0"/>
              <a:t>2/25/2022</a:t>
            </a:fld>
            <a:endParaRPr lang="en-GB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3"/>
          </p:nvPr>
        </p:nvSpPr>
        <p:spPr>
          <a:xfrm>
            <a:off x="0" y="6864702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marL="0" indent="0" algn="l">
              <a:buFont typeface="Arial" panose="020B0604020202020204" pitchFamily="34" charset="0"/>
              <a:buNone/>
              <a:defRPr sz="100" cap="none" spc="0" baseline="0">
                <a:noFill/>
              </a:defRPr>
            </a:lvl1pPr>
          </a:lstStyle>
          <a:p>
            <a:r>
              <a:rPr lang="en-GB"/>
              <a:t>Footer</a:t>
            </a:r>
            <a:endParaRPr lang="en-GB" dirty="0"/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AE093CDC-5836-4227-9F83-3004A048E1F6}"/>
              </a:ext>
            </a:extLst>
          </p:cNvPr>
          <p:cNvSpPr txBox="1">
            <a:spLocks/>
          </p:cNvSpPr>
          <p:nvPr userDrawn="1"/>
        </p:nvSpPr>
        <p:spPr>
          <a:xfrm>
            <a:off x="9378938" y="6496424"/>
            <a:ext cx="255600" cy="1116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r" defTabSz="914400" rtl="0" eaLnBrk="1" latinLnBrk="0" hangingPunct="1">
              <a:defRPr sz="650" kern="1200" spc="0" baseline="0">
                <a:solidFill>
                  <a:srgbClr val="2F363B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en-GB" sz="650" smtClean="0">
                <a:solidFill>
                  <a:srgbClr val="1F2023"/>
                </a:solidFill>
              </a:rPr>
              <a:pPr/>
              <a:t>‹#›</a:t>
            </a:fld>
            <a:endParaRPr lang="en-GB" sz="650" dirty="0">
              <a:solidFill>
                <a:srgbClr val="1F20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729" r:id="rId2"/>
    <p:sldLayoutId id="2147483774" r:id="rId3"/>
    <p:sldLayoutId id="2147483777" r:id="rId4"/>
    <p:sldLayoutId id="2147483770" r:id="rId5"/>
    <p:sldLayoutId id="2147483775" r:id="rId6"/>
    <p:sldLayoutId id="2147483779" r:id="rId7"/>
    <p:sldLayoutId id="2147483748" r:id="rId8"/>
    <p:sldLayoutId id="2147483788" r:id="rId9"/>
    <p:sldLayoutId id="2147483787" r:id="rId10"/>
    <p:sldLayoutId id="2147483754" r:id="rId11"/>
    <p:sldLayoutId id="2147483776" r:id="rId12"/>
    <p:sldLayoutId id="2147483743" r:id="rId13"/>
    <p:sldLayoutId id="2147483756" r:id="rId14"/>
    <p:sldLayoutId id="2147483761" r:id="rId15"/>
    <p:sldLayoutId id="2147483780" r:id="rId16"/>
    <p:sldLayoutId id="2147483781" r:id="rId17"/>
    <p:sldLayoutId id="2147483782" r:id="rId18"/>
    <p:sldLayoutId id="2147483783" r:id="rId19"/>
    <p:sldLayoutId id="2147483791" r:id="rId20"/>
    <p:sldLayoutId id="2147483792" r:id="rId21"/>
    <p:sldLayoutId id="2147483766" r:id="rId22"/>
    <p:sldLayoutId id="2147483769" r:id="rId23"/>
    <p:sldLayoutId id="2147483768" r:id="rId24"/>
    <p:sldLayoutId id="2147483786" r:id="rId25"/>
    <p:sldLayoutId id="2147483789" r:id="rId26"/>
    <p:sldLayoutId id="2147483803" r:id="rId27"/>
    <p:sldLayoutId id="2147483805" r:id="rId28"/>
    <p:sldLayoutId id="2147483790" r:id="rId29"/>
    <p:sldLayoutId id="2147483806" r:id="rId30"/>
    <p:sldLayoutId id="2147483804" r:id="rId31"/>
    <p:sldLayoutId id="2147483807" r:id="rId32"/>
    <p:sldLayoutId id="2147483808" r:id="rId33"/>
    <p:sldLayoutId id="2147483771" r:id="rId34"/>
    <p:sldLayoutId id="2147483772" r:id="rId35"/>
    <p:sldLayoutId id="2147483785" r:id="rId36"/>
    <p:sldLayoutId id="2147483784" r:id="rId37"/>
    <p:sldLayoutId id="2147483744" r:id="rId38"/>
    <p:sldLayoutId id="2147483763" r:id="rId39"/>
    <p:sldLayoutId id="2147483793" r:id="rId40"/>
    <p:sldLayoutId id="2147483796" r:id="rId41"/>
    <p:sldLayoutId id="2147483794" r:id="rId42"/>
    <p:sldLayoutId id="2147483797" r:id="rId43"/>
    <p:sldLayoutId id="2147483798" r:id="rId44"/>
    <p:sldLayoutId id="2147483795" r:id="rId45"/>
    <p:sldLayoutId id="2147483800" r:id="rId46"/>
    <p:sldLayoutId id="2147483799" r:id="rId47"/>
    <p:sldLayoutId id="2147483802" r:id="rId4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/>
  <p:txStyles>
    <p:titleStyle>
      <a:lvl1pPr algn="l" defTabSz="742950" rtl="0" eaLnBrk="1" latinLnBrk="0" hangingPunct="1">
        <a:lnSpc>
          <a:spcPct val="90000"/>
        </a:lnSpc>
        <a:spcBef>
          <a:spcPct val="0"/>
        </a:spcBef>
        <a:buNone/>
        <a:defRPr sz="2100" kern="1200">
          <a:solidFill>
            <a:srgbClr val="1F2023"/>
          </a:solidFill>
          <a:latin typeface="+mj-lt"/>
          <a:ea typeface="+mj-ea"/>
          <a:cs typeface="+mj-cs"/>
        </a:defRPr>
      </a:lvl1pPr>
    </p:titleStyle>
    <p:bodyStyle>
      <a:lvl1pPr marL="0" indent="0" algn="l" defTabSz="742950" rtl="0" eaLnBrk="1" latinLnBrk="0" hangingPunct="1">
        <a:lnSpc>
          <a:spcPct val="93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100" kern="1200">
          <a:solidFill>
            <a:srgbClr val="1F2023"/>
          </a:solidFill>
          <a:latin typeface="+mn-lt"/>
          <a:ea typeface="+mn-ea"/>
          <a:cs typeface="+mn-cs"/>
        </a:defRPr>
      </a:lvl1pPr>
      <a:lvl2pPr marL="144000" indent="-144000" algn="l" defTabSz="742950" rtl="0" eaLnBrk="1" latinLnBrk="0" hangingPunct="1">
        <a:lnSpc>
          <a:spcPct val="93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100" kern="1200">
          <a:solidFill>
            <a:srgbClr val="1F2023"/>
          </a:solidFill>
          <a:latin typeface="+mn-lt"/>
          <a:ea typeface="+mn-ea"/>
          <a:cs typeface="+mn-cs"/>
        </a:defRPr>
      </a:lvl2pPr>
      <a:lvl3pPr marL="288000" indent="-144000" algn="l" defTabSz="742950" rtl="0" eaLnBrk="1" latinLnBrk="0" hangingPunct="1">
        <a:lnSpc>
          <a:spcPct val="93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100" kern="1200">
          <a:solidFill>
            <a:srgbClr val="1F2023"/>
          </a:solidFill>
          <a:latin typeface="+mn-lt"/>
          <a:ea typeface="+mn-ea"/>
          <a:cs typeface="+mn-cs"/>
        </a:defRPr>
      </a:lvl3pPr>
      <a:lvl4pPr marL="432000" indent="-144000" algn="l" defTabSz="742950" rtl="0" eaLnBrk="1" latinLnBrk="0" hangingPunct="1">
        <a:lnSpc>
          <a:spcPct val="93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100" b="0" kern="1200">
          <a:solidFill>
            <a:srgbClr val="1F2023"/>
          </a:solidFill>
          <a:latin typeface="+mn-lt"/>
          <a:ea typeface="+mn-ea"/>
          <a:cs typeface="+mn-cs"/>
        </a:defRPr>
      </a:lvl4pPr>
      <a:lvl5pPr marL="0" indent="0" algn="l" defTabSz="742950" rtl="0" eaLnBrk="1" latinLnBrk="0" hangingPunct="1">
        <a:lnSpc>
          <a:spcPct val="93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100" b="1" kern="1200" cap="none" baseline="0">
          <a:solidFill>
            <a:srgbClr val="1F2023"/>
          </a:solidFill>
          <a:latin typeface="+mn-lt"/>
          <a:ea typeface="+mn-ea"/>
          <a:cs typeface="+mn-cs"/>
        </a:defRPr>
      </a:lvl5pPr>
      <a:lvl6pPr marL="0" indent="0" algn="l" defTabSz="742950" rtl="0" eaLnBrk="1" latinLnBrk="0" hangingPunct="1">
        <a:lnSpc>
          <a:spcPct val="93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100" b="1" kern="1200" cap="all" baseline="0">
          <a:solidFill>
            <a:srgbClr val="1F2023"/>
          </a:solidFill>
          <a:latin typeface="+mj-lt"/>
          <a:ea typeface="+mn-ea"/>
          <a:cs typeface="+mn-cs"/>
        </a:defRPr>
      </a:lvl6pPr>
      <a:lvl7pPr marL="144000" indent="-144000" algn="l" defTabSz="742950" rtl="0" eaLnBrk="1" latinLnBrk="0" hangingPunct="1">
        <a:lnSpc>
          <a:spcPct val="93000"/>
        </a:lnSpc>
        <a:spcBef>
          <a:spcPts val="0"/>
        </a:spcBef>
        <a:spcAft>
          <a:spcPts val="600"/>
        </a:spcAft>
        <a:buFont typeface="+mj-lt"/>
        <a:buAutoNum type="arabicPeriod"/>
        <a:defRPr sz="1100" kern="1200" baseline="0">
          <a:solidFill>
            <a:srgbClr val="1F2023"/>
          </a:solidFill>
          <a:latin typeface="+mn-lt"/>
          <a:ea typeface="+mn-ea"/>
          <a:cs typeface="+mn-cs"/>
        </a:defRPr>
      </a:lvl7pPr>
      <a:lvl8pPr marL="144000" indent="-144000" algn="l" defTabSz="742950" rtl="0" eaLnBrk="1" latinLnBrk="0" hangingPunct="1">
        <a:lnSpc>
          <a:spcPct val="93000"/>
        </a:lnSpc>
        <a:spcBef>
          <a:spcPts val="0"/>
        </a:spcBef>
        <a:spcAft>
          <a:spcPts val="600"/>
        </a:spcAft>
        <a:buFont typeface="+mj-lt"/>
        <a:buAutoNum type="alphaUcPeriod"/>
        <a:defRPr sz="1100" kern="1200">
          <a:solidFill>
            <a:srgbClr val="1F2023"/>
          </a:solidFill>
          <a:latin typeface="+mn-lt"/>
          <a:ea typeface="+mn-ea"/>
          <a:cs typeface="+mn-cs"/>
        </a:defRPr>
      </a:lvl8pPr>
      <a:lvl9pPr marL="0" indent="0" algn="l" defTabSz="742950" rtl="0" eaLnBrk="1" latinLnBrk="0" hangingPunct="1">
        <a:lnSpc>
          <a:spcPct val="83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4800" kern="1200" cap="all" baseline="0">
          <a:solidFill>
            <a:srgbClr val="1F2023"/>
          </a:solidFill>
          <a:latin typeface="Impact" panose="020B0806030902050204" pitchFamily="34" charset="0"/>
          <a:ea typeface="+mn-ea"/>
          <a:cs typeface="+mn-cs"/>
        </a:defRPr>
      </a:lvl9pPr>
    </p:bodyStyle>
    <p:otherStyle>
      <a:defPPr>
        <a:defRPr lang="en-US"/>
      </a:defPPr>
      <a:lvl1pPr marL="0" indent="0" algn="l" defTabSz="74295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000" kern="1200">
          <a:solidFill>
            <a:srgbClr val="1F2023"/>
          </a:solidFill>
          <a:latin typeface="+mn-lt"/>
          <a:ea typeface="+mn-ea"/>
          <a:cs typeface="+mn-cs"/>
        </a:defRPr>
      </a:lvl1pPr>
      <a:lvl2pPr marL="144000" indent="-144000" algn="l" defTabSz="74295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000" kern="1200">
          <a:solidFill>
            <a:srgbClr val="1F2023"/>
          </a:solidFill>
          <a:latin typeface="+mn-lt"/>
          <a:ea typeface="+mn-ea"/>
          <a:cs typeface="+mn-cs"/>
        </a:defRPr>
      </a:lvl2pPr>
      <a:lvl3pPr marL="288000" indent="-144000" algn="l" defTabSz="74295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000" kern="1200">
          <a:solidFill>
            <a:srgbClr val="1F2023"/>
          </a:solidFill>
          <a:latin typeface="+mn-lt"/>
          <a:ea typeface="+mn-ea"/>
          <a:cs typeface="+mn-cs"/>
        </a:defRPr>
      </a:lvl3pPr>
      <a:lvl4pPr marL="432000" indent="-144000" algn="l" defTabSz="74295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000" b="0" kern="1200">
          <a:solidFill>
            <a:srgbClr val="1F2023"/>
          </a:solidFill>
          <a:latin typeface="+mn-lt"/>
          <a:ea typeface="+mn-ea"/>
          <a:cs typeface="+mn-cs"/>
        </a:defRPr>
      </a:lvl4pPr>
      <a:lvl5pPr marL="0" indent="0" algn="l" defTabSz="74295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000" b="1" kern="1200" cap="none" baseline="0">
          <a:solidFill>
            <a:srgbClr val="1F2023"/>
          </a:solidFill>
          <a:latin typeface="+mn-lt"/>
          <a:ea typeface="+mn-ea"/>
          <a:cs typeface="+mn-cs"/>
        </a:defRPr>
      </a:lvl5pPr>
      <a:lvl6pPr marL="0" indent="0" algn="l" defTabSz="74295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000" b="1" kern="1200" cap="all" baseline="0">
          <a:solidFill>
            <a:srgbClr val="1F2023"/>
          </a:solidFill>
          <a:latin typeface="+mj-lt"/>
          <a:ea typeface="+mn-ea"/>
          <a:cs typeface="+mn-cs"/>
        </a:defRPr>
      </a:lvl6pPr>
      <a:lvl7pPr marL="144000" indent="-144000" algn="l" defTabSz="74295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+mj-lt"/>
        <a:buAutoNum type="arabicPeriod"/>
        <a:defRPr sz="1000" kern="1200" baseline="0">
          <a:solidFill>
            <a:srgbClr val="1F2023"/>
          </a:solidFill>
          <a:latin typeface="+mn-lt"/>
          <a:ea typeface="+mn-ea"/>
          <a:cs typeface="+mn-cs"/>
        </a:defRPr>
      </a:lvl7pPr>
      <a:lvl8pPr marL="144000" indent="-144000" algn="l" defTabSz="74295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+mj-lt"/>
        <a:buAutoNum type="alphaUcPeriod"/>
        <a:defRPr sz="1000" kern="1200">
          <a:solidFill>
            <a:srgbClr val="1F2023"/>
          </a:solidFill>
          <a:latin typeface="+mn-lt"/>
          <a:ea typeface="+mn-ea"/>
          <a:cs typeface="+mn-cs"/>
        </a:defRPr>
      </a:lvl8pPr>
      <a:lvl9pPr marL="0" indent="0" algn="l" defTabSz="742950" rtl="0" eaLnBrk="1" latinLnBrk="0" hangingPunct="1">
        <a:lnSpc>
          <a:spcPct val="83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4800" kern="1200" cap="all" baseline="0">
          <a:solidFill>
            <a:srgbClr val="1F2023"/>
          </a:solidFill>
          <a:latin typeface="Impact" panose="020B0806030902050204" pitchFamily="34" charset="0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205" userDrawn="1">
          <p15:clr>
            <a:srgbClr val="F26B43"/>
          </p15:clr>
        </p15:guide>
        <p15:guide id="2" pos="6068" userDrawn="1">
          <p15:clr>
            <a:srgbClr val="F26B43"/>
          </p15:clr>
        </p15:guide>
        <p15:guide id="3" orient="horz" pos="1025" userDrawn="1">
          <p15:clr>
            <a:srgbClr val="F26B43"/>
          </p15:clr>
        </p15:guide>
        <p15:guide id="4" orient="horz" pos="3979" userDrawn="1">
          <p15:clr>
            <a:srgbClr val="F26B43"/>
          </p15:clr>
        </p15:guide>
        <p15:guide id="5" pos="170" userDrawn="1">
          <p15:clr>
            <a:srgbClr val="F26B43"/>
          </p15:clr>
        </p15:guide>
        <p15:guide id="6" orient="horz" pos="170" userDrawn="1">
          <p15:clr>
            <a:srgbClr val="F26B43"/>
          </p15:clr>
        </p15:guide>
        <p15:guide id="7" orient="horz" pos="606" userDrawn="1">
          <p15:clr>
            <a:srgbClr val="F26B43"/>
          </p15:clr>
        </p15:guide>
        <p15:guide id="8" pos="303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7" Type="http://schemas.openxmlformats.org/officeDocument/2006/relationships/image" Target="../media/image6.emf"/><Relationship Id="rId2" Type="http://schemas.openxmlformats.org/officeDocument/2006/relationships/tags" Target="../tags/tag63.xml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29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CADC99C-1536-4D98-A3A7-C8DEB41797B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8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CADC99C-1536-4D98-A3A7-C8DEB41797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9F2E7D09-2A6C-49CA-A4A3-E7196C05236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E2DED9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rtl="0"/>
            <a:endParaRPr lang="en-ID" sz="2100" b="1" noProof="0" dirty="0">
              <a:solidFill>
                <a:srgbClr val="2F363B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5A210B-24BE-4C02-B591-BB573C00D8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256" y="272257"/>
            <a:ext cx="8905299" cy="692336"/>
          </a:xfrm>
        </p:spPr>
        <p:txBody>
          <a:bodyPr rtlCol="0"/>
          <a:lstStyle/>
          <a:p>
            <a:pPr rtl="0"/>
            <a:r>
              <a:rPr lang="en-GB" dirty="0">
                <a:cs typeface="Calibri"/>
              </a:rPr>
              <a:t>The benefit map for &lt;project name&gt;</a:t>
            </a:r>
            <a:br>
              <a:rPr lang="en-GB" dirty="0">
                <a:cs typeface="Calibri"/>
              </a:rPr>
            </a:br>
            <a:r>
              <a:rPr lang="en-GB" sz="1600" dirty="0">
                <a:cs typeface="Calibri"/>
              </a:rPr>
              <a:t>The benefit map template is used to document the output from the benefit realisation workshop. </a:t>
            </a:r>
            <a:br>
              <a:rPr lang="en-GB" sz="1600" dirty="0">
                <a:cs typeface="Calibri"/>
              </a:rPr>
            </a:br>
            <a:r>
              <a:rPr lang="en-GB" sz="1600" dirty="0">
                <a:cs typeface="Calibri"/>
              </a:rPr>
              <a:t>The benefit map is kept updated throughout the project.</a:t>
            </a:r>
            <a:br>
              <a:rPr lang="en-GB" dirty="0">
                <a:cs typeface="Calibri"/>
              </a:rPr>
            </a:br>
            <a:endParaRPr lang="en-GB" dirty="0"/>
          </a:p>
        </p:txBody>
      </p:sp>
      <p:sp>
        <p:nvSpPr>
          <p:cNvPr id="9" name="object 2">
            <a:extLst>
              <a:ext uri="{FF2B5EF4-FFF2-40B4-BE49-F238E27FC236}">
                <a16:creationId xmlns:a16="http://schemas.microsoft.com/office/drawing/2014/main" id="{0956A98A-BDFE-4002-8BAE-EEF138053A0B}"/>
              </a:ext>
            </a:extLst>
          </p:cNvPr>
          <p:cNvSpPr txBox="1"/>
          <p:nvPr/>
        </p:nvSpPr>
        <p:spPr>
          <a:xfrm>
            <a:off x="4279593" y="6332255"/>
            <a:ext cx="549433" cy="16359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 rtl="0">
              <a:lnSpc>
                <a:spcPct val="100000"/>
              </a:lnSpc>
              <a:spcBef>
                <a:spcPts val="100"/>
              </a:spcBef>
              <a:buNone/>
            </a:pPr>
            <a:r>
              <a:rPr lang="en-GB" sz="800" b="1" dirty="0">
                <a:solidFill>
                  <a:srgbClr val="231F20"/>
                </a:solidFill>
                <a:latin typeface="+mj-lt"/>
                <a:cs typeface="Arial"/>
              </a:rPr>
              <a:t>Why?</a:t>
            </a:r>
            <a:endParaRPr lang="en-GB" sz="800" dirty="0">
              <a:latin typeface="+mj-lt"/>
              <a:cs typeface="Arial"/>
            </a:endParaRPr>
          </a:p>
        </p:txBody>
      </p:sp>
      <p:sp>
        <p:nvSpPr>
          <p:cNvPr id="124" name="object 4">
            <a:extLst>
              <a:ext uri="{FF2B5EF4-FFF2-40B4-BE49-F238E27FC236}">
                <a16:creationId xmlns:a16="http://schemas.microsoft.com/office/drawing/2014/main" id="{9970AF17-2A79-49CD-AD1B-8502BA94D1BA}"/>
              </a:ext>
            </a:extLst>
          </p:cNvPr>
          <p:cNvSpPr/>
          <p:nvPr/>
        </p:nvSpPr>
        <p:spPr>
          <a:xfrm>
            <a:off x="4934701" y="6414985"/>
            <a:ext cx="599871" cy="0"/>
          </a:xfrm>
          <a:custGeom>
            <a:avLst/>
            <a:gdLst/>
            <a:ahLst/>
            <a:cxnLst/>
            <a:rect l="l" t="t" r="r" b="b"/>
            <a:pathLst>
              <a:path w="422910">
                <a:moveTo>
                  <a:pt x="0" y="0"/>
                </a:moveTo>
                <a:lnTo>
                  <a:pt x="422668" y="0"/>
                </a:lnTo>
              </a:path>
            </a:pathLst>
          </a:custGeom>
          <a:ln w="12700">
            <a:solidFill>
              <a:srgbClr val="283338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 rtl="0">
              <a:buNone/>
            </a:pPr>
            <a:endParaRPr lang="en-GB" sz="800" dirty="0">
              <a:latin typeface="+mj-lt"/>
            </a:endParaRPr>
          </a:p>
        </p:txBody>
      </p:sp>
      <p:sp>
        <p:nvSpPr>
          <p:cNvPr id="125" name="object 5">
            <a:extLst>
              <a:ext uri="{FF2B5EF4-FFF2-40B4-BE49-F238E27FC236}">
                <a16:creationId xmlns:a16="http://schemas.microsoft.com/office/drawing/2014/main" id="{C0ED37FD-A455-4881-B37D-670D53009140}"/>
              </a:ext>
            </a:extLst>
          </p:cNvPr>
          <p:cNvSpPr/>
          <p:nvPr/>
        </p:nvSpPr>
        <p:spPr>
          <a:xfrm>
            <a:off x="5462091" y="6356417"/>
            <a:ext cx="72957" cy="117187"/>
          </a:xfrm>
          <a:custGeom>
            <a:avLst/>
            <a:gdLst/>
            <a:ahLst/>
            <a:cxnLst/>
            <a:rect l="l" t="t" r="r" b="b"/>
            <a:pathLst>
              <a:path w="51435" h="94614">
                <a:moveTo>
                  <a:pt x="0" y="0"/>
                </a:moveTo>
                <a:lnTo>
                  <a:pt x="50863" y="47282"/>
                </a:lnTo>
                <a:lnTo>
                  <a:pt x="0" y="94576"/>
                </a:lnTo>
              </a:path>
            </a:pathLst>
          </a:custGeom>
          <a:ln w="12700">
            <a:solidFill>
              <a:srgbClr val="283338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 rtl="0">
              <a:buNone/>
            </a:pPr>
            <a:endParaRPr lang="en-GB" sz="800" dirty="0">
              <a:latin typeface="+mj-lt"/>
            </a:endParaRPr>
          </a:p>
        </p:txBody>
      </p:sp>
      <p:grpSp>
        <p:nvGrpSpPr>
          <p:cNvPr id="128" name="Group 127">
            <a:extLst>
              <a:ext uri="{FF2B5EF4-FFF2-40B4-BE49-F238E27FC236}">
                <a16:creationId xmlns:a16="http://schemas.microsoft.com/office/drawing/2014/main" id="{6D67DD91-9053-48DF-BE52-1AE94C998222}"/>
              </a:ext>
            </a:extLst>
          </p:cNvPr>
          <p:cNvGrpSpPr/>
          <p:nvPr/>
        </p:nvGrpSpPr>
        <p:grpSpPr>
          <a:xfrm>
            <a:off x="4335163" y="1209278"/>
            <a:ext cx="1309955" cy="163590"/>
            <a:chOff x="4335163" y="1386038"/>
            <a:chExt cx="1309955" cy="163590"/>
          </a:xfrm>
        </p:grpSpPr>
        <p:sp>
          <p:nvSpPr>
            <p:cNvPr id="122" name="object 7">
              <a:extLst>
                <a:ext uri="{FF2B5EF4-FFF2-40B4-BE49-F238E27FC236}">
                  <a16:creationId xmlns:a16="http://schemas.microsoft.com/office/drawing/2014/main" id="{57B8FA0F-F3E9-47A7-8B5B-39DA0790FE7E}"/>
                </a:ext>
              </a:extLst>
            </p:cNvPr>
            <p:cNvSpPr/>
            <p:nvPr/>
          </p:nvSpPr>
          <p:spPr>
            <a:xfrm>
              <a:off x="4335170" y="1468769"/>
              <a:ext cx="599871" cy="0"/>
            </a:xfrm>
            <a:custGeom>
              <a:avLst/>
              <a:gdLst/>
              <a:ahLst/>
              <a:cxnLst/>
              <a:rect l="l" t="t" r="r" b="b"/>
              <a:pathLst>
                <a:path w="422910">
                  <a:moveTo>
                    <a:pt x="422668" y="0"/>
                  </a:moveTo>
                  <a:lnTo>
                    <a:pt x="0" y="0"/>
                  </a:lnTo>
                </a:path>
              </a:pathLst>
            </a:custGeom>
            <a:ln w="12700">
              <a:solidFill>
                <a:srgbClr val="283338"/>
              </a:solidFill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ctr" rtl="0">
                <a:buNone/>
              </a:pPr>
              <a:endParaRPr lang="en-GB" sz="800" dirty="0">
                <a:latin typeface="+mj-lt"/>
              </a:endParaRPr>
            </a:p>
          </p:txBody>
        </p:sp>
        <p:sp>
          <p:nvSpPr>
            <p:cNvPr id="123" name="object 8">
              <a:extLst>
                <a:ext uri="{FF2B5EF4-FFF2-40B4-BE49-F238E27FC236}">
                  <a16:creationId xmlns:a16="http://schemas.microsoft.com/office/drawing/2014/main" id="{2C407CDD-551D-4BE8-A015-6C0C3506A1D4}"/>
                </a:ext>
              </a:extLst>
            </p:cNvPr>
            <p:cNvSpPr/>
            <p:nvPr/>
          </p:nvSpPr>
          <p:spPr>
            <a:xfrm>
              <a:off x="4335163" y="1410198"/>
              <a:ext cx="72957" cy="117187"/>
            </a:xfrm>
            <a:custGeom>
              <a:avLst/>
              <a:gdLst/>
              <a:ahLst/>
              <a:cxnLst/>
              <a:rect l="l" t="t" r="r" b="b"/>
              <a:pathLst>
                <a:path w="51435" h="94615">
                  <a:moveTo>
                    <a:pt x="50863" y="94576"/>
                  </a:moveTo>
                  <a:lnTo>
                    <a:pt x="0" y="47294"/>
                  </a:lnTo>
                  <a:lnTo>
                    <a:pt x="50863" y="0"/>
                  </a:lnTo>
                </a:path>
              </a:pathLst>
            </a:custGeom>
            <a:ln w="12700">
              <a:solidFill>
                <a:srgbClr val="283338"/>
              </a:solidFill>
            </a:ln>
          </p:spPr>
          <p:txBody>
            <a:bodyPr wrap="square" lIns="0" tIns="0" rIns="0" bIns="0" rtlCol="0" anchor="ctr">
              <a:noAutofit/>
            </a:bodyPr>
            <a:lstStyle/>
            <a:p>
              <a:pPr algn="ctr" rtl="0">
                <a:buNone/>
              </a:pPr>
              <a:endParaRPr lang="en-GB" sz="800" dirty="0">
                <a:latin typeface="+mj-lt"/>
              </a:endParaRPr>
            </a:p>
          </p:txBody>
        </p:sp>
        <p:sp>
          <p:nvSpPr>
            <p:cNvPr id="12" name="object 9">
              <a:extLst>
                <a:ext uri="{FF2B5EF4-FFF2-40B4-BE49-F238E27FC236}">
                  <a16:creationId xmlns:a16="http://schemas.microsoft.com/office/drawing/2014/main" id="{FAD7D7FC-31CF-4514-8BAC-143D3865DEDA}"/>
                </a:ext>
              </a:extLst>
            </p:cNvPr>
            <p:cNvSpPr txBox="1"/>
            <p:nvPr/>
          </p:nvSpPr>
          <p:spPr>
            <a:xfrm>
              <a:off x="5044345" y="1386038"/>
              <a:ext cx="600773" cy="163590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/>
            <a:p>
              <a:pPr algn="ctr" rtl="0">
                <a:lnSpc>
                  <a:spcPct val="100000"/>
                </a:lnSpc>
                <a:spcBef>
                  <a:spcPts val="100"/>
                </a:spcBef>
                <a:buNone/>
              </a:pPr>
              <a:r>
                <a:rPr lang="en-GB" sz="800" b="1" dirty="0">
                  <a:solidFill>
                    <a:srgbClr val="231F20"/>
                  </a:solidFill>
                  <a:latin typeface="+mj-lt"/>
                  <a:cs typeface="Arial"/>
                </a:rPr>
                <a:t>How?</a:t>
              </a:r>
              <a:endParaRPr lang="en-GB" sz="800" dirty="0">
                <a:latin typeface="+mj-lt"/>
                <a:cs typeface="Arial"/>
              </a:endParaRPr>
            </a:p>
          </p:txBody>
        </p:sp>
      </p:grpSp>
      <p:sp>
        <p:nvSpPr>
          <p:cNvPr id="13" name="object 10">
            <a:extLst>
              <a:ext uri="{FF2B5EF4-FFF2-40B4-BE49-F238E27FC236}">
                <a16:creationId xmlns:a16="http://schemas.microsoft.com/office/drawing/2014/main" id="{91220667-6C6B-492A-A836-008D76D367F3}"/>
              </a:ext>
            </a:extLst>
          </p:cNvPr>
          <p:cNvSpPr txBox="1"/>
          <p:nvPr/>
        </p:nvSpPr>
        <p:spPr>
          <a:xfrm>
            <a:off x="287887" y="1543707"/>
            <a:ext cx="1149306" cy="579644"/>
          </a:xfrm>
          <a:prstGeom prst="rect">
            <a:avLst/>
          </a:prstGeom>
          <a:solidFill>
            <a:srgbClr val="893E45"/>
          </a:solidFill>
        </p:spPr>
        <p:txBody>
          <a:bodyPr vert="horz" wrap="square" lIns="108000" tIns="0" rIns="108000" bIns="0" rtlCol="0" anchor="ctr">
            <a:noAutofit/>
          </a:bodyPr>
          <a:lstStyle>
            <a:defPPr>
              <a:defRPr lang="en-US"/>
            </a:defPPr>
            <a:lvl1pPr algn="ctr">
              <a:lnSpc>
                <a:spcPct val="100000"/>
              </a:lnSpc>
              <a:spcBef>
                <a:spcPts val="10"/>
              </a:spcBef>
              <a:buNone/>
              <a:defRPr sz="800">
                <a:latin typeface="+mj-lt"/>
                <a:cs typeface="Times New Roman"/>
              </a:defRPr>
            </a:lvl1pPr>
          </a:lstStyle>
          <a:p>
            <a:pPr rtl="0"/>
            <a:r>
              <a:rPr lang="en-GB" dirty="0">
                <a:solidFill>
                  <a:schemeClr val="bg1"/>
                </a:solidFill>
              </a:rPr>
              <a:t>Project deliverables</a:t>
            </a:r>
          </a:p>
        </p:txBody>
      </p:sp>
      <p:sp>
        <p:nvSpPr>
          <p:cNvPr id="14" name="object 11">
            <a:extLst>
              <a:ext uri="{FF2B5EF4-FFF2-40B4-BE49-F238E27FC236}">
                <a16:creationId xmlns:a16="http://schemas.microsoft.com/office/drawing/2014/main" id="{8745B661-D2E4-4D8C-B512-F7A50CE7ED9C}"/>
              </a:ext>
            </a:extLst>
          </p:cNvPr>
          <p:cNvSpPr txBox="1"/>
          <p:nvPr/>
        </p:nvSpPr>
        <p:spPr>
          <a:xfrm>
            <a:off x="1692147" y="1543707"/>
            <a:ext cx="1430327" cy="579644"/>
          </a:xfrm>
          <a:prstGeom prst="rect">
            <a:avLst/>
          </a:prstGeom>
          <a:solidFill>
            <a:srgbClr val="E2DED9"/>
          </a:solidFill>
        </p:spPr>
        <p:txBody>
          <a:bodyPr vert="horz" wrap="square" lIns="108000" tIns="0" rIns="108000" bIns="0" rtlCol="0" anchor="ctr">
            <a:noAutofit/>
          </a:bodyPr>
          <a:lstStyle>
            <a:defPPr>
              <a:defRPr lang="en-US"/>
            </a:defPPr>
            <a:lvl1pPr algn="ctr">
              <a:lnSpc>
                <a:spcPct val="100000"/>
              </a:lnSpc>
              <a:spcBef>
                <a:spcPts val="10"/>
              </a:spcBef>
              <a:buNone/>
              <a:defRPr sz="800">
                <a:solidFill>
                  <a:schemeClr val="bg1"/>
                </a:solidFill>
                <a:latin typeface="+mj-lt"/>
                <a:cs typeface="Times New Roman"/>
              </a:defRPr>
            </a:lvl1pPr>
          </a:lstStyle>
          <a:p>
            <a:pPr rtl="0">
              <a:spcBef>
                <a:spcPts val="0"/>
              </a:spcBef>
              <a:spcAft>
                <a:spcPts val="0"/>
              </a:spcAft>
            </a:pPr>
            <a:r>
              <a:rPr lang="en-GB" b="1" dirty="0">
                <a:solidFill>
                  <a:srgbClr val="1F2023"/>
                </a:solidFill>
              </a:rPr>
              <a:t>Competencies</a:t>
            </a:r>
          </a:p>
          <a:p>
            <a:pPr rtl="0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chemeClr val="tx1"/>
                </a:solidFill>
              </a:rPr>
              <a:t>(We can do something new)</a:t>
            </a:r>
          </a:p>
        </p:txBody>
      </p:sp>
      <p:sp>
        <p:nvSpPr>
          <p:cNvPr id="15" name="object 12">
            <a:extLst>
              <a:ext uri="{FF2B5EF4-FFF2-40B4-BE49-F238E27FC236}">
                <a16:creationId xmlns:a16="http://schemas.microsoft.com/office/drawing/2014/main" id="{23255DCF-492A-41F4-A300-1A16C51DA786}"/>
              </a:ext>
            </a:extLst>
          </p:cNvPr>
          <p:cNvSpPr txBox="1"/>
          <p:nvPr/>
        </p:nvSpPr>
        <p:spPr>
          <a:xfrm>
            <a:off x="3377249" y="1543707"/>
            <a:ext cx="1430327" cy="579644"/>
          </a:xfrm>
          <a:prstGeom prst="rect">
            <a:avLst/>
          </a:prstGeom>
          <a:solidFill>
            <a:srgbClr val="DCB247"/>
          </a:solidFill>
        </p:spPr>
        <p:txBody>
          <a:bodyPr vert="horz" wrap="square" lIns="0" tIns="0" rIns="0" bIns="0" rtlCol="0" anchor="ctr">
            <a:noAutofit/>
          </a:bodyPr>
          <a:lstStyle/>
          <a:p>
            <a:pPr algn="ctr" rtl="0">
              <a:lnSpc>
                <a:spcPct val="100000"/>
              </a:lnSpc>
              <a:spcBef>
                <a:spcPts val="5"/>
              </a:spcBef>
              <a:spcAft>
                <a:spcPts val="0"/>
              </a:spcAft>
              <a:buNone/>
            </a:pPr>
            <a:r>
              <a:rPr lang="en-GB" sz="800" b="1" dirty="0">
                <a:solidFill>
                  <a:srgbClr val="231F20"/>
                </a:solidFill>
                <a:latin typeface="+mj-lt"/>
                <a:cs typeface="Arial"/>
              </a:rPr>
              <a:t>Behaviour</a:t>
            </a:r>
            <a:endParaRPr lang="en-GB" sz="800" dirty="0">
              <a:latin typeface="+mj-lt"/>
              <a:cs typeface="Arial"/>
            </a:endParaRPr>
          </a:p>
          <a:p>
            <a:pPr algn="ctr" rtl="0">
              <a:lnSpc>
                <a:spcPct val="100000"/>
              </a:lnSpc>
              <a:spcBef>
                <a:spcPts val="10"/>
              </a:spcBef>
              <a:spcAft>
                <a:spcPts val="0"/>
              </a:spcAft>
              <a:buNone/>
            </a:pPr>
            <a:r>
              <a:rPr lang="en-GB" sz="800" dirty="0">
                <a:solidFill>
                  <a:srgbClr val="231F20"/>
                </a:solidFill>
                <a:latin typeface="+mj-lt"/>
                <a:cs typeface="Calibri"/>
              </a:rPr>
              <a:t>(We are doing something new)</a:t>
            </a:r>
            <a:endParaRPr lang="en-GB" sz="800" dirty="0">
              <a:latin typeface="+mj-lt"/>
              <a:cs typeface="Calibri"/>
            </a:endParaRPr>
          </a:p>
        </p:txBody>
      </p:sp>
      <p:sp>
        <p:nvSpPr>
          <p:cNvPr id="16" name="object 13">
            <a:extLst>
              <a:ext uri="{FF2B5EF4-FFF2-40B4-BE49-F238E27FC236}">
                <a16:creationId xmlns:a16="http://schemas.microsoft.com/office/drawing/2014/main" id="{98BFCAF5-7FD0-48A5-9170-B2DF6AB49757}"/>
              </a:ext>
            </a:extLst>
          </p:cNvPr>
          <p:cNvSpPr txBox="1"/>
          <p:nvPr/>
        </p:nvSpPr>
        <p:spPr>
          <a:xfrm>
            <a:off x="8483643" y="1543707"/>
            <a:ext cx="1149306" cy="579644"/>
          </a:xfrm>
          <a:prstGeom prst="rect">
            <a:avLst/>
          </a:prstGeom>
          <a:solidFill>
            <a:srgbClr val="809D96"/>
          </a:solidFill>
        </p:spPr>
        <p:txBody>
          <a:bodyPr vert="horz" wrap="square" lIns="0" tIns="0" rIns="0" bIns="0" rtlCol="0" anchor="ctr">
            <a:noAutofit/>
          </a:bodyPr>
          <a:lstStyle/>
          <a:p>
            <a:pPr algn="ctr" rtl="0">
              <a:lnSpc>
                <a:spcPct val="100000"/>
              </a:lnSpc>
              <a:buNone/>
            </a:pPr>
            <a:r>
              <a:rPr lang="en-GB" sz="800" b="1" dirty="0">
                <a:solidFill>
                  <a:srgbClr val="231F20"/>
                </a:solidFill>
                <a:latin typeface="+mj-lt"/>
                <a:cs typeface="Arial"/>
              </a:rPr>
              <a:t>Purpose</a:t>
            </a:r>
            <a:endParaRPr lang="en-GB" sz="800" dirty="0">
              <a:latin typeface="+mj-lt"/>
              <a:cs typeface="Arial"/>
            </a:endParaRPr>
          </a:p>
        </p:txBody>
      </p:sp>
      <p:sp>
        <p:nvSpPr>
          <p:cNvPr id="17" name="object 14">
            <a:extLst>
              <a:ext uri="{FF2B5EF4-FFF2-40B4-BE49-F238E27FC236}">
                <a16:creationId xmlns:a16="http://schemas.microsoft.com/office/drawing/2014/main" id="{DB619F5F-BABD-44F1-AC14-BF48D43A40BE}"/>
              </a:ext>
            </a:extLst>
          </p:cNvPr>
          <p:cNvSpPr txBox="1"/>
          <p:nvPr/>
        </p:nvSpPr>
        <p:spPr>
          <a:xfrm>
            <a:off x="5062351" y="1543692"/>
            <a:ext cx="3165995" cy="268194"/>
          </a:xfrm>
          <a:prstGeom prst="rect">
            <a:avLst/>
          </a:prstGeom>
          <a:solidFill>
            <a:srgbClr val="3E5F5D"/>
          </a:solidFill>
        </p:spPr>
        <p:txBody>
          <a:bodyPr vert="horz" wrap="square" lIns="0" tIns="0" rIns="0" bIns="0" rtlCol="0" anchor="ctr">
            <a:noAutofit/>
          </a:bodyPr>
          <a:lstStyle/>
          <a:p>
            <a:pPr algn="ctr" rtl="0">
              <a:lnSpc>
                <a:spcPct val="100000"/>
              </a:lnSpc>
              <a:spcBef>
                <a:spcPts val="425"/>
              </a:spcBef>
              <a:buNone/>
            </a:pPr>
            <a:r>
              <a:rPr lang="en-GB" sz="800" b="1" dirty="0">
                <a:solidFill>
                  <a:srgbClr val="FFFFFF"/>
                </a:solidFill>
                <a:latin typeface="+mj-lt"/>
                <a:cs typeface="Arial"/>
              </a:rPr>
              <a:t>Benefits</a:t>
            </a:r>
            <a:endParaRPr lang="en-GB" sz="800" dirty="0">
              <a:latin typeface="+mj-lt"/>
              <a:cs typeface="Arial"/>
            </a:endParaRPr>
          </a:p>
        </p:txBody>
      </p:sp>
      <p:sp>
        <p:nvSpPr>
          <p:cNvPr id="18" name="object 15">
            <a:extLst>
              <a:ext uri="{FF2B5EF4-FFF2-40B4-BE49-F238E27FC236}">
                <a16:creationId xmlns:a16="http://schemas.microsoft.com/office/drawing/2014/main" id="{66F4D198-3A55-424D-BDB6-0A7E4E2495FF}"/>
              </a:ext>
            </a:extLst>
          </p:cNvPr>
          <p:cNvSpPr txBox="1"/>
          <p:nvPr/>
        </p:nvSpPr>
        <p:spPr>
          <a:xfrm>
            <a:off x="6670874" y="1855818"/>
            <a:ext cx="1558228" cy="268194"/>
          </a:xfrm>
          <a:prstGeom prst="rect">
            <a:avLst/>
          </a:prstGeom>
          <a:solidFill>
            <a:srgbClr val="3E5F5D"/>
          </a:solidFill>
        </p:spPr>
        <p:txBody>
          <a:bodyPr vert="horz" wrap="square" lIns="0" tIns="0" rIns="0" bIns="0" rtlCol="0" anchor="ctr">
            <a:noAutofit/>
          </a:bodyPr>
          <a:lstStyle/>
          <a:p>
            <a:pPr algn="ctr" rtl="0">
              <a:lnSpc>
                <a:spcPct val="100000"/>
              </a:lnSpc>
              <a:spcBef>
                <a:spcPts val="350"/>
              </a:spcBef>
              <a:buNone/>
            </a:pPr>
            <a:r>
              <a:rPr lang="en-GB" sz="800" dirty="0">
                <a:solidFill>
                  <a:srgbClr val="FFFFFF"/>
                </a:solidFill>
                <a:latin typeface="+mj-lt"/>
                <a:cs typeface="Calibri"/>
              </a:rPr>
              <a:t>End benefits</a:t>
            </a:r>
            <a:endParaRPr lang="en-GB" sz="800" dirty="0">
              <a:latin typeface="+mj-lt"/>
              <a:cs typeface="Calibri"/>
            </a:endParaRPr>
          </a:p>
        </p:txBody>
      </p:sp>
      <p:sp>
        <p:nvSpPr>
          <p:cNvPr id="19" name="object 16">
            <a:extLst>
              <a:ext uri="{FF2B5EF4-FFF2-40B4-BE49-F238E27FC236}">
                <a16:creationId xmlns:a16="http://schemas.microsoft.com/office/drawing/2014/main" id="{78724F82-7407-4161-9465-B28B9ADBE8FF}"/>
              </a:ext>
            </a:extLst>
          </p:cNvPr>
          <p:cNvSpPr txBox="1"/>
          <p:nvPr/>
        </p:nvSpPr>
        <p:spPr>
          <a:xfrm>
            <a:off x="5062351" y="1855818"/>
            <a:ext cx="1558228" cy="268194"/>
          </a:xfrm>
          <a:prstGeom prst="rect">
            <a:avLst/>
          </a:prstGeom>
          <a:solidFill>
            <a:srgbClr val="3E5F5D"/>
          </a:solidFill>
        </p:spPr>
        <p:txBody>
          <a:bodyPr vert="horz" wrap="square" lIns="0" tIns="0" rIns="0" bIns="0" rtlCol="0" anchor="ctr">
            <a:noAutofit/>
          </a:bodyPr>
          <a:lstStyle/>
          <a:p>
            <a:pPr algn="ctr" rtl="0">
              <a:lnSpc>
                <a:spcPct val="100000"/>
              </a:lnSpc>
              <a:spcBef>
                <a:spcPts val="350"/>
              </a:spcBef>
              <a:buNone/>
            </a:pPr>
            <a:r>
              <a:rPr lang="en-GB" sz="800" dirty="0">
                <a:solidFill>
                  <a:srgbClr val="FFFFFF"/>
                </a:solidFill>
                <a:latin typeface="+mj-lt"/>
                <a:cs typeface="Calibri"/>
              </a:rPr>
              <a:t>Performance benefits</a:t>
            </a:r>
            <a:endParaRPr lang="en-GB" sz="800" dirty="0">
              <a:latin typeface="+mj-lt"/>
              <a:cs typeface="Calibri"/>
            </a:endParaRPr>
          </a:p>
        </p:txBody>
      </p:sp>
      <p:sp>
        <p:nvSpPr>
          <p:cNvPr id="120" name="object 18">
            <a:extLst>
              <a:ext uri="{FF2B5EF4-FFF2-40B4-BE49-F238E27FC236}">
                <a16:creationId xmlns:a16="http://schemas.microsoft.com/office/drawing/2014/main" id="{25FCC74E-7414-4F59-B6F3-6CEF6973B7A8}"/>
              </a:ext>
            </a:extLst>
          </p:cNvPr>
          <p:cNvSpPr/>
          <p:nvPr/>
        </p:nvSpPr>
        <p:spPr>
          <a:xfrm>
            <a:off x="1436825" y="2435469"/>
            <a:ext cx="249496" cy="0"/>
          </a:xfrm>
          <a:custGeom>
            <a:avLst/>
            <a:gdLst/>
            <a:ahLst/>
            <a:cxnLst/>
            <a:rect l="l" t="t" r="r" b="b"/>
            <a:pathLst>
              <a:path w="175894">
                <a:moveTo>
                  <a:pt x="0" y="0"/>
                </a:moveTo>
                <a:lnTo>
                  <a:pt x="175336" y="0"/>
                </a:lnTo>
              </a:path>
            </a:pathLst>
          </a:custGeom>
          <a:ln w="6350">
            <a:solidFill>
              <a:srgbClr val="283338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 rtl="0">
              <a:buNone/>
            </a:pPr>
            <a:endParaRPr lang="en-GB" sz="800" dirty="0">
              <a:latin typeface="+mj-lt"/>
            </a:endParaRPr>
          </a:p>
        </p:txBody>
      </p:sp>
      <p:sp>
        <p:nvSpPr>
          <p:cNvPr id="121" name="object 19">
            <a:extLst>
              <a:ext uri="{FF2B5EF4-FFF2-40B4-BE49-F238E27FC236}">
                <a16:creationId xmlns:a16="http://schemas.microsoft.com/office/drawing/2014/main" id="{FF2BD9CF-FB61-4DF0-A7D5-53F32449C8B1}"/>
              </a:ext>
            </a:extLst>
          </p:cNvPr>
          <p:cNvSpPr/>
          <p:nvPr/>
        </p:nvSpPr>
        <p:spPr>
          <a:xfrm>
            <a:off x="1623072" y="2384762"/>
            <a:ext cx="63050" cy="101458"/>
          </a:xfrm>
          <a:custGeom>
            <a:avLst/>
            <a:gdLst/>
            <a:ahLst/>
            <a:cxnLst/>
            <a:rect l="l" t="t" r="r" b="b"/>
            <a:pathLst>
              <a:path w="44450" h="81915">
                <a:moveTo>
                  <a:pt x="0" y="0"/>
                </a:moveTo>
                <a:lnTo>
                  <a:pt x="44030" y="40944"/>
                </a:lnTo>
                <a:lnTo>
                  <a:pt x="0" y="81876"/>
                </a:lnTo>
              </a:path>
            </a:pathLst>
          </a:custGeom>
          <a:ln w="6350">
            <a:solidFill>
              <a:srgbClr val="283338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 rtl="0">
              <a:buNone/>
            </a:pPr>
            <a:endParaRPr lang="en-GB" sz="800" dirty="0">
              <a:latin typeface="+mj-lt"/>
            </a:endParaRPr>
          </a:p>
        </p:txBody>
      </p:sp>
      <p:sp>
        <p:nvSpPr>
          <p:cNvPr id="72" name="object 21">
            <a:extLst>
              <a:ext uri="{FF2B5EF4-FFF2-40B4-BE49-F238E27FC236}">
                <a16:creationId xmlns:a16="http://schemas.microsoft.com/office/drawing/2014/main" id="{94D321FF-8172-4910-B70B-3144DEC6ECD1}"/>
              </a:ext>
            </a:extLst>
          </p:cNvPr>
          <p:cNvSpPr/>
          <p:nvPr/>
        </p:nvSpPr>
        <p:spPr>
          <a:xfrm>
            <a:off x="1436825" y="2939237"/>
            <a:ext cx="249497" cy="0"/>
          </a:xfrm>
          <a:custGeom>
            <a:avLst/>
            <a:gdLst/>
            <a:ahLst/>
            <a:cxnLst/>
            <a:rect l="l" t="t" r="r" b="b"/>
            <a:pathLst>
              <a:path w="175894">
                <a:moveTo>
                  <a:pt x="0" y="0"/>
                </a:moveTo>
                <a:lnTo>
                  <a:pt x="175336" y="0"/>
                </a:lnTo>
              </a:path>
            </a:pathLst>
          </a:custGeom>
          <a:ln w="6350">
            <a:solidFill>
              <a:srgbClr val="283338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 rtl="0">
              <a:buNone/>
            </a:pPr>
            <a:endParaRPr lang="en-GB" sz="800" dirty="0">
              <a:latin typeface="+mj-lt"/>
            </a:endParaRPr>
          </a:p>
        </p:txBody>
      </p:sp>
      <p:sp>
        <p:nvSpPr>
          <p:cNvPr id="73" name="object 22">
            <a:extLst>
              <a:ext uri="{FF2B5EF4-FFF2-40B4-BE49-F238E27FC236}">
                <a16:creationId xmlns:a16="http://schemas.microsoft.com/office/drawing/2014/main" id="{BB125486-B912-4C75-9FCE-270CD9EC70BF}"/>
              </a:ext>
            </a:extLst>
          </p:cNvPr>
          <p:cNvSpPr/>
          <p:nvPr/>
        </p:nvSpPr>
        <p:spPr>
          <a:xfrm>
            <a:off x="1623072" y="2888530"/>
            <a:ext cx="63050" cy="101458"/>
          </a:xfrm>
          <a:custGeom>
            <a:avLst/>
            <a:gdLst/>
            <a:ahLst/>
            <a:cxnLst/>
            <a:rect l="l" t="t" r="r" b="b"/>
            <a:pathLst>
              <a:path w="44450" h="81914">
                <a:moveTo>
                  <a:pt x="0" y="0"/>
                </a:moveTo>
                <a:lnTo>
                  <a:pt x="44030" y="40944"/>
                </a:lnTo>
                <a:lnTo>
                  <a:pt x="0" y="81876"/>
                </a:lnTo>
              </a:path>
            </a:pathLst>
          </a:custGeom>
          <a:ln w="6350">
            <a:solidFill>
              <a:srgbClr val="283338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 rtl="0">
              <a:buNone/>
            </a:pPr>
            <a:endParaRPr lang="en-GB" sz="800" dirty="0">
              <a:latin typeface="+mj-lt"/>
            </a:endParaRPr>
          </a:p>
        </p:txBody>
      </p:sp>
      <p:sp>
        <p:nvSpPr>
          <p:cNvPr id="74" name="object 23">
            <a:extLst>
              <a:ext uri="{FF2B5EF4-FFF2-40B4-BE49-F238E27FC236}">
                <a16:creationId xmlns:a16="http://schemas.microsoft.com/office/drawing/2014/main" id="{5786EBF9-63E3-462E-90D7-9D6B33E16962}"/>
              </a:ext>
            </a:extLst>
          </p:cNvPr>
          <p:cNvSpPr/>
          <p:nvPr/>
        </p:nvSpPr>
        <p:spPr>
          <a:xfrm>
            <a:off x="1564486" y="5846480"/>
            <a:ext cx="121596" cy="0"/>
          </a:xfrm>
          <a:custGeom>
            <a:avLst/>
            <a:gdLst/>
            <a:ahLst/>
            <a:cxnLst/>
            <a:rect l="l" t="t" r="r" b="b"/>
            <a:pathLst>
              <a:path w="85725">
                <a:moveTo>
                  <a:pt x="0" y="0"/>
                </a:moveTo>
                <a:lnTo>
                  <a:pt x="85331" y="0"/>
                </a:lnTo>
              </a:path>
            </a:pathLst>
          </a:custGeom>
          <a:ln w="6350">
            <a:solidFill>
              <a:srgbClr val="283338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 rtl="0">
              <a:buNone/>
            </a:pPr>
            <a:endParaRPr lang="en-GB" sz="800" dirty="0">
              <a:latin typeface="+mj-lt"/>
            </a:endParaRPr>
          </a:p>
        </p:txBody>
      </p:sp>
      <p:sp>
        <p:nvSpPr>
          <p:cNvPr id="75" name="object 24">
            <a:extLst>
              <a:ext uri="{FF2B5EF4-FFF2-40B4-BE49-F238E27FC236}">
                <a16:creationId xmlns:a16="http://schemas.microsoft.com/office/drawing/2014/main" id="{F8CF7A6A-9F33-406A-9C3E-46CB67377C3F}"/>
              </a:ext>
            </a:extLst>
          </p:cNvPr>
          <p:cNvSpPr/>
          <p:nvPr/>
        </p:nvSpPr>
        <p:spPr>
          <a:xfrm>
            <a:off x="1623072" y="5795773"/>
            <a:ext cx="63050" cy="101458"/>
          </a:xfrm>
          <a:custGeom>
            <a:avLst/>
            <a:gdLst/>
            <a:ahLst/>
            <a:cxnLst/>
            <a:rect l="l" t="t" r="r" b="b"/>
            <a:pathLst>
              <a:path w="44450" h="81914">
                <a:moveTo>
                  <a:pt x="0" y="0"/>
                </a:moveTo>
                <a:lnTo>
                  <a:pt x="44030" y="40944"/>
                </a:lnTo>
                <a:lnTo>
                  <a:pt x="0" y="81876"/>
                </a:lnTo>
              </a:path>
            </a:pathLst>
          </a:custGeom>
          <a:ln w="6350">
            <a:solidFill>
              <a:srgbClr val="283338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 rtl="0">
              <a:buNone/>
            </a:pPr>
            <a:endParaRPr lang="en-GB" sz="800" dirty="0">
              <a:latin typeface="+mj-lt"/>
            </a:endParaRPr>
          </a:p>
        </p:txBody>
      </p:sp>
      <p:sp>
        <p:nvSpPr>
          <p:cNvPr id="76" name="object 25">
            <a:extLst>
              <a:ext uri="{FF2B5EF4-FFF2-40B4-BE49-F238E27FC236}">
                <a16:creationId xmlns:a16="http://schemas.microsoft.com/office/drawing/2014/main" id="{F6641CFA-54B1-480C-AC33-FEC1A60EDF3C}"/>
              </a:ext>
            </a:extLst>
          </p:cNvPr>
          <p:cNvSpPr/>
          <p:nvPr/>
        </p:nvSpPr>
        <p:spPr>
          <a:xfrm>
            <a:off x="1434174" y="3461193"/>
            <a:ext cx="135106" cy="2385426"/>
          </a:xfrm>
          <a:custGeom>
            <a:avLst/>
            <a:gdLst/>
            <a:ahLst/>
            <a:cxnLst/>
            <a:rect l="l" t="t" r="r" b="b"/>
            <a:pathLst>
              <a:path w="95250" h="1925954">
                <a:moveTo>
                  <a:pt x="0" y="0"/>
                </a:moveTo>
                <a:lnTo>
                  <a:pt x="94818" y="1925688"/>
                </a:lnTo>
              </a:path>
            </a:pathLst>
          </a:custGeom>
          <a:ln w="6350">
            <a:solidFill>
              <a:srgbClr val="283338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 rtl="0">
              <a:buNone/>
            </a:pPr>
            <a:endParaRPr lang="en-GB" sz="800" dirty="0">
              <a:latin typeface="+mj-lt"/>
            </a:endParaRPr>
          </a:p>
        </p:txBody>
      </p:sp>
      <p:sp>
        <p:nvSpPr>
          <p:cNvPr id="77" name="object 26">
            <a:extLst>
              <a:ext uri="{FF2B5EF4-FFF2-40B4-BE49-F238E27FC236}">
                <a16:creationId xmlns:a16="http://schemas.microsoft.com/office/drawing/2014/main" id="{3F50C450-175F-4F67-BD65-A6B13B4BC877}"/>
              </a:ext>
            </a:extLst>
          </p:cNvPr>
          <p:cNvSpPr/>
          <p:nvPr/>
        </p:nvSpPr>
        <p:spPr>
          <a:xfrm>
            <a:off x="1564486" y="4664892"/>
            <a:ext cx="121596" cy="0"/>
          </a:xfrm>
          <a:custGeom>
            <a:avLst/>
            <a:gdLst/>
            <a:ahLst/>
            <a:cxnLst/>
            <a:rect l="l" t="t" r="r" b="b"/>
            <a:pathLst>
              <a:path w="85725">
                <a:moveTo>
                  <a:pt x="0" y="0"/>
                </a:moveTo>
                <a:lnTo>
                  <a:pt x="85331" y="0"/>
                </a:lnTo>
              </a:path>
            </a:pathLst>
          </a:custGeom>
          <a:ln w="6350">
            <a:solidFill>
              <a:srgbClr val="283338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 rtl="0">
              <a:buNone/>
            </a:pPr>
            <a:endParaRPr lang="en-GB" sz="800" dirty="0">
              <a:latin typeface="+mj-lt"/>
            </a:endParaRPr>
          </a:p>
        </p:txBody>
      </p:sp>
      <p:sp>
        <p:nvSpPr>
          <p:cNvPr id="78" name="object 27">
            <a:extLst>
              <a:ext uri="{FF2B5EF4-FFF2-40B4-BE49-F238E27FC236}">
                <a16:creationId xmlns:a16="http://schemas.microsoft.com/office/drawing/2014/main" id="{9DC08546-B21F-4AE4-9BDC-92258B20217E}"/>
              </a:ext>
            </a:extLst>
          </p:cNvPr>
          <p:cNvSpPr/>
          <p:nvPr/>
        </p:nvSpPr>
        <p:spPr>
          <a:xfrm>
            <a:off x="1623072" y="4614185"/>
            <a:ext cx="63050" cy="101458"/>
          </a:xfrm>
          <a:custGeom>
            <a:avLst/>
            <a:gdLst/>
            <a:ahLst/>
            <a:cxnLst/>
            <a:rect l="l" t="t" r="r" b="b"/>
            <a:pathLst>
              <a:path w="44450" h="81914">
                <a:moveTo>
                  <a:pt x="0" y="0"/>
                </a:moveTo>
                <a:lnTo>
                  <a:pt x="44030" y="40944"/>
                </a:lnTo>
                <a:lnTo>
                  <a:pt x="0" y="81876"/>
                </a:lnTo>
              </a:path>
            </a:pathLst>
          </a:custGeom>
          <a:ln w="6350">
            <a:solidFill>
              <a:srgbClr val="283338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 rtl="0">
              <a:buNone/>
            </a:pPr>
            <a:endParaRPr lang="en-GB" sz="800" dirty="0">
              <a:latin typeface="+mj-lt"/>
            </a:endParaRPr>
          </a:p>
        </p:txBody>
      </p:sp>
      <p:sp>
        <p:nvSpPr>
          <p:cNvPr id="79" name="object 28">
            <a:extLst>
              <a:ext uri="{FF2B5EF4-FFF2-40B4-BE49-F238E27FC236}">
                <a16:creationId xmlns:a16="http://schemas.microsoft.com/office/drawing/2014/main" id="{DDB29E37-DE6C-445D-9E12-0966B6D61511}"/>
              </a:ext>
            </a:extLst>
          </p:cNvPr>
          <p:cNvSpPr/>
          <p:nvPr/>
        </p:nvSpPr>
        <p:spPr>
          <a:xfrm>
            <a:off x="1434170" y="2939501"/>
            <a:ext cx="135106" cy="1728706"/>
          </a:xfrm>
          <a:custGeom>
            <a:avLst/>
            <a:gdLst/>
            <a:ahLst/>
            <a:cxnLst/>
            <a:rect l="l" t="t" r="r" b="b"/>
            <a:pathLst>
              <a:path w="95250" h="1395729">
                <a:moveTo>
                  <a:pt x="0" y="0"/>
                </a:moveTo>
                <a:lnTo>
                  <a:pt x="94818" y="1395717"/>
                </a:lnTo>
              </a:path>
            </a:pathLst>
          </a:custGeom>
          <a:ln w="6350">
            <a:solidFill>
              <a:srgbClr val="283338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 rtl="0">
              <a:buNone/>
            </a:pPr>
            <a:endParaRPr lang="en-GB" sz="800" dirty="0">
              <a:latin typeface="+mj-lt"/>
            </a:endParaRPr>
          </a:p>
        </p:txBody>
      </p:sp>
      <p:sp>
        <p:nvSpPr>
          <p:cNvPr id="80" name="object 29">
            <a:extLst>
              <a:ext uri="{FF2B5EF4-FFF2-40B4-BE49-F238E27FC236}">
                <a16:creationId xmlns:a16="http://schemas.microsoft.com/office/drawing/2014/main" id="{81D827EA-7B4C-4CDB-ABAF-ABDA4D2CC72E}"/>
              </a:ext>
            </a:extLst>
          </p:cNvPr>
          <p:cNvSpPr/>
          <p:nvPr/>
        </p:nvSpPr>
        <p:spPr>
          <a:xfrm>
            <a:off x="1564486" y="3639353"/>
            <a:ext cx="121596" cy="0"/>
          </a:xfrm>
          <a:custGeom>
            <a:avLst/>
            <a:gdLst/>
            <a:ahLst/>
            <a:cxnLst/>
            <a:rect l="l" t="t" r="r" b="b"/>
            <a:pathLst>
              <a:path w="85725">
                <a:moveTo>
                  <a:pt x="0" y="0"/>
                </a:moveTo>
                <a:lnTo>
                  <a:pt x="85331" y="0"/>
                </a:lnTo>
              </a:path>
            </a:pathLst>
          </a:custGeom>
          <a:ln w="6350">
            <a:solidFill>
              <a:srgbClr val="283338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 rtl="0">
              <a:buNone/>
            </a:pPr>
            <a:endParaRPr lang="en-GB" sz="800" dirty="0">
              <a:latin typeface="+mj-lt"/>
            </a:endParaRPr>
          </a:p>
        </p:txBody>
      </p:sp>
      <p:sp>
        <p:nvSpPr>
          <p:cNvPr id="81" name="object 30">
            <a:extLst>
              <a:ext uri="{FF2B5EF4-FFF2-40B4-BE49-F238E27FC236}">
                <a16:creationId xmlns:a16="http://schemas.microsoft.com/office/drawing/2014/main" id="{A3CDC60A-4584-49E3-B4E5-E069E7E11D5A}"/>
              </a:ext>
            </a:extLst>
          </p:cNvPr>
          <p:cNvSpPr/>
          <p:nvPr/>
        </p:nvSpPr>
        <p:spPr>
          <a:xfrm>
            <a:off x="1623072" y="3588644"/>
            <a:ext cx="63050" cy="101458"/>
          </a:xfrm>
          <a:custGeom>
            <a:avLst/>
            <a:gdLst/>
            <a:ahLst/>
            <a:cxnLst/>
            <a:rect l="l" t="t" r="r" b="b"/>
            <a:pathLst>
              <a:path w="44450" h="81914">
                <a:moveTo>
                  <a:pt x="0" y="0"/>
                </a:moveTo>
                <a:lnTo>
                  <a:pt x="44030" y="40944"/>
                </a:lnTo>
                <a:lnTo>
                  <a:pt x="0" y="81876"/>
                </a:lnTo>
              </a:path>
            </a:pathLst>
          </a:custGeom>
          <a:ln w="6350">
            <a:solidFill>
              <a:srgbClr val="283338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 rtl="0">
              <a:buNone/>
            </a:pPr>
            <a:endParaRPr lang="en-GB" sz="800" dirty="0">
              <a:latin typeface="+mj-lt"/>
            </a:endParaRPr>
          </a:p>
        </p:txBody>
      </p:sp>
      <p:sp>
        <p:nvSpPr>
          <p:cNvPr id="82" name="object 31">
            <a:extLst>
              <a:ext uri="{FF2B5EF4-FFF2-40B4-BE49-F238E27FC236}">
                <a16:creationId xmlns:a16="http://schemas.microsoft.com/office/drawing/2014/main" id="{06834E42-9D35-4A93-920A-1157E1F0E296}"/>
              </a:ext>
            </a:extLst>
          </p:cNvPr>
          <p:cNvSpPr/>
          <p:nvPr/>
        </p:nvSpPr>
        <p:spPr>
          <a:xfrm>
            <a:off x="1434118" y="2948892"/>
            <a:ext cx="135106" cy="693684"/>
          </a:xfrm>
          <a:custGeom>
            <a:avLst/>
            <a:gdLst/>
            <a:ahLst/>
            <a:cxnLst/>
            <a:rect l="l" t="t" r="r" b="b"/>
            <a:pathLst>
              <a:path w="95250" h="560069">
                <a:moveTo>
                  <a:pt x="0" y="0"/>
                </a:moveTo>
                <a:lnTo>
                  <a:pt x="94894" y="559816"/>
                </a:lnTo>
              </a:path>
            </a:pathLst>
          </a:custGeom>
          <a:ln w="6350">
            <a:solidFill>
              <a:srgbClr val="283338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 rtl="0">
              <a:buNone/>
            </a:pPr>
            <a:endParaRPr lang="en-GB" sz="800" dirty="0">
              <a:latin typeface="+mj-lt"/>
            </a:endParaRPr>
          </a:p>
        </p:txBody>
      </p:sp>
      <p:sp>
        <p:nvSpPr>
          <p:cNvPr id="83" name="object 32">
            <a:extLst>
              <a:ext uri="{FF2B5EF4-FFF2-40B4-BE49-F238E27FC236}">
                <a16:creationId xmlns:a16="http://schemas.microsoft.com/office/drawing/2014/main" id="{D947AE1B-6878-4437-8B78-C09F94261CE8}"/>
              </a:ext>
            </a:extLst>
          </p:cNvPr>
          <p:cNvSpPr/>
          <p:nvPr/>
        </p:nvSpPr>
        <p:spPr>
          <a:xfrm>
            <a:off x="3121933" y="5846480"/>
            <a:ext cx="249497" cy="0"/>
          </a:xfrm>
          <a:custGeom>
            <a:avLst/>
            <a:gdLst/>
            <a:ahLst/>
            <a:cxnLst/>
            <a:rect l="l" t="t" r="r" b="b"/>
            <a:pathLst>
              <a:path w="175894">
                <a:moveTo>
                  <a:pt x="0" y="0"/>
                </a:moveTo>
                <a:lnTo>
                  <a:pt x="175336" y="0"/>
                </a:lnTo>
              </a:path>
            </a:pathLst>
          </a:custGeom>
          <a:ln w="6350">
            <a:solidFill>
              <a:srgbClr val="283338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 rtl="0">
              <a:buNone/>
            </a:pPr>
            <a:endParaRPr lang="en-GB" sz="800" dirty="0">
              <a:latin typeface="+mj-lt"/>
            </a:endParaRPr>
          </a:p>
        </p:txBody>
      </p:sp>
      <p:sp>
        <p:nvSpPr>
          <p:cNvPr id="84" name="object 33">
            <a:extLst>
              <a:ext uri="{FF2B5EF4-FFF2-40B4-BE49-F238E27FC236}">
                <a16:creationId xmlns:a16="http://schemas.microsoft.com/office/drawing/2014/main" id="{C1F074F0-67D0-4530-AD01-970F66F09808}"/>
              </a:ext>
            </a:extLst>
          </p:cNvPr>
          <p:cNvSpPr/>
          <p:nvPr/>
        </p:nvSpPr>
        <p:spPr>
          <a:xfrm>
            <a:off x="3308180" y="5795773"/>
            <a:ext cx="63050" cy="101458"/>
          </a:xfrm>
          <a:custGeom>
            <a:avLst/>
            <a:gdLst/>
            <a:ahLst/>
            <a:cxnLst/>
            <a:rect l="l" t="t" r="r" b="b"/>
            <a:pathLst>
              <a:path w="44450" h="81914">
                <a:moveTo>
                  <a:pt x="0" y="0"/>
                </a:moveTo>
                <a:lnTo>
                  <a:pt x="44030" y="40944"/>
                </a:lnTo>
                <a:lnTo>
                  <a:pt x="0" y="81876"/>
                </a:lnTo>
              </a:path>
            </a:pathLst>
          </a:custGeom>
          <a:ln w="6350">
            <a:solidFill>
              <a:srgbClr val="283338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 rtl="0">
              <a:buNone/>
            </a:pPr>
            <a:endParaRPr lang="en-GB" sz="800" dirty="0">
              <a:latin typeface="+mj-lt"/>
            </a:endParaRPr>
          </a:p>
        </p:txBody>
      </p:sp>
      <p:sp>
        <p:nvSpPr>
          <p:cNvPr id="85" name="object 34">
            <a:extLst>
              <a:ext uri="{FF2B5EF4-FFF2-40B4-BE49-F238E27FC236}">
                <a16:creationId xmlns:a16="http://schemas.microsoft.com/office/drawing/2014/main" id="{7DC9FB9A-1099-41CA-9CF1-812719675CDB}"/>
              </a:ext>
            </a:extLst>
          </p:cNvPr>
          <p:cNvSpPr/>
          <p:nvPr/>
        </p:nvSpPr>
        <p:spPr>
          <a:xfrm>
            <a:off x="3121933" y="4664892"/>
            <a:ext cx="249497" cy="0"/>
          </a:xfrm>
          <a:custGeom>
            <a:avLst/>
            <a:gdLst/>
            <a:ahLst/>
            <a:cxnLst/>
            <a:rect l="l" t="t" r="r" b="b"/>
            <a:pathLst>
              <a:path w="175894">
                <a:moveTo>
                  <a:pt x="0" y="0"/>
                </a:moveTo>
                <a:lnTo>
                  <a:pt x="175336" y="0"/>
                </a:lnTo>
              </a:path>
            </a:pathLst>
          </a:custGeom>
          <a:ln w="6350">
            <a:solidFill>
              <a:srgbClr val="283338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 rtl="0">
              <a:buNone/>
            </a:pPr>
            <a:endParaRPr lang="en-GB" sz="800" dirty="0">
              <a:latin typeface="+mj-lt"/>
            </a:endParaRPr>
          </a:p>
        </p:txBody>
      </p:sp>
      <p:sp>
        <p:nvSpPr>
          <p:cNvPr id="86" name="object 35">
            <a:extLst>
              <a:ext uri="{FF2B5EF4-FFF2-40B4-BE49-F238E27FC236}">
                <a16:creationId xmlns:a16="http://schemas.microsoft.com/office/drawing/2014/main" id="{6F6E57D9-32EE-42B0-9D50-0186E3B93092}"/>
              </a:ext>
            </a:extLst>
          </p:cNvPr>
          <p:cNvSpPr/>
          <p:nvPr/>
        </p:nvSpPr>
        <p:spPr>
          <a:xfrm>
            <a:off x="3308180" y="4614185"/>
            <a:ext cx="63050" cy="101458"/>
          </a:xfrm>
          <a:custGeom>
            <a:avLst/>
            <a:gdLst/>
            <a:ahLst/>
            <a:cxnLst/>
            <a:rect l="l" t="t" r="r" b="b"/>
            <a:pathLst>
              <a:path w="44450" h="81914">
                <a:moveTo>
                  <a:pt x="0" y="0"/>
                </a:moveTo>
                <a:lnTo>
                  <a:pt x="44030" y="40944"/>
                </a:lnTo>
                <a:lnTo>
                  <a:pt x="0" y="81876"/>
                </a:lnTo>
              </a:path>
            </a:pathLst>
          </a:custGeom>
          <a:ln w="6350">
            <a:solidFill>
              <a:srgbClr val="283338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 rtl="0">
              <a:buNone/>
            </a:pPr>
            <a:endParaRPr lang="en-GB" sz="800" dirty="0">
              <a:latin typeface="+mj-lt"/>
            </a:endParaRPr>
          </a:p>
        </p:txBody>
      </p:sp>
      <p:sp>
        <p:nvSpPr>
          <p:cNvPr id="87" name="object 36">
            <a:extLst>
              <a:ext uri="{FF2B5EF4-FFF2-40B4-BE49-F238E27FC236}">
                <a16:creationId xmlns:a16="http://schemas.microsoft.com/office/drawing/2014/main" id="{FC61ED71-F730-4998-AAF7-46A9FB1D3ADA}"/>
              </a:ext>
            </a:extLst>
          </p:cNvPr>
          <p:cNvSpPr/>
          <p:nvPr/>
        </p:nvSpPr>
        <p:spPr>
          <a:xfrm>
            <a:off x="3121933" y="3639353"/>
            <a:ext cx="249497" cy="0"/>
          </a:xfrm>
          <a:custGeom>
            <a:avLst/>
            <a:gdLst/>
            <a:ahLst/>
            <a:cxnLst/>
            <a:rect l="l" t="t" r="r" b="b"/>
            <a:pathLst>
              <a:path w="175894">
                <a:moveTo>
                  <a:pt x="0" y="0"/>
                </a:moveTo>
                <a:lnTo>
                  <a:pt x="175336" y="0"/>
                </a:lnTo>
              </a:path>
            </a:pathLst>
          </a:custGeom>
          <a:ln w="6350">
            <a:solidFill>
              <a:srgbClr val="283338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 rtl="0">
              <a:buNone/>
            </a:pPr>
            <a:endParaRPr lang="en-GB" sz="800" dirty="0">
              <a:latin typeface="+mj-lt"/>
            </a:endParaRPr>
          </a:p>
        </p:txBody>
      </p:sp>
      <p:sp>
        <p:nvSpPr>
          <p:cNvPr id="88" name="object 37">
            <a:extLst>
              <a:ext uri="{FF2B5EF4-FFF2-40B4-BE49-F238E27FC236}">
                <a16:creationId xmlns:a16="http://schemas.microsoft.com/office/drawing/2014/main" id="{CD133A72-3F2A-4953-9BA9-BB86C2BFF5A8}"/>
              </a:ext>
            </a:extLst>
          </p:cNvPr>
          <p:cNvSpPr/>
          <p:nvPr/>
        </p:nvSpPr>
        <p:spPr>
          <a:xfrm>
            <a:off x="3308180" y="3588644"/>
            <a:ext cx="63050" cy="101458"/>
          </a:xfrm>
          <a:custGeom>
            <a:avLst/>
            <a:gdLst/>
            <a:ahLst/>
            <a:cxnLst/>
            <a:rect l="l" t="t" r="r" b="b"/>
            <a:pathLst>
              <a:path w="44450" h="81914">
                <a:moveTo>
                  <a:pt x="0" y="0"/>
                </a:moveTo>
                <a:lnTo>
                  <a:pt x="44030" y="40944"/>
                </a:lnTo>
                <a:lnTo>
                  <a:pt x="0" y="81876"/>
                </a:lnTo>
              </a:path>
            </a:pathLst>
          </a:custGeom>
          <a:ln w="6350">
            <a:solidFill>
              <a:srgbClr val="283338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 rtl="0">
              <a:buNone/>
            </a:pPr>
            <a:endParaRPr lang="en-GB" sz="800" dirty="0">
              <a:latin typeface="+mj-lt"/>
            </a:endParaRPr>
          </a:p>
        </p:txBody>
      </p:sp>
      <p:sp>
        <p:nvSpPr>
          <p:cNvPr id="89" name="object 38">
            <a:extLst>
              <a:ext uri="{FF2B5EF4-FFF2-40B4-BE49-F238E27FC236}">
                <a16:creationId xmlns:a16="http://schemas.microsoft.com/office/drawing/2014/main" id="{2B294210-E8F3-49C2-8AAB-63BE815DC62F}"/>
              </a:ext>
            </a:extLst>
          </p:cNvPr>
          <p:cNvSpPr/>
          <p:nvPr/>
        </p:nvSpPr>
        <p:spPr>
          <a:xfrm>
            <a:off x="4807041" y="2613818"/>
            <a:ext cx="249497" cy="0"/>
          </a:xfrm>
          <a:custGeom>
            <a:avLst/>
            <a:gdLst/>
            <a:ahLst/>
            <a:cxnLst/>
            <a:rect l="l" t="t" r="r" b="b"/>
            <a:pathLst>
              <a:path w="175895">
                <a:moveTo>
                  <a:pt x="0" y="0"/>
                </a:moveTo>
                <a:lnTo>
                  <a:pt x="175336" y="0"/>
                </a:lnTo>
              </a:path>
            </a:pathLst>
          </a:custGeom>
          <a:ln w="6350">
            <a:solidFill>
              <a:srgbClr val="283338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 rtl="0">
              <a:buNone/>
            </a:pPr>
            <a:endParaRPr lang="en-GB" sz="800" dirty="0">
              <a:latin typeface="+mj-lt"/>
            </a:endParaRPr>
          </a:p>
        </p:txBody>
      </p:sp>
      <p:sp>
        <p:nvSpPr>
          <p:cNvPr id="90" name="object 39">
            <a:extLst>
              <a:ext uri="{FF2B5EF4-FFF2-40B4-BE49-F238E27FC236}">
                <a16:creationId xmlns:a16="http://schemas.microsoft.com/office/drawing/2014/main" id="{684DFC41-1232-48DA-8D4F-D1CCB692F0AA}"/>
              </a:ext>
            </a:extLst>
          </p:cNvPr>
          <p:cNvSpPr/>
          <p:nvPr/>
        </p:nvSpPr>
        <p:spPr>
          <a:xfrm>
            <a:off x="4993288" y="2563113"/>
            <a:ext cx="63050" cy="101458"/>
          </a:xfrm>
          <a:custGeom>
            <a:avLst/>
            <a:gdLst/>
            <a:ahLst/>
            <a:cxnLst/>
            <a:rect l="l" t="t" r="r" b="b"/>
            <a:pathLst>
              <a:path w="44450" h="81914">
                <a:moveTo>
                  <a:pt x="0" y="0"/>
                </a:moveTo>
                <a:lnTo>
                  <a:pt x="44030" y="40944"/>
                </a:lnTo>
                <a:lnTo>
                  <a:pt x="0" y="81876"/>
                </a:lnTo>
              </a:path>
            </a:pathLst>
          </a:custGeom>
          <a:ln w="6350">
            <a:solidFill>
              <a:srgbClr val="283338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 rtl="0">
              <a:buNone/>
            </a:pPr>
            <a:endParaRPr lang="en-GB" sz="800" dirty="0">
              <a:latin typeface="+mj-lt"/>
            </a:endParaRPr>
          </a:p>
        </p:txBody>
      </p:sp>
      <p:sp>
        <p:nvSpPr>
          <p:cNvPr id="91" name="object 40">
            <a:extLst>
              <a:ext uri="{FF2B5EF4-FFF2-40B4-BE49-F238E27FC236}">
                <a16:creationId xmlns:a16="http://schemas.microsoft.com/office/drawing/2014/main" id="{C0D2DE53-9E10-4A2D-9BEC-3DFA3649D896}"/>
              </a:ext>
            </a:extLst>
          </p:cNvPr>
          <p:cNvSpPr/>
          <p:nvPr/>
        </p:nvSpPr>
        <p:spPr>
          <a:xfrm>
            <a:off x="4807041" y="3639353"/>
            <a:ext cx="249497" cy="0"/>
          </a:xfrm>
          <a:custGeom>
            <a:avLst/>
            <a:gdLst/>
            <a:ahLst/>
            <a:cxnLst/>
            <a:rect l="l" t="t" r="r" b="b"/>
            <a:pathLst>
              <a:path w="175895">
                <a:moveTo>
                  <a:pt x="0" y="0"/>
                </a:moveTo>
                <a:lnTo>
                  <a:pt x="175336" y="0"/>
                </a:lnTo>
              </a:path>
            </a:pathLst>
          </a:custGeom>
          <a:ln w="6350">
            <a:solidFill>
              <a:srgbClr val="283338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 rtl="0">
              <a:buNone/>
            </a:pPr>
            <a:endParaRPr lang="en-GB" sz="800" dirty="0">
              <a:latin typeface="+mj-lt"/>
            </a:endParaRPr>
          </a:p>
        </p:txBody>
      </p:sp>
      <p:sp>
        <p:nvSpPr>
          <p:cNvPr id="92" name="object 41">
            <a:extLst>
              <a:ext uri="{FF2B5EF4-FFF2-40B4-BE49-F238E27FC236}">
                <a16:creationId xmlns:a16="http://schemas.microsoft.com/office/drawing/2014/main" id="{CFBB852F-7819-4075-9C00-9B169F5D356B}"/>
              </a:ext>
            </a:extLst>
          </p:cNvPr>
          <p:cNvSpPr/>
          <p:nvPr/>
        </p:nvSpPr>
        <p:spPr>
          <a:xfrm>
            <a:off x="4993288" y="3588644"/>
            <a:ext cx="63050" cy="101458"/>
          </a:xfrm>
          <a:custGeom>
            <a:avLst/>
            <a:gdLst/>
            <a:ahLst/>
            <a:cxnLst/>
            <a:rect l="l" t="t" r="r" b="b"/>
            <a:pathLst>
              <a:path w="44450" h="81914">
                <a:moveTo>
                  <a:pt x="0" y="0"/>
                </a:moveTo>
                <a:lnTo>
                  <a:pt x="44030" y="40944"/>
                </a:lnTo>
                <a:lnTo>
                  <a:pt x="0" y="81876"/>
                </a:lnTo>
              </a:path>
            </a:pathLst>
          </a:custGeom>
          <a:ln w="6350">
            <a:solidFill>
              <a:srgbClr val="283338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 rtl="0">
              <a:buNone/>
            </a:pPr>
            <a:endParaRPr lang="en-GB" sz="800" dirty="0">
              <a:latin typeface="+mj-lt"/>
            </a:endParaRPr>
          </a:p>
        </p:txBody>
      </p:sp>
      <p:sp>
        <p:nvSpPr>
          <p:cNvPr id="93" name="object 42">
            <a:extLst>
              <a:ext uri="{FF2B5EF4-FFF2-40B4-BE49-F238E27FC236}">
                <a16:creationId xmlns:a16="http://schemas.microsoft.com/office/drawing/2014/main" id="{99474C23-E63D-4F20-818D-9EB4249A3F14}"/>
              </a:ext>
            </a:extLst>
          </p:cNvPr>
          <p:cNvSpPr/>
          <p:nvPr/>
        </p:nvSpPr>
        <p:spPr>
          <a:xfrm>
            <a:off x="4934702" y="3492293"/>
            <a:ext cx="121596" cy="0"/>
          </a:xfrm>
          <a:custGeom>
            <a:avLst/>
            <a:gdLst/>
            <a:ahLst/>
            <a:cxnLst/>
            <a:rect l="l" t="t" r="r" b="b"/>
            <a:pathLst>
              <a:path w="85725">
                <a:moveTo>
                  <a:pt x="0" y="0"/>
                </a:moveTo>
                <a:lnTo>
                  <a:pt x="85331" y="0"/>
                </a:lnTo>
              </a:path>
            </a:pathLst>
          </a:custGeom>
          <a:ln w="6350">
            <a:solidFill>
              <a:srgbClr val="283338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 rtl="0">
              <a:buNone/>
            </a:pPr>
            <a:endParaRPr lang="en-GB" sz="800" dirty="0">
              <a:latin typeface="+mj-lt"/>
            </a:endParaRPr>
          </a:p>
        </p:txBody>
      </p:sp>
      <p:sp>
        <p:nvSpPr>
          <p:cNvPr id="94" name="object 43">
            <a:extLst>
              <a:ext uri="{FF2B5EF4-FFF2-40B4-BE49-F238E27FC236}">
                <a16:creationId xmlns:a16="http://schemas.microsoft.com/office/drawing/2014/main" id="{BED5DEE1-107B-4740-B924-A455CB50145A}"/>
              </a:ext>
            </a:extLst>
          </p:cNvPr>
          <p:cNvSpPr/>
          <p:nvPr/>
        </p:nvSpPr>
        <p:spPr>
          <a:xfrm>
            <a:off x="4993288" y="3441584"/>
            <a:ext cx="63050" cy="101458"/>
          </a:xfrm>
          <a:custGeom>
            <a:avLst/>
            <a:gdLst/>
            <a:ahLst/>
            <a:cxnLst/>
            <a:rect l="l" t="t" r="r" b="b"/>
            <a:pathLst>
              <a:path w="44450" h="81914">
                <a:moveTo>
                  <a:pt x="0" y="0"/>
                </a:moveTo>
                <a:lnTo>
                  <a:pt x="44030" y="40944"/>
                </a:lnTo>
                <a:lnTo>
                  <a:pt x="0" y="81876"/>
                </a:lnTo>
              </a:path>
            </a:pathLst>
          </a:custGeom>
          <a:ln w="6350">
            <a:solidFill>
              <a:srgbClr val="283338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 rtl="0">
              <a:buNone/>
            </a:pPr>
            <a:endParaRPr lang="en-GB" sz="800" dirty="0">
              <a:latin typeface="+mj-lt"/>
            </a:endParaRPr>
          </a:p>
        </p:txBody>
      </p:sp>
      <p:sp>
        <p:nvSpPr>
          <p:cNvPr id="95" name="object 44">
            <a:extLst>
              <a:ext uri="{FF2B5EF4-FFF2-40B4-BE49-F238E27FC236}">
                <a16:creationId xmlns:a16="http://schemas.microsoft.com/office/drawing/2014/main" id="{5C636630-FFB0-4947-B75A-6C28583A605B}"/>
              </a:ext>
            </a:extLst>
          </p:cNvPr>
          <p:cNvSpPr/>
          <p:nvPr/>
        </p:nvSpPr>
        <p:spPr>
          <a:xfrm>
            <a:off x="4807057" y="2614336"/>
            <a:ext cx="132404" cy="881656"/>
          </a:xfrm>
          <a:custGeom>
            <a:avLst/>
            <a:gdLst/>
            <a:ahLst/>
            <a:cxnLst/>
            <a:rect l="l" t="t" r="r" b="b"/>
            <a:pathLst>
              <a:path w="93345" h="711835">
                <a:moveTo>
                  <a:pt x="93319" y="711606"/>
                </a:moveTo>
                <a:lnTo>
                  <a:pt x="0" y="0"/>
                </a:lnTo>
              </a:path>
            </a:pathLst>
          </a:custGeom>
          <a:ln w="6350">
            <a:solidFill>
              <a:srgbClr val="283338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 rtl="0">
              <a:buNone/>
            </a:pPr>
            <a:endParaRPr lang="en-GB" sz="800" dirty="0">
              <a:latin typeface="+mj-lt"/>
            </a:endParaRPr>
          </a:p>
        </p:txBody>
      </p:sp>
      <p:sp>
        <p:nvSpPr>
          <p:cNvPr id="96" name="object 45">
            <a:extLst>
              <a:ext uri="{FF2B5EF4-FFF2-40B4-BE49-F238E27FC236}">
                <a16:creationId xmlns:a16="http://schemas.microsoft.com/office/drawing/2014/main" id="{1C8E1178-847B-4915-889A-2AB8ACC2E0D8}"/>
              </a:ext>
            </a:extLst>
          </p:cNvPr>
          <p:cNvSpPr/>
          <p:nvPr/>
        </p:nvSpPr>
        <p:spPr>
          <a:xfrm>
            <a:off x="6517678" y="3492293"/>
            <a:ext cx="249497" cy="0"/>
          </a:xfrm>
          <a:custGeom>
            <a:avLst/>
            <a:gdLst/>
            <a:ahLst/>
            <a:cxnLst/>
            <a:rect l="l" t="t" r="r" b="b"/>
            <a:pathLst>
              <a:path w="175895">
                <a:moveTo>
                  <a:pt x="0" y="0"/>
                </a:moveTo>
                <a:lnTo>
                  <a:pt x="175336" y="0"/>
                </a:lnTo>
              </a:path>
            </a:pathLst>
          </a:custGeom>
          <a:ln w="6350">
            <a:solidFill>
              <a:srgbClr val="283338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 rtl="0">
              <a:buNone/>
            </a:pPr>
            <a:endParaRPr lang="en-GB" sz="800" dirty="0">
              <a:latin typeface="+mj-lt"/>
            </a:endParaRPr>
          </a:p>
        </p:txBody>
      </p:sp>
      <p:sp>
        <p:nvSpPr>
          <p:cNvPr id="97" name="object 46">
            <a:extLst>
              <a:ext uri="{FF2B5EF4-FFF2-40B4-BE49-F238E27FC236}">
                <a16:creationId xmlns:a16="http://schemas.microsoft.com/office/drawing/2014/main" id="{7B57D113-8A20-4C80-B589-3BC99A586639}"/>
              </a:ext>
            </a:extLst>
          </p:cNvPr>
          <p:cNvSpPr/>
          <p:nvPr/>
        </p:nvSpPr>
        <p:spPr>
          <a:xfrm>
            <a:off x="6703925" y="3441584"/>
            <a:ext cx="63050" cy="101458"/>
          </a:xfrm>
          <a:custGeom>
            <a:avLst/>
            <a:gdLst/>
            <a:ahLst/>
            <a:cxnLst/>
            <a:rect l="l" t="t" r="r" b="b"/>
            <a:pathLst>
              <a:path w="44450" h="81914">
                <a:moveTo>
                  <a:pt x="0" y="0"/>
                </a:moveTo>
                <a:lnTo>
                  <a:pt x="44030" y="40944"/>
                </a:lnTo>
                <a:lnTo>
                  <a:pt x="0" y="81876"/>
                </a:lnTo>
              </a:path>
            </a:pathLst>
          </a:custGeom>
          <a:ln w="6350">
            <a:solidFill>
              <a:srgbClr val="283338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 rtl="0">
              <a:buNone/>
            </a:pPr>
            <a:endParaRPr lang="en-GB" sz="800" dirty="0">
              <a:latin typeface="+mj-lt"/>
            </a:endParaRPr>
          </a:p>
        </p:txBody>
      </p:sp>
      <p:sp>
        <p:nvSpPr>
          <p:cNvPr id="98" name="object 47">
            <a:extLst>
              <a:ext uri="{FF2B5EF4-FFF2-40B4-BE49-F238E27FC236}">
                <a16:creationId xmlns:a16="http://schemas.microsoft.com/office/drawing/2014/main" id="{1EB20899-22EA-4444-B702-ACD4C528E837}"/>
              </a:ext>
            </a:extLst>
          </p:cNvPr>
          <p:cNvSpPr/>
          <p:nvPr/>
        </p:nvSpPr>
        <p:spPr>
          <a:xfrm>
            <a:off x="6517678" y="5166511"/>
            <a:ext cx="249497" cy="0"/>
          </a:xfrm>
          <a:custGeom>
            <a:avLst/>
            <a:gdLst/>
            <a:ahLst/>
            <a:cxnLst/>
            <a:rect l="l" t="t" r="r" b="b"/>
            <a:pathLst>
              <a:path w="175895">
                <a:moveTo>
                  <a:pt x="0" y="0"/>
                </a:moveTo>
                <a:lnTo>
                  <a:pt x="175336" y="0"/>
                </a:lnTo>
              </a:path>
            </a:pathLst>
          </a:custGeom>
          <a:ln w="6350">
            <a:solidFill>
              <a:srgbClr val="283338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 rtl="0">
              <a:buNone/>
            </a:pPr>
            <a:endParaRPr lang="en-GB" sz="800" dirty="0">
              <a:latin typeface="+mj-lt"/>
            </a:endParaRPr>
          </a:p>
        </p:txBody>
      </p:sp>
      <p:sp>
        <p:nvSpPr>
          <p:cNvPr id="99" name="object 48">
            <a:extLst>
              <a:ext uri="{FF2B5EF4-FFF2-40B4-BE49-F238E27FC236}">
                <a16:creationId xmlns:a16="http://schemas.microsoft.com/office/drawing/2014/main" id="{9264BD6D-DDAE-429D-B4DA-3EC927DC370A}"/>
              </a:ext>
            </a:extLst>
          </p:cNvPr>
          <p:cNvSpPr/>
          <p:nvPr/>
        </p:nvSpPr>
        <p:spPr>
          <a:xfrm>
            <a:off x="6703925" y="5115805"/>
            <a:ext cx="63050" cy="101458"/>
          </a:xfrm>
          <a:custGeom>
            <a:avLst/>
            <a:gdLst/>
            <a:ahLst/>
            <a:cxnLst/>
            <a:rect l="l" t="t" r="r" b="b"/>
            <a:pathLst>
              <a:path w="44450" h="81914">
                <a:moveTo>
                  <a:pt x="0" y="0"/>
                </a:moveTo>
                <a:lnTo>
                  <a:pt x="44030" y="40944"/>
                </a:lnTo>
                <a:lnTo>
                  <a:pt x="0" y="81876"/>
                </a:lnTo>
              </a:path>
            </a:pathLst>
          </a:custGeom>
          <a:ln w="6350">
            <a:solidFill>
              <a:srgbClr val="283338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 rtl="0">
              <a:buNone/>
            </a:pPr>
            <a:endParaRPr lang="en-GB" sz="800" dirty="0">
              <a:latin typeface="+mj-lt"/>
            </a:endParaRPr>
          </a:p>
        </p:txBody>
      </p:sp>
      <p:sp>
        <p:nvSpPr>
          <p:cNvPr id="100" name="object 49">
            <a:extLst>
              <a:ext uri="{FF2B5EF4-FFF2-40B4-BE49-F238E27FC236}">
                <a16:creationId xmlns:a16="http://schemas.microsoft.com/office/drawing/2014/main" id="{90F799FE-ACB1-4A73-B85C-2F9EDCB0F39E}"/>
              </a:ext>
            </a:extLst>
          </p:cNvPr>
          <p:cNvSpPr/>
          <p:nvPr/>
        </p:nvSpPr>
        <p:spPr>
          <a:xfrm>
            <a:off x="6645339" y="3786420"/>
            <a:ext cx="121596" cy="0"/>
          </a:xfrm>
          <a:custGeom>
            <a:avLst/>
            <a:gdLst/>
            <a:ahLst/>
            <a:cxnLst/>
            <a:rect l="l" t="t" r="r" b="b"/>
            <a:pathLst>
              <a:path w="85725">
                <a:moveTo>
                  <a:pt x="0" y="0"/>
                </a:moveTo>
                <a:lnTo>
                  <a:pt x="85331" y="0"/>
                </a:lnTo>
              </a:path>
            </a:pathLst>
          </a:custGeom>
          <a:ln w="6350">
            <a:solidFill>
              <a:srgbClr val="283338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 rtl="0">
              <a:buNone/>
            </a:pPr>
            <a:endParaRPr lang="en-GB" sz="800" dirty="0">
              <a:latin typeface="+mj-lt"/>
            </a:endParaRPr>
          </a:p>
        </p:txBody>
      </p:sp>
      <p:sp>
        <p:nvSpPr>
          <p:cNvPr id="101" name="object 50">
            <a:extLst>
              <a:ext uri="{FF2B5EF4-FFF2-40B4-BE49-F238E27FC236}">
                <a16:creationId xmlns:a16="http://schemas.microsoft.com/office/drawing/2014/main" id="{A1BDB387-F198-4684-BE50-F02207388024}"/>
              </a:ext>
            </a:extLst>
          </p:cNvPr>
          <p:cNvSpPr/>
          <p:nvPr/>
        </p:nvSpPr>
        <p:spPr>
          <a:xfrm>
            <a:off x="6703925" y="3735713"/>
            <a:ext cx="63050" cy="101458"/>
          </a:xfrm>
          <a:custGeom>
            <a:avLst/>
            <a:gdLst/>
            <a:ahLst/>
            <a:cxnLst/>
            <a:rect l="l" t="t" r="r" b="b"/>
            <a:pathLst>
              <a:path w="44450" h="81914">
                <a:moveTo>
                  <a:pt x="0" y="0"/>
                </a:moveTo>
                <a:lnTo>
                  <a:pt x="44030" y="40944"/>
                </a:lnTo>
                <a:lnTo>
                  <a:pt x="0" y="81876"/>
                </a:lnTo>
              </a:path>
            </a:pathLst>
          </a:custGeom>
          <a:ln w="6350">
            <a:solidFill>
              <a:srgbClr val="283338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 rtl="0">
              <a:buNone/>
            </a:pPr>
            <a:endParaRPr lang="en-GB" sz="800" dirty="0">
              <a:latin typeface="+mj-lt"/>
            </a:endParaRPr>
          </a:p>
        </p:txBody>
      </p:sp>
      <p:sp>
        <p:nvSpPr>
          <p:cNvPr id="102" name="object 51">
            <a:extLst>
              <a:ext uri="{FF2B5EF4-FFF2-40B4-BE49-F238E27FC236}">
                <a16:creationId xmlns:a16="http://schemas.microsoft.com/office/drawing/2014/main" id="{1DAD952C-6427-49BE-93E5-7392E0875919}"/>
              </a:ext>
            </a:extLst>
          </p:cNvPr>
          <p:cNvSpPr/>
          <p:nvPr/>
        </p:nvSpPr>
        <p:spPr>
          <a:xfrm>
            <a:off x="6516556" y="3783254"/>
            <a:ext cx="132404" cy="1383438"/>
          </a:xfrm>
          <a:custGeom>
            <a:avLst/>
            <a:gdLst/>
            <a:ahLst/>
            <a:cxnLst/>
            <a:rect l="l" t="t" r="r" b="b"/>
            <a:pathLst>
              <a:path w="93345" h="1116964">
                <a:moveTo>
                  <a:pt x="93281" y="0"/>
                </a:moveTo>
                <a:lnTo>
                  <a:pt x="0" y="1116545"/>
                </a:lnTo>
              </a:path>
            </a:pathLst>
          </a:custGeom>
          <a:ln w="6350">
            <a:solidFill>
              <a:srgbClr val="283338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 rtl="0">
              <a:buNone/>
            </a:pPr>
            <a:endParaRPr lang="en-GB" sz="800" dirty="0">
              <a:latin typeface="+mj-lt"/>
            </a:endParaRPr>
          </a:p>
        </p:txBody>
      </p:sp>
      <p:sp>
        <p:nvSpPr>
          <p:cNvPr id="103" name="object 52">
            <a:extLst>
              <a:ext uri="{FF2B5EF4-FFF2-40B4-BE49-F238E27FC236}">
                <a16:creationId xmlns:a16="http://schemas.microsoft.com/office/drawing/2014/main" id="{F5E9D30F-DCA6-4075-8881-7E47A68F1819}"/>
              </a:ext>
            </a:extLst>
          </p:cNvPr>
          <p:cNvSpPr/>
          <p:nvPr/>
        </p:nvSpPr>
        <p:spPr>
          <a:xfrm>
            <a:off x="6645339" y="3639353"/>
            <a:ext cx="121596" cy="0"/>
          </a:xfrm>
          <a:custGeom>
            <a:avLst/>
            <a:gdLst/>
            <a:ahLst/>
            <a:cxnLst/>
            <a:rect l="l" t="t" r="r" b="b"/>
            <a:pathLst>
              <a:path w="85725">
                <a:moveTo>
                  <a:pt x="0" y="0"/>
                </a:moveTo>
                <a:lnTo>
                  <a:pt x="85331" y="0"/>
                </a:lnTo>
              </a:path>
            </a:pathLst>
          </a:custGeom>
          <a:ln w="6350">
            <a:solidFill>
              <a:srgbClr val="283338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 rtl="0">
              <a:buNone/>
            </a:pPr>
            <a:endParaRPr lang="en-GB" sz="800" dirty="0">
              <a:latin typeface="+mj-lt"/>
            </a:endParaRPr>
          </a:p>
        </p:txBody>
      </p:sp>
      <p:sp>
        <p:nvSpPr>
          <p:cNvPr id="104" name="object 53">
            <a:extLst>
              <a:ext uri="{FF2B5EF4-FFF2-40B4-BE49-F238E27FC236}">
                <a16:creationId xmlns:a16="http://schemas.microsoft.com/office/drawing/2014/main" id="{5CCD9A2A-1F2F-45DC-9AF0-F69F34FEB6E4}"/>
              </a:ext>
            </a:extLst>
          </p:cNvPr>
          <p:cNvSpPr/>
          <p:nvPr/>
        </p:nvSpPr>
        <p:spPr>
          <a:xfrm>
            <a:off x="6703925" y="3588644"/>
            <a:ext cx="63050" cy="101458"/>
          </a:xfrm>
          <a:custGeom>
            <a:avLst/>
            <a:gdLst/>
            <a:ahLst/>
            <a:cxnLst/>
            <a:rect l="l" t="t" r="r" b="b"/>
            <a:pathLst>
              <a:path w="44450" h="81914">
                <a:moveTo>
                  <a:pt x="0" y="0"/>
                </a:moveTo>
                <a:lnTo>
                  <a:pt x="44030" y="40944"/>
                </a:lnTo>
                <a:lnTo>
                  <a:pt x="0" y="81876"/>
                </a:lnTo>
              </a:path>
            </a:pathLst>
          </a:custGeom>
          <a:ln w="6350">
            <a:solidFill>
              <a:srgbClr val="283338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 rtl="0">
              <a:buNone/>
            </a:pPr>
            <a:endParaRPr lang="en-GB" sz="800" dirty="0">
              <a:latin typeface="+mj-lt"/>
            </a:endParaRPr>
          </a:p>
        </p:txBody>
      </p:sp>
      <p:sp>
        <p:nvSpPr>
          <p:cNvPr id="105" name="object 54">
            <a:extLst>
              <a:ext uri="{FF2B5EF4-FFF2-40B4-BE49-F238E27FC236}">
                <a16:creationId xmlns:a16="http://schemas.microsoft.com/office/drawing/2014/main" id="{D0FC8BC5-F154-48E9-9334-27FAE38425CB}"/>
              </a:ext>
            </a:extLst>
          </p:cNvPr>
          <p:cNvSpPr/>
          <p:nvPr/>
        </p:nvSpPr>
        <p:spPr>
          <a:xfrm>
            <a:off x="6516527" y="3638137"/>
            <a:ext cx="132404" cy="848623"/>
          </a:xfrm>
          <a:custGeom>
            <a:avLst/>
            <a:gdLst/>
            <a:ahLst/>
            <a:cxnLst/>
            <a:rect l="l" t="t" r="r" b="b"/>
            <a:pathLst>
              <a:path w="93345" h="685164">
                <a:moveTo>
                  <a:pt x="93319" y="0"/>
                </a:moveTo>
                <a:lnTo>
                  <a:pt x="0" y="684542"/>
                </a:lnTo>
              </a:path>
            </a:pathLst>
          </a:custGeom>
          <a:ln w="6349">
            <a:solidFill>
              <a:srgbClr val="283338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 rtl="0">
              <a:buNone/>
            </a:pPr>
            <a:endParaRPr lang="en-GB" sz="800" dirty="0">
              <a:latin typeface="+mj-lt"/>
            </a:endParaRPr>
          </a:p>
        </p:txBody>
      </p:sp>
      <p:sp>
        <p:nvSpPr>
          <p:cNvPr id="106" name="object 55">
            <a:extLst>
              <a:ext uri="{FF2B5EF4-FFF2-40B4-BE49-F238E27FC236}">
                <a16:creationId xmlns:a16="http://schemas.microsoft.com/office/drawing/2014/main" id="{02A50340-A283-405A-8D7A-21E63DA2C77F}"/>
              </a:ext>
            </a:extLst>
          </p:cNvPr>
          <p:cNvSpPr/>
          <p:nvPr/>
        </p:nvSpPr>
        <p:spPr>
          <a:xfrm>
            <a:off x="8228317" y="3639353"/>
            <a:ext cx="249497" cy="0"/>
          </a:xfrm>
          <a:custGeom>
            <a:avLst/>
            <a:gdLst/>
            <a:ahLst/>
            <a:cxnLst/>
            <a:rect l="l" t="t" r="r" b="b"/>
            <a:pathLst>
              <a:path w="175895">
                <a:moveTo>
                  <a:pt x="0" y="0"/>
                </a:moveTo>
                <a:lnTo>
                  <a:pt x="175336" y="0"/>
                </a:lnTo>
              </a:path>
            </a:pathLst>
          </a:custGeom>
          <a:ln w="6350">
            <a:solidFill>
              <a:srgbClr val="283338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 rtl="0">
              <a:buNone/>
            </a:pPr>
            <a:endParaRPr lang="en-GB" sz="800" dirty="0">
              <a:latin typeface="+mj-lt"/>
            </a:endParaRPr>
          </a:p>
        </p:txBody>
      </p:sp>
      <p:sp>
        <p:nvSpPr>
          <p:cNvPr id="107" name="object 56">
            <a:extLst>
              <a:ext uri="{FF2B5EF4-FFF2-40B4-BE49-F238E27FC236}">
                <a16:creationId xmlns:a16="http://schemas.microsoft.com/office/drawing/2014/main" id="{A868756A-C7D4-44CE-BDC2-8CC8D1D17438}"/>
              </a:ext>
            </a:extLst>
          </p:cNvPr>
          <p:cNvSpPr/>
          <p:nvPr/>
        </p:nvSpPr>
        <p:spPr>
          <a:xfrm>
            <a:off x="8414565" y="3588644"/>
            <a:ext cx="63050" cy="101458"/>
          </a:xfrm>
          <a:custGeom>
            <a:avLst/>
            <a:gdLst/>
            <a:ahLst/>
            <a:cxnLst/>
            <a:rect l="l" t="t" r="r" b="b"/>
            <a:pathLst>
              <a:path w="44450" h="81914">
                <a:moveTo>
                  <a:pt x="0" y="0"/>
                </a:moveTo>
                <a:lnTo>
                  <a:pt x="44030" y="40944"/>
                </a:lnTo>
                <a:lnTo>
                  <a:pt x="0" y="81876"/>
                </a:lnTo>
              </a:path>
            </a:pathLst>
          </a:custGeom>
          <a:ln w="6350">
            <a:solidFill>
              <a:srgbClr val="283338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 rtl="0">
              <a:buNone/>
            </a:pPr>
            <a:endParaRPr lang="en-GB" sz="800" dirty="0">
              <a:latin typeface="+mj-lt"/>
            </a:endParaRPr>
          </a:p>
        </p:txBody>
      </p:sp>
      <p:sp>
        <p:nvSpPr>
          <p:cNvPr id="108" name="object 57">
            <a:extLst>
              <a:ext uri="{FF2B5EF4-FFF2-40B4-BE49-F238E27FC236}">
                <a16:creationId xmlns:a16="http://schemas.microsoft.com/office/drawing/2014/main" id="{9CD7676B-D7A7-4EDD-97D6-9635D6D5DAAA}"/>
              </a:ext>
            </a:extLst>
          </p:cNvPr>
          <p:cNvSpPr/>
          <p:nvPr/>
        </p:nvSpPr>
        <p:spPr>
          <a:xfrm>
            <a:off x="4807041" y="5846480"/>
            <a:ext cx="249497" cy="0"/>
          </a:xfrm>
          <a:custGeom>
            <a:avLst/>
            <a:gdLst/>
            <a:ahLst/>
            <a:cxnLst/>
            <a:rect l="l" t="t" r="r" b="b"/>
            <a:pathLst>
              <a:path w="175895">
                <a:moveTo>
                  <a:pt x="0" y="0"/>
                </a:moveTo>
                <a:lnTo>
                  <a:pt x="175336" y="0"/>
                </a:lnTo>
              </a:path>
            </a:pathLst>
          </a:custGeom>
          <a:ln w="6350">
            <a:solidFill>
              <a:srgbClr val="283338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 rtl="0">
              <a:buNone/>
            </a:pPr>
            <a:endParaRPr lang="en-GB" sz="800" dirty="0">
              <a:latin typeface="+mj-lt"/>
            </a:endParaRPr>
          </a:p>
        </p:txBody>
      </p:sp>
      <p:sp>
        <p:nvSpPr>
          <p:cNvPr id="109" name="object 58">
            <a:extLst>
              <a:ext uri="{FF2B5EF4-FFF2-40B4-BE49-F238E27FC236}">
                <a16:creationId xmlns:a16="http://schemas.microsoft.com/office/drawing/2014/main" id="{EC515EE1-1603-4A26-A0F2-EF4245034259}"/>
              </a:ext>
            </a:extLst>
          </p:cNvPr>
          <p:cNvSpPr/>
          <p:nvPr/>
        </p:nvSpPr>
        <p:spPr>
          <a:xfrm>
            <a:off x="4993288" y="5795773"/>
            <a:ext cx="63050" cy="101458"/>
          </a:xfrm>
          <a:custGeom>
            <a:avLst/>
            <a:gdLst/>
            <a:ahLst/>
            <a:cxnLst/>
            <a:rect l="l" t="t" r="r" b="b"/>
            <a:pathLst>
              <a:path w="44450" h="81914">
                <a:moveTo>
                  <a:pt x="0" y="0"/>
                </a:moveTo>
                <a:lnTo>
                  <a:pt x="44030" y="40944"/>
                </a:lnTo>
                <a:lnTo>
                  <a:pt x="0" y="81876"/>
                </a:lnTo>
              </a:path>
            </a:pathLst>
          </a:custGeom>
          <a:ln w="6350">
            <a:solidFill>
              <a:srgbClr val="283338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 rtl="0">
              <a:buNone/>
            </a:pPr>
            <a:endParaRPr lang="en-GB" sz="800" dirty="0">
              <a:latin typeface="+mj-lt"/>
            </a:endParaRPr>
          </a:p>
        </p:txBody>
      </p:sp>
      <p:sp>
        <p:nvSpPr>
          <p:cNvPr id="110" name="object 59">
            <a:extLst>
              <a:ext uri="{FF2B5EF4-FFF2-40B4-BE49-F238E27FC236}">
                <a16:creationId xmlns:a16="http://schemas.microsoft.com/office/drawing/2014/main" id="{CC678622-67F8-4E0F-B7D0-FCFA403A2C26}"/>
              </a:ext>
            </a:extLst>
          </p:cNvPr>
          <p:cNvSpPr/>
          <p:nvPr/>
        </p:nvSpPr>
        <p:spPr>
          <a:xfrm>
            <a:off x="4934702" y="5166511"/>
            <a:ext cx="121596" cy="0"/>
          </a:xfrm>
          <a:custGeom>
            <a:avLst/>
            <a:gdLst/>
            <a:ahLst/>
            <a:cxnLst/>
            <a:rect l="l" t="t" r="r" b="b"/>
            <a:pathLst>
              <a:path w="85725">
                <a:moveTo>
                  <a:pt x="0" y="0"/>
                </a:moveTo>
                <a:lnTo>
                  <a:pt x="85331" y="0"/>
                </a:lnTo>
              </a:path>
            </a:pathLst>
          </a:custGeom>
          <a:ln w="6350">
            <a:solidFill>
              <a:srgbClr val="283338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 rtl="0">
              <a:buNone/>
            </a:pPr>
            <a:endParaRPr lang="en-GB" sz="800" dirty="0">
              <a:latin typeface="+mj-lt"/>
            </a:endParaRPr>
          </a:p>
        </p:txBody>
      </p:sp>
      <p:sp>
        <p:nvSpPr>
          <p:cNvPr id="111" name="object 60">
            <a:extLst>
              <a:ext uri="{FF2B5EF4-FFF2-40B4-BE49-F238E27FC236}">
                <a16:creationId xmlns:a16="http://schemas.microsoft.com/office/drawing/2014/main" id="{1026548E-9948-45E8-A9E8-90439A4CF3D5}"/>
              </a:ext>
            </a:extLst>
          </p:cNvPr>
          <p:cNvSpPr/>
          <p:nvPr/>
        </p:nvSpPr>
        <p:spPr>
          <a:xfrm>
            <a:off x="4993288" y="5115805"/>
            <a:ext cx="63050" cy="101458"/>
          </a:xfrm>
          <a:custGeom>
            <a:avLst/>
            <a:gdLst/>
            <a:ahLst/>
            <a:cxnLst/>
            <a:rect l="l" t="t" r="r" b="b"/>
            <a:pathLst>
              <a:path w="44450" h="81914">
                <a:moveTo>
                  <a:pt x="0" y="0"/>
                </a:moveTo>
                <a:lnTo>
                  <a:pt x="44030" y="40944"/>
                </a:lnTo>
                <a:lnTo>
                  <a:pt x="0" y="81876"/>
                </a:lnTo>
              </a:path>
            </a:pathLst>
          </a:custGeom>
          <a:ln w="6350">
            <a:solidFill>
              <a:srgbClr val="283338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 rtl="0">
              <a:buNone/>
            </a:pPr>
            <a:endParaRPr lang="en-GB" sz="800" dirty="0">
              <a:latin typeface="+mj-lt"/>
            </a:endParaRPr>
          </a:p>
        </p:txBody>
      </p:sp>
      <p:sp>
        <p:nvSpPr>
          <p:cNvPr id="112" name="object 61">
            <a:extLst>
              <a:ext uri="{FF2B5EF4-FFF2-40B4-BE49-F238E27FC236}">
                <a16:creationId xmlns:a16="http://schemas.microsoft.com/office/drawing/2014/main" id="{10B3F6C8-EBEE-497A-A130-D327E89E7C0B}"/>
              </a:ext>
            </a:extLst>
          </p:cNvPr>
          <p:cNvSpPr/>
          <p:nvPr/>
        </p:nvSpPr>
        <p:spPr>
          <a:xfrm>
            <a:off x="4807029" y="5163591"/>
            <a:ext cx="133305" cy="683460"/>
          </a:xfrm>
          <a:custGeom>
            <a:avLst/>
            <a:gdLst/>
            <a:ahLst/>
            <a:cxnLst/>
            <a:rect l="l" t="t" r="r" b="b"/>
            <a:pathLst>
              <a:path w="93979" h="551814">
                <a:moveTo>
                  <a:pt x="93357" y="0"/>
                </a:moveTo>
                <a:lnTo>
                  <a:pt x="0" y="551332"/>
                </a:lnTo>
              </a:path>
            </a:pathLst>
          </a:custGeom>
          <a:ln w="6349">
            <a:solidFill>
              <a:srgbClr val="283338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 rtl="0">
              <a:buNone/>
            </a:pPr>
            <a:endParaRPr lang="en-GB" sz="800" dirty="0">
              <a:latin typeface="+mj-lt"/>
            </a:endParaRPr>
          </a:p>
        </p:txBody>
      </p:sp>
      <p:sp>
        <p:nvSpPr>
          <p:cNvPr id="113" name="object 62">
            <a:extLst>
              <a:ext uri="{FF2B5EF4-FFF2-40B4-BE49-F238E27FC236}">
                <a16:creationId xmlns:a16="http://schemas.microsoft.com/office/drawing/2014/main" id="{3C620A5A-6461-454B-BFF0-7DE5BDDD19DD}"/>
              </a:ext>
            </a:extLst>
          </p:cNvPr>
          <p:cNvSpPr/>
          <p:nvPr/>
        </p:nvSpPr>
        <p:spPr>
          <a:xfrm>
            <a:off x="6517678" y="5846480"/>
            <a:ext cx="249497" cy="0"/>
          </a:xfrm>
          <a:custGeom>
            <a:avLst/>
            <a:gdLst/>
            <a:ahLst/>
            <a:cxnLst/>
            <a:rect l="l" t="t" r="r" b="b"/>
            <a:pathLst>
              <a:path w="175895">
                <a:moveTo>
                  <a:pt x="0" y="0"/>
                </a:moveTo>
                <a:lnTo>
                  <a:pt x="175336" y="0"/>
                </a:lnTo>
              </a:path>
            </a:pathLst>
          </a:custGeom>
          <a:ln w="6350">
            <a:solidFill>
              <a:srgbClr val="283338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 rtl="0">
              <a:buNone/>
            </a:pPr>
            <a:endParaRPr lang="en-GB" sz="800" dirty="0">
              <a:latin typeface="+mj-lt"/>
            </a:endParaRPr>
          </a:p>
        </p:txBody>
      </p:sp>
      <p:sp>
        <p:nvSpPr>
          <p:cNvPr id="114" name="object 63">
            <a:extLst>
              <a:ext uri="{FF2B5EF4-FFF2-40B4-BE49-F238E27FC236}">
                <a16:creationId xmlns:a16="http://schemas.microsoft.com/office/drawing/2014/main" id="{B728F155-2D38-4447-AA9E-4F5D84691D06}"/>
              </a:ext>
            </a:extLst>
          </p:cNvPr>
          <p:cNvSpPr/>
          <p:nvPr/>
        </p:nvSpPr>
        <p:spPr>
          <a:xfrm>
            <a:off x="6703925" y="5795773"/>
            <a:ext cx="63050" cy="101458"/>
          </a:xfrm>
          <a:custGeom>
            <a:avLst/>
            <a:gdLst/>
            <a:ahLst/>
            <a:cxnLst/>
            <a:rect l="l" t="t" r="r" b="b"/>
            <a:pathLst>
              <a:path w="44450" h="81914">
                <a:moveTo>
                  <a:pt x="0" y="0"/>
                </a:moveTo>
                <a:lnTo>
                  <a:pt x="44030" y="40944"/>
                </a:lnTo>
                <a:lnTo>
                  <a:pt x="0" y="81876"/>
                </a:lnTo>
              </a:path>
            </a:pathLst>
          </a:custGeom>
          <a:ln w="6350">
            <a:solidFill>
              <a:srgbClr val="283338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 rtl="0">
              <a:buNone/>
            </a:pPr>
            <a:endParaRPr lang="en-GB" sz="800" dirty="0">
              <a:latin typeface="+mj-lt"/>
            </a:endParaRPr>
          </a:p>
        </p:txBody>
      </p:sp>
      <p:sp>
        <p:nvSpPr>
          <p:cNvPr id="115" name="object 64">
            <a:extLst>
              <a:ext uri="{FF2B5EF4-FFF2-40B4-BE49-F238E27FC236}">
                <a16:creationId xmlns:a16="http://schemas.microsoft.com/office/drawing/2014/main" id="{B54A2DC4-F21D-4528-A9E8-46B9C3D5C6D4}"/>
              </a:ext>
            </a:extLst>
          </p:cNvPr>
          <p:cNvSpPr/>
          <p:nvPr/>
        </p:nvSpPr>
        <p:spPr>
          <a:xfrm>
            <a:off x="8228317" y="5166511"/>
            <a:ext cx="249497" cy="0"/>
          </a:xfrm>
          <a:custGeom>
            <a:avLst/>
            <a:gdLst/>
            <a:ahLst/>
            <a:cxnLst/>
            <a:rect l="l" t="t" r="r" b="b"/>
            <a:pathLst>
              <a:path w="175895">
                <a:moveTo>
                  <a:pt x="0" y="0"/>
                </a:moveTo>
                <a:lnTo>
                  <a:pt x="175336" y="0"/>
                </a:lnTo>
              </a:path>
            </a:pathLst>
          </a:custGeom>
          <a:ln w="6350">
            <a:solidFill>
              <a:srgbClr val="283338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 rtl="0">
              <a:buNone/>
            </a:pPr>
            <a:endParaRPr lang="en-GB" sz="800" dirty="0">
              <a:latin typeface="+mj-lt"/>
            </a:endParaRPr>
          </a:p>
        </p:txBody>
      </p:sp>
      <p:sp>
        <p:nvSpPr>
          <p:cNvPr id="116" name="object 65">
            <a:extLst>
              <a:ext uri="{FF2B5EF4-FFF2-40B4-BE49-F238E27FC236}">
                <a16:creationId xmlns:a16="http://schemas.microsoft.com/office/drawing/2014/main" id="{F8FF06B1-E308-43AD-B3D2-27537DC4CC2C}"/>
              </a:ext>
            </a:extLst>
          </p:cNvPr>
          <p:cNvSpPr/>
          <p:nvPr/>
        </p:nvSpPr>
        <p:spPr>
          <a:xfrm>
            <a:off x="8414565" y="5115805"/>
            <a:ext cx="63050" cy="101458"/>
          </a:xfrm>
          <a:custGeom>
            <a:avLst/>
            <a:gdLst/>
            <a:ahLst/>
            <a:cxnLst/>
            <a:rect l="l" t="t" r="r" b="b"/>
            <a:pathLst>
              <a:path w="44450" h="81914">
                <a:moveTo>
                  <a:pt x="0" y="0"/>
                </a:moveTo>
                <a:lnTo>
                  <a:pt x="44030" y="40944"/>
                </a:lnTo>
                <a:lnTo>
                  <a:pt x="0" y="81876"/>
                </a:lnTo>
              </a:path>
            </a:pathLst>
          </a:custGeom>
          <a:ln w="6350">
            <a:solidFill>
              <a:srgbClr val="283338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 rtl="0">
              <a:buNone/>
            </a:pPr>
            <a:endParaRPr lang="en-GB" sz="800" dirty="0">
              <a:latin typeface="+mj-lt"/>
            </a:endParaRPr>
          </a:p>
        </p:txBody>
      </p:sp>
      <p:sp>
        <p:nvSpPr>
          <p:cNvPr id="117" name="object 66">
            <a:extLst>
              <a:ext uri="{FF2B5EF4-FFF2-40B4-BE49-F238E27FC236}">
                <a16:creationId xmlns:a16="http://schemas.microsoft.com/office/drawing/2014/main" id="{C9BAD8BF-0B1B-4AB6-AB24-94AFF9E00017}"/>
              </a:ext>
            </a:extLst>
          </p:cNvPr>
          <p:cNvSpPr/>
          <p:nvPr/>
        </p:nvSpPr>
        <p:spPr>
          <a:xfrm>
            <a:off x="8355979" y="5313571"/>
            <a:ext cx="121596" cy="0"/>
          </a:xfrm>
          <a:custGeom>
            <a:avLst/>
            <a:gdLst/>
            <a:ahLst/>
            <a:cxnLst/>
            <a:rect l="l" t="t" r="r" b="b"/>
            <a:pathLst>
              <a:path w="85725">
                <a:moveTo>
                  <a:pt x="0" y="0"/>
                </a:moveTo>
                <a:lnTo>
                  <a:pt x="85331" y="0"/>
                </a:lnTo>
              </a:path>
            </a:pathLst>
          </a:custGeom>
          <a:ln w="6350">
            <a:solidFill>
              <a:srgbClr val="283338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 rtl="0">
              <a:buNone/>
            </a:pPr>
            <a:endParaRPr lang="en-GB" sz="800" dirty="0">
              <a:latin typeface="+mj-lt"/>
            </a:endParaRPr>
          </a:p>
        </p:txBody>
      </p:sp>
      <p:sp>
        <p:nvSpPr>
          <p:cNvPr id="118" name="object 67">
            <a:extLst>
              <a:ext uri="{FF2B5EF4-FFF2-40B4-BE49-F238E27FC236}">
                <a16:creationId xmlns:a16="http://schemas.microsoft.com/office/drawing/2014/main" id="{DBC1B61F-EB03-4B82-8361-01FD6B00C7D3}"/>
              </a:ext>
            </a:extLst>
          </p:cNvPr>
          <p:cNvSpPr/>
          <p:nvPr/>
        </p:nvSpPr>
        <p:spPr>
          <a:xfrm>
            <a:off x="8414565" y="5262864"/>
            <a:ext cx="63050" cy="101458"/>
          </a:xfrm>
          <a:custGeom>
            <a:avLst/>
            <a:gdLst/>
            <a:ahLst/>
            <a:cxnLst/>
            <a:rect l="l" t="t" r="r" b="b"/>
            <a:pathLst>
              <a:path w="44450" h="81914">
                <a:moveTo>
                  <a:pt x="0" y="0"/>
                </a:moveTo>
                <a:lnTo>
                  <a:pt x="44030" y="40944"/>
                </a:lnTo>
                <a:lnTo>
                  <a:pt x="0" y="81876"/>
                </a:lnTo>
              </a:path>
            </a:pathLst>
          </a:custGeom>
          <a:ln w="6350">
            <a:solidFill>
              <a:srgbClr val="283338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 rtl="0">
              <a:buNone/>
            </a:pPr>
            <a:endParaRPr lang="en-GB" sz="800" dirty="0">
              <a:latin typeface="+mj-lt"/>
            </a:endParaRPr>
          </a:p>
        </p:txBody>
      </p:sp>
      <p:sp>
        <p:nvSpPr>
          <p:cNvPr id="119" name="object 68">
            <a:extLst>
              <a:ext uri="{FF2B5EF4-FFF2-40B4-BE49-F238E27FC236}">
                <a16:creationId xmlns:a16="http://schemas.microsoft.com/office/drawing/2014/main" id="{640FA943-4D95-4E2D-88A9-288ADE3D2C28}"/>
              </a:ext>
            </a:extLst>
          </p:cNvPr>
          <p:cNvSpPr/>
          <p:nvPr/>
        </p:nvSpPr>
        <p:spPr>
          <a:xfrm>
            <a:off x="8227101" y="5311122"/>
            <a:ext cx="133305" cy="534813"/>
          </a:xfrm>
          <a:custGeom>
            <a:avLst/>
            <a:gdLst/>
            <a:ahLst/>
            <a:cxnLst/>
            <a:rect l="l" t="t" r="r" b="b"/>
            <a:pathLst>
              <a:path w="93979" h="431800">
                <a:moveTo>
                  <a:pt x="93408" y="0"/>
                </a:moveTo>
                <a:lnTo>
                  <a:pt x="0" y="431558"/>
                </a:lnTo>
              </a:path>
            </a:pathLst>
          </a:custGeom>
          <a:ln w="6350">
            <a:solidFill>
              <a:srgbClr val="283338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 rtl="0">
              <a:buNone/>
            </a:pPr>
            <a:endParaRPr lang="en-GB" sz="800" dirty="0">
              <a:latin typeface="+mj-lt"/>
            </a:endParaRPr>
          </a:p>
        </p:txBody>
      </p:sp>
      <p:sp>
        <p:nvSpPr>
          <p:cNvPr id="70" name="object 70">
            <a:extLst>
              <a:ext uri="{FF2B5EF4-FFF2-40B4-BE49-F238E27FC236}">
                <a16:creationId xmlns:a16="http://schemas.microsoft.com/office/drawing/2014/main" id="{0C6CBB5C-1266-483B-A737-82911EF70B83}"/>
              </a:ext>
            </a:extLst>
          </p:cNvPr>
          <p:cNvSpPr/>
          <p:nvPr/>
        </p:nvSpPr>
        <p:spPr>
          <a:xfrm>
            <a:off x="3121932" y="2613818"/>
            <a:ext cx="249496" cy="0"/>
          </a:xfrm>
          <a:custGeom>
            <a:avLst/>
            <a:gdLst/>
            <a:ahLst/>
            <a:cxnLst/>
            <a:rect l="l" t="t" r="r" b="b"/>
            <a:pathLst>
              <a:path w="175894">
                <a:moveTo>
                  <a:pt x="0" y="0"/>
                </a:moveTo>
                <a:lnTo>
                  <a:pt x="175336" y="0"/>
                </a:lnTo>
              </a:path>
            </a:pathLst>
          </a:custGeom>
          <a:ln w="6350">
            <a:solidFill>
              <a:srgbClr val="283338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 rtl="0">
              <a:buNone/>
            </a:pPr>
            <a:endParaRPr lang="en-GB" sz="800" dirty="0">
              <a:latin typeface="+mj-lt"/>
            </a:endParaRPr>
          </a:p>
        </p:txBody>
      </p:sp>
      <p:sp>
        <p:nvSpPr>
          <p:cNvPr id="71" name="object 71">
            <a:extLst>
              <a:ext uri="{FF2B5EF4-FFF2-40B4-BE49-F238E27FC236}">
                <a16:creationId xmlns:a16="http://schemas.microsoft.com/office/drawing/2014/main" id="{D09ACD6A-2EA8-47DC-9311-28E4AEEB2C37}"/>
              </a:ext>
            </a:extLst>
          </p:cNvPr>
          <p:cNvSpPr/>
          <p:nvPr/>
        </p:nvSpPr>
        <p:spPr>
          <a:xfrm>
            <a:off x="3308179" y="2563113"/>
            <a:ext cx="63050" cy="101458"/>
          </a:xfrm>
          <a:custGeom>
            <a:avLst/>
            <a:gdLst/>
            <a:ahLst/>
            <a:cxnLst/>
            <a:rect l="l" t="t" r="r" b="b"/>
            <a:pathLst>
              <a:path w="44450" h="81914">
                <a:moveTo>
                  <a:pt x="0" y="0"/>
                </a:moveTo>
                <a:lnTo>
                  <a:pt x="44030" y="40944"/>
                </a:lnTo>
                <a:lnTo>
                  <a:pt x="0" y="81876"/>
                </a:lnTo>
              </a:path>
            </a:pathLst>
          </a:custGeom>
          <a:ln w="6350">
            <a:solidFill>
              <a:srgbClr val="283338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 rtl="0">
              <a:buNone/>
            </a:pPr>
            <a:endParaRPr lang="en-GB" sz="800" dirty="0">
              <a:latin typeface="+mj-lt"/>
            </a:endParaRPr>
          </a:p>
        </p:txBody>
      </p:sp>
      <p:sp>
        <p:nvSpPr>
          <p:cNvPr id="68" name="object 73">
            <a:extLst>
              <a:ext uri="{FF2B5EF4-FFF2-40B4-BE49-F238E27FC236}">
                <a16:creationId xmlns:a16="http://schemas.microsoft.com/office/drawing/2014/main" id="{176721A3-7C4B-4F60-B523-B9E86E3FBECB}"/>
              </a:ext>
            </a:extLst>
          </p:cNvPr>
          <p:cNvSpPr/>
          <p:nvPr/>
        </p:nvSpPr>
        <p:spPr>
          <a:xfrm>
            <a:off x="4807041" y="4486535"/>
            <a:ext cx="249496" cy="0"/>
          </a:xfrm>
          <a:custGeom>
            <a:avLst/>
            <a:gdLst/>
            <a:ahLst/>
            <a:cxnLst/>
            <a:rect l="l" t="t" r="r" b="b"/>
            <a:pathLst>
              <a:path w="175895">
                <a:moveTo>
                  <a:pt x="0" y="0"/>
                </a:moveTo>
                <a:lnTo>
                  <a:pt x="175336" y="0"/>
                </a:lnTo>
              </a:path>
            </a:pathLst>
          </a:custGeom>
          <a:ln w="6350">
            <a:solidFill>
              <a:srgbClr val="283338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 rtl="0">
              <a:buNone/>
            </a:pPr>
            <a:endParaRPr lang="en-GB" sz="800" dirty="0">
              <a:latin typeface="+mj-lt"/>
            </a:endParaRPr>
          </a:p>
        </p:txBody>
      </p:sp>
      <p:sp>
        <p:nvSpPr>
          <p:cNvPr id="69" name="object 74">
            <a:extLst>
              <a:ext uri="{FF2B5EF4-FFF2-40B4-BE49-F238E27FC236}">
                <a16:creationId xmlns:a16="http://schemas.microsoft.com/office/drawing/2014/main" id="{331CCFB5-5C8C-4FD9-BCDB-75ACBA1D7B3D}"/>
              </a:ext>
            </a:extLst>
          </p:cNvPr>
          <p:cNvSpPr/>
          <p:nvPr/>
        </p:nvSpPr>
        <p:spPr>
          <a:xfrm>
            <a:off x="4993288" y="4435826"/>
            <a:ext cx="63050" cy="101458"/>
          </a:xfrm>
          <a:custGeom>
            <a:avLst/>
            <a:gdLst/>
            <a:ahLst/>
            <a:cxnLst/>
            <a:rect l="l" t="t" r="r" b="b"/>
            <a:pathLst>
              <a:path w="44450" h="81914">
                <a:moveTo>
                  <a:pt x="0" y="0"/>
                </a:moveTo>
                <a:lnTo>
                  <a:pt x="44030" y="40944"/>
                </a:lnTo>
                <a:lnTo>
                  <a:pt x="0" y="81876"/>
                </a:lnTo>
              </a:path>
            </a:pathLst>
          </a:custGeom>
          <a:ln w="6350">
            <a:solidFill>
              <a:srgbClr val="283338"/>
            </a:solidFill>
          </a:ln>
        </p:spPr>
        <p:txBody>
          <a:bodyPr wrap="square" lIns="0" tIns="0" rIns="0" bIns="0" rtlCol="0" anchor="ctr">
            <a:noAutofit/>
          </a:bodyPr>
          <a:lstStyle/>
          <a:p>
            <a:pPr algn="ctr" rtl="0">
              <a:buNone/>
            </a:pPr>
            <a:endParaRPr lang="en-GB" sz="800" dirty="0">
              <a:latin typeface="+mj-lt"/>
            </a:endParaRPr>
          </a:p>
        </p:txBody>
      </p:sp>
      <p:sp>
        <p:nvSpPr>
          <p:cNvPr id="24" name="object 75">
            <a:extLst>
              <a:ext uri="{FF2B5EF4-FFF2-40B4-BE49-F238E27FC236}">
                <a16:creationId xmlns:a16="http://schemas.microsoft.com/office/drawing/2014/main" id="{669F834D-E575-4D72-B580-83802D3EA948}"/>
              </a:ext>
            </a:extLst>
          </p:cNvPr>
          <p:cNvSpPr txBox="1"/>
          <p:nvPr/>
        </p:nvSpPr>
        <p:spPr>
          <a:xfrm>
            <a:off x="287887" y="2234812"/>
            <a:ext cx="1149306" cy="401897"/>
          </a:xfrm>
          <a:prstGeom prst="rect">
            <a:avLst/>
          </a:prstGeom>
          <a:solidFill>
            <a:srgbClr val="C39CA0"/>
          </a:solidFill>
        </p:spPr>
        <p:txBody>
          <a:bodyPr vert="horz" wrap="square" lIns="108000" tIns="0" rIns="108000" bIns="0" rtlCol="0" anchor="ctr">
            <a:noAutofit/>
          </a:bodyPr>
          <a:lstStyle>
            <a:defPPr>
              <a:defRPr lang="en-US"/>
            </a:defPPr>
            <a:lvl1pPr algn="ctr">
              <a:lnSpc>
                <a:spcPct val="100000"/>
              </a:lnSpc>
              <a:spcBef>
                <a:spcPts val="10"/>
              </a:spcBef>
              <a:buNone/>
              <a:defRPr sz="800" b="1">
                <a:solidFill>
                  <a:schemeClr val="bg1"/>
                </a:solidFill>
                <a:latin typeface="+mj-lt"/>
                <a:cs typeface="Times New Roman"/>
              </a:defRPr>
            </a:lvl1pPr>
          </a:lstStyle>
          <a:p>
            <a:pPr rtl="0"/>
            <a:r>
              <a:rPr lang="en-GB" b="0" dirty="0">
                <a:solidFill>
                  <a:srgbClr val="1F2023"/>
                </a:solidFill>
              </a:rPr>
              <a:t>Technical deliverable 1</a:t>
            </a:r>
          </a:p>
        </p:txBody>
      </p:sp>
      <p:sp>
        <p:nvSpPr>
          <p:cNvPr id="25" name="object 76">
            <a:extLst>
              <a:ext uri="{FF2B5EF4-FFF2-40B4-BE49-F238E27FC236}">
                <a16:creationId xmlns:a16="http://schemas.microsoft.com/office/drawing/2014/main" id="{61C96A6A-0C4A-4F34-B6F3-2EE1F2DAE21B}"/>
              </a:ext>
            </a:extLst>
          </p:cNvPr>
          <p:cNvSpPr txBox="1"/>
          <p:nvPr/>
        </p:nvSpPr>
        <p:spPr>
          <a:xfrm>
            <a:off x="287887" y="4798647"/>
            <a:ext cx="1149306" cy="401897"/>
          </a:xfrm>
          <a:prstGeom prst="rect">
            <a:avLst/>
          </a:prstGeom>
          <a:solidFill>
            <a:srgbClr val="F6E6BD"/>
          </a:solidFill>
        </p:spPr>
        <p:txBody>
          <a:bodyPr vert="horz" wrap="square" lIns="108000" tIns="0" rIns="108000" bIns="0" rtlCol="0" anchor="ctr">
            <a:noAutofit/>
          </a:bodyPr>
          <a:lstStyle>
            <a:defPPr>
              <a:defRPr lang="en-US"/>
            </a:defPPr>
            <a:lvl1pPr algn="ctr">
              <a:lnSpc>
                <a:spcPct val="100000"/>
              </a:lnSpc>
              <a:spcBef>
                <a:spcPts val="10"/>
              </a:spcBef>
              <a:buNone/>
              <a:defRPr sz="800" b="1">
                <a:latin typeface="+mj-lt"/>
                <a:cs typeface="Times New Roman"/>
              </a:defRPr>
            </a:lvl1pPr>
          </a:lstStyle>
          <a:p>
            <a:pPr rtl="0"/>
            <a:r>
              <a:rPr lang="en-GB" b="0" dirty="0"/>
              <a:t>Change deliverable 1</a:t>
            </a:r>
          </a:p>
        </p:txBody>
      </p:sp>
      <p:sp>
        <p:nvSpPr>
          <p:cNvPr id="26" name="object 77">
            <a:extLst>
              <a:ext uri="{FF2B5EF4-FFF2-40B4-BE49-F238E27FC236}">
                <a16:creationId xmlns:a16="http://schemas.microsoft.com/office/drawing/2014/main" id="{F61512A7-A704-42D2-913C-689FBDA5BAF4}"/>
              </a:ext>
            </a:extLst>
          </p:cNvPr>
          <p:cNvSpPr txBox="1"/>
          <p:nvPr/>
        </p:nvSpPr>
        <p:spPr>
          <a:xfrm>
            <a:off x="287887" y="2747589"/>
            <a:ext cx="1149306" cy="401897"/>
          </a:xfrm>
          <a:prstGeom prst="rect">
            <a:avLst/>
          </a:prstGeom>
          <a:solidFill>
            <a:srgbClr val="C39CA0"/>
          </a:solidFill>
        </p:spPr>
        <p:txBody>
          <a:bodyPr vert="horz" wrap="square" lIns="108000" tIns="0" rIns="108000" bIns="0" rtlCol="0" anchor="ctr">
            <a:noAutofit/>
          </a:bodyPr>
          <a:lstStyle>
            <a:defPPr>
              <a:defRPr lang="en-US"/>
            </a:defPPr>
            <a:lvl1pPr algn="ctr">
              <a:lnSpc>
                <a:spcPct val="100000"/>
              </a:lnSpc>
              <a:spcBef>
                <a:spcPts val="10"/>
              </a:spcBef>
              <a:buNone/>
              <a:defRPr sz="800" b="1">
                <a:latin typeface="+mj-lt"/>
                <a:cs typeface="Times New Roman"/>
              </a:defRPr>
            </a:lvl1pPr>
          </a:lstStyle>
          <a:p>
            <a:pPr rtl="0"/>
            <a:r>
              <a:rPr lang="en-GB" b="0" dirty="0"/>
              <a:t>Technical deliverable 2</a:t>
            </a:r>
          </a:p>
        </p:txBody>
      </p:sp>
      <p:sp>
        <p:nvSpPr>
          <p:cNvPr id="27" name="object 78">
            <a:extLst>
              <a:ext uri="{FF2B5EF4-FFF2-40B4-BE49-F238E27FC236}">
                <a16:creationId xmlns:a16="http://schemas.microsoft.com/office/drawing/2014/main" id="{3CE0E152-6B28-49C0-8DC1-BB2CB598E611}"/>
              </a:ext>
            </a:extLst>
          </p:cNvPr>
          <p:cNvSpPr txBox="1"/>
          <p:nvPr/>
        </p:nvSpPr>
        <p:spPr>
          <a:xfrm>
            <a:off x="287887" y="5311422"/>
            <a:ext cx="1149306" cy="401897"/>
          </a:xfrm>
          <a:prstGeom prst="rect">
            <a:avLst/>
          </a:prstGeom>
          <a:solidFill>
            <a:srgbClr val="F6E6BD"/>
          </a:solidFill>
        </p:spPr>
        <p:txBody>
          <a:bodyPr vert="horz" wrap="square" lIns="108000" tIns="0" rIns="108000" bIns="0" rtlCol="0" anchor="ctr">
            <a:noAutofit/>
          </a:bodyPr>
          <a:lstStyle>
            <a:defPPr>
              <a:defRPr lang="en-US"/>
            </a:defPPr>
            <a:lvl1pPr algn="ctr">
              <a:lnSpc>
                <a:spcPct val="100000"/>
              </a:lnSpc>
              <a:spcBef>
                <a:spcPts val="10"/>
              </a:spcBef>
              <a:buNone/>
              <a:defRPr sz="800" b="1">
                <a:latin typeface="+mj-lt"/>
                <a:cs typeface="Times New Roman"/>
              </a:defRPr>
            </a:lvl1pPr>
          </a:lstStyle>
          <a:p>
            <a:pPr rtl="0"/>
            <a:r>
              <a:rPr lang="en-GB" b="0" dirty="0"/>
              <a:t>Change deliverable 2</a:t>
            </a:r>
          </a:p>
        </p:txBody>
      </p:sp>
      <p:sp>
        <p:nvSpPr>
          <p:cNvPr id="28" name="object 79">
            <a:extLst>
              <a:ext uri="{FF2B5EF4-FFF2-40B4-BE49-F238E27FC236}">
                <a16:creationId xmlns:a16="http://schemas.microsoft.com/office/drawing/2014/main" id="{04EB46E1-9A67-47A8-B693-569F2A3968FB}"/>
              </a:ext>
            </a:extLst>
          </p:cNvPr>
          <p:cNvSpPr txBox="1"/>
          <p:nvPr/>
        </p:nvSpPr>
        <p:spPr>
          <a:xfrm>
            <a:off x="287887" y="3773109"/>
            <a:ext cx="1149306" cy="401897"/>
          </a:xfrm>
          <a:prstGeom prst="rect">
            <a:avLst/>
          </a:prstGeom>
          <a:solidFill>
            <a:srgbClr val="EEEBE8"/>
          </a:solidFill>
        </p:spPr>
        <p:txBody>
          <a:bodyPr vert="horz" wrap="square" lIns="108000" tIns="0" rIns="108000" bIns="0" rtlCol="0" anchor="ctr">
            <a:noAutofit/>
          </a:bodyPr>
          <a:lstStyle>
            <a:defPPr>
              <a:defRPr lang="en-US"/>
            </a:defPPr>
            <a:lvl1pPr algn="ctr">
              <a:lnSpc>
                <a:spcPct val="100000"/>
              </a:lnSpc>
              <a:spcBef>
                <a:spcPts val="10"/>
              </a:spcBef>
              <a:buNone/>
              <a:defRPr sz="800" b="1">
                <a:latin typeface="+mj-lt"/>
                <a:cs typeface="Times New Roman"/>
              </a:defRPr>
            </a:lvl1pPr>
          </a:lstStyle>
          <a:p>
            <a:pPr rtl="0"/>
            <a:r>
              <a:rPr lang="en-GB" b="0" dirty="0"/>
              <a:t>Training deliverable 1 </a:t>
            </a:r>
            <a:br>
              <a:rPr lang="en-GB" b="0" dirty="0"/>
            </a:br>
            <a:endParaRPr lang="en-GB" b="0" dirty="0"/>
          </a:p>
        </p:txBody>
      </p:sp>
      <p:sp>
        <p:nvSpPr>
          <p:cNvPr id="32" name="object 83">
            <a:extLst>
              <a:ext uri="{FF2B5EF4-FFF2-40B4-BE49-F238E27FC236}">
                <a16:creationId xmlns:a16="http://schemas.microsoft.com/office/drawing/2014/main" id="{7ACBD97C-E359-4E6A-A2E1-824E7FAC95D0}"/>
              </a:ext>
            </a:extLst>
          </p:cNvPr>
          <p:cNvSpPr txBox="1"/>
          <p:nvPr/>
        </p:nvSpPr>
        <p:spPr>
          <a:xfrm>
            <a:off x="287887" y="5824184"/>
            <a:ext cx="1149306" cy="401897"/>
          </a:xfrm>
          <a:prstGeom prst="rect">
            <a:avLst/>
          </a:prstGeom>
          <a:solidFill>
            <a:srgbClr val="F6E6BD"/>
          </a:solidFill>
        </p:spPr>
        <p:txBody>
          <a:bodyPr vert="horz" wrap="square" lIns="108000" tIns="0" rIns="108000" bIns="0" rtlCol="0" anchor="ctr">
            <a:noAutofit/>
          </a:bodyPr>
          <a:lstStyle>
            <a:defPPr>
              <a:defRPr lang="en-US"/>
            </a:defPPr>
            <a:lvl1pPr algn="ctr">
              <a:lnSpc>
                <a:spcPct val="100000"/>
              </a:lnSpc>
              <a:spcBef>
                <a:spcPts val="10"/>
              </a:spcBef>
              <a:buNone/>
              <a:defRPr sz="800" b="1">
                <a:latin typeface="+mj-lt"/>
                <a:cs typeface="Times New Roman"/>
              </a:defRPr>
            </a:lvl1pPr>
          </a:lstStyle>
          <a:p>
            <a:pPr rtl="0"/>
            <a:r>
              <a:rPr lang="en-GB" b="0" dirty="0"/>
              <a:t>Change deliverable 3</a:t>
            </a:r>
          </a:p>
        </p:txBody>
      </p:sp>
      <p:sp>
        <p:nvSpPr>
          <p:cNvPr id="33" name="object 84">
            <a:extLst>
              <a:ext uri="{FF2B5EF4-FFF2-40B4-BE49-F238E27FC236}">
                <a16:creationId xmlns:a16="http://schemas.microsoft.com/office/drawing/2014/main" id="{FACF7614-3E6E-4BAD-93B2-C8770F380F60}"/>
              </a:ext>
            </a:extLst>
          </p:cNvPr>
          <p:cNvSpPr/>
          <p:nvPr/>
        </p:nvSpPr>
        <p:spPr>
          <a:xfrm>
            <a:off x="287887" y="4285885"/>
            <a:ext cx="1149306" cy="401897"/>
          </a:xfrm>
          <a:custGeom>
            <a:avLst/>
            <a:gdLst/>
            <a:ahLst/>
            <a:cxnLst/>
            <a:rect l="l" t="t" r="r" b="b"/>
            <a:pathLst>
              <a:path w="810260" h="324485">
                <a:moveTo>
                  <a:pt x="809993" y="0"/>
                </a:moveTo>
                <a:lnTo>
                  <a:pt x="0" y="0"/>
                </a:lnTo>
                <a:lnTo>
                  <a:pt x="0" y="324002"/>
                </a:lnTo>
                <a:lnTo>
                  <a:pt x="809993" y="324002"/>
                </a:lnTo>
                <a:lnTo>
                  <a:pt x="809993" y="0"/>
                </a:lnTo>
                <a:close/>
              </a:path>
            </a:pathLst>
          </a:custGeom>
          <a:solidFill>
            <a:srgbClr val="EEEBE8"/>
          </a:solidFill>
        </p:spPr>
        <p:txBody>
          <a:bodyPr vert="horz" wrap="square" lIns="108000" tIns="0" rIns="108000" bIns="0" rtlCol="0" anchor="ctr">
            <a:noAutofit/>
          </a:bodyPr>
          <a:lstStyle/>
          <a:p>
            <a:pPr algn="ctr" rtl="0">
              <a:lnSpc>
                <a:spcPct val="100000"/>
              </a:lnSpc>
              <a:spcBef>
                <a:spcPts val="10"/>
              </a:spcBef>
              <a:buNone/>
            </a:pPr>
            <a:r>
              <a:rPr lang="en-GB" sz="800" dirty="0">
                <a:latin typeface="+mj-lt"/>
                <a:cs typeface="Times New Roman"/>
              </a:rPr>
              <a:t>Training deliverable 2 </a:t>
            </a:r>
            <a:br>
              <a:rPr lang="en-GB" sz="800" dirty="0">
                <a:latin typeface="+mj-lt"/>
                <a:cs typeface="Times New Roman"/>
              </a:rPr>
            </a:br>
            <a:endParaRPr lang="en-GB" sz="800" dirty="0">
              <a:latin typeface="+mj-lt"/>
              <a:cs typeface="Times New Roman"/>
            </a:endParaRPr>
          </a:p>
        </p:txBody>
      </p:sp>
      <p:sp>
        <p:nvSpPr>
          <p:cNvPr id="34" name="object 85">
            <a:extLst>
              <a:ext uri="{FF2B5EF4-FFF2-40B4-BE49-F238E27FC236}">
                <a16:creationId xmlns:a16="http://schemas.microsoft.com/office/drawing/2014/main" id="{3C57DADA-62E3-4958-8AC6-1CAB55C2C2D4}"/>
              </a:ext>
            </a:extLst>
          </p:cNvPr>
          <p:cNvSpPr txBox="1"/>
          <p:nvPr/>
        </p:nvSpPr>
        <p:spPr>
          <a:xfrm>
            <a:off x="346470" y="4313145"/>
            <a:ext cx="698949" cy="297292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marR="5080" algn="ctr" rtl="0">
              <a:lnSpc>
                <a:spcPct val="100000"/>
              </a:lnSpc>
              <a:spcBef>
                <a:spcPts val="100"/>
              </a:spcBef>
              <a:buNone/>
            </a:pPr>
            <a:endParaRPr lang="en-GB" sz="800" dirty="0">
              <a:latin typeface="+mj-lt"/>
              <a:cs typeface="Calibri"/>
            </a:endParaRPr>
          </a:p>
        </p:txBody>
      </p:sp>
      <p:sp>
        <p:nvSpPr>
          <p:cNvPr id="35" name="object 86">
            <a:extLst>
              <a:ext uri="{FF2B5EF4-FFF2-40B4-BE49-F238E27FC236}">
                <a16:creationId xmlns:a16="http://schemas.microsoft.com/office/drawing/2014/main" id="{42CC3692-BE7F-4F9C-B292-88B0C65E67D2}"/>
              </a:ext>
            </a:extLst>
          </p:cNvPr>
          <p:cNvSpPr txBox="1"/>
          <p:nvPr/>
        </p:nvSpPr>
        <p:spPr>
          <a:xfrm>
            <a:off x="1692147" y="2234812"/>
            <a:ext cx="1430327" cy="758176"/>
          </a:xfrm>
          <a:prstGeom prst="rect">
            <a:avLst/>
          </a:prstGeom>
          <a:solidFill>
            <a:srgbClr val="EEEBE8"/>
          </a:solidFill>
        </p:spPr>
        <p:txBody>
          <a:bodyPr vert="horz" wrap="square" lIns="36000" tIns="0" rIns="36000" bIns="0" rtlCol="0" anchor="ctr">
            <a:noAutofit/>
          </a:bodyPr>
          <a:lstStyle>
            <a:defPPr>
              <a:defRPr lang="en-US"/>
            </a:defPPr>
            <a:lvl1pPr algn="ctr">
              <a:lnSpc>
                <a:spcPct val="100000"/>
              </a:lnSpc>
              <a:spcAft>
                <a:spcPts val="0"/>
              </a:spcAft>
              <a:buNone/>
              <a:defRPr sz="800">
                <a:latin typeface="+mj-lt"/>
                <a:cs typeface="Times New Roman"/>
              </a:defRPr>
            </a:lvl1pPr>
          </a:lstStyle>
          <a:p>
            <a:pPr rtl="0"/>
            <a:r>
              <a:rPr lang="en-GB" b="1" dirty="0"/>
              <a:t>Employee group 1 can:</a:t>
            </a:r>
            <a:br>
              <a:rPr lang="en-GB" b="1" dirty="0"/>
            </a:br>
            <a:r>
              <a:rPr lang="en-GB" b="1" dirty="0"/>
              <a:t> </a:t>
            </a:r>
            <a:r>
              <a:rPr lang="en-GB" dirty="0"/>
              <a:t>(List of 2-3 most important new competencies)</a:t>
            </a:r>
          </a:p>
        </p:txBody>
      </p:sp>
      <p:sp>
        <p:nvSpPr>
          <p:cNvPr id="36" name="object 87">
            <a:extLst>
              <a:ext uri="{FF2B5EF4-FFF2-40B4-BE49-F238E27FC236}">
                <a16:creationId xmlns:a16="http://schemas.microsoft.com/office/drawing/2014/main" id="{F54D358F-5F2E-4C34-A100-34A3F25EF726}"/>
              </a:ext>
            </a:extLst>
          </p:cNvPr>
          <p:cNvSpPr/>
          <p:nvPr/>
        </p:nvSpPr>
        <p:spPr>
          <a:xfrm>
            <a:off x="1692147" y="5467478"/>
            <a:ext cx="1430327" cy="758176"/>
          </a:xfrm>
          <a:custGeom>
            <a:avLst/>
            <a:gdLst/>
            <a:ahLst/>
            <a:cxnLst/>
            <a:rect l="l" t="t" r="r" b="b"/>
            <a:pathLst>
              <a:path w="1008380" h="612139">
                <a:moveTo>
                  <a:pt x="1007999" y="0"/>
                </a:moveTo>
                <a:lnTo>
                  <a:pt x="0" y="0"/>
                </a:lnTo>
                <a:lnTo>
                  <a:pt x="0" y="612000"/>
                </a:lnTo>
                <a:lnTo>
                  <a:pt x="1007999" y="612000"/>
                </a:lnTo>
                <a:lnTo>
                  <a:pt x="1007999" y="0"/>
                </a:lnTo>
                <a:close/>
              </a:path>
            </a:pathLst>
          </a:custGeom>
          <a:solidFill>
            <a:srgbClr val="EEEBE8"/>
          </a:solidFill>
        </p:spPr>
        <p:txBody>
          <a:bodyPr wrap="square" lIns="36000" tIns="0" rIns="36000" bIns="0" rtlCol="0" anchor="ctr">
            <a:noAutofit/>
          </a:bodyPr>
          <a:lstStyle/>
          <a:p>
            <a:pPr algn="ctr" rtl="0"/>
            <a:r>
              <a:rPr lang="en-GB" sz="800" b="1" dirty="0"/>
              <a:t>Employee group 4 can:</a:t>
            </a:r>
          </a:p>
          <a:p>
            <a:pPr algn="ctr" rtl="0"/>
            <a:r>
              <a:rPr lang="en-GB" sz="800" dirty="0"/>
              <a:t>(List of 2-3 most important new competencies)</a:t>
            </a:r>
          </a:p>
        </p:txBody>
      </p:sp>
      <p:sp>
        <p:nvSpPr>
          <p:cNvPr id="37" name="object 88">
            <a:extLst>
              <a:ext uri="{FF2B5EF4-FFF2-40B4-BE49-F238E27FC236}">
                <a16:creationId xmlns:a16="http://schemas.microsoft.com/office/drawing/2014/main" id="{0289F4BF-C705-4EE4-8733-80D65E16961F}"/>
              </a:ext>
            </a:extLst>
          </p:cNvPr>
          <p:cNvSpPr txBox="1"/>
          <p:nvPr/>
        </p:nvSpPr>
        <p:spPr>
          <a:xfrm>
            <a:off x="1750727" y="5494738"/>
            <a:ext cx="1205150" cy="698403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marR="5080" algn="ctr" rtl="0">
              <a:lnSpc>
                <a:spcPct val="100000"/>
              </a:lnSpc>
              <a:spcBef>
                <a:spcPts val="100"/>
              </a:spcBef>
              <a:buNone/>
            </a:pPr>
            <a:endParaRPr lang="en-GB" sz="800" dirty="0">
              <a:latin typeface="+mj-lt"/>
              <a:cs typeface="Calibri"/>
            </a:endParaRPr>
          </a:p>
        </p:txBody>
      </p:sp>
      <p:sp>
        <p:nvSpPr>
          <p:cNvPr id="38" name="object 89">
            <a:extLst>
              <a:ext uri="{FF2B5EF4-FFF2-40B4-BE49-F238E27FC236}">
                <a16:creationId xmlns:a16="http://schemas.microsoft.com/office/drawing/2014/main" id="{09911E30-CDDB-4723-A878-EB90313D90F1}"/>
              </a:ext>
            </a:extLst>
          </p:cNvPr>
          <p:cNvSpPr/>
          <p:nvPr/>
        </p:nvSpPr>
        <p:spPr>
          <a:xfrm>
            <a:off x="1692147" y="4285885"/>
            <a:ext cx="1430327" cy="758176"/>
          </a:xfrm>
          <a:custGeom>
            <a:avLst/>
            <a:gdLst/>
            <a:ahLst/>
            <a:cxnLst/>
            <a:rect l="l" t="t" r="r" b="b"/>
            <a:pathLst>
              <a:path w="1008380" h="612139">
                <a:moveTo>
                  <a:pt x="1007999" y="0"/>
                </a:moveTo>
                <a:lnTo>
                  <a:pt x="0" y="0"/>
                </a:lnTo>
                <a:lnTo>
                  <a:pt x="0" y="612000"/>
                </a:lnTo>
                <a:lnTo>
                  <a:pt x="1007999" y="612000"/>
                </a:lnTo>
                <a:lnTo>
                  <a:pt x="1007999" y="0"/>
                </a:lnTo>
                <a:close/>
              </a:path>
            </a:pathLst>
          </a:custGeom>
          <a:solidFill>
            <a:srgbClr val="EEEBE8"/>
          </a:solidFill>
        </p:spPr>
        <p:txBody>
          <a:bodyPr wrap="square" lIns="36000" tIns="0" rIns="36000" bIns="0" rtlCol="0" anchor="ctr">
            <a:noAutofit/>
          </a:bodyPr>
          <a:lstStyle/>
          <a:p>
            <a:pPr algn="ctr" rtl="0"/>
            <a:r>
              <a:rPr lang="en-GB" sz="800" b="1" dirty="0"/>
              <a:t>Employee group 3 can:</a:t>
            </a:r>
          </a:p>
          <a:p>
            <a:pPr algn="ctr" rtl="0"/>
            <a:r>
              <a:rPr lang="en-GB" sz="800" dirty="0"/>
              <a:t>(List of 2-3 most important new competencies)</a:t>
            </a:r>
          </a:p>
        </p:txBody>
      </p:sp>
      <p:sp>
        <p:nvSpPr>
          <p:cNvPr id="40" name="object 91">
            <a:extLst>
              <a:ext uri="{FF2B5EF4-FFF2-40B4-BE49-F238E27FC236}">
                <a16:creationId xmlns:a16="http://schemas.microsoft.com/office/drawing/2014/main" id="{D76B1D72-DB4A-4FF1-B96D-BEE8E33C7A05}"/>
              </a:ext>
            </a:extLst>
          </p:cNvPr>
          <p:cNvSpPr txBox="1"/>
          <p:nvPr/>
        </p:nvSpPr>
        <p:spPr>
          <a:xfrm>
            <a:off x="1750727" y="4313145"/>
            <a:ext cx="1205150" cy="698403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marR="5080" algn="ctr" rtl="0">
              <a:lnSpc>
                <a:spcPct val="100000"/>
              </a:lnSpc>
              <a:spcBef>
                <a:spcPts val="100"/>
              </a:spcBef>
              <a:buNone/>
            </a:pPr>
            <a:endParaRPr lang="en-GB" sz="800" dirty="0">
              <a:latin typeface="+mj-lt"/>
              <a:cs typeface="Calibri"/>
            </a:endParaRPr>
          </a:p>
        </p:txBody>
      </p:sp>
      <p:sp>
        <p:nvSpPr>
          <p:cNvPr id="41" name="object 92">
            <a:extLst>
              <a:ext uri="{FF2B5EF4-FFF2-40B4-BE49-F238E27FC236}">
                <a16:creationId xmlns:a16="http://schemas.microsoft.com/office/drawing/2014/main" id="{95FE8088-BA62-4786-B793-9E97F0BFDF49}"/>
              </a:ext>
            </a:extLst>
          </p:cNvPr>
          <p:cNvSpPr/>
          <p:nvPr/>
        </p:nvSpPr>
        <p:spPr>
          <a:xfrm>
            <a:off x="1692147" y="3260348"/>
            <a:ext cx="1430327" cy="758176"/>
          </a:xfrm>
          <a:custGeom>
            <a:avLst/>
            <a:gdLst/>
            <a:ahLst/>
            <a:cxnLst/>
            <a:rect l="l" t="t" r="r" b="b"/>
            <a:pathLst>
              <a:path w="1008380" h="612139">
                <a:moveTo>
                  <a:pt x="1007999" y="0"/>
                </a:moveTo>
                <a:lnTo>
                  <a:pt x="0" y="0"/>
                </a:lnTo>
                <a:lnTo>
                  <a:pt x="0" y="612000"/>
                </a:lnTo>
                <a:lnTo>
                  <a:pt x="1007999" y="612000"/>
                </a:lnTo>
                <a:lnTo>
                  <a:pt x="1007999" y="0"/>
                </a:lnTo>
                <a:close/>
              </a:path>
            </a:pathLst>
          </a:custGeom>
          <a:solidFill>
            <a:srgbClr val="EEEBE8"/>
          </a:solidFill>
        </p:spPr>
        <p:txBody>
          <a:bodyPr wrap="square" lIns="36000" tIns="0" rIns="36000" bIns="0" rtlCol="0" anchor="ctr">
            <a:noAutofit/>
          </a:bodyPr>
          <a:lstStyle/>
          <a:p>
            <a:pPr algn="ctr" rtl="0"/>
            <a:r>
              <a:rPr lang="en-GB" sz="800" b="1" dirty="0"/>
              <a:t>Employee group 2 can:</a:t>
            </a:r>
          </a:p>
          <a:p>
            <a:pPr algn="ctr" rtl="0"/>
            <a:r>
              <a:rPr lang="en-GB" sz="800" dirty="0"/>
              <a:t>(List of 2-3 most important new competencies)</a:t>
            </a:r>
          </a:p>
        </p:txBody>
      </p:sp>
      <p:sp>
        <p:nvSpPr>
          <p:cNvPr id="44" name="object 95">
            <a:extLst>
              <a:ext uri="{FF2B5EF4-FFF2-40B4-BE49-F238E27FC236}">
                <a16:creationId xmlns:a16="http://schemas.microsoft.com/office/drawing/2014/main" id="{4E6CFFF3-4E52-4BFA-9419-74DB0944EE01}"/>
              </a:ext>
            </a:extLst>
          </p:cNvPr>
          <p:cNvSpPr/>
          <p:nvPr/>
        </p:nvSpPr>
        <p:spPr>
          <a:xfrm>
            <a:off x="5062351" y="3438710"/>
            <a:ext cx="1455547" cy="401897"/>
          </a:xfrm>
          <a:custGeom>
            <a:avLst/>
            <a:gdLst/>
            <a:ahLst/>
            <a:cxnLst/>
            <a:rect l="l" t="t" r="r" b="b"/>
            <a:pathLst>
              <a:path w="1026160" h="324485">
                <a:moveTo>
                  <a:pt x="1025994" y="0"/>
                </a:moveTo>
                <a:lnTo>
                  <a:pt x="0" y="0"/>
                </a:lnTo>
                <a:lnTo>
                  <a:pt x="0" y="324002"/>
                </a:lnTo>
                <a:lnTo>
                  <a:pt x="1025994" y="324002"/>
                </a:lnTo>
                <a:lnTo>
                  <a:pt x="1025994" y="0"/>
                </a:lnTo>
                <a:close/>
              </a:path>
            </a:pathLst>
          </a:custGeom>
          <a:solidFill>
            <a:srgbClr val="ABB4B4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rtl="0">
              <a:buNone/>
            </a:pPr>
            <a:r>
              <a:rPr lang="en-GB" sz="800" dirty="0">
                <a:solidFill>
                  <a:srgbClr val="231F20"/>
                </a:solidFill>
                <a:latin typeface="+mj-lt"/>
                <a:cs typeface="Calibri"/>
              </a:rPr>
              <a:t>Benefit 4</a:t>
            </a:r>
            <a:endParaRPr lang="en-GB" sz="800" dirty="0">
              <a:latin typeface="+mj-lt"/>
              <a:cs typeface="Calibri"/>
            </a:endParaRPr>
          </a:p>
        </p:txBody>
      </p:sp>
      <p:sp>
        <p:nvSpPr>
          <p:cNvPr id="45" name="object 96">
            <a:extLst>
              <a:ext uri="{FF2B5EF4-FFF2-40B4-BE49-F238E27FC236}">
                <a16:creationId xmlns:a16="http://schemas.microsoft.com/office/drawing/2014/main" id="{D67B3DE5-A579-470C-BD81-B5E17007DC18}"/>
              </a:ext>
            </a:extLst>
          </p:cNvPr>
          <p:cNvSpPr txBox="1"/>
          <p:nvPr/>
        </p:nvSpPr>
        <p:spPr>
          <a:xfrm>
            <a:off x="5120941" y="3556623"/>
            <a:ext cx="573752" cy="16359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 rtl="0">
              <a:lnSpc>
                <a:spcPct val="100000"/>
              </a:lnSpc>
              <a:spcBef>
                <a:spcPts val="100"/>
              </a:spcBef>
              <a:buNone/>
            </a:pPr>
            <a:endParaRPr lang="en-GB" sz="800" dirty="0">
              <a:latin typeface="+mj-lt"/>
              <a:cs typeface="Calibri"/>
            </a:endParaRPr>
          </a:p>
        </p:txBody>
      </p:sp>
      <p:sp>
        <p:nvSpPr>
          <p:cNvPr id="46" name="object 97">
            <a:extLst>
              <a:ext uri="{FF2B5EF4-FFF2-40B4-BE49-F238E27FC236}">
                <a16:creationId xmlns:a16="http://schemas.microsoft.com/office/drawing/2014/main" id="{7F7066C0-D355-4EC8-B68D-C5AEFA04861B}"/>
              </a:ext>
            </a:extLst>
          </p:cNvPr>
          <p:cNvSpPr/>
          <p:nvPr/>
        </p:nvSpPr>
        <p:spPr>
          <a:xfrm>
            <a:off x="6772997" y="3438710"/>
            <a:ext cx="1455547" cy="401897"/>
          </a:xfrm>
          <a:custGeom>
            <a:avLst/>
            <a:gdLst/>
            <a:ahLst/>
            <a:cxnLst/>
            <a:rect l="l" t="t" r="r" b="b"/>
            <a:pathLst>
              <a:path w="1026160" h="324485">
                <a:moveTo>
                  <a:pt x="1025994" y="0"/>
                </a:moveTo>
                <a:lnTo>
                  <a:pt x="0" y="0"/>
                </a:lnTo>
                <a:lnTo>
                  <a:pt x="0" y="324002"/>
                </a:lnTo>
                <a:lnTo>
                  <a:pt x="1025994" y="324002"/>
                </a:lnTo>
                <a:lnTo>
                  <a:pt x="1025994" y="0"/>
                </a:lnTo>
                <a:close/>
              </a:path>
            </a:pathLst>
          </a:custGeom>
          <a:solidFill>
            <a:srgbClr val="ABB4B4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rtl="0">
              <a:buNone/>
            </a:pPr>
            <a:r>
              <a:rPr lang="en-GB" sz="800" dirty="0">
                <a:solidFill>
                  <a:srgbClr val="231F20"/>
                </a:solidFill>
                <a:latin typeface="+mj-lt"/>
                <a:cs typeface="Calibri"/>
              </a:rPr>
              <a:t>Benefit 1</a:t>
            </a:r>
            <a:endParaRPr lang="en-GB" sz="800" dirty="0">
              <a:latin typeface="+mj-lt"/>
              <a:cs typeface="Calibri"/>
            </a:endParaRPr>
          </a:p>
        </p:txBody>
      </p:sp>
      <p:sp>
        <p:nvSpPr>
          <p:cNvPr id="47" name="object 98">
            <a:extLst>
              <a:ext uri="{FF2B5EF4-FFF2-40B4-BE49-F238E27FC236}">
                <a16:creationId xmlns:a16="http://schemas.microsoft.com/office/drawing/2014/main" id="{26DE1D7D-0F9A-493C-B806-D41661BB271B}"/>
              </a:ext>
            </a:extLst>
          </p:cNvPr>
          <p:cNvSpPr txBox="1"/>
          <p:nvPr/>
        </p:nvSpPr>
        <p:spPr>
          <a:xfrm>
            <a:off x="6831580" y="3556623"/>
            <a:ext cx="573752" cy="16359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 rtl="0">
              <a:lnSpc>
                <a:spcPct val="100000"/>
              </a:lnSpc>
              <a:spcBef>
                <a:spcPts val="100"/>
              </a:spcBef>
              <a:buNone/>
            </a:pPr>
            <a:endParaRPr lang="en-GB" sz="800" dirty="0">
              <a:latin typeface="+mj-lt"/>
              <a:cs typeface="Calibri"/>
            </a:endParaRPr>
          </a:p>
        </p:txBody>
      </p:sp>
      <p:sp>
        <p:nvSpPr>
          <p:cNvPr id="48" name="object 99">
            <a:extLst>
              <a:ext uri="{FF2B5EF4-FFF2-40B4-BE49-F238E27FC236}">
                <a16:creationId xmlns:a16="http://schemas.microsoft.com/office/drawing/2014/main" id="{953B994E-2870-423D-948B-22A2281DBD39}"/>
              </a:ext>
            </a:extLst>
          </p:cNvPr>
          <p:cNvSpPr/>
          <p:nvPr/>
        </p:nvSpPr>
        <p:spPr>
          <a:xfrm>
            <a:off x="8483643" y="3438710"/>
            <a:ext cx="1149306" cy="401897"/>
          </a:xfrm>
          <a:custGeom>
            <a:avLst/>
            <a:gdLst/>
            <a:ahLst/>
            <a:cxnLst/>
            <a:rect l="l" t="t" r="r" b="b"/>
            <a:pathLst>
              <a:path w="810259" h="324485">
                <a:moveTo>
                  <a:pt x="809993" y="0"/>
                </a:moveTo>
                <a:lnTo>
                  <a:pt x="0" y="0"/>
                </a:lnTo>
                <a:lnTo>
                  <a:pt x="0" y="324002"/>
                </a:lnTo>
                <a:lnTo>
                  <a:pt x="809993" y="324002"/>
                </a:lnTo>
                <a:lnTo>
                  <a:pt x="809993" y="0"/>
                </a:lnTo>
                <a:close/>
              </a:path>
            </a:pathLst>
          </a:custGeom>
          <a:solidFill>
            <a:srgbClr val="BFCAC7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rtl="0">
              <a:buNone/>
            </a:pPr>
            <a:r>
              <a:rPr lang="en-GB" sz="800" dirty="0">
                <a:solidFill>
                  <a:srgbClr val="231F20"/>
                </a:solidFill>
                <a:latin typeface="+mj-lt"/>
                <a:cs typeface="Calibri"/>
              </a:rPr>
              <a:t>Purpose 1</a:t>
            </a:r>
            <a:endParaRPr lang="en-GB" sz="800" dirty="0">
              <a:latin typeface="+mj-lt"/>
              <a:cs typeface="Calibri"/>
            </a:endParaRPr>
          </a:p>
        </p:txBody>
      </p:sp>
      <p:sp>
        <p:nvSpPr>
          <p:cNvPr id="49" name="object 100">
            <a:extLst>
              <a:ext uri="{FF2B5EF4-FFF2-40B4-BE49-F238E27FC236}">
                <a16:creationId xmlns:a16="http://schemas.microsoft.com/office/drawing/2014/main" id="{272BF382-F6E0-49F1-9436-ADC18863F54C}"/>
              </a:ext>
            </a:extLst>
          </p:cNvPr>
          <p:cNvSpPr txBox="1"/>
          <p:nvPr/>
        </p:nvSpPr>
        <p:spPr>
          <a:xfrm>
            <a:off x="8542219" y="3556623"/>
            <a:ext cx="545830" cy="16359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 rtl="0">
              <a:lnSpc>
                <a:spcPct val="100000"/>
              </a:lnSpc>
              <a:spcBef>
                <a:spcPts val="100"/>
              </a:spcBef>
              <a:buNone/>
            </a:pPr>
            <a:endParaRPr lang="en-GB" sz="800" dirty="0">
              <a:latin typeface="+mj-lt"/>
              <a:cs typeface="Calibri"/>
            </a:endParaRPr>
          </a:p>
        </p:txBody>
      </p:sp>
      <p:sp>
        <p:nvSpPr>
          <p:cNvPr id="50" name="object 101">
            <a:extLst>
              <a:ext uri="{FF2B5EF4-FFF2-40B4-BE49-F238E27FC236}">
                <a16:creationId xmlns:a16="http://schemas.microsoft.com/office/drawing/2014/main" id="{1C5B218C-4E53-4053-8B27-53AADC64F58B}"/>
              </a:ext>
            </a:extLst>
          </p:cNvPr>
          <p:cNvSpPr/>
          <p:nvPr/>
        </p:nvSpPr>
        <p:spPr>
          <a:xfrm>
            <a:off x="5062351" y="5645838"/>
            <a:ext cx="1455547" cy="401897"/>
          </a:xfrm>
          <a:custGeom>
            <a:avLst/>
            <a:gdLst/>
            <a:ahLst/>
            <a:cxnLst/>
            <a:rect l="l" t="t" r="r" b="b"/>
            <a:pathLst>
              <a:path w="1026160" h="324485">
                <a:moveTo>
                  <a:pt x="1025994" y="0"/>
                </a:moveTo>
                <a:lnTo>
                  <a:pt x="0" y="0"/>
                </a:lnTo>
                <a:lnTo>
                  <a:pt x="0" y="324002"/>
                </a:lnTo>
                <a:lnTo>
                  <a:pt x="1025994" y="324002"/>
                </a:lnTo>
                <a:lnTo>
                  <a:pt x="1025994" y="0"/>
                </a:lnTo>
                <a:close/>
              </a:path>
            </a:pathLst>
          </a:custGeom>
          <a:solidFill>
            <a:srgbClr val="ABB4B4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rtl="0">
              <a:buNone/>
            </a:pPr>
            <a:r>
              <a:rPr lang="en-GB" sz="800" dirty="0">
                <a:solidFill>
                  <a:srgbClr val="231F20"/>
                </a:solidFill>
                <a:latin typeface="+mj-lt"/>
                <a:cs typeface="Calibri"/>
              </a:rPr>
              <a:t>Benefit 7</a:t>
            </a:r>
            <a:endParaRPr lang="en-GB" sz="800" dirty="0">
              <a:latin typeface="+mj-lt"/>
              <a:cs typeface="Calibri"/>
            </a:endParaRPr>
          </a:p>
        </p:txBody>
      </p:sp>
      <p:sp>
        <p:nvSpPr>
          <p:cNvPr id="51" name="object 102">
            <a:extLst>
              <a:ext uri="{FF2B5EF4-FFF2-40B4-BE49-F238E27FC236}">
                <a16:creationId xmlns:a16="http://schemas.microsoft.com/office/drawing/2014/main" id="{B001A769-F31E-4395-81C3-C51A0846E5C8}"/>
              </a:ext>
            </a:extLst>
          </p:cNvPr>
          <p:cNvSpPr txBox="1"/>
          <p:nvPr/>
        </p:nvSpPr>
        <p:spPr>
          <a:xfrm>
            <a:off x="5120941" y="5763751"/>
            <a:ext cx="573752" cy="16359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 rtl="0">
              <a:lnSpc>
                <a:spcPct val="100000"/>
              </a:lnSpc>
              <a:spcBef>
                <a:spcPts val="100"/>
              </a:spcBef>
              <a:buNone/>
            </a:pPr>
            <a:endParaRPr lang="en-GB" sz="800" dirty="0">
              <a:latin typeface="+mj-lt"/>
              <a:cs typeface="Calibri"/>
            </a:endParaRPr>
          </a:p>
        </p:txBody>
      </p:sp>
      <p:sp>
        <p:nvSpPr>
          <p:cNvPr id="52" name="object 103">
            <a:extLst>
              <a:ext uri="{FF2B5EF4-FFF2-40B4-BE49-F238E27FC236}">
                <a16:creationId xmlns:a16="http://schemas.microsoft.com/office/drawing/2014/main" id="{488CEA2F-3ADC-4227-9B24-2A120382D0D3}"/>
              </a:ext>
            </a:extLst>
          </p:cNvPr>
          <p:cNvSpPr/>
          <p:nvPr/>
        </p:nvSpPr>
        <p:spPr>
          <a:xfrm>
            <a:off x="6772997" y="5645838"/>
            <a:ext cx="1455547" cy="401897"/>
          </a:xfrm>
          <a:custGeom>
            <a:avLst/>
            <a:gdLst/>
            <a:ahLst/>
            <a:cxnLst/>
            <a:rect l="l" t="t" r="r" b="b"/>
            <a:pathLst>
              <a:path w="1026160" h="324485">
                <a:moveTo>
                  <a:pt x="1025994" y="0"/>
                </a:moveTo>
                <a:lnTo>
                  <a:pt x="0" y="0"/>
                </a:lnTo>
                <a:lnTo>
                  <a:pt x="0" y="324002"/>
                </a:lnTo>
                <a:lnTo>
                  <a:pt x="1025994" y="324002"/>
                </a:lnTo>
                <a:lnTo>
                  <a:pt x="1025994" y="0"/>
                </a:lnTo>
                <a:close/>
              </a:path>
            </a:pathLst>
          </a:custGeom>
          <a:solidFill>
            <a:srgbClr val="ABB4B4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rtl="0">
              <a:buNone/>
            </a:pPr>
            <a:r>
              <a:rPr lang="en-GB" sz="800" dirty="0">
                <a:solidFill>
                  <a:srgbClr val="231F20"/>
                </a:solidFill>
                <a:latin typeface="+mj-lt"/>
                <a:cs typeface="Calibri"/>
              </a:rPr>
              <a:t>Benefit 3</a:t>
            </a:r>
            <a:endParaRPr lang="en-GB" sz="800" dirty="0">
              <a:latin typeface="+mj-lt"/>
              <a:cs typeface="Calibri"/>
            </a:endParaRPr>
          </a:p>
        </p:txBody>
      </p:sp>
      <p:sp>
        <p:nvSpPr>
          <p:cNvPr id="53" name="object 104">
            <a:extLst>
              <a:ext uri="{FF2B5EF4-FFF2-40B4-BE49-F238E27FC236}">
                <a16:creationId xmlns:a16="http://schemas.microsoft.com/office/drawing/2014/main" id="{31FF0ACD-6A3D-4000-B2F3-F70FA059B2D1}"/>
              </a:ext>
            </a:extLst>
          </p:cNvPr>
          <p:cNvSpPr txBox="1"/>
          <p:nvPr/>
        </p:nvSpPr>
        <p:spPr>
          <a:xfrm>
            <a:off x="6831580" y="5763751"/>
            <a:ext cx="573752" cy="16359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 rtl="0">
              <a:lnSpc>
                <a:spcPct val="100000"/>
              </a:lnSpc>
              <a:spcBef>
                <a:spcPts val="100"/>
              </a:spcBef>
              <a:buNone/>
            </a:pPr>
            <a:endParaRPr lang="en-GB" sz="800" dirty="0">
              <a:latin typeface="+mj-lt"/>
              <a:cs typeface="Calibri"/>
            </a:endParaRPr>
          </a:p>
        </p:txBody>
      </p:sp>
      <p:sp>
        <p:nvSpPr>
          <p:cNvPr id="54" name="object 105">
            <a:extLst>
              <a:ext uri="{FF2B5EF4-FFF2-40B4-BE49-F238E27FC236}">
                <a16:creationId xmlns:a16="http://schemas.microsoft.com/office/drawing/2014/main" id="{5AF02F08-F2B5-4583-AC29-F1C867AA29F9}"/>
              </a:ext>
            </a:extLst>
          </p:cNvPr>
          <p:cNvSpPr/>
          <p:nvPr/>
        </p:nvSpPr>
        <p:spPr>
          <a:xfrm>
            <a:off x="5062351" y="4965854"/>
            <a:ext cx="1455547" cy="401897"/>
          </a:xfrm>
          <a:custGeom>
            <a:avLst/>
            <a:gdLst/>
            <a:ahLst/>
            <a:cxnLst/>
            <a:rect l="l" t="t" r="r" b="b"/>
            <a:pathLst>
              <a:path w="1026160" h="324485">
                <a:moveTo>
                  <a:pt x="1025994" y="0"/>
                </a:moveTo>
                <a:lnTo>
                  <a:pt x="0" y="0"/>
                </a:lnTo>
                <a:lnTo>
                  <a:pt x="0" y="324002"/>
                </a:lnTo>
                <a:lnTo>
                  <a:pt x="1025994" y="324002"/>
                </a:lnTo>
                <a:lnTo>
                  <a:pt x="1025994" y="0"/>
                </a:lnTo>
                <a:close/>
              </a:path>
            </a:pathLst>
          </a:custGeom>
          <a:solidFill>
            <a:srgbClr val="ABB4B4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rtl="0">
              <a:buNone/>
            </a:pPr>
            <a:r>
              <a:rPr lang="en-GB" sz="800" dirty="0">
                <a:solidFill>
                  <a:srgbClr val="231F20"/>
                </a:solidFill>
                <a:latin typeface="+mj-lt"/>
                <a:cs typeface="Calibri"/>
              </a:rPr>
              <a:t>Benefit 6</a:t>
            </a:r>
            <a:endParaRPr lang="en-GB" sz="800" dirty="0">
              <a:latin typeface="+mj-lt"/>
              <a:cs typeface="Calibri"/>
            </a:endParaRPr>
          </a:p>
        </p:txBody>
      </p:sp>
      <p:sp>
        <p:nvSpPr>
          <p:cNvPr id="55" name="object 106">
            <a:extLst>
              <a:ext uri="{FF2B5EF4-FFF2-40B4-BE49-F238E27FC236}">
                <a16:creationId xmlns:a16="http://schemas.microsoft.com/office/drawing/2014/main" id="{8FBDFFA3-AC6F-4BDF-B4E4-BB604D60F38C}"/>
              </a:ext>
            </a:extLst>
          </p:cNvPr>
          <p:cNvSpPr txBox="1"/>
          <p:nvPr/>
        </p:nvSpPr>
        <p:spPr>
          <a:xfrm>
            <a:off x="5120941" y="5083776"/>
            <a:ext cx="573752" cy="16359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 rtl="0">
              <a:lnSpc>
                <a:spcPct val="100000"/>
              </a:lnSpc>
              <a:spcBef>
                <a:spcPts val="100"/>
              </a:spcBef>
              <a:buNone/>
            </a:pPr>
            <a:endParaRPr lang="en-GB" sz="800" dirty="0">
              <a:latin typeface="+mj-lt"/>
              <a:cs typeface="Calibri"/>
            </a:endParaRPr>
          </a:p>
        </p:txBody>
      </p:sp>
      <p:sp>
        <p:nvSpPr>
          <p:cNvPr id="56" name="object 107">
            <a:extLst>
              <a:ext uri="{FF2B5EF4-FFF2-40B4-BE49-F238E27FC236}">
                <a16:creationId xmlns:a16="http://schemas.microsoft.com/office/drawing/2014/main" id="{F3E3D10B-F360-4737-B11C-A4162D5F2103}"/>
              </a:ext>
            </a:extLst>
          </p:cNvPr>
          <p:cNvSpPr/>
          <p:nvPr/>
        </p:nvSpPr>
        <p:spPr>
          <a:xfrm>
            <a:off x="6772997" y="4965854"/>
            <a:ext cx="1455547" cy="401897"/>
          </a:xfrm>
          <a:custGeom>
            <a:avLst/>
            <a:gdLst/>
            <a:ahLst/>
            <a:cxnLst/>
            <a:rect l="l" t="t" r="r" b="b"/>
            <a:pathLst>
              <a:path w="1026160" h="324485">
                <a:moveTo>
                  <a:pt x="1025994" y="0"/>
                </a:moveTo>
                <a:lnTo>
                  <a:pt x="0" y="0"/>
                </a:lnTo>
                <a:lnTo>
                  <a:pt x="0" y="324002"/>
                </a:lnTo>
                <a:lnTo>
                  <a:pt x="1025994" y="324002"/>
                </a:lnTo>
                <a:lnTo>
                  <a:pt x="1025994" y="0"/>
                </a:lnTo>
                <a:close/>
              </a:path>
            </a:pathLst>
          </a:custGeom>
          <a:solidFill>
            <a:srgbClr val="ABB4B4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rtl="0">
              <a:buNone/>
            </a:pPr>
            <a:r>
              <a:rPr lang="en-GB" sz="800" dirty="0">
                <a:solidFill>
                  <a:srgbClr val="231F20"/>
                </a:solidFill>
                <a:latin typeface="+mj-lt"/>
                <a:cs typeface="Calibri"/>
              </a:rPr>
              <a:t>Benefit 2</a:t>
            </a:r>
            <a:endParaRPr lang="en-GB" sz="800" dirty="0">
              <a:latin typeface="+mj-lt"/>
              <a:cs typeface="Calibri"/>
            </a:endParaRPr>
          </a:p>
        </p:txBody>
      </p:sp>
      <p:sp>
        <p:nvSpPr>
          <p:cNvPr id="57" name="object 108">
            <a:extLst>
              <a:ext uri="{FF2B5EF4-FFF2-40B4-BE49-F238E27FC236}">
                <a16:creationId xmlns:a16="http://schemas.microsoft.com/office/drawing/2014/main" id="{D7A26DA0-8060-491B-BB6F-F2FEC50AFB3C}"/>
              </a:ext>
            </a:extLst>
          </p:cNvPr>
          <p:cNvSpPr txBox="1"/>
          <p:nvPr/>
        </p:nvSpPr>
        <p:spPr>
          <a:xfrm>
            <a:off x="6831580" y="5083776"/>
            <a:ext cx="573752" cy="16359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 rtl="0">
              <a:lnSpc>
                <a:spcPct val="100000"/>
              </a:lnSpc>
              <a:spcBef>
                <a:spcPts val="100"/>
              </a:spcBef>
              <a:buNone/>
            </a:pPr>
            <a:endParaRPr lang="en-GB" sz="800" dirty="0">
              <a:latin typeface="+mj-lt"/>
              <a:cs typeface="Calibri"/>
            </a:endParaRPr>
          </a:p>
        </p:txBody>
      </p:sp>
      <p:sp>
        <p:nvSpPr>
          <p:cNvPr id="58" name="object 109">
            <a:extLst>
              <a:ext uri="{FF2B5EF4-FFF2-40B4-BE49-F238E27FC236}">
                <a16:creationId xmlns:a16="http://schemas.microsoft.com/office/drawing/2014/main" id="{83DFF38A-E889-42D3-BCFB-07059C1A0347}"/>
              </a:ext>
            </a:extLst>
          </p:cNvPr>
          <p:cNvSpPr/>
          <p:nvPr/>
        </p:nvSpPr>
        <p:spPr>
          <a:xfrm>
            <a:off x="8483643" y="4965854"/>
            <a:ext cx="1149306" cy="401897"/>
          </a:xfrm>
          <a:custGeom>
            <a:avLst/>
            <a:gdLst/>
            <a:ahLst/>
            <a:cxnLst/>
            <a:rect l="l" t="t" r="r" b="b"/>
            <a:pathLst>
              <a:path w="810259" h="324485">
                <a:moveTo>
                  <a:pt x="809993" y="0"/>
                </a:moveTo>
                <a:lnTo>
                  <a:pt x="0" y="0"/>
                </a:lnTo>
                <a:lnTo>
                  <a:pt x="0" y="324002"/>
                </a:lnTo>
                <a:lnTo>
                  <a:pt x="809993" y="324002"/>
                </a:lnTo>
                <a:lnTo>
                  <a:pt x="809993" y="0"/>
                </a:lnTo>
                <a:close/>
              </a:path>
            </a:pathLst>
          </a:custGeom>
          <a:solidFill>
            <a:srgbClr val="BFCAC7"/>
          </a:solidFill>
        </p:spPr>
        <p:txBody>
          <a:bodyPr wrap="square" lIns="0" tIns="0" rIns="0" bIns="0" rtlCol="0" anchor="ctr">
            <a:noAutofit/>
          </a:bodyPr>
          <a:lstStyle/>
          <a:p>
            <a:pPr algn="ctr" rtl="0">
              <a:lnSpc>
                <a:spcPct val="100000"/>
              </a:lnSpc>
              <a:spcBef>
                <a:spcPts val="100"/>
              </a:spcBef>
              <a:buNone/>
            </a:pPr>
            <a:r>
              <a:rPr lang="en-GB" sz="800" dirty="0">
                <a:solidFill>
                  <a:srgbClr val="231F20"/>
                </a:solidFill>
                <a:latin typeface="+mj-lt"/>
                <a:cs typeface="Calibri"/>
              </a:rPr>
              <a:t>Purpose 2</a:t>
            </a:r>
            <a:endParaRPr lang="en-GB" sz="800" dirty="0">
              <a:latin typeface="+mj-lt"/>
              <a:cs typeface="Calibri"/>
            </a:endParaRPr>
          </a:p>
        </p:txBody>
      </p:sp>
      <p:sp>
        <p:nvSpPr>
          <p:cNvPr id="59" name="object 110">
            <a:extLst>
              <a:ext uri="{FF2B5EF4-FFF2-40B4-BE49-F238E27FC236}">
                <a16:creationId xmlns:a16="http://schemas.microsoft.com/office/drawing/2014/main" id="{49D411B3-6443-4CC9-957F-B9BA683D1995}"/>
              </a:ext>
            </a:extLst>
          </p:cNvPr>
          <p:cNvSpPr txBox="1"/>
          <p:nvPr/>
        </p:nvSpPr>
        <p:spPr>
          <a:xfrm>
            <a:off x="8542219" y="5083776"/>
            <a:ext cx="545830" cy="16359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 rtl="0">
              <a:lnSpc>
                <a:spcPct val="100000"/>
              </a:lnSpc>
              <a:spcBef>
                <a:spcPts val="100"/>
              </a:spcBef>
              <a:buNone/>
            </a:pPr>
            <a:endParaRPr lang="en-GB" sz="800" dirty="0">
              <a:latin typeface="+mj-lt"/>
              <a:cs typeface="Calibri"/>
            </a:endParaRPr>
          </a:p>
        </p:txBody>
      </p:sp>
      <p:sp>
        <p:nvSpPr>
          <p:cNvPr id="60" name="object 111">
            <a:extLst>
              <a:ext uri="{FF2B5EF4-FFF2-40B4-BE49-F238E27FC236}">
                <a16:creationId xmlns:a16="http://schemas.microsoft.com/office/drawing/2014/main" id="{BF6B3E72-C425-4B6C-9447-69921EB3FF28}"/>
              </a:ext>
            </a:extLst>
          </p:cNvPr>
          <p:cNvSpPr txBox="1"/>
          <p:nvPr/>
        </p:nvSpPr>
        <p:spPr>
          <a:xfrm>
            <a:off x="5062351" y="4285885"/>
            <a:ext cx="1455547" cy="401897"/>
          </a:xfrm>
          <a:prstGeom prst="rect">
            <a:avLst/>
          </a:prstGeom>
          <a:solidFill>
            <a:srgbClr val="ABB4B4"/>
          </a:solidFill>
        </p:spPr>
        <p:txBody>
          <a:bodyPr vert="horz" wrap="square" lIns="0" tIns="0" rIns="0" bIns="0" rtlCol="0" anchor="ctr">
            <a:noAutofit/>
          </a:bodyPr>
          <a:lstStyle/>
          <a:p>
            <a:pPr algn="ctr" rtl="0">
              <a:lnSpc>
                <a:spcPct val="100000"/>
              </a:lnSpc>
              <a:spcBef>
                <a:spcPts val="5"/>
              </a:spcBef>
              <a:buNone/>
            </a:pPr>
            <a:r>
              <a:rPr lang="en-GB" sz="800" dirty="0">
                <a:solidFill>
                  <a:srgbClr val="231F20"/>
                </a:solidFill>
                <a:latin typeface="+mj-lt"/>
                <a:cs typeface="Calibri"/>
              </a:rPr>
              <a:t>Benefit 5</a:t>
            </a:r>
            <a:endParaRPr lang="en-GB" sz="800" dirty="0">
              <a:latin typeface="+mj-lt"/>
              <a:cs typeface="Calibri"/>
            </a:endParaRPr>
          </a:p>
        </p:txBody>
      </p:sp>
      <p:sp>
        <p:nvSpPr>
          <p:cNvPr id="61" name="object 112">
            <a:extLst>
              <a:ext uri="{FF2B5EF4-FFF2-40B4-BE49-F238E27FC236}">
                <a16:creationId xmlns:a16="http://schemas.microsoft.com/office/drawing/2014/main" id="{4A413720-DF6E-4DCE-8045-DF61E9614D25}"/>
              </a:ext>
            </a:extLst>
          </p:cNvPr>
          <p:cNvSpPr txBox="1"/>
          <p:nvPr/>
        </p:nvSpPr>
        <p:spPr>
          <a:xfrm>
            <a:off x="5062351" y="2413173"/>
            <a:ext cx="1450143" cy="401897"/>
          </a:xfrm>
          <a:prstGeom prst="rect">
            <a:avLst/>
          </a:prstGeom>
          <a:solidFill>
            <a:srgbClr val="823D46"/>
          </a:solidFill>
        </p:spPr>
        <p:txBody>
          <a:bodyPr vert="horz" wrap="square" lIns="0" tIns="0" rIns="0" bIns="0" rtlCol="0" anchor="ctr">
            <a:noAutofit/>
          </a:bodyPr>
          <a:lstStyle/>
          <a:p>
            <a:pPr algn="ctr" rtl="0">
              <a:lnSpc>
                <a:spcPct val="100000"/>
              </a:lnSpc>
              <a:spcBef>
                <a:spcPts val="5"/>
              </a:spcBef>
              <a:buNone/>
            </a:pPr>
            <a:r>
              <a:rPr lang="en-GB" sz="800" dirty="0">
                <a:solidFill>
                  <a:srgbClr val="FFFFFF"/>
                </a:solidFill>
                <a:latin typeface="+mj-lt"/>
                <a:cs typeface="Calibri"/>
              </a:rPr>
              <a:t>Negative benefit</a:t>
            </a:r>
            <a:endParaRPr lang="en-GB" sz="800" dirty="0">
              <a:latin typeface="+mj-lt"/>
              <a:cs typeface="Calibri"/>
            </a:endParaRPr>
          </a:p>
        </p:txBody>
      </p:sp>
      <p:sp>
        <p:nvSpPr>
          <p:cNvPr id="62" name="object 113">
            <a:extLst>
              <a:ext uri="{FF2B5EF4-FFF2-40B4-BE49-F238E27FC236}">
                <a16:creationId xmlns:a16="http://schemas.microsoft.com/office/drawing/2014/main" id="{6467E84B-A70B-4732-BA31-D5E8C4812DA7}"/>
              </a:ext>
            </a:extLst>
          </p:cNvPr>
          <p:cNvSpPr txBox="1"/>
          <p:nvPr/>
        </p:nvSpPr>
        <p:spPr>
          <a:xfrm>
            <a:off x="3377249" y="2234812"/>
            <a:ext cx="1430327" cy="758176"/>
          </a:xfrm>
          <a:prstGeom prst="rect">
            <a:avLst/>
          </a:prstGeom>
          <a:solidFill>
            <a:srgbClr val="F6E6BD"/>
          </a:solidFill>
        </p:spPr>
        <p:txBody>
          <a:bodyPr vert="horz" wrap="square" lIns="36000" tIns="0" rIns="36000" bIns="0" rtlCol="0" anchor="ctr">
            <a:noAutofit/>
          </a:bodyPr>
          <a:lstStyle>
            <a:defPPr>
              <a:defRPr lang="en-US"/>
            </a:defPPr>
            <a:lvl1pPr algn="ctr">
              <a:lnSpc>
                <a:spcPct val="100000"/>
              </a:lnSpc>
              <a:spcAft>
                <a:spcPts val="0"/>
              </a:spcAft>
              <a:buNone/>
              <a:defRPr sz="800" b="1">
                <a:latin typeface="+mj-lt"/>
                <a:cs typeface="Times New Roman"/>
              </a:defRPr>
            </a:lvl1pPr>
          </a:lstStyle>
          <a:p>
            <a:pPr rtl="0"/>
            <a:r>
              <a:rPr lang="en-GB" dirty="0"/>
              <a:t>Employee group 1 is: (Description of new behaviour)</a:t>
            </a:r>
          </a:p>
        </p:txBody>
      </p:sp>
      <p:sp>
        <p:nvSpPr>
          <p:cNvPr id="63" name="object 114">
            <a:extLst>
              <a:ext uri="{FF2B5EF4-FFF2-40B4-BE49-F238E27FC236}">
                <a16:creationId xmlns:a16="http://schemas.microsoft.com/office/drawing/2014/main" id="{471EBA57-2313-48BE-824C-00F631F09EAE}"/>
              </a:ext>
            </a:extLst>
          </p:cNvPr>
          <p:cNvSpPr/>
          <p:nvPr/>
        </p:nvSpPr>
        <p:spPr>
          <a:xfrm>
            <a:off x="3377249" y="5467478"/>
            <a:ext cx="1430327" cy="758176"/>
          </a:xfrm>
          <a:custGeom>
            <a:avLst/>
            <a:gdLst/>
            <a:ahLst/>
            <a:cxnLst/>
            <a:rect l="l" t="t" r="r" b="b"/>
            <a:pathLst>
              <a:path w="1008379" h="612139">
                <a:moveTo>
                  <a:pt x="1007998" y="0"/>
                </a:moveTo>
                <a:lnTo>
                  <a:pt x="0" y="0"/>
                </a:lnTo>
                <a:lnTo>
                  <a:pt x="0" y="612000"/>
                </a:lnTo>
                <a:lnTo>
                  <a:pt x="1007998" y="612000"/>
                </a:lnTo>
                <a:lnTo>
                  <a:pt x="1007998" y="0"/>
                </a:lnTo>
                <a:close/>
              </a:path>
            </a:pathLst>
          </a:custGeom>
          <a:solidFill>
            <a:srgbClr val="F6E6BD"/>
          </a:solidFill>
        </p:spPr>
        <p:txBody>
          <a:bodyPr vert="horz" wrap="square" lIns="36000" tIns="0" rIns="36000" bIns="0" rtlCol="0" anchor="ctr">
            <a:noAutofit/>
          </a:bodyPr>
          <a:lstStyle/>
          <a:p>
            <a:pPr algn="ctr" rtl="0">
              <a:lnSpc>
                <a:spcPct val="100000"/>
              </a:lnSpc>
              <a:spcAft>
                <a:spcPts val="0"/>
              </a:spcAft>
              <a:buNone/>
            </a:pPr>
            <a:r>
              <a:rPr lang="en-GB" sz="800" b="1" dirty="0">
                <a:solidFill>
                  <a:srgbClr val="231F20"/>
                </a:solidFill>
                <a:latin typeface="+mj-lt"/>
                <a:cs typeface="Arial"/>
              </a:rPr>
              <a:t>Employee group 4 is: </a:t>
            </a:r>
            <a:r>
              <a:rPr lang="en-GB" sz="800" dirty="0">
                <a:solidFill>
                  <a:srgbClr val="231F20"/>
                </a:solidFill>
                <a:latin typeface="+mj-lt"/>
                <a:cs typeface="Arial"/>
              </a:rPr>
              <a:t>(Description of new behaviour)</a:t>
            </a:r>
          </a:p>
        </p:txBody>
      </p:sp>
      <p:sp>
        <p:nvSpPr>
          <p:cNvPr id="64" name="object 115">
            <a:extLst>
              <a:ext uri="{FF2B5EF4-FFF2-40B4-BE49-F238E27FC236}">
                <a16:creationId xmlns:a16="http://schemas.microsoft.com/office/drawing/2014/main" id="{75BE33D8-AAC7-4039-B2A2-47931BAAA65B}"/>
              </a:ext>
            </a:extLst>
          </p:cNvPr>
          <p:cNvSpPr txBox="1"/>
          <p:nvPr/>
        </p:nvSpPr>
        <p:spPr>
          <a:xfrm>
            <a:off x="3435835" y="5494738"/>
            <a:ext cx="1205150" cy="5647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marR="5080" algn="ctr" rtl="0">
              <a:lnSpc>
                <a:spcPct val="100000"/>
              </a:lnSpc>
              <a:spcBef>
                <a:spcPts val="100"/>
              </a:spcBef>
              <a:buNone/>
            </a:pPr>
            <a:endParaRPr lang="en-GB" sz="800" dirty="0">
              <a:latin typeface="+mj-lt"/>
              <a:cs typeface="Calibri"/>
            </a:endParaRPr>
          </a:p>
        </p:txBody>
      </p:sp>
      <p:sp>
        <p:nvSpPr>
          <p:cNvPr id="65" name="object 116">
            <a:extLst>
              <a:ext uri="{FF2B5EF4-FFF2-40B4-BE49-F238E27FC236}">
                <a16:creationId xmlns:a16="http://schemas.microsoft.com/office/drawing/2014/main" id="{06CC4796-A78A-40BF-AEF2-019A6C712800}"/>
              </a:ext>
            </a:extLst>
          </p:cNvPr>
          <p:cNvSpPr txBox="1"/>
          <p:nvPr/>
        </p:nvSpPr>
        <p:spPr>
          <a:xfrm>
            <a:off x="3377249" y="4285885"/>
            <a:ext cx="1430327" cy="758176"/>
          </a:xfrm>
          <a:prstGeom prst="rect">
            <a:avLst/>
          </a:prstGeom>
          <a:solidFill>
            <a:srgbClr val="F6E6BD"/>
          </a:solidFill>
        </p:spPr>
        <p:txBody>
          <a:bodyPr vert="horz" wrap="square" lIns="36000" tIns="0" rIns="36000" bIns="0" rtlCol="0" anchor="ctr">
            <a:noAutofit/>
          </a:bodyPr>
          <a:lstStyle>
            <a:defPPr>
              <a:defRPr lang="en-US"/>
            </a:defPPr>
            <a:lvl1pPr algn="ctr">
              <a:lnSpc>
                <a:spcPct val="100000"/>
              </a:lnSpc>
              <a:spcAft>
                <a:spcPts val="0"/>
              </a:spcAft>
              <a:buNone/>
              <a:defRPr sz="800" b="1">
                <a:solidFill>
                  <a:srgbClr val="231F20"/>
                </a:solidFill>
                <a:latin typeface="+mj-lt"/>
                <a:cs typeface="Arial"/>
              </a:defRPr>
            </a:lvl1pPr>
          </a:lstStyle>
          <a:p>
            <a:pPr rtl="0"/>
            <a:r>
              <a:rPr lang="en-GB" dirty="0"/>
              <a:t>Employee group 3 is: </a:t>
            </a:r>
            <a:r>
              <a:rPr lang="en-GB" b="0" dirty="0"/>
              <a:t>(Description of new behaviour)</a:t>
            </a:r>
          </a:p>
        </p:txBody>
      </p:sp>
      <p:sp>
        <p:nvSpPr>
          <p:cNvPr id="66" name="object 117">
            <a:extLst>
              <a:ext uri="{FF2B5EF4-FFF2-40B4-BE49-F238E27FC236}">
                <a16:creationId xmlns:a16="http://schemas.microsoft.com/office/drawing/2014/main" id="{EB3B19A3-D8DD-4672-8B8F-B06EAEFCB2CD}"/>
              </a:ext>
            </a:extLst>
          </p:cNvPr>
          <p:cNvSpPr/>
          <p:nvPr/>
        </p:nvSpPr>
        <p:spPr>
          <a:xfrm>
            <a:off x="3377249" y="3260348"/>
            <a:ext cx="1430327" cy="758176"/>
          </a:xfrm>
          <a:custGeom>
            <a:avLst/>
            <a:gdLst/>
            <a:ahLst/>
            <a:cxnLst/>
            <a:rect l="l" t="t" r="r" b="b"/>
            <a:pathLst>
              <a:path w="1008379" h="612139">
                <a:moveTo>
                  <a:pt x="1007998" y="0"/>
                </a:moveTo>
                <a:lnTo>
                  <a:pt x="0" y="0"/>
                </a:lnTo>
                <a:lnTo>
                  <a:pt x="0" y="612000"/>
                </a:lnTo>
                <a:lnTo>
                  <a:pt x="1007998" y="612000"/>
                </a:lnTo>
                <a:lnTo>
                  <a:pt x="1007998" y="0"/>
                </a:lnTo>
                <a:close/>
              </a:path>
            </a:pathLst>
          </a:custGeom>
          <a:solidFill>
            <a:srgbClr val="F6E6BD"/>
          </a:solidFill>
        </p:spPr>
        <p:txBody>
          <a:bodyPr vert="horz" wrap="square" lIns="36000" tIns="0" rIns="36000" bIns="0" rtlCol="0" anchor="ctr">
            <a:noAutofit/>
          </a:bodyPr>
          <a:lstStyle/>
          <a:p>
            <a:pPr algn="ctr" rtl="0">
              <a:lnSpc>
                <a:spcPct val="100000"/>
              </a:lnSpc>
              <a:spcAft>
                <a:spcPts val="0"/>
              </a:spcAft>
              <a:buNone/>
            </a:pPr>
            <a:r>
              <a:rPr lang="en-GB" sz="800" b="1" dirty="0">
                <a:solidFill>
                  <a:srgbClr val="231F20"/>
                </a:solidFill>
                <a:latin typeface="+mj-lt"/>
                <a:cs typeface="Arial"/>
              </a:rPr>
              <a:t>Employee group 2 is: </a:t>
            </a:r>
            <a:r>
              <a:rPr lang="en-GB" sz="800" dirty="0">
                <a:solidFill>
                  <a:srgbClr val="231F20"/>
                </a:solidFill>
                <a:latin typeface="+mj-lt"/>
                <a:cs typeface="Calibri"/>
              </a:rPr>
              <a:t>(Description of new behaviour)</a:t>
            </a:r>
            <a:endParaRPr lang="en-GB" sz="800" dirty="0">
              <a:latin typeface="+mj-lt"/>
              <a:cs typeface="Calibri"/>
            </a:endParaRPr>
          </a:p>
        </p:txBody>
      </p:sp>
      <p:sp>
        <p:nvSpPr>
          <p:cNvPr id="126" name="object 77">
            <a:extLst>
              <a:ext uri="{FF2B5EF4-FFF2-40B4-BE49-F238E27FC236}">
                <a16:creationId xmlns:a16="http://schemas.microsoft.com/office/drawing/2014/main" id="{78651F87-4555-4F0E-8656-5235EBFE5C5A}"/>
              </a:ext>
            </a:extLst>
          </p:cNvPr>
          <p:cNvSpPr txBox="1"/>
          <p:nvPr/>
        </p:nvSpPr>
        <p:spPr>
          <a:xfrm>
            <a:off x="287887" y="3258114"/>
            <a:ext cx="1149306" cy="401897"/>
          </a:xfrm>
          <a:prstGeom prst="rect">
            <a:avLst/>
          </a:prstGeom>
          <a:solidFill>
            <a:srgbClr val="C39CA0"/>
          </a:solidFill>
        </p:spPr>
        <p:txBody>
          <a:bodyPr vert="horz" wrap="square" lIns="108000" tIns="0" rIns="108000" bIns="0" rtlCol="0" anchor="ctr">
            <a:noAutofit/>
          </a:bodyPr>
          <a:lstStyle>
            <a:defPPr>
              <a:defRPr lang="en-US"/>
            </a:defPPr>
            <a:lvl1pPr algn="ctr">
              <a:lnSpc>
                <a:spcPct val="100000"/>
              </a:lnSpc>
              <a:spcBef>
                <a:spcPts val="10"/>
              </a:spcBef>
              <a:buNone/>
              <a:defRPr sz="800" b="1">
                <a:latin typeface="+mj-lt"/>
                <a:cs typeface="Times New Roman"/>
              </a:defRPr>
            </a:lvl1pPr>
          </a:lstStyle>
          <a:p>
            <a:pPr rtl="0"/>
            <a:r>
              <a:rPr lang="en-GB" b="0" dirty="0"/>
              <a:t>Technical deliverable 3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26E2D768-3A95-4FE7-9C19-D6631430F8BD}"/>
              </a:ext>
            </a:extLst>
          </p:cNvPr>
          <p:cNvSpPr txBox="1"/>
          <p:nvPr/>
        </p:nvSpPr>
        <p:spPr>
          <a:xfrm>
            <a:off x="275692" y="6584024"/>
            <a:ext cx="6191074" cy="203133"/>
          </a:xfrm>
          <a:prstGeom prst="rect">
            <a:avLst/>
          </a:prstGeom>
          <a:noFill/>
          <a:ln w="6350">
            <a:noFill/>
            <a:prstDash val="sysDash"/>
          </a:ln>
        </p:spPr>
        <p:txBody>
          <a:bodyPr wrap="square">
            <a:spAutoFit/>
          </a:bodyPr>
          <a:lstStyle/>
          <a:p>
            <a:pPr rtl="0"/>
            <a:r>
              <a:rPr lang="en-GB" sz="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Reference: Rytter, R. (2022). </a:t>
            </a:r>
            <a:r>
              <a:rPr lang="en-GB" sz="800" i="1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Benefits Realisation: The Change-Driven Approach to Project Success</a:t>
            </a:r>
            <a:r>
              <a:rPr lang="en-GB" sz="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. Copenhagen: Wiley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08786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SMART" val="&lt;smart xmlns:xsd=&quot;http://www.w3.org/2001/XMLSchema&quot; xmlns:xsi=&quot;http://www.w3.org/2001/XMLSchema-instance&quot;&gt;&lt;presentationSettings hasLibraryLinks=&quot;false&quot;&gt;&lt;agenda createSections=&quot;false&quot; enableNavigation=&quot;false&quot; id=&quot;9bf804fe-2af1-43da-a6cd-b3a879be0eeb&quot; isTouched=&quot;false&quot; showDuration=&quot;false&quot; showHeaders=&quot;false&quot; showPageNumber=&quot;false&quot; showResponsible=&quot;false&quot; showSubTopics=&quot;false&quot; showTimeSlot=&quot;false&quot; showTopicNumber=&quot;false&quot; slidesForSubTopics=&quot;false&quot; timeFormat=&quot;00000000-0000-0000-0000-000000000000&quot; title=&quot;Agenda&quot;&gt;&lt;columns&gt;&lt;column displayIndex=&quot;0&quot; header=&quot;#&quot; id=&quot;8fc7e105-5a32-4a72-bc85-7d3ff1e7b9d7&quot; visible=&quot;true&quot; width=&quot;170&quot; /&gt;&lt;column displayIndex=&quot;1&quot; header=&quot;Topic&quot; id=&quot;8f81a0ad-7497-4bbb-a001-838bad8c0faa&quot; visible=&quot;true&quot; width=&quot;160&quot; /&gt;&lt;column displayIndex=&quot;2&quot; header=&quot;Responsible&quot; id=&quot;2f9b06db-11e3-45bc-aecb-cf6141b9856b&quot; visible=&quot;true&quot; width=&quot;165&quot; /&gt;&lt;column displayIndex=&quot;3&quot; header=&quot;Duration&quot; id=&quot;99d05e97-02f5-4087-be8e-b10736e0c9ca&quot; visible=&quot;true&quot; width=&quot;150&quot; /&gt;&lt;column displayIndex=&quot;4&quot; header=&quot;Time&quot; id=&quot;fd356bfd-687f-40e8-b861-574837edbc46&quot; visible=&quot;true&quot; width=&quot;180&quot; /&gt;&lt;column displayIndex=&quot;5&quot; header=&quot;Page&quot; id=&quot;db91063f-fada-4f32-86c9-9368cd93fa26&quot; visible=&quot;true&quot; width=&quot;170&quot; /&gt;&lt;/columns&gt;&lt;layout /&gt;&lt;rows /&gt;&lt;/agenda&gt;&lt;template id=&quot;https://implementcg.sharepoint.com/Office Template Library/PowerPoint/Templates/01. A4 landscape/Implement A4_Landscape 2019_1.a4.potx&quot; lastModified=&quot;2021-11-02T10:35:58+01:00&quot; mimeType=&quot;application/vnd.openxmlformats-officedocument.presentationml.slidemaster.a4&quot; name=&quot;Implement A4_Landscape 2019_1&quot; slideMasterName=&quot;Implement PowerPoint A4&quot;&gt;&lt;LayoutNames&gt;&lt;Name&gt;1_Cover Dark&lt;/Name&gt;&lt;Name&gt;Cover Dark&lt;/Name&gt;&lt;Name&gt;Cover Logo Image Dark A&lt;/Name&gt;&lt;Name&gt;Cover Logo Image Dark B&lt;/Name&gt;&lt;Name&gt;Cover&lt;/Name&gt;&lt;Name&gt;Cover Logo Image A&lt;/Name&gt;&lt;Name&gt;Cover Logo Image B&lt;/Name&gt;&lt;Name&gt;Title and Content&lt;/Name&gt;&lt;Name&gt;Title and Content Light&lt;/Name&gt;&lt;Name&gt;Title and Content Dark&lt;/Name&gt;&lt;Name&gt;Two Content A&lt;/Name&gt;&lt;Name&gt;Two Content B&lt;/Name&gt;&lt;Name&gt;Title Only&lt;/Name&gt;&lt;Name&gt;Custom Layout A&lt;/Name&gt;&lt;Name&gt;Custom Layout B&lt;/Name&gt;&lt;Name&gt;Title and Content Background A&lt;/Name&gt;&lt;Name&gt;Title and Content Background B&lt;/Name&gt;&lt;Name&gt;Title and Content Background C&lt;/Name&gt;&lt;Name&gt;Title and Content Background D&lt;/Name&gt;&lt;Name&gt;Conclusion Box Vertical&lt;/Name&gt;&lt;Name&gt;Conclusion Box Horizontal&lt;/Name&gt;&lt;Name&gt;Divider Small Dark&lt;/Name&gt;&lt;Name&gt;Divider Small&lt;/Name&gt;&lt;Name&gt;Section Image Dark&lt;/Name&gt;&lt;Name&gt;Section Image Light&lt;/Name&gt;&lt;Name&gt;Section Dark&lt;/Name&gt;&lt;Name&gt;Section Dark Green&lt;/Name&gt;&lt;Name&gt;Section Wine Red&lt;/Name&gt;&lt;Name&gt;Section White&lt;/Name&gt;&lt;Name&gt;Section Bright Green&lt;/Name&gt;&lt;Name&gt;Section Yellow&lt;/Name&gt;&lt;Name&gt;Section Piggy&lt;/Name&gt;&lt;Name&gt;Section Brown&lt;/Name&gt;&lt;Name&gt;Image Background Dark Text&lt;/Name&gt;&lt;Name&gt;Image Background Light Text&lt;/Name&gt;&lt;Name&gt;Quotation Dark&lt;/Name&gt;&lt;Name&gt;Quotation Light&lt;/Name&gt;&lt;Name&gt;Blank&lt;/Name&gt;&lt;Name&gt;Blank Grid&lt;/Name&gt;&lt;Name&gt;Thank you&lt;/Name&gt;&lt;Name&gt;Reference case_short text&lt;/Name&gt;&lt;Name&gt;Reference case_long text&lt;/Name&gt;&lt;Name&gt;1_Reference case_long text&lt;/Name&gt;&lt;Name&gt;2_Reference case_long text&lt;/Name&gt;&lt;Name&gt;Reference case_long text_dark&lt;/Name&gt;&lt;Name&gt;2_Reference case_long text_dark&lt;/Name&gt;&lt;Name&gt;1_Reference case_long text_dark&lt;/Name&gt;&lt;Name&gt;Mastery cover - ONLY&lt;/Name&gt;&lt;/LayoutNames&gt;&lt;/template&gt;&lt;theme&gt;&lt;recentColors /&gt;&lt;/theme&gt;&lt;rules&gt;&lt;disabled /&gt;&lt;/rules&gt;&lt;/presentationSettings&gt;&lt;/smar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b3m8oSRv.4iInDXybmG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3cKhE0SBuzgDProAbMq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3cKhE0SBuzgDProAbMq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3cKhE0SBuzgDProAbMq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3cKhE0SBuzgDProAbMq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3cKhE0SBuzgDProAbMq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1zgy7Zr4Vu9JJKWj95e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0"/>
</p:tagLst>
</file>

<file path=ppt/theme/theme1.xml><?xml version="1.0" encoding="utf-8"?>
<a:theme xmlns:a="http://schemas.openxmlformats.org/drawingml/2006/main" name="Implement PowerPoint A4">
  <a:themeElements>
    <a:clrScheme name="Implement 2018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AEAEA"/>
      </a:accent1>
      <a:accent2>
        <a:srgbClr val="C0C0C0"/>
      </a:accent2>
      <a:accent3>
        <a:srgbClr val="DDDDDD"/>
      </a:accent3>
      <a:accent4>
        <a:srgbClr val="838789"/>
      </a:accent4>
      <a:accent5>
        <a:srgbClr val="1F2023"/>
      </a:accent5>
      <a:accent6>
        <a:srgbClr val="898C96"/>
      </a:accent6>
      <a:hlink>
        <a:srgbClr val="838789"/>
      </a:hlink>
      <a:folHlink>
        <a:srgbClr val="E2DED9"/>
      </a:folHlink>
    </a:clrScheme>
    <a:fontScheme name="Impleme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E2DED9"/>
        </a:solidFill>
        <a:ln w="6350">
          <a:noFill/>
        </a:ln>
      </a:spPr>
      <a:bodyPr lIns="108000" tIns="108000" rIns="108000" bIns="108000" rtlCol="0" anchor="t" anchorCtr="0">
        <a:noAutofit/>
      </a:bodyPr>
      <a:lstStyle>
        <a:defPPr algn="l">
          <a:defRPr sz="1100" noProof="0" dirty="0" err="1" smtClean="0">
            <a:solidFill>
              <a:srgbClr val="2F363B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rgbClr val="1F2023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>
          <a:noFill/>
          <a:prstDash val="sysDash"/>
        </a:ln>
      </a:spPr>
      <a:bodyPr wrap="square" lIns="0" tIns="0" rIns="0" bIns="0" rtlCol="0">
        <a:spAutoFit/>
      </a:bodyPr>
      <a:lstStyle>
        <a:defPPr algn="l">
          <a:defRPr sz="1100"/>
        </a:defPPr>
      </a:lstStyle>
    </a:txDef>
  </a:objectDefaults>
  <a:extraClrSchemeLst/>
  <a:custClrLst>
    <a:custClr name="226, 222, 217">
      <a:srgbClr val="E2DED9"/>
    </a:custClr>
    <a:custClr name="248, 245, 231">
      <a:srgbClr val="F8F5E7"/>
    </a:custClr>
    <a:custClr name="48, 55, 59">
      <a:srgbClr val="30373B"/>
    </a:custClr>
    <a:custClr name="31, 32, 35">
      <a:srgbClr val="1F2023"/>
    </a:custClr>
    <a:custClr name="224, 188, 166">
      <a:srgbClr val="E0BCA6"/>
    </a:custClr>
    <a:custClr name="138, 162, 153">
      <a:srgbClr val="8AA299"/>
    </a:custClr>
    <a:custClr name="228, 183, 59">
      <a:srgbClr val="E4B73B"/>
    </a:custClr>
    <a:custClr name="64, 97, 95">
      <a:srgbClr val="40615F"/>
    </a:custClr>
    <a:custClr name="137, 62, 69">
      <a:srgbClr val="893E45"/>
    </a:custClr>
    <a:custClr name="154, 110, 58">
      <a:srgbClr val="9A6E3A"/>
    </a:custClr>
    <a:custClr name="232, 229, 225">
      <a:srgbClr val="E8E5E1"/>
    </a:custClr>
    <a:custClr name="249, 247, 236">
      <a:srgbClr val="F9F7EC"/>
    </a:custClr>
    <a:custClr name="89, 95, 98">
      <a:srgbClr val="595F62"/>
    </a:custClr>
    <a:custClr name="76, 77, 79">
      <a:srgbClr val="4C4D4F"/>
    </a:custClr>
    <a:custClr name="230, 201, 184">
      <a:srgbClr val="E6C9B8"/>
    </a:custClr>
    <a:custClr name="161, 181, 173">
      <a:srgbClr val="A1B5AD"/>
    </a:custClr>
    <a:custClr name="​233, 197, 98">
      <a:srgbClr val="E9C562"/>
    </a:custClr>
    <a:custClr name="102, 129, 127">
      <a:srgbClr val="66817F"/>
    </a:custClr>
    <a:custClr name="161, 101, 106">
      <a:srgbClr val="A1656A"/>
    </a:custClr>
    <a:custClr name="174, 139, 97">
      <a:srgbClr val="AE8B61"/>
    </a:custClr>
    <a:custClr name="238, 235, 232">
      <a:srgbClr val="EEEBE8"/>
    </a:custClr>
    <a:custClr name="251, 249, 241">
      <a:srgbClr val="FBF9F1"/>
    </a:custClr>
    <a:custClr name="149,153,155">
      <a:srgbClr val="95999B"/>
    </a:custClr>
    <a:custClr name="141,141,143">
      <a:srgbClr val="8D8D8F"/>
    </a:custClr>
    <a:custClr name="239,221,210">
      <a:srgbClr val="EFDDD2"/>
    </a:custClr>
    <a:custClr name="195,207,203">
      <a:srgbClr val="C3CFCB"/>
    </a:custClr>
    <a:custClr name="241,218,155">
      <a:srgbClr val="F1DA9B"/>
    </a:custClr>
    <a:custClr name="157,174,173">
      <a:srgbClr val="9DAEAD"/>
    </a:custClr>
    <a:custClr name="195,156,160">
      <a:srgbClr val="C39CA0"/>
    </a:custClr>
    <a:custClr name="203,181,155">
      <a:srgbClr val="CBB59B"/>
    </a:custClr>
    <a:custClr name="243, 242, 240">
      <a:srgbClr val="F3F2F0"/>
    </a:custClr>
    <a:custClr name="252, 251, 245">
      <a:srgbClr val="FCFBF5"/>
    </a:custClr>
    <a:custClr name="184,187,189">
      <a:srgbClr val="B8BBBD"/>
    </a:custClr>
    <a:custClr name="178,179,180">
      <a:srgbClr val="B2B3B4"/>
    </a:custClr>
    <a:custClr name="245,232,224">
      <a:srgbClr val="F5E8E0"/>
    </a:custClr>
    <a:custClr name="215,224,220">
      <a:srgbClr val="D7E0DC"/>
    </a:custClr>
    <a:custClr name="246,230,189">
      <a:srgbClr val="F6E6BD"/>
    </a:custClr>
    <a:custClr name="190,201,201">
      <a:srgbClr val="BEC9C9"/>
    </a:custClr>
    <a:custClr name="215,189,192">
      <a:srgbClr val="D7BDC0"/>
    </a:custClr>
    <a:custClr name="221,206,188">
      <a:srgbClr val="DDCEBC"/>
    </a:custClr>
    <a:custClr name="0,153,0">
      <a:srgbClr val="009900"/>
    </a:custClr>
    <a:custClr name="255,204,0">
      <a:srgbClr val="FFCC00"/>
    </a:custClr>
    <a:custClr name="255,102,0">
      <a:srgbClr val="FF6600"/>
    </a:custClr>
    <a:custClr name="204,0,0">
      <a:srgbClr val="CC0000"/>
    </a:custClr>
    <a:custClr name="0,112,192">
      <a:srgbClr val="0070C0"/>
    </a:custClr>
  </a:custClrLst>
  <a:extLst>
    <a:ext uri="{05A4C25C-085E-4340-85A3-A5531E510DB2}">
      <thm15:themeFamily xmlns:thm15="http://schemas.microsoft.com/office/thememl/2012/main" name="AmplerLibraryb2nqrdm22bt.potx" id="{4590DF8E-E56E-460B-951D-B96F593AB139}" vid="{E3F931F8-9CF3-4A6D-B2E4-B1AA2A23EC3C}"/>
    </a:ext>
  </a:extLst>
</a:theme>
</file>

<file path=ppt/theme/theme2.xml><?xml version="1.0" encoding="utf-8"?>
<a:theme xmlns:a="http://schemas.openxmlformats.org/drawingml/2006/main" name="Office-tema">
  <a:themeElements>
    <a:clrScheme name="Implement 2018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AEAEA"/>
      </a:accent1>
      <a:accent2>
        <a:srgbClr val="C0C0C0"/>
      </a:accent2>
      <a:accent3>
        <a:srgbClr val="DDDDDD"/>
      </a:accent3>
      <a:accent4>
        <a:srgbClr val="838789"/>
      </a:accent4>
      <a:accent5>
        <a:srgbClr val="1F2023"/>
      </a:accent5>
      <a:accent6>
        <a:srgbClr val="898C96"/>
      </a:accent6>
      <a:hlink>
        <a:srgbClr val="838789"/>
      </a:hlink>
      <a:folHlink>
        <a:srgbClr val="E2DED9"/>
      </a:folHlink>
    </a:clrScheme>
    <a:fontScheme name="Impleme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226, 222, 217">
      <a:srgbClr val="E2DED9"/>
    </a:custClr>
    <a:custClr name="248, 245, 231">
      <a:srgbClr val="F8F5E7"/>
    </a:custClr>
    <a:custClr name="48, 55, 59">
      <a:srgbClr val="30373B"/>
    </a:custClr>
    <a:custClr name="31, 32, 35">
      <a:srgbClr val="1F2023"/>
    </a:custClr>
    <a:custClr name="224, 188, 166">
      <a:srgbClr val="E0BCA6"/>
    </a:custClr>
    <a:custClr name="138, 162, 153">
      <a:srgbClr val="8AA299"/>
    </a:custClr>
    <a:custClr name="228, 183, 59">
      <a:srgbClr val="E4B73B"/>
    </a:custClr>
    <a:custClr name="64, 97, 95">
      <a:srgbClr val="40615F"/>
    </a:custClr>
    <a:custClr name="137, 62, 69">
      <a:srgbClr val="893E45"/>
    </a:custClr>
    <a:custClr name="154, 110, 58">
      <a:srgbClr val="9A6E3A"/>
    </a:custClr>
    <a:custClr name="232, 229, 225">
      <a:srgbClr val="E8E5E1"/>
    </a:custClr>
    <a:custClr name="249, 247, 236">
      <a:srgbClr val="F9F7EC"/>
    </a:custClr>
    <a:custClr name="89, 95, 98">
      <a:srgbClr val="595F62"/>
    </a:custClr>
    <a:custClr name="76, 77, 79">
      <a:srgbClr val="4C4D4F"/>
    </a:custClr>
    <a:custClr name="230, 201, 184">
      <a:srgbClr val="E6C9B8"/>
    </a:custClr>
    <a:custClr name="161, 181, 173">
      <a:srgbClr val="A1B5AD"/>
    </a:custClr>
    <a:custClr name="​233, 197, 98">
      <a:srgbClr val="E9C562"/>
    </a:custClr>
    <a:custClr name="102, 129, 127">
      <a:srgbClr val="66817F"/>
    </a:custClr>
    <a:custClr name="161, 101, 106">
      <a:srgbClr val="A1656A"/>
    </a:custClr>
    <a:custClr name="174, 139, 97">
      <a:srgbClr val="AE8B61"/>
    </a:custClr>
    <a:custClr name="238, 235, 232">
      <a:srgbClr val="EEEBE8"/>
    </a:custClr>
    <a:custClr name="251, 249, 241">
      <a:srgbClr val="FBF9F1"/>
    </a:custClr>
    <a:custClr name="149,153,155">
      <a:srgbClr val="95999B"/>
    </a:custClr>
    <a:custClr name="141,141,143">
      <a:srgbClr val="8D8D8F"/>
    </a:custClr>
    <a:custClr name="239,221,210">
      <a:srgbClr val="EFDDD2"/>
    </a:custClr>
    <a:custClr name="195,207,203">
      <a:srgbClr val="C3CFCB"/>
    </a:custClr>
    <a:custClr name="241,218,155">
      <a:srgbClr val="F1DA9B"/>
    </a:custClr>
    <a:custClr name="157,174,173">
      <a:srgbClr val="9DAEAD"/>
    </a:custClr>
    <a:custClr name="195,156,160">
      <a:srgbClr val="C39CA0"/>
    </a:custClr>
    <a:custClr name="203,181,155">
      <a:srgbClr val="CBB59B"/>
    </a:custClr>
    <a:custClr name="243, 242, 240">
      <a:srgbClr val="F3F2F0"/>
    </a:custClr>
    <a:custClr name="252, 251, 245">
      <a:srgbClr val="FCFBF5"/>
    </a:custClr>
    <a:custClr name="184,187,189">
      <a:srgbClr val="B8BBBD"/>
    </a:custClr>
    <a:custClr name="178,179,180">
      <a:srgbClr val="B2B3B4"/>
    </a:custClr>
    <a:custClr name="245,232,224">
      <a:srgbClr val="F5E8E0"/>
    </a:custClr>
    <a:custClr name="215,224,220">
      <a:srgbClr val="D7E0DC"/>
    </a:custClr>
    <a:custClr name="246,230,189">
      <a:srgbClr val="F6E6BD"/>
    </a:custClr>
    <a:custClr name="190,201,201">
      <a:srgbClr val="BEC9C9"/>
    </a:custClr>
    <a:custClr name="215,189,192">
      <a:srgbClr val="D7BDC0"/>
    </a:custClr>
    <a:custClr name="221,206,188">
      <a:srgbClr val="DDCEBC"/>
    </a:custClr>
    <a:custClr name="0,153,0">
      <a:srgbClr val="009900"/>
    </a:custClr>
    <a:custClr name="255,204,0">
      <a:srgbClr val="FFCC00"/>
    </a:custClr>
    <a:custClr name="255,102,0">
      <a:srgbClr val="FF6600"/>
    </a:custClr>
    <a:custClr name="204,0,0">
      <a:srgbClr val="CC0000"/>
    </a:custClr>
    <a:custClr name="0,112,192">
      <a:srgbClr val="0070C0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Implement 2018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AEAEA"/>
      </a:accent1>
      <a:accent2>
        <a:srgbClr val="C0C0C0"/>
      </a:accent2>
      <a:accent3>
        <a:srgbClr val="DDDDDD"/>
      </a:accent3>
      <a:accent4>
        <a:srgbClr val="838789"/>
      </a:accent4>
      <a:accent5>
        <a:srgbClr val="1F2023"/>
      </a:accent5>
      <a:accent6>
        <a:srgbClr val="898C96"/>
      </a:accent6>
      <a:hlink>
        <a:srgbClr val="838789"/>
      </a:hlink>
      <a:folHlink>
        <a:srgbClr val="E2DED9"/>
      </a:folHlink>
    </a:clrScheme>
    <a:fontScheme name="Impleme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226, 222, 217">
      <a:srgbClr val="E2DED9"/>
    </a:custClr>
    <a:custClr name="248, 245, 231">
      <a:srgbClr val="F8F5E7"/>
    </a:custClr>
    <a:custClr name="48, 55, 59">
      <a:srgbClr val="30373B"/>
    </a:custClr>
    <a:custClr name="31, 32, 35">
      <a:srgbClr val="1F2023"/>
    </a:custClr>
    <a:custClr name="224, 188, 166">
      <a:srgbClr val="E0BCA6"/>
    </a:custClr>
    <a:custClr name="138, 162, 153">
      <a:srgbClr val="8AA299"/>
    </a:custClr>
    <a:custClr name="228, 183, 59">
      <a:srgbClr val="E4B73B"/>
    </a:custClr>
    <a:custClr name="64, 97, 95">
      <a:srgbClr val="40615F"/>
    </a:custClr>
    <a:custClr name="137, 62, 69">
      <a:srgbClr val="893E45"/>
    </a:custClr>
    <a:custClr name="154, 110, 58">
      <a:srgbClr val="9A6E3A"/>
    </a:custClr>
    <a:custClr name="232, 229, 225">
      <a:srgbClr val="E8E5E1"/>
    </a:custClr>
    <a:custClr name="249, 247, 236">
      <a:srgbClr val="F9F7EC"/>
    </a:custClr>
    <a:custClr name="89, 95, 98">
      <a:srgbClr val="595F62"/>
    </a:custClr>
    <a:custClr name="76, 77, 79">
      <a:srgbClr val="4C4D4F"/>
    </a:custClr>
    <a:custClr name="230, 201, 184">
      <a:srgbClr val="E6C9B8"/>
    </a:custClr>
    <a:custClr name="161, 181, 173">
      <a:srgbClr val="A1B5AD"/>
    </a:custClr>
    <a:custClr name="​233, 197, 98">
      <a:srgbClr val="E9C562"/>
    </a:custClr>
    <a:custClr name="102, 129, 127">
      <a:srgbClr val="66817F"/>
    </a:custClr>
    <a:custClr name="161, 101, 106">
      <a:srgbClr val="A1656A"/>
    </a:custClr>
    <a:custClr name="174, 139, 97">
      <a:srgbClr val="AE8B61"/>
    </a:custClr>
    <a:custClr name="238, 235, 232">
      <a:srgbClr val="EEEBE8"/>
    </a:custClr>
    <a:custClr name="251, 249, 241">
      <a:srgbClr val="FBF9F1"/>
    </a:custClr>
    <a:custClr name="149,153,155">
      <a:srgbClr val="95999B"/>
    </a:custClr>
    <a:custClr name="141,141,143">
      <a:srgbClr val="8D8D8F"/>
    </a:custClr>
    <a:custClr name="239,221,210">
      <a:srgbClr val="EFDDD2"/>
    </a:custClr>
    <a:custClr name="195,207,203">
      <a:srgbClr val="C3CFCB"/>
    </a:custClr>
    <a:custClr name="241,218,155">
      <a:srgbClr val="F1DA9B"/>
    </a:custClr>
    <a:custClr name="157,174,173">
      <a:srgbClr val="9DAEAD"/>
    </a:custClr>
    <a:custClr name="195,156,160">
      <a:srgbClr val="C39CA0"/>
    </a:custClr>
    <a:custClr name="203,181,155">
      <a:srgbClr val="CBB59B"/>
    </a:custClr>
    <a:custClr name="243, 242, 240">
      <a:srgbClr val="F3F2F0"/>
    </a:custClr>
    <a:custClr name="252, 251, 245">
      <a:srgbClr val="FCFBF5"/>
    </a:custClr>
    <a:custClr name="184,187,189">
      <a:srgbClr val="B8BBBD"/>
    </a:custClr>
    <a:custClr name="178,179,180">
      <a:srgbClr val="B2B3B4"/>
    </a:custClr>
    <a:custClr name="245,232,224">
      <a:srgbClr val="F5E8E0"/>
    </a:custClr>
    <a:custClr name="215,224,220">
      <a:srgbClr val="D7E0DC"/>
    </a:custClr>
    <a:custClr name="246,230,189">
      <a:srgbClr val="F6E6BD"/>
    </a:custClr>
    <a:custClr name="190,201,201">
      <a:srgbClr val="BEC9C9"/>
    </a:custClr>
    <a:custClr name="215,189,192">
      <a:srgbClr val="D7BDC0"/>
    </a:custClr>
    <a:custClr name="221,206,188">
      <a:srgbClr val="DDCEBC"/>
    </a:custClr>
    <a:custClr name="0,153,0">
      <a:srgbClr val="009900"/>
    </a:custClr>
    <a:custClr name="255,204,0">
      <a:srgbClr val="FFCC00"/>
    </a:custClr>
    <a:custClr name="255,102,0">
      <a:srgbClr val="FF6600"/>
    </a:custClr>
    <a:custClr name="204,0,0">
      <a:srgbClr val="CC0000"/>
    </a:custClr>
    <a:custClr name="0,112,192">
      <a:srgbClr val="0070C0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850E8F50485A0A4AB66B249A2B99C208" ma:contentTypeVersion="13" ma:contentTypeDescription="Opret et nyt dokument." ma:contentTypeScope="" ma:versionID="19bcff76ee69f3d299d8527d371bde35">
  <xsd:schema xmlns:xsd="http://www.w3.org/2001/XMLSchema" xmlns:xs="http://www.w3.org/2001/XMLSchema" xmlns:p="http://schemas.microsoft.com/office/2006/metadata/properties" xmlns:ns2="9d61d961-fff8-4e6b-b26a-e4803b55393b" xmlns:ns3="2179fee3-aeda-4385-975b-e85ad703bc55" targetNamespace="http://schemas.microsoft.com/office/2006/metadata/properties" ma:root="true" ma:fieldsID="b4eeae3342dcc626b69d0245c97781fe" ns2:_="" ns3:_="">
    <xsd:import namespace="9d61d961-fff8-4e6b-b26a-e4803b55393b"/>
    <xsd:import namespace="2179fee3-aeda-4385-975b-e85ad703bc5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d61d961-fff8-4e6b-b26a-e4803b55393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79fee3-aeda-4385-975b-e85ad703bc55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Delt med detaljer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2179fee3-aeda-4385-975b-e85ad703bc55">
      <UserInfo>
        <DisplayName>Sidsel Vesterdahl - Implement Consulting Group</DisplayName>
        <AccountId>169</AccountId>
        <AccountType/>
      </UserInfo>
      <UserInfo>
        <DisplayName>Maya Husted Davidsen - Implement Consulting Group</DisplayName>
        <AccountId>155</AccountId>
        <AccountType/>
      </UserInfo>
      <UserInfo>
        <DisplayName>Helena Bjørn Bograd - Implement Consulting Group</DisplayName>
        <AccountId>13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FC2FB61C-6A8B-44E3-8D12-58FC9C6762D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93FAC46-2D2F-486C-84EA-9BF2873E42F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d61d961-fff8-4e6b-b26a-e4803b55393b"/>
    <ds:schemaRef ds:uri="2179fee3-aeda-4385-975b-e85ad703bc5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B00E181-24CE-44AE-BC50-48836B8815AB}">
  <ds:schemaRefs>
    <ds:schemaRef ds:uri="http://www.w3.org/XML/1998/namespace"/>
    <ds:schemaRef ds:uri="http://schemas.microsoft.com/office/2006/documentManagement/types"/>
    <ds:schemaRef ds:uri="http://schemas.microsoft.com/office/2006/metadata/properties"/>
    <ds:schemaRef ds:uri="http://purl.org/dc/terms/"/>
    <ds:schemaRef ds:uri="http://schemas.microsoft.com/office/infopath/2007/PartnerControls"/>
    <ds:schemaRef ds:uri="http://purl.org/dc/elements/1.1/"/>
    <ds:schemaRef ds:uri="24d56eaa-6b89-41b4-89e3-b3c7100b6c7d"/>
    <ds:schemaRef ds:uri="http://schemas.openxmlformats.org/package/2006/metadata/core-properties"/>
    <ds:schemaRef ds:uri="fce60961-d543-4ee4-bbda-f9dcc1c8b332"/>
    <ds:schemaRef ds:uri="http://purl.org/dc/dcmitype/"/>
    <ds:schemaRef ds:uri="e0d6e9e6-74e9-4cf8-82c7-b80f8b8ef15b"/>
    <ds:schemaRef ds:uri="2179fee3-aeda-4385-975b-e85ad703bc55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mplement A4_Landscape 2019_1.a4</Template>
  <TotalTime>0</TotalTime>
  <Words>237</Words>
  <Application>Microsoft Office PowerPoint</Application>
  <PresentationFormat>A4 Paper (210x297 mm)</PresentationFormat>
  <Paragraphs>4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Impact</vt:lpstr>
      <vt:lpstr>Times New Roman</vt:lpstr>
      <vt:lpstr>Implement PowerPoint A4</vt:lpstr>
      <vt:lpstr>think-cell Slide</vt:lpstr>
      <vt:lpstr>The benefit map for &lt;project name&gt; The benefit map template is used to document the output from the benefit realisation workshop.  The benefit map is kept updated throughout the project.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ærktøjer til lancing page</dc:title>
  <dc:creator>Rasmus Rytter - Implement Consulting Group</dc:creator>
  <cp:lastModifiedBy>Sidsel Vesterdahl - Implement Consulting Group</cp:lastModifiedBy>
  <cp:revision>2</cp:revision>
  <dcterms:created xsi:type="dcterms:W3CDTF">2022-02-03T21:34:23Z</dcterms:created>
  <dcterms:modified xsi:type="dcterms:W3CDTF">2022-02-25T13:26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 by">
    <vt:lpwstr>www.skabelondesign.dk</vt:lpwstr>
  </property>
  <property fmtid="{D5CDD505-2E9C-101B-9397-08002B2CF9AE}" pid="3" name="TaxKeyword">
    <vt:lpwstr/>
  </property>
  <property fmtid="{D5CDD505-2E9C-101B-9397-08002B2CF9AE}" pid="4" name="ContentTypeId">
    <vt:lpwstr>0x010100850E8F50485A0A4AB66B249A2B99C208</vt:lpwstr>
  </property>
  <property fmtid="{D5CDD505-2E9C-101B-9397-08002B2CF9AE}" pid="5" name="AuthorIds_UIVersion_2048">
    <vt:lpwstr>37</vt:lpwstr>
  </property>
</Properties>
</file>